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Default Extension="docx" ContentType="application/vnd.openxmlformats-officedocument.wordprocessingml.document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Default Extension="gif" ContentType="image/gif"/>
  <Default Extension="vml" ContentType="application/vnd.openxmlformats-officedocument.vmlDrawing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png" ContentType="image/png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8" r:id="rId1"/>
  </p:sldMasterIdLst>
  <p:notesMasterIdLst>
    <p:notesMasterId r:id="rId24"/>
  </p:notesMasterIdLst>
  <p:handoutMasterIdLst>
    <p:handoutMasterId r:id="rId25"/>
  </p:handoutMasterIdLst>
  <p:sldIdLst>
    <p:sldId id="466" r:id="rId2"/>
    <p:sldId id="444" r:id="rId3"/>
    <p:sldId id="445" r:id="rId4"/>
    <p:sldId id="446" r:id="rId5"/>
    <p:sldId id="447" r:id="rId6"/>
    <p:sldId id="454" r:id="rId7"/>
    <p:sldId id="457" r:id="rId8"/>
    <p:sldId id="455" r:id="rId9"/>
    <p:sldId id="449" r:id="rId10"/>
    <p:sldId id="458" r:id="rId11"/>
    <p:sldId id="459" r:id="rId12"/>
    <p:sldId id="460" r:id="rId13"/>
    <p:sldId id="461" r:id="rId14"/>
    <p:sldId id="462" r:id="rId15"/>
    <p:sldId id="463" r:id="rId16"/>
    <p:sldId id="464" r:id="rId17"/>
    <p:sldId id="465" r:id="rId18"/>
    <p:sldId id="467" r:id="rId19"/>
    <p:sldId id="468" r:id="rId20"/>
    <p:sldId id="451" r:id="rId21"/>
    <p:sldId id="450" r:id="rId22"/>
    <p:sldId id="452" r:id="rId23"/>
  </p:sldIdLst>
  <p:sldSz cx="9144000" cy="6858000" type="screen4x3"/>
  <p:notesSz cx="7099300" cy="10234613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0">
          <p15:clr>
            <a:srgbClr val="A4A3A4"/>
          </p15:clr>
        </p15:guide>
        <p15:guide id="2" orient="horz" pos="391">
          <p15:clr>
            <a:srgbClr val="A4A3A4"/>
          </p15:clr>
        </p15:guide>
        <p15:guide id="3" orient="horz" pos="1253">
          <p15:clr>
            <a:srgbClr val="A4A3A4"/>
          </p15:clr>
        </p15:guide>
        <p15:guide id="4" orient="horz" pos="1434">
          <p15:clr>
            <a:srgbClr val="A4A3A4"/>
          </p15:clr>
        </p15:guide>
        <p15:guide id="5" orient="horz" pos="2432">
          <p15:clr>
            <a:srgbClr val="A4A3A4"/>
          </p15:clr>
        </p15:guide>
        <p15:guide id="6" orient="horz" pos="2659">
          <p15:clr>
            <a:srgbClr val="A4A3A4"/>
          </p15:clr>
        </p15:guide>
        <p15:guide id="7" orient="horz" pos="2840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pos="2880">
          <p15:clr>
            <a:srgbClr val="A4A3A4"/>
          </p15:clr>
        </p15:guide>
        <p15:guide id="10" pos="5420">
          <p15:clr>
            <a:srgbClr val="A4A3A4"/>
          </p15:clr>
        </p15:guide>
        <p15:guide id="11" pos="3016">
          <p15:clr>
            <a:srgbClr val="A4A3A4"/>
          </p15:clr>
        </p15:guide>
        <p15:guide id="12" pos="2744">
          <p15:clr>
            <a:srgbClr val="A4A3A4"/>
          </p15:clr>
        </p15:guide>
        <p15:guide id="13" pos="34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C80A1E"/>
    <a:srgbClr val="FFCC00"/>
    <a:srgbClr val="252EB1"/>
    <a:srgbClr val="87A5D2"/>
    <a:srgbClr val="39AF1D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779" autoAdjust="0"/>
    <p:restoredTop sz="95152" autoAdjust="0"/>
  </p:normalViewPr>
  <p:slideViewPr>
    <p:cSldViewPr showGuides="1">
      <p:cViewPr>
        <p:scale>
          <a:sx n="82" d="100"/>
          <a:sy n="82" d="100"/>
        </p:scale>
        <p:origin x="-1260" y="354"/>
      </p:cViewPr>
      <p:guideLst>
        <p:guide orient="horz" pos="210"/>
        <p:guide orient="horz" pos="391"/>
        <p:guide orient="horz" pos="1253"/>
        <p:guide orient="horz" pos="1434"/>
        <p:guide orient="horz" pos="2432"/>
        <p:guide orient="horz" pos="2659"/>
        <p:guide orient="horz" pos="2840"/>
        <p:guide orient="horz" pos="3838"/>
        <p:guide pos="2880"/>
        <p:guide pos="5420"/>
        <p:guide pos="3016"/>
        <p:guide pos="2744"/>
        <p:guide pos="340"/>
      </p:guideLst>
    </p:cSldViewPr>
  </p:slideViewPr>
  <p:outlineViewPr>
    <p:cViewPr>
      <p:scale>
        <a:sx n="33" d="100"/>
        <a:sy n="33" d="100"/>
      </p:scale>
      <p:origin x="0" y="1582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47" d="100"/>
        <a:sy n="47" d="100"/>
      </p:scale>
      <p:origin x="0" y="0"/>
    </p:cViewPr>
  </p:sorterViewPr>
  <p:notesViewPr>
    <p:cSldViewPr>
      <p:cViewPr varScale="1">
        <p:scale>
          <a:sx n="47" d="100"/>
          <a:sy n="47" d="100"/>
        </p:scale>
        <p:origin x="-2910" y="-108"/>
      </p:cViewPr>
      <p:guideLst>
        <p:guide orient="horz" pos="3224"/>
        <p:guide pos="2236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6539798" y="9992886"/>
            <a:ext cx="447200" cy="241763"/>
          </a:xfrm>
          <a:prstGeom prst="rect">
            <a:avLst/>
          </a:prstGeom>
        </p:spPr>
        <p:txBody>
          <a:bodyPr vert="horz" lIns="99048" tIns="49524" rIns="99048" bIns="49524" rtlCol="0" anchor="t" anchorCtr="0"/>
          <a:lstStyle>
            <a:lvl1pPr algn="r">
              <a:defRPr sz="1300"/>
            </a:lvl1pPr>
          </a:lstStyle>
          <a:p>
            <a:fld id="{8161FC3E-C24B-4660-A575-2CC46F9BC773}" type="slidenum">
              <a:rPr lang="de-DE" sz="1100" smtClean="0"/>
              <a:pPr/>
              <a:t>‹#›</a:t>
            </a:fld>
            <a:endParaRPr lang="de-DE" sz="110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endParaRPr lang="de-DE" sz="1100" dirty="0"/>
          </a:p>
        </p:txBody>
      </p:sp>
      <p:sp>
        <p:nvSpPr>
          <p:cNvPr id="8" name="Kopfzeilenplatzhalt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DE" sz="110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DE" sz="1100" dirty="0"/>
          </a:p>
        </p:txBody>
      </p:sp>
    </p:spTree>
    <p:extLst>
      <p:ext uri="{BB962C8B-B14F-4D97-AF65-F5344CB8AC3E}">
        <p14:creationId xmlns="" xmlns:p14="http://schemas.microsoft.com/office/powerpoint/2010/main" val="2116727099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1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100"/>
            </a:lvl1pPr>
          </a:lstStyle>
          <a:p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1185080" y="4861441"/>
            <a:ext cx="4732867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1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540300" y="9992850"/>
            <a:ext cx="447200" cy="241763"/>
          </a:xfrm>
          <a:prstGeom prst="rect">
            <a:avLst/>
          </a:prstGeom>
        </p:spPr>
        <p:txBody>
          <a:bodyPr vert="horz" lIns="99048" tIns="49524" rIns="99048" bIns="49524" rtlCol="0" anchor="t" anchorCtr="0"/>
          <a:lstStyle>
            <a:lvl1pPr algn="r">
              <a:defRPr sz="1100"/>
            </a:lvl1pPr>
          </a:lstStyle>
          <a:p>
            <a:fld id="{9C752B43-47C2-425B-BF3D-A2B563CE2181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319839253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185738" indent="-185738" algn="l" defTabSz="914400" rtl="0" eaLnBrk="1" latinLnBrk="0" hangingPunct="1">
      <a:buSzPct val="90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542925" indent="-184150" algn="l" defTabSz="914400" rtl="0" eaLnBrk="1" latinLnBrk="0" hangingPunct="1">
      <a:buSzPct val="90000"/>
      <a:buFont typeface="Arial" pitchFamily="34" charset="0"/>
      <a:buChar char="–"/>
      <a:tabLst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715963" indent="-173038" algn="l" defTabSz="914400" rtl="0" eaLnBrk="1" latinLnBrk="0" hangingPunct="1">
      <a:buSzPct val="70000"/>
      <a:buFont typeface="Arial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901700" indent="-185738" algn="l" defTabSz="914400" rtl="0" eaLnBrk="1" latinLnBrk="0" hangingPunct="1">
      <a:buSzPct val="70000"/>
      <a:buFont typeface="Arial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074738" indent="-185738" algn="l" defTabSz="901700" rtl="0" eaLnBrk="1" latinLnBrk="0" hangingPunct="1">
      <a:buSzPct val="70000"/>
      <a:buFont typeface="Arial" pitchFamily="34" charset="0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0250" y="3208892"/>
            <a:ext cx="8064000" cy="648000"/>
          </a:xfrm>
        </p:spPr>
        <p:txBody>
          <a:bodyPr lIns="90000">
            <a:noAutofit/>
          </a:bodyPr>
          <a:lstStyle>
            <a:lvl1pPr marL="0" indent="0" algn="l">
              <a:spcBef>
                <a:spcPts val="336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>
          <a:xfrm>
            <a:off x="539750" y="1982788"/>
            <a:ext cx="8064000" cy="864000"/>
          </a:xfrm>
        </p:spPr>
        <p:txBody>
          <a:bodyPr lIns="90000" tIns="46800" rIns="90000" bIns="46800"/>
          <a:lstStyle>
            <a:lvl1pPr>
              <a:defRPr sz="2400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0250" y="4508500"/>
            <a:ext cx="8064000" cy="360000"/>
          </a:xfrm>
        </p:spPr>
        <p:txBody>
          <a:bodyPr rIns="72000"/>
          <a:lstStyle>
            <a:lvl1pPr marL="180000" indent="-180000">
              <a:spcBef>
                <a:spcPts val="0"/>
              </a:spcBef>
              <a:spcAft>
                <a:spcPts val="833"/>
              </a:spcAft>
              <a:buNone/>
              <a:defRPr sz="1600"/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39750" y="5732825"/>
            <a:ext cx="8064000" cy="360000"/>
          </a:xfrm>
        </p:spPr>
        <p:txBody>
          <a:bodyPr rIns="72000"/>
          <a:lstStyle>
            <a:lvl1pPr marL="180000" indent="-180000">
              <a:spcBef>
                <a:spcPts val="0"/>
              </a:spcBef>
              <a:spcAft>
                <a:spcPts val="833"/>
              </a:spcAft>
              <a:buNone/>
              <a:defRPr sz="1600" baseline="0"/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location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date</a:t>
            </a:r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bg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0" hasCustomPrompt="1"/>
            <p:custDataLst>
              <p:tags r:id="rId1"/>
            </p:custDataLst>
          </p:nvPr>
        </p:nvSpPr>
        <p:spPr>
          <a:xfrm>
            <a:off x="539750" y="1987200"/>
            <a:ext cx="8064000" cy="41040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bg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 hasCustomPrompt="1"/>
            <p:custDataLst>
              <p:tags r:id="rId2"/>
            </p:custDataLst>
          </p:nvPr>
        </p:nvSpPr>
        <p:spPr>
          <a:xfrm>
            <a:off x="540250" y="1987200"/>
            <a:ext cx="8064000" cy="4104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w/o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bg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 hasCustomPrompt="1"/>
            <p:custDataLst>
              <p:tags r:id="rId2"/>
            </p:custDataLst>
          </p:nvPr>
        </p:nvSpPr>
        <p:spPr>
          <a:xfrm>
            <a:off x="540100" y="1987200"/>
            <a:ext cx="3816000" cy="4104000"/>
          </a:xfrm>
          <a:noFill/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 hasCustomPrompt="1"/>
            <p:custDataLst>
              <p:tags r:id="rId3"/>
            </p:custDataLst>
          </p:nvPr>
        </p:nvSpPr>
        <p:spPr>
          <a:xfrm>
            <a:off x="4788250" y="1987200"/>
            <a:ext cx="3816000" cy="4104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with headline (w/o 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8"/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540100" y="2276475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40100" y="1988475"/>
            <a:ext cx="3816000" cy="288000"/>
          </a:xfrm>
          <a:noFill/>
        </p:spPr>
        <p:txBody>
          <a:bodyPr lIns="72000" tIns="46800" bIns="46800" anchor="ctr" anchorCtr="0"/>
          <a:lstStyle>
            <a:lvl1pPr marL="0" indent="0">
              <a:spcBef>
                <a:spcPts val="833"/>
              </a:spcBef>
              <a:buNone/>
              <a:defRPr sz="1600" b="1">
                <a:solidFill>
                  <a:schemeClr val="accent3"/>
                </a:solidFill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cxnSp>
        <p:nvCxnSpPr>
          <p:cNvPr id="13" name="Gerade Verbindung 12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bg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87900" y="1988475"/>
            <a:ext cx="3816000" cy="288000"/>
          </a:xfrm>
          <a:noFill/>
        </p:spPr>
        <p:txBody>
          <a:bodyPr vert="horz" lIns="72000" tIns="46800" rIns="91440" bIns="46800" rtlCol="0" anchor="ctr" anchorCtr="0">
            <a:noAutofit/>
          </a:bodyPr>
          <a:lstStyle>
            <a:lvl1pPr marL="0" indent="0">
              <a:spcBef>
                <a:spcPts val="833"/>
              </a:spcBef>
              <a:buNone/>
              <a:defRPr lang="de-DE" sz="16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1600">
                <a:solidFill>
                  <a:schemeClr val="accent3"/>
                </a:solidFill>
              </a:defRPr>
            </a:lvl2pPr>
            <a:lvl3pPr>
              <a:buNone/>
              <a:defRPr sz="1600">
                <a:solidFill>
                  <a:schemeClr val="accent3"/>
                </a:solidFill>
              </a:defRPr>
            </a:lvl3pPr>
            <a:lvl4pPr>
              <a:buNone/>
              <a:defRPr sz="1600">
                <a:solidFill>
                  <a:schemeClr val="accent3"/>
                </a:solidFill>
              </a:defRPr>
            </a:lvl4pPr>
            <a:lvl5pPr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0" name="Inhaltsplatzhalter 18"/>
          <p:cNvSpPr>
            <a:spLocks noGrp="1"/>
          </p:cNvSpPr>
          <p:nvPr>
            <p:ph sz="quarter" idx="21" hasCustomPrompt="1"/>
            <p:custDataLst>
              <p:tags r:id="rId3"/>
            </p:custDataLst>
          </p:nvPr>
        </p:nvSpPr>
        <p:spPr>
          <a:xfrm>
            <a:off x="4788000" y="2275200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with headline (w. 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8"/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538454" y="2276419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40000" y="1985761"/>
            <a:ext cx="3816000" cy="288000"/>
          </a:xfrm>
          <a:noFill/>
        </p:spPr>
        <p:txBody>
          <a:bodyPr vert="horz" lIns="72000" tIns="46800" rIns="91440" bIns="468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  <a:defRPr lang="de-DE" sz="16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marL="0" lv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cxnSp>
        <p:nvCxnSpPr>
          <p:cNvPr id="13" name="Gerade Verbindung 12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bg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88000" y="1985761"/>
            <a:ext cx="3816000" cy="288000"/>
          </a:xfrm>
          <a:noFill/>
        </p:spPr>
        <p:txBody>
          <a:bodyPr vert="horz" lIns="72000" tIns="46800" rIns="91440" bIns="468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  <a:defRPr lang="de-DE" sz="16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1600">
                <a:solidFill>
                  <a:schemeClr val="accent3"/>
                </a:solidFill>
              </a:defRPr>
            </a:lvl2pPr>
            <a:lvl3pPr>
              <a:buNone/>
              <a:defRPr sz="1600">
                <a:solidFill>
                  <a:schemeClr val="accent3"/>
                </a:solidFill>
              </a:defRPr>
            </a:lvl3pPr>
            <a:lvl4pPr>
              <a:buNone/>
              <a:defRPr sz="1600">
                <a:solidFill>
                  <a:schemeClr val="accent3"/>
                </a:solidFill>
              </a:defRPr>
            </a:lvl4pPr>
            <a:lvl5pPr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marL="0" lv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 hasCustomPrompt="1"/>
            <p:custDataLst>
              <p:tags r:id="rId3"/>
            </p:custDataLst>
          </p:nvPr>
        </p:nvSpPr>
        <p:spPr>
          <a:xfrm>
            <a:off x="4788000" y="2276419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10" name="Gerade Verbindung 9"/>
          <p:cNvCxnSpPr/>
          <p:nvPr/>
        </p:nvCxnSpPr>
        <p:spPr>
          <a:xfrm>
            <a:off x="540000" y="2275200"/>
            <a:ext cx="3816000" cy="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/>
        </p:nvCxnSpPr>
        <p:spPr>
          <a:xfrm>
            <a:off x="4788000" y="2275200"/>
            <a:ext cx="3816000" cy="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2" name="Foliennummernplatzhalter 1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with headline &amp;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40100" y="1988475"/>
            <a:ext cx="3816000" cy="288000"/>
          </a:xfr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6800" bIns="46800" anchor="ctr" anchorCtr="0"/>
          <a:lstStyle>
            <a:lvl1pPr>
              <a:buNone/>
              <a:defRPr sz="1600" b="1"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cxnSp>
        <p:nvCxnSpPr>
          <p:cNvPr id="13" name="Gerade Verbindung 12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87900" y="1988475"/>
            <a:ext cx="3816000" cy="288000"/>
          </a:xfr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vert="horz" lIns="72000" tIns="46800" rIns="91440" bIns="46800" rtlCol="0" anchor="ctr" anchorCtr="0">
            <a:noAutofit/>
          </a:bodyPr>
          <a:lstStyle>
            <a:lvl1pPr>
              <a:buNone/>
              <a:defRPr lang="de-DE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1600">
                <a:solidFill>
                  <a:schemeClr val="accent3"/>
                </a:solidFill>
              </a:defRPr>
            </a:lvl2pPr>
            <a:lvl3pPr>
              <a:buNone/>
              <a:defRPr sz="1600">
                <a:solidFill>
                  <a:schemeClr val="accent3"/>
                </a:solidFill>
              </a:defRPr>
            </a:lvl3pPr>
            <a:lvl4pPr>
              <a:buNone/>
              <a:defRPr sz="1600">
                <a:solidFill>
                  <a:schemeClr val="accent3"/>
                </a:solidFill>
              </a:defRPr>
            </a:lvl4pPr>
            <a:lvl5pPr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>
              <a:buNone/>
              <a:defRPr sz="1600">
                <a:solidFill>
                  <a:schemeClr val="bg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 hasCustomPrompt="1"/>
            <p:custDataLst>
              <p:tags r:id="rId2"/>
            </p:custDataLst>
          </p:nvPr>
        </p:nvSpPr>
        <p:spPr>
          <a:xfrm>
            <a:off x="540100" y="2276475"/>
            <a:ext cx="3816000" cy="3816000"/>
          </a:xfrm>
          <a:solidFill>
            <a:schemeClr val="bg1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 marL="18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marL="36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marL="72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marL="90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 hasCustomPrompt="1"/>
            <p:custDataLst>
              <p:tags r:id="rId3"/>
            </p:custDataLst>
          </p:nvPr>
        </p:nvSpPr>
        <p:spPr>
          <a:xfrm>
            <a:off x="4788250" y="2276475"/>
            <a:ext cx="3816000" cy="3816000"/>
          </a:xfrm>
          <a:solidFill>
            <a:schemeClr val="bg1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 marL="18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marL="36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marL="72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marL="90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100000">
              <a:schemeClr val="tx1"/>
            </a:gs>
            <a:gs pos="30000">
              <a:schemeClr val="bg1">
                <a:tint val="45000"/>
                <a:shade val="99000"/>
                <a:satMod val="350000"/>
              </a:schemeClr>
            </a:gs>
            <a:gs pos="100000">
              <a:schemeClr val="bg1">
                <a:lumMod val="65000"/>
              </a:schemeClr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40000" y="475200"/>
            <a:ext cx="8064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539750" y="1988825"/>
            <a:ext cx="8064000" cy="4104000"/>
          </a:xfrm>
          <a:prstGeom prst="rect">
            <a:avLst/>
          </a:prstGeom>
          <a:noFill/>
        </p:spPr>
        <p:txBody>
          <a:bodyPr vert="horz" lIns="72000" tIns="45720" rIns="91440" bIns="45720" rtlCol="0">
            <a:no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Foliennummernplatzhalter 24"/>
          <p:cNvSpPr>
            <a:spLocks noGrp="1"/>
          </p:cNvSpPr>
          <p:nvPr>
            <p:ph type="sldNum" sz="quarter" idx="4"/>
          </p:nvPr>
        </p:nvSpPr>
        <p:spPr>
          <a:xfrm>
            <a:off x="8604000" y="6652800"/>
            <a:ext cx="4320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590D2304-24A7-4E4C-82B3-924AC4FEAFAD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i="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Office_Word_Belgesi1.doc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7" Type="http://schemas.openxmlformats.org/officeDocument/2006/relationships/image" Target="../media/image21.emf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emf"/><Relationship Id="rId5" Type="http://schemas.openxmlformats.org/officeDocument/2006/relationships/image" Target="../media/image19.emf"/><Relationship Id="rId4" Type="http://schemas.openxmlformats.org/officeDocument/2006/relationships/image" Target="../media/image18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hyperlink" Target="https://ufm.dk/uddannelse/tilskud-til-udveksling-og-internationale-projekter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hel.fi/peruskoulut/fi/koulut/tehtaankadun-ala-aste" TargetMode="External"/><Relationship Id="rId5" Type="http://schemas.openxmlformats.org/officeDocument/2006/relationships/hyperlink" Target="https://viborgskoler15-my.sharepoint.com/personal/elis0910_viborgskoler_dk/Documents/Erasmus+%202019-21/Erasmus/Learning%20Activities/Denmark%20in%20March%202021.docx?web=1" TargetMode="External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c.victoriaboys.skola.edu.mt/" TargetMode="External"/><Relationship Id="rId5" Type="http://schemas.openxmlformats.org/officeDocument/2006/relationships/hyperlink" Target="https://howesprimary.co.uk/about-us/welcome-message/" TargetMode="Externa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173"/>
          <p:cNvGrpSpPr>
            <a:grpSpLocks noChangeAspect="1"/>
          </p:cNvGrpSpPr>
          <p:nvPr/>
        </p:nvGrpSpPr>
        <p:grpSpPr>
          <a:xfrm>
            <a:off x="4909819" y="878886"/>
            <a:ext cx="3505116" cy="3314136"/>
            <a:chOff x="944563" y="-1588"/>
            <a:chExt cx="7254875" cy="6859588"/>
          </a:xfrm>
          <a:solidFill>
            <a:schemeClr val="accent5">
              <a:lumMod val="20000"/>
              <a:lumOff val="80000"/>
            </a:schemeClr>
          </a:solidFill>
          <a:effectLst>
            <a:outerShdw blurRad="40005" dist="22860" dir="5400000" algn="ctr" rotWithShape="0">
              <a:schemeClr val="tx1">
                <a:alpha val="35000"/>
              </a:schemeClr>
            </a:outerShdw>
          </a:effectLst>
        </p:grpSpPr>
        <p:sp>
          <p:nvSpPr>
            <p:cNvPr id="175" name="Freeform 5"/>
            <p:cNvSpPr>
              <a:spLocks noEditPoints="1"/>
            </p:cNvSpPr>
            <p:nvPr/>
          </p:nvSpPr>
          <p:spPr bwMode="auto">
            <a:xfrm>
              <a:off x="5667375" y="4162425"/>
              <a:ext cx="1917700" cy="1274763"/>
            </a:xfrm>
            <a:custGeom>
              <a:avLst/>
              <a:gdLst/>
              <a:ahLst/>
              <a:cxnLst>
                <a:cxn ang="0">
                  <a:pos x="575" y="586"/>
                </a:cxn>
                <a:cxn ang="0">
                  <a:pos x="625" y="631"/>
                </a:cxn>
                <a:cxn ang="0">
                  <a:pos x="672" y="660"/>
                </a:cxn>
                <a:cxn ang="0">
                  <a:pos x="758" y="614"/>
                </a:cxn>
                <a:cxn ang="0">
                  <a:pos x="784" y="585"/>
                </a:cxn>
                <a:cxn ang="0">
                  <a:pos x="740" y="599"/>
                </a:cxn>
                <a:cxn ang="0">
                  <a:pos x="668" y="542"/>
                </a:cxn>
                <a:cxn ang="0">
                  <a:pos x="948" y="438"/>
                </a:cxn>
                <a:cxn ang="0">
                  <a:pos x="988" y="242"/>
                </a:cxn>
                <a:cxn ang="0">
                  <a:pos x="913" y="209"/>
                </a:cxn>
                <a:cxn ang="0">
                  <a:pos x="836" y="180"/>
                </a:cxn>
                <a:cxn ang="0">
                  <a:pos x="742" y="162"/>
                </a:cxn>
                <a:cxn ang="0">
                  <a:pos x="686" y="105"/>
                </a:cxn>
                <a:cxn ang="0">
                  <a:pos x="677" y="43"/>
                </a:cxn>
                <a:cxn ang="0">
                  <a:pos x="649" y="6"/>
                </a:cxn>
                <a:cxn ang="0">
                  <a:pos x="592" y="15"/>
                </a:cxn>
                <a:cxn ang="0">
                  <a:pos x="549" y="31"/>
                </a:cxn>
                <a:cxn ang="0">
                  <a:pos x="492" y="52"/>
                </a:cxn>
                <a:cxn ang="0">
                  <a:pos x="432" y="88"/>
                </a:cxn>
                <a:cxn ang="0">
                  <a:pos x="378" y="92"/>
                </a:cxn>
                <a:cxn ang="0">
                  <a:pos x="321" y="83"/>
                </a:cxn>
                <a:cxn ang="0">
                  <a:pos x="255" y="54"/>
                </a:cxn>
                <a:cxn ang="0">
                  <a:pos x="176" y="46"/>
                </a:cxn>
                <a:cxn ang="0">
                  <a:pos x="115" y="70"/>
                </a:cxn>
                <a:cxn ang="0">
                  <a:pos x="139" y="130"/>
                </a:cxn>
                <a:cxn ang="0">
                  <a:pos x="135" y="170"/>
                </a:cxn>
                <a:cxn ang="0">
                  <a:pos x="66" y="235"/>
                </a:cxn>
                <a:cxn ang="0">
                  <a:pos x="67" y="276"/>
                </a:cxn>
                <a:cxn ang="0">
                  <a:pos x="25" y="291"/>
                </a:cxn>
                <a:cxn ang="0">
                  <a:pos x="0" y="331"/>
                </a:cxn>
                <a:cxn ang="0">
                  <a:pos x="52" y="369"/>
                </a:cxn>
                <a:cxn ang="0">
                  <a:pos x="122" y="378"/>
                </a:cxn>
                <a:cxn ang="0">
                  <a:pos x="211" y="374"/>
                </a:cxn>
                <a:cxn ang="0">
                  <a:pos x="252" y="337"/>
                </a:cxn>
                <a:cxn ang="0">
                  <a:pos x="284" y="336"/>
                </a:cxn>
                <a:cxn ang="0">
                  <a:pos x="323" y="348"/>
                </a:cxn>
                <a:cxn ang="0">
                  <a:pos x="343" y="359"/>
                </a:cxn>
                <a:cxn ang="0">
                  <a:pos x="363" y="365"/>
                </a:cxn>
                <a:cxn ang="0">
                  <a:pos x="389" y="378"/>
                </a:cxn>
                <a:cxn ang="0">
                  <a:pos x="387" y="404"/>
                </a:cxn>
                <a:cxn ang="0">
                  <a:pos x="398" y="431"/>
                </a:cxn>
                <a:cxn ang="0">
                  <a:pos x="406" y="453"/>
                </a:cxn>
                <a:cxn ang="0">
                  <a:pos x="427" y="490"/>
                </a:cxn>
                <a:cxn ang="0">
                  <a:pos x="406" y="507"/>
                </a:cxn>
                <a:cxn ang="0">
                  <a:pos x="389" y="504"/>
                </a:cxn>
                <a:cxn ang="0">
                  <a:pos x="375" y="523"/>
                </a:cxn>
                <a:cxn ang="0">
                  <a:pos x="350" y="562"/>
                </a:cxn>
                <a:cxn ang="0">
                  <a:pos x="342" y="586"/>
                </a:cxn>
                <a:cxn ang="0">
                  <a:pos x="385" y="595"/>
                </a:cxn>
                <a:cxn ang="0">
                  <a:pos x="445" y="557"/>
                </a:cxn>
                <a:cxn ang="0">
                  <a:pos x="474" y="508"/>
                </a:cxn>
                <a:cxn ang="0">
                  <a:pos x="542" y="495"/>
                </a:cxn>
                <a:cxn ang="0">
                  <a:pos x="555" y="536"/>
                </a:cxn>
                <a:cxn ang="0">
                  <a:pos x="637" y="532"/>
                </a:cxn>
                <a:cxn ang="0">
                  <a:pos x="695" y="533"/>
                </a:cxn>
                <a:cxn ang="0">
                  <a:pos x="737" y="506"/>
                </a:cxn>
                <a:cxn ang="0">
                  <a:pos x="836" y="469"/>
                </a:cxn>
                <a:cxn ang="0">
                  <a:pos x="912" y="437"/>
                </a:cxn>
                <a:cxn ang="0">
                  <a:pos x="967" y="387"/>
                </a:cxn>
                <a:cxn ang="0">
                  <a:pos x="992" y="331"/>
                </a:cxn>
                <a:cxn ang="0">
                  <a:pos x="134" y="165"/>
                </a:cxn>
              </a:cxnLst>
              <a:rect l="0" t="0" r="r" b="b"/>
              <a:pathLst>
                <a:path w="1026" h="682">
                  <a:moveTo>
                    <a:pt x="641" y="535"/>
                  </a:moveTo>
                  <a:cubicBezTo>
                    <a:pt x="641" y="534"/>
                    <a:pt x="639" y="534"/>
                    <a:pt x="638" y="533"/>
                  </a:cubicBezTo>
                  <a:cubicBezTo>
                    <a:pt x="638" y="536"/>
                    <a:pt x="637" y="539"/>
                    <a:pt x="637" y="542"/>
                  </a:cubicBezTo>
                  <a:cubicBezTo>
                    <a:pt x="637" y="544"/>
                    <a:pt x="637" y="546"/>
                    <a:pt x="638" y="547"/>
                  </a:cubicBezTo>
                  <a:cubicBezTo>
                    <a:pt x="639" y="550"/>
                    <a:pt x="640" y="548"/>
                    <a:pt x="642" y="550"/>
                  </a:cubicBezTo>
                  <a:cubicBezTo>
                    <a:pt x="644" y="552"/>
                    <a:pt x="642" y="553"/>
                    <a:pt x="640" y="554"/>
                  </a:cubicBezTo>
                  <a:cubicBezTo>
                    <a:pt x="639" y="555"/>
                    <a:pt x="637" y="556"/>
                    <a:pt x="635" y="557"/>
                  </a:cubicBezTo>
                  <a:cubicBezTo>
                    <a:pt x="632" y="560"/>
                    <a:pt x="629" y="559"/>
                    <a:pt x="624" y="560"/>
                  </a:cubicBezTo>
                  <a:cubicBezTo>
                    <a:pt x="621" y="560"/>
                    <a:pt x="616" y="562"/>
                    <a:pt x="613" y="564"/>
                  </a:cubicBezTo>
                  <a:cubicBezTo>
                    <a:pt x="607" y="568"/>
                    <a:pt x="599" y="572"/>
                    <a:pt x="593" y="575"/>
                  </a:cubicBezTo>
                  <a:cubicBezTo>
                    <a:pt x="588" y="577"/>
                    <a:pt x="583" y="579"/>
                    <a:pt x="579" y="583"/>
                  </a:cubicBezTo>
                  <a:cubicBezTo>
                    <a:pt x="578" y="584"/>
                    <a:pt x="576" y="585"/>
                    <a:pt x="575" y="586"/>
                  </a:cubicBezTo>
                  <a:cubicBezTo>
                    <a:pt x="572" y="587"/>
                    <a:pt x="571" y="586"/>
                    <a:pt x="569" y="589"/>
                  </a:cubicBezTo>
                  <a:cubicBezTo>
                    <a:pt x="568" y="591"/>
                    <a:pt x="565" y="596"/>
                    <a:pt x="567" y="599"/>
                  </a:cubicBezTo>
                  <a:cubicBezTo>
                    <a:pt x="569" y="601"/>
                    <a:pt x="578" y="601"/>
                    <a:pt x="581" y="601"/>
                  </a:cubicBezTo>
                  <a:cubicBezTo>
                    <a:pt x="583" y="601"/>
                    <a:pt x="586" y="600"/>
                    <a:pt x="588" y="600"/>
                  </a:cubicBezTo>
                  <a:cubicBezTo>
                    <a:pt x="591" y="601"/>
                    <a:pt x="590" y="603"/>
                    <a:pt x="592" y="605"/>
                  </a:cubicBezTo>
                  <a:cubicBezTo>
                    <a:pt x="593" y="606"/>
                    <a:pt x="596" y="607"/>
                    <a:pt x="597" y="607"/>
                  </a:cubicBezTo>
                  <a:cubicBezTo>
                    <a:pt x="600" y="608"/>
                    <a:pt x="601" y="609"/>
                    <a:pt x="603" y="610"/>
                  </a:cubicBezTo>
                  <a:cubicBezTo>
                    <a:pt x="605" y="611"/>
                    <a:pt x="607" y="613"/>
                    <a:pt x="609" y="614"/>
                  </a:cubicBezTo>
                  <a:cubicBezTo>
                    <a:pt x="613" y="616"/>
                    <a:pt x="615" y="612"/>
                    <a:pt x="618" y="610"/>
                  </a:cubicBezTo>
                  <a:cubicBezTo>
                    <a:pt x="623" y="607"/>
                    <a:pt x="625" y="610"/>
                    <a:pt x="625" y="615"/>
                  </a:cubicBezTo>
                  <a:cubicBezTo>
                    <a:pt x="624" y="619"/>
                    <a:pt x="626" y="622"/>
                    <a:pt x="625" y="626"/>
                  </a:cubicBezTo>
                  <a:cubicBezTo>
                    <a:pt x="625" y="629"/>
                    <a:pt x="624" y="629"/>
                    <a:pt x="625" y="631"/>
                  </a:cubicBezTo>
                  <a:cubicBezTo>
                    <a:pt x="626" y="634"/>
                    <a:pt x="628" y="635"/>
                    <a:pt x="628" y="638"/>
                  </a:cubicBezTo>
                  <a:cubicBezTo>
                    <a:pt x="628" y="642"/>
                    <a:pt x="622" y="647"/>
                    <a:pt x="620" y="650"/>
                  </a:cubicBezTo>
                  <a:cubicBezTo>
                    <a:pt x="619" y="651"/>
                    <a:pt x="618" y="652"/>
                    <a:pt x="616" y="653"/>
                  </a:cubicBezTo>
                  <a:cubicBezTo>
                    <a:pt x="614" y="655"/>
                    <a:pt x="611" y="655"/>
                    <a:pt x="612" y="658"/>
                  </a:cubicBezTo>
                  <a:cubicBezTo>
                    <a:pt x="614" y="668"/>
                    <a:pt x="630" y="661"/>
                    <a:pt x="634" y="667"/>
                  </a:cubicBezTo>
                  <a:cubicBezTo>
                    <a:pt x="635" y="668"/>
                    <a:pt x="634" y="670"/>
                    <a:pt x="635" y="671"/>
                  </a:cubicBezTo>
                  <a:cubicBezTo>
                    <a:pt x="636" y="674"/>
                    <a:pt x="639" y="676"/>
                    <a:pt x="642" y="677"/>
                  </a:cubicBezTo>
                  <a:cubicBezTo>
                    <a:pt x="648" y="682"/>
                    <a:pt x="663" y="681"/>
                    <a:pt x="670" y="679"/>
                  </a:cubicBezTo>
                  <a:cubicBezTo>
                    <a:pt x="673" y="678"/>
                    <a:pt x="675" y="677"/>
                    <a:pt x="677" y="676"/>
                  </a:cubicBezTo>
                  <a:cubicBezTo>
                    <a:pt x="681" y="675"/>
                    <a:pt x="684" y="677"/>
                    <a:pt x="684" y="672"/>
                  </a:cubicBezTo>
                  <a:cubicBezTo>
                    <a:pt x="683" y="664"/>
                    <a:pt x="671" y="663"/>
                    <a:pt x="665" y="666"/>
                  </a:cubicBezTo>
                  <a:cubicBezTo>
                    <a:pt x="663" y="662"/>
                    <a:pt x="670" y="661"/>
                    <a:pt x="672" y="660"/>
                  </a:cubicBezTo>
                  <a:cubicBezTo>
                    <a:pt x="676" y="659"/>
                    <a:pt x="678" y="658"/>
                    <a:pt x="681" y="656"/>
                  </a:cubicBezTo>
                  <a:cubicBezTo>
                    <a:pt x="683" y="654"/>
                    <a:pt x="685" y="653"/>
                    <a:pt x="686" y="650"/>
                  </a:cubicBezTo>
                  <a:cubicBezTo>
                    <a:pt x="686" y="647"/>
                    <a:pt x="686" y="642"/>
                    <a:pt x="689" y="640"/>
                  </a:cubicBezTo>
                  <a:cubicBezTo>
                    <a:pt x="692" y="639"/>
                    <a:pt x="696" y="641"/>
                    <a:pt x="699" y="640"/>
                  </a:cubicBezTo>
                  <a:cubicBezTo>
                    <a:pt x="703" y="638"/>
                    <a:pt x="706" y="635"/>
                    <a:pt x="710" y="635"/>
                  </a:cubicBezTo>
                  <a:cubicBezTo>
                    <a:pt x="715" y="635"/>
                    <a:pt x="712" y="637"/>
                    <a:pt x="715" y="639"/>
                  </a:cubicBezTo>
                  <a:cubicBezTo>
                    <a:pt x="718" y="642"/>
                    <a:pt x="721" y="634"/>
                    <a:pt x="722" y="632"/>
                  </a:cubicBezTo>
                  <a:cubicBezTo>
                    <a:pt x="724" y="630"/>
                    <a:pt x="726" y="626"/>
                    <a:pt x="728" y="625"/>
                  </a:cubicBezTo>
                  <a:cubicBezTo>
                    <a:pt x="730" y="623"/>
                    <a:pt x="733" y="625"/>
                    <a:pt x="735" y="622"/>
                  </a:cubicBezTo>
                  <a:cubicBezTo>
                    <a:pt x="740" y="617"/>
                    <a:pt x="742" y="609"/>
                    <a:pt x="750" y="611"/>
                  </a:cubicBezTo>
                  <a:cubicBezTo>
                    <a:pt x="751" y="611"/>
                    <a:pt x="753" y="612"/>
                    <a:pt x="753" y="613"/>
                  </a:cubicBezTo>
                  <a:cubicBezTo>
                    <a:pt x="755" y="613"/>
                    <a:pt x="756" y="614"/>
                    <a:pt x="758" y="614"/>
                  </a:cubicBezTo>
                  <a:cubicBezTo>
                    <a:pt x="761" y="615"/>
                    <a:pt x="764" y="615"/>
                    <a:pt x="767" y="615"/>
                  </a:cubicBezTo>
                  <a:cubicBezTo>
                    <a:pt x="774" y="615"/>
                    <a:pt x="780" y="612"/>
                    <a:pt x="787" y="613"/>
                  </a:cubicBezTo>
                  <a:cubicBezTo>
                    <a:pt x="786" y="613"/>
                    <a:pt x="787" y="614"/>
                    <a:pt x="787" y="615"/>
                  </a:cubicBezTo>
                  <a:cubicBezTo>
                    <a:pt x="789" y="615"/>
                    <a:pt x="791" y="614"/>
                    <a:pt x="793" y="613"/>
                  </a:cubicBezTo>
                  <a:cubicBezTo>
                    <a:pt x="795" y="613"/>
                    <a:pt x="799" y="613"/>
                    <a:pt x="800" y="613"/>
                  </a:cubicBezTo>
                  <a:cubicBezTo>
                    <a:pt x="804" y="611"/>
                    <a:pt x="801" y="604"/>
                    <a:pt x="797" y="605"/>
                  </a:cubicBezTo>
                  <a:cubicBezTo>
                    <a:pt x="794" y="602"/>
                    <a:pt x="797" y="598"/>
                    <a:pt x="800" y="597"/>
                  </a:cubicBezTo>
                  <a:cubicBezTo>
                    <a:pt x="804" y="595"/>
                    <a:pt x="809" y="594"/>
                    <a:pt x="809" y="589"/>
                  </a:cubicBezTo>
                  <a:cubicBezTo>
                    <a:pt x="810" y="589"/>
                    <a:pt x="812" y="590"/>
                    <a:pt x="813" y="590"/>
                  </a:cubicBezTo>
                  <a:cubicBezTo>
                    <a:pt x="815" y="584"/>
                    <a:pt x="804" y="587"/>
                    <a:pt x="802" y="586"/>
                  </a:cubicBezTo>
                  <a:cubicBezTo>
                    <a:pt x="799" y="585"/>
                    <a:pt x="799" y="581"/>
                    <a:pt x="795" y="581"/>
                  </a:cubicBezTo>
                  <a:cubicBezTo>
                    <a:pt x="791" y="580"/>
                    <a:pt x="787" y="583"/>
                    <a:pt x="784" y="585"/>
                  </a:cubicBezTo>
                  <a:cubicBezTo>
                    <a:pt x="782" y="585"/>
                    <a:pt x="783" y="586"/>
                    <a:pt x="781" y="586"/>
                  </a:cubicBezTo>
                  <a:cubicBezTo>
                    <a:pt x="780" y="587"/>
                    <a:pt x="778" y="586"/>
                    <a:pt x="776" y="586"/>
                  </a:cubicBezTo>
                  <a:cubicBezTo>
                    <a:pt x="776" y="587"/>
                    <a:pt x="776" y="587"/>
                    <a:pt x="776" y="588"/>
                  </a:cubicBezTo>
                  <a:cubicBezTo>
                    <a:pt x="774" y="588"/>
                    <a:pt x="771" y="587"/>
                    <a:pt x="769" y="586"/>
                  </a:cubicBezTo>
                  <a:cubicBezTo>
                    <a:pt x="767" y="584"/>
                    <a:pt x="767" y="582"/>
                    <a:pt x="764" y="582"/>
                  </a:cubicBezTo>
                  <a:cubicBezTo>
                    <a:pt x="761" y="581"/>
                    <a:pt x="760" y="585"/>
                    <a:pt x="758" y="587"/>
                  </a:cubicBezTo>
                  <a:cubicBezTo>
                    <a:pt x="757" y="588"/>
                    <a:pt x="756" y="588"/>
                    <a:pt x="755" y="589"/>
                  </a:cubicBezTo>
                  <a:cubicBezTo>
                    <a:pt x="754" y="589"/>
                    <a:pt x="753" y="589"/>
                    <a:pt x="753" y="590"/>
                  </a:cubicBezTo>
                  <a:cubicBezTo>
                    <a:pt x="753" y="590"/>
                    <a:pt x="752" y="591"/>
                    <a:pt x="752" y="591"/>
                  </a:cubicBezTo>
                  <a:cubicBezTo>
                    <a:pt x="751" y="592"/>
                    <a:pt x="750" y="592"/>
                    <a:pt x="749" y="593"/>
                  </a:cubicBezTo>
                  <a:cubicBezTo>
                    <a:pt x="746" y="594"/>
                    <a:pt x="747" y="593"/>
                    <a:pt x="745" y="595"/>
                  </a:cubicBezTo>
                  <a:cubicBezTo>
                    <a:pt x="743" y="597"/>
                    <a:pt x="743" y="598"/>
                    <a:pt x="740" y="599"/>
                  </a:cubicBezTo>
                  <a:cubicBezTo>
                    <a:pt x="734" y="600"/>
                    <a:pt x="730" y="596"/>
                    <a:pt x="726" y="592"/>
                  </a:cubicBezTo>
                  <a:cubicBezTo>
                    <a:pt x="721" y="588"/>
                    <a:pt x="716" y="584"/>
                    <a:pt x="709" y="583"/>
                  </a:cubicBezTo>
                  <a:cubicBezTo>
                    <a:pt x="710" y="582"/>
                    <a:pt x="714" y="582"/>
                    <a:pt x="716" y="579"/>
                  </a:cubicBezTo>
                  <a:cubicBezTo>
                    <a:pt x="719" y="574"/>
                    <a:pt x="713" y="573"/>
                    <a:pt x="709" y="573"/>
                  </a:cubicBezTo>
                  <a:cubicBezTo>
                    <a:pt x="709" y="571"/>
                    <a:pt x="710" y="567"/>
                    <a:pt x="709" y="565"/>
                  </a:cubicBezTo>
                  <a:cubicBezTo>
                    <a:pt x="706" y="562"/>
                    <a:pt x="699" y="563"/>
                    <a:pt x="695" y="563"/>
                  </a:cubicBezTo>
                  <a:cubicBezTo>
                    <a:pt x="695" y="560"/>
                    <a:pt x="695" y="556"/>
                    <a:pt x="694" y="554"/>
                  </a:cubicBezTo>
                  <a:cubicBezTo>
                    <a:pt x="694" y="551"/>
                    <a:pt x="694" y="551"/>
                    <a:pt x="690" y="551"/>
                  </a:cubicBezTo>
                  <a:cubicBezTo>
                    <a:pt x="687" y="551"/>
                    <a:pt x="686" y="552"/>
                    <a:pt x="684" y="554"/>
                  </a:cubicBezTo>
                  <a:cubicBezTo>
                    <a:pt x="683" y="552"/>
                    <a:pt x="680" y="548"/>
                    <a:pt x="678" y="546"/>
                  </a:cubicBezTo>
                  <a:cubicBezTo>
                    <a:pt x="677" y="544"/>
                    <a:pt x="678" y="543"/>
                    <a:pt x="676" y="542"/>
                  </a:cubicBezTo>
                  <a:cubicBezTo>
                    <a:pt x="673" y="540"/>
                    <a:pt x="670" y="542"/>
                    <a:pt x="668" y="542"/>
                  </a:cubicBezTo>
                  <a:cubicBezTo>
                    <a:pt x="665" y="542"/>
                    <a:pt x="662" y="541"/>
                    <a:pt x="660" y="539"/>
                  </a:cubicBezTo>
                  <a:cubicBezTo>
                    <a:pt x="658" y="539"/>
                    <a:pt x="655" y="536"/>
                    <a:pt x="654" y="535"/>
                  </a:cubicBezTo>
                  <a:cubicBezTo>
                    <a:pt x="651" y="535"/>
                    <a:pt x="650" y="537"/>
                    <a:pt x="648" y="538"/>
                  </a:cubicBezTo>
                  <a:cubicBezTo>
                    <a:pt x="646" y="538"/>
                    <a:pt x="644" y="537"/>
                    <a:pt x="641" y="535"/>
                  </a:cubicBezTo>
                  <a:moveTo>
                    <a:pt x="638" y="532"/>
                  </a:moveTo>
                  <a:cubicBezTo>
                    <a:pt x="638" y="532"/>
                    <a:pt x="637" y="532"/>
                    <a:pt x="637" y="532"/>
                  </a:cubicBezTo>
                  <a:cubicBezTo>
                    <a:pt x="637" y="532"/>
                    <a:pt x="638" y="533"/>
                    <a:pt x="638" y="533"/>
                  </a:cubicBezTo>
                  <a:cubicBezTo>
                    <a:pt x="638" y="532"/>
                    <a:pt x="638" y="532"/>
                    <a:pt x="638" y="532"/>
                  </a:cubicBezTo>
                  <a:moveTo>
                    <a:pt x="931" y="441"/>
                  </a:moveTo>
                  <a:cubicBezTo>
                    <a:pt x="929" y="441"/>
                    <a:pt x="928" y="441"/>
                    <a:pt x="927" y="442"/>
                  </a:cubicBezTo>
                  <a:cubicBezTo>
                    <a:pt x="928" y="443"/>
                    <a:pt x="930" y="443"/>
                    <a:pt x="931" y="443"/>
                  </a:cubicBezTo>
                  <a:cubicBezTo>
                    <a:pt x="937" y="443"/>
                    <a:pt x="942" y="442"/>
                    <a:pt x="948" y="438"/>
                  </a:cubicBezTo>
                  <a:cubicBezTo>
                    <a:pt x="944" y="439"/>
                    <a:pt x="942" y="442"/>
                    <a:pt x="939" y="442"/>
                  </a:cubicBezTo>
                  <a:cubicBezTo>
                    <a:pt x="936" y="442"/>
                    <a:pt x="934" y="441"/>
                    <a:pt x="931" y="441"/>
                  </a:cubicBezTo>
                  <a:moveTo>
                    <a:pt x="1024" y="264"/>
                  </a:moveTo>
                  <a:cubicBezTo>
                    <a:pt x="1021" y="260"/>
                    <a:pt x="1014" y="262"/>
                    <a:pt x="1010" y="261"/>
                  </a:cubicBezTo>
                  <a:cubicBezTo>
                    <a:pt x="1010" y="260"/>
                    <a:pt x="1010" y="258"/>
                    <a:pt x="1009" y="257"/>
                  </a:cubicBezTo>
                  <a:cubicBezTo>
                    <a:pt x="1009" y="255"/>
                    <a:pt x="1007" y="255"/>
                    <a:pt x="1008" y="252"/>
                  </a:cubicBezTo>
                  <a:cubicBezTo>
                    <a:pt x="1008" y="250"/>
                    <a:pt x="1009" y="248"/>
                    <a:pt x="1009" y="247"/>
                  </a:cubicBezTo>
                  <a:cubicBezTo>
                    <a:pt x="1010" y="245"/>
                    <a:pt x="1012" y="245"/>
                    <a:pt x="1013" y="244"/>
                  </a:cubicBezTo>
                  <a:cubicBezTo>
                    <a:pt x="1013" y="243"/>
                    <a:pt x="1014" y="240"/>
                    <a:pt x="1013" y="239"/>
                  </a:cubicBezTo>
                  <a:cubicBezTo>
                    <a:pt x="1012" y="238"/>
                    <a:pt x="1008" y="239"/>
                    <a:pt x="1007" y="239"/>
                  </a:cubicBezTo>
                  <a:cubicBezTo>
                    <a:pt x="1004" y="240"/>
                    <a:pt x="1003" y="243"/>
                    <a:pt x="1001" y="244"/>
                  </a:cubicBezTo>
                  <a:cubicBezTo>
                    <a:pt x="997" y="245"/>
                    <a:pt x="991" y="244"/>
                    <a:pt x="988" y="242"/>
                  </a:cubicBezTo>
                  <a:cubicBezTo>
                    <a:pt x="986" y="241"/>
                    <a:pt x="985" y="238"/>
                    <a:pt x="984" y="236"/>
                  </a:cubicBezTo>
                  <a:cubicBezTo>
                    <a:pt x="983" y="235"/>
                    <a:pt x="983" y="232"/>
                    <a:pt x="982" y="231"/>
                  </a:cubicBezTo>
                  <a:cubicBezTo>
                    <a:pt x="980" y="229"/>
                    <a:pt x="975" y="229"/>
                    <a:pt x="972" y="229"/>
                  </a:cubicBezTo>
                  <a:cubicBezTo>
                    <a:pt x="970" y="229"/>
                    <a:pt x="968" y="230"/>
                    <a:pt x="966" y="229"/>
                  </a:cubicBezTo>
                  <a:cubicBezTo>
                    <a:pt x="964" y="229"/>
                    <a:pt x="962" y="226"/>
                    <a:pt x="960" y="225"/>
                  </a:cubicBezTo>
                  <a:cubicBezTo>
                    <a:pt x="957" y="224"/>
                    <a:pt x="953" y="220"/>
                    <a:pt x="950" y="221"/>
                  </a:cubicBezTo>
                  <a:cubicBezTo>
                    <a:pt x="950" y="227"/>
                    <a:pt x="943" y="223"/>
                    <a:pt x="941" y="221"/>
                  </a:cubicBezTo>
                  <a:cubicBezTo>
                    <a:pt x="939" y="219"/>
                    <a:pt x="937" y="219"/>
                    <a:pt x="934" y="217"/>
                  </a:cubicBezTo>
                  <a:cubicBezTo>
                    <a:pt x="929" y="215"/>
                    <a:pt x="931" y="215"/>
                    <a:pt x="930" y="211"/>
                  </a:cubicBezTo>
                  <a:cubicBezTo>
                    <a:pt x="929" y="208"/>
                    <a:pt x="928" y="207"/>
                    <a:pt x="925" y="208"/>
                  </a:cubicBezTo>
                  <a:cubicBezTo>
                    <a:pt x="923" y="209"/>
                    <a:pt x="923" y="212"/>
                    <a:pt x="921" y="213"/>
                  </a:cubicBezTo>
                  <a:cubicBezTo>
                    <a:pt x="917" y="215"/>
                    <a:pt x="916" y="211"/>
                    <a:pt x="913" y="209"/>
                  </a:cubicBezTo>
                  <a:cubicBezTo>
                    <a:pt x="911" y="208"/>
                    <a:pt x="909" y="209"/>
                    <a:pt x="907" y="208"/>
                  </a:cubicBezTo>
                  <a:cubicBezTo>
                    <a:pt x="906" y="206"/>
                    <a:pt x="907" y="204"/>
                    <a:pt x="907" y="202"/>
                  </a:cubicBezTo>
                  <a:cubicBezTo>
                    <a:pt x="898" y="201"/>
                    <a:pt x="904" y="206"/>
                    <a:pt x="901" y="210"/>
                  </a:cubicBezTo>
                  <a:cubicBezTo>
                    <a:pt x="899" y="212"/>
                    <a:pt x="894" y="213"/>
                    <a:pt x="891" y="212"/>
                  </a:cubicBezTo>
                  <a:cubicBezTo>
                    <a:pt x="890" y="212"/>
                    <a:pt x="889" y="209"/>
                    <a:pt x="887" y="208"/>
                  </a:cubicBezTo>
                  <a:cubicBezTo>
                    <a:pt x="885" y="207"/>
                    <a:pt x="882" y="206"/>
                    <a:pt x="879" y="204"/>
                  </a:cubicBezTo>
                  <a:cubicBezTo>
                    <a:pt x="874" y="202"/>
                    <a:pt x="873" y="201"/>
                    <a:pt x="872" y="195"/>
                  </a:cubicBezTo>
                  <a:cubicBezTo>
                    <a:pt x="871" y="190"/>
                    <a:pt x="871" y="177"/>
                    <a:pt x="862" y="182"/>
                  </a:cubicBezTo>
                  <a:cubicBezTo>
                    <a:pt x="863" y="177"/>
                    <a:pt x="859" y="172"/>
                    <a:pt x="855" y="172"/>
                  </a:cubicBezTo>
                  <a:cubicBezTo>
                    <a:pt x="853" y="173"/>
                    <a:pt x="853" y="174"/>
                    <a:pt x="851" y="175"/>
                  </a:cubicBezTo>
                  <a:cubicBezTo>
                    <a:pt x="849" y="176"/>
                    <a:pt x="850" y="177"/>
                    <a:pt x="847" y="177"/>
                  </a:cubicBezTo>
                  <a:cubicBezTo>
                    <a:pt x="843" y="178"/>
                    <a:pt x="840" y="179"/>
                    <a:pt x="836" y="180"/>
                  </a:cubicBezTo>
                  <a:cubicBezTo>
                    <a:pt x="834" y="180"/>
                    <a:pt x="832" y="181"/>
                    <a:pt x="829" y="181"/>
                  </a:cubicBezTo>
                  <a:cubicBezTo>
                    <a:pt x="825" y="182"/>
                    <a:pt x="821" y="184"/>
                    <a:pt x="817" y="187"/>
                  </a:cubicBezTo>
                  <a:cubicBezTo>
                    <a:pt x="815" y="188"/>
                    <a:pt x="815" y="188"/>
                    <a:pt x="814" y="191"/>
                  </a:cubicBezTo>
                  <a:cubicBezTo>
                    <a:pt x="813" y="195"/>
                    <a:pt x="812" y="197"/>
                    <a:pt x="808" y="194"/>
                  </a:cubicBezTo>
                  <a:cubicBezTo>
                    <a:pt x="804" y="192"/>
                    <a:pt x="806" y="182"/>
                    <a:pt x="799" y="185"/>
                  </a:cubicBezTo>
                  <a:cubicBezTo>
                    <a:pt x="796" y="186"/>
                    <a:pt x="797" y="187"/>
                    <a:pt x="794" y="186"/>
                  </a:cubicBezTo>
                  <a:cubicBezTo>
                    <a:pt x="792" y="185"/>
                    <a:pt x="791" y="182"/>
                    <a:pt x="790" y="180"/>
                  </a:cubicBezTo>
                  <a:cubicBezTo>
                    <a:pt x="788" y="179"/>
                    <a:pt x="786" y="178"/>
                    <a:pt x="784" y="178"/>
                  </a:cubicBezTo>
                  <a:cubicBezTo>
                    <a:pt x="780" y="177"/>
                    <a:pt x="777" y="175"/>
                    <a:pt x="773" y="175"/>
                  </a:cubicBezTo>
                  <a:cubicBezTo>
                    <a:pt x="767" y="175"/>
                    <a:pt x="762" y="176"/>
                    <a:pt x="762" y="183"/>
                  </a:cubicBezTo>
                  <a:cubicBezTo>
                    <a:pt x="758" y="184"/>
                    <a:pt x="753" y="175"/>
                    <a:pt x="751" y="173"/>
                  </a:cubicBezTo>
                  <a:cubicBezTo>
                    <a:pt x="747" y="170"/>
                    <a:pt x="741" y="167"/>
                    <a:pt x="742" y="162"/>
                  </a:cubicBezTo>
                  <a:cubicBezTo>
                    <a:pt x="743" y="157"/>
                    <a:pt x="749" y="156"/>
                    <a:pt x="749" y="152"/>
                  </a:cubicBezTo>
                  <a:cubicBezTo>
                    <a:pt x="749" y="151"/>
                    <a:pt x="747" y="148"/>
                    <a:pt x="747" y="147"/>
                  </a:cubicBezTo>
                  <a:cubicBezTo>
                    <a:pt x="746" y="143"/>
                    <a:pt x="745" y="139"/>
                    <a:pt x="744" y="135"/>
                  </a:cubicBezTo>
                  <a:cubicBezTo>
                    <a:pt x="744" y="132"/>
                    <a:pt x="742" y="130"/>
                    <a:pt x="742" y="127"/>
                  </a:cubicBezTo>
                  <a:cubicBezTo>
                    <a:pt x="742" y="125"/>
                    <a:pt x="742" y="124"/>
                    <a:pt x="744" y="123"/>
                  </a:cubicBezTo>
                  <a:cubicBezTo>
                    <a:pt x="740" y="122"/>
                    <a:pt x="736" y="122"/>
                    <a:pt x="733" y="121"/>
                  </a:cubicBezTo>
                  <a:cubicBezTo>
                    <a:pt x="730" y="120"/>
                    <a:pt x="730" y="116"/>
                    <a:pt x="729" y="113"/>
                  </a:cubicBezTo>
                  <a:cubicBezTo>
                    <a:pt x="728" y="110"/>
                    <a:pt x="726" y="108"/>
                    <a:pt x="726" y="106"/>
                  </a:cubicBezTo>
                  <a:cubicBezTo>
                    <a:pt x="721" y="104"/>
                    <a:pt x="720" y="111"/>
                    <a:pt x="716" y="111"/>
                  </a:cubicBezTo>
                  <a:cubicBezTo>
                    <a:pt x="712" y="111"/>
                    <a:pt x="707" y="110"/>
                    <a:pt x="703" y="108"/>
                  </a:cubicBezTo>
                  <a:cubicBezTo>
                    <a:pt x="699" y="106"/>
                    <a:pt x="695" y="103"/>
                    <a:pt x="690" y="104"/>
                  </a:cubicBezTo>
                  <a:cubicBezTo>
                    <a:pt x="689" y="104"/>
                    <a:pt x="688" y="105"/>
                    <a:pt x="686" y="105"/>
                  </a:cubicBezTo>
                  <a:cubicBezTo>
                    <a:pt x="683" y="105"/>
                    <a:pt x="680" y="106"/>
                    <a:pt x="677" y="105"/>
                  </a:cubicBezTo>
                  <a:cubicBezTo>
                    <a:pt x="677" y="103"/>
                    <a:pt x="677" y="99"/>
                    <a:pt x="680" y="99"/>
                  </a:cubicBezTo>
                  <a:cubicBezTo>
                    <a:pt x="680" y="96"/>
                    <a:pt x="671" y="94"/>
                    <a:pt x="672" y="89"/>
                  </a:cubicBezTo>
                  <a:cubicBezTo>
                    <a:pt x="673" y="86"/>
                    <a:pt x="678" y="88"/>
                    <a:pt x="680" y="85"/>
                  </a:cubicBezTo>
                  <a:cubicBezTo>
                    <a:pt x="682" y="83"/>
                    <a:pt x="681" y="77"/>
                    <a:pt x="681" y="74"/>
                  </a:cubicBezTo>
                  <a:cubicBezTo>
                    <a:pt x="678" y="74"/>
                    <a:pt x="672" y="72"/>
                    <a:pt x="670" y="70"/>
                  </a:cubicBezTo>
                  <a:cubicBezTo>
                    <a:pt x="667" y="67"/>
                    <a:pt x="669" y="65"/>
                    <a:pt x="673" y="65"/>
                  </a:cubicBezTo>
                  <a:cubicBezTo>
                    <a:pt x="677" y="64"/>
                    <a:pt x="680" y="65"/>
                    <a:pt x="684" y="65"/>
                  </a:cubicBezTo>
                  <a:cubicBezTo>
                    <a:pt x="687" y="65"/>
                    <a:pt x="687" y="65"/>
                    <a:pt x="690" y="62"/>
                  </a:cubicBezTo>
                  <a:cubicBezTo>
                    <a:pt x="692" y="60"/>
                    <a:pt x="691" y="45"/>
                    <a:pt x="686" y="45"/>
                  </a:cubicBezTo>
                  <a:cubicBezTo>
                    <a:pt x="684" y="45"/>
                    <a:pt x="682" y="45"/>
                    <a:pt x="680" y="45"/>
                  </a:cubicBezTo>
                  <a:cubicBezTo>
                    <a:pt x="678" y="44"/>
                    <a:pt x="678" y="45"/>
                    <a:pt x="677" y="43"/>
                  </a:cubicBezTo>
                  <a:cubicBezTo>
                    <a:pt x="676" y="41"/>
                    <a:pt x="676" y="37"/>
                    <a:pt x="673" y="37"/>
                  </a:cubicBezTo>
                  <a:cubicBezTo>
                    <a:pt x="676" y="44"/>
                    <a:pt x="676" y="44"/>
                    <a:pt x="676" y="44"/>
                  </a:cubicBezTo>
                  <a:cubicBezTo>
                    <a:pt x="676" y="44"/>
                    <a:pt x="676" y="45"/>
                    <a:pt x="676" y="45"/>
                  </a:cubicBezTo>
                  <a:cubicBezTo>
                    <a:pt x="676" y="44"/>
                    <a:pt x="676" y="44"/>
                    <a:pt x="676" y="44"/>
                  </a:cubicBezTo>
                  <a:cubicBezTo>
                    <a:pt x="675" y="42"/>
                    <a:pt x="673" y="41"/>
                    <a:pt x="672" y="40"/>
                  </a:cubicBezTo>
                  <a:cubicBezTo>
                    <a:pt x="672" y="39"/>
                    <a:pt x="668" y="36"/>
                    <a:pt x="668" y="35"/>
                  </a:cubicBezTo>
                  <a:cubicBezTo>
                    <a:pt x="666" y="32"/>
                    <a:pt x="668" y="31"/>
                    <a:pt x="669" y="29"/>
                  </a:cubicBezTo>
                  <a:cubicBezTo>
                    <a:pt x="670" y="27"/>
                    <a:pt x="671" y="26"/>
                    <a:pt x="671" y="23"/>
                  </a:cubicBezTo>
                  <a:cubicBezTo>
                    <a:pt x="670" y="19"/>
                    <a:pt x="668" y="21"/>
                    <a:pt x="666" y="19"/>
                  </a:cubicBezTo>
                  <a:cubicBezTo>
                    <a:pt x="665" y="18"/>
                    <a:pt x="664" y="18"/>
                    <a:pt x="664" y="17"/>
                  </a:cubicBezTo>
                  <a:cubicBezTo>
                    <a:pt x="662" y="13"/>
                    <a:pt x="662" y="10"/>
                    <a:pt x="658" y="7"/>
                  </a:cubicBezTo>
                  <a:cubicBezTo>
                    <a:pt x="655" y="4"/>
                    <a:pt x="652" y="0"/>
                    <a:pt x="649" y="6"/>
                  </a:cubicBezTo>
                  <a:cubicBezTo>
                    <a:pt x="646" y="12"/>
                    <a:pt x="647" y="15"/>
                    <a:pt x="639" y="14"/>
                  </a:cubicBezTo>
                  <a:cubicBezTo>
                    <a:pt x="639" y="10"/>
                    <a:pt x="639" y="10"/>
                    <a:pt x="636" y="9"/>
                  </a:cubicBezTo>
                  <a:cubicBezTo>
                    <a:pt x="634" y="8"/>
                    <a:pt x="632" y="8"/>
                    <a:pt x="630" y="8"/>
                  </a:cubicBezTo>
                  <a:cubicBezTo>
                    <a:pt x="629" y="9"/>
                    <a:pt x="629" y="10"/>
                    <a:pt x="628" y="11"/>
                  </a:cubicBezTo>
                  <a:cubicBezTo>
                    <a:pt x="627" y="11"/>
                    <a:pt x="625" y="11"/>
                    <a:pt x="624" y="11"/>
                  </a:cubicBezTo>
                  <a:cubicBezTo>
                    <a:pt x="621" y="11"/>
                    <a:pt x="618" y="10"/>
                    <a:pt x="615" y="11"/>
                  </a:cubicBezTo>
                  <a:cubicBezTo>
                    <a:pt x="615" y="11"/>
                    <a:pt x="612" y="14"/>
                    <a:pt x="612" y="14"/>
                  </a:cubicBezTo>
                  <a:cubicBezTo>
                    <a:pt x="612" y="14"/>
                    <a:pt x="610" y="16"/>
                    <a:pt x="609" y="17"/>
                  </a:cubicBezTo>
                  <a:cubicBezTo>
                    <a:pt x="608" y="18"/>
                    <a:pt x="606" y="18"/>
                    <a:pt x="603" y="17"/>
                  </a:cubicBezTo>
                  <a:cubicBezTo>
                    <a:pt x="601" y="17"/>
                    <a:pt x="600" y="16"/>
                    <a:pt x="598" y="16"/>
                  </a:cubicBezTo>
                  <a:cubicBezTo>
                    <a:pt x="596" y="15"/>
                    <a:pt x="595" y="15"/>
                    <a:pt x="594" y="15"/>
                  </a:cubicBezTo>
                  <a:cubicBezTo>
                    <a:pt x="593" y="15"/>
                    <a:pt x="592" y="15"/>
                    <a:pt x="592" y="15"/>
                  </a:cubicBezTo>
                  <a:cubicBezTo>
                    <a:pt x="591" y="15"/>
                    <a:pt x="590" y="14"/>
                    <a:pt x="590" y="13"/>
                  </a:cubicBezTo>
                  <a:cubicBezTo>
                    <a:pt x="589" y="12"/>
                    <a:pt x="589" y="11"/>
                    <a:pt x="587" y="10"/>
                  </a:cubicBezTo>
                  <a:cubicBezTo>
                    <a:pt x="586" y="9"/>
                    <a:pt x="585" y="9"/>
                    <a:pt x="584" y="9"/>
                  </a:cubicBezTo>
                  <a:cubicBezTo>
                    <a:pt x="582" y="8"/>
                    <a:pt x="584" y="7"/>
                    <a:pt x="582" y="7"/>
                  </a:cubicBezTo>
                  <a:cubicBezTo>
                    <a:pt x="582" y="7"/>
                    <a:pt x="579" y="10"/>
                    <a:pt x="579" y="9"/>
                  </a:cubicBezTo>
                  <a:cubicBezTo>
                    <a:pt x="575" y="14"/>
                    <a:pt x="577" y="17"/>
                    <a:pt x="576" y="23"/>
                  </a:cubicBezTo>
                  <a:cubicBezTo>
                    <a:pt x="576" y="24"/>
                    <a:pt x="575" y="28"/>
                    <a:pt x="574" y="29"/>
                  </a:cubicBezTo>
                  <a:cubicBezTo>
                    <a:pt x="573" y="30"/>
                    <a:pt x="570" y="30"/>
                    <a:pt x="569" y="31"/>
                  </a:cubicBezTo>
                  <a:cubicBezTo>
                    <a:pt x="567" y="33"/>
                    <a:pt x="566" y="35"/>
                    <a:pt x="564" y="36"/>
                  </a:cubicBezTo>
                  <a:cubicBezTo>
                    <a:pt x="561" y="36"/>
                    <a:pt x="554" y="36"/>
                    <a:pt x="552" y="34"/>
                  </a:cubicBezTo>
                  <a:cubicBezTo>
                    <a:pt x="550" y="31"/>
                    <a:pt x="552" y="30"/>
                    <a:pt x="549" y="29"/>
                  </a:cubicBezTo>
                  <a:cubicBezTo>
                    <a:pt x="549" y="30"/>
                    <a:pt x="549" y="30"/>
                    <a:pt x="549" y="31"/>
                  </a:cubicBezTo>
                  <a:cubicBezTo>
                    <a:pt x="548" y="33"/>
                    <a:pt x="545" y="31"/>
                    <a:pt x="543" y="30"/>
                  </a:cubicBezTo>
                  <a:cubicBezTo>
                    <a:pt x="537" y="29"/>
                    <a:pt x="530" y="27"/>
                    <a:pt x="523" y="27"/>
                  </a:cubicBezTo>
                  <a:cubicBezTo>
                    <a:pt x="521" y="27"/>
                    <a:pt x="521" y="27"/>
                    <a:pt x="520" y="29"/>
                  </a:cubicBezTo>
                  <a:cubicBezTo>
                    <a:pt x="519" y="31"/>
                    <a:pt x="517" y="34"/>
                    <a:pt x="516" y="35"/>
                  </a:cubicBezTo>
                  <a:cubicBezTo>
                    <a:pt x="514" y="35"/>
                    <a:pt x="510" y="36"/>
                    <a:pt x="508" y="35"/>
                  </a:cubicBezTo>
                  <a:cubicBezTo>
                    <a:pt x="506" y="34"/>
                    <a:pt x="507" y="34"/>
                    <a:pt x="506" y="33"/>
                  </a:cubicBezTo>
                  <a:cubicBezTo>
                    <a:pt x="505" y="32"/>
                    <a:pt x="504" y="29"/>
                    <a:pt x="502" y="31"/>
                  </a:cubicBezTo>
                  <a:cubicBezTo>
                    <a:pt x="501" y="32"/>
                    <a:pt x="502" y="35"/>
                    <a:pt x="502" y="36"/>
                  </a:cubicBezTo>
                  <a:cubicBezTo>
                    <a:pt x="502" y="38"/>
                    <a:pt x="501" y="40"/>
                    <a:pt x="500" y="42"/>
                  </a:cubicBezTo>
                  <a:cubicBezTo>
                    <a:pt x="499" y="42"/>
                    <a:pt x="499" y="42"/>
                    <a:pt x="498" y="43"/>
                  </a:cubicBezTo>
                  <a:cubicBezTo>
                    <a:pt x="497" y="44"/>
                    <a:pt x="497" y="45"/>
                    <a:pt x="496" y="46"/>
                  </a:cubicBezTo>
                  <a:cubicBezTo>
                    <a:pt x="495" y="48"/>
                    <a:pt x="493" y="51"/>
                    <a:pt x="492" y="52"/>
                  </a:cubicBezTo>
                  <a:cubicBezTo>
                    <a:pt x="491" y="53"/>
                    <a:pt x="490" y="53"/>
                    <a:pt x="490" y="54"/>
                  </a:cubicBezTo>
                  <a:cubicBezTo>
                    <a:pt x="488" y="55"/>
                    <a:pt x="488" y="56"/>
                    <a:pt x="487" y="58"/>
                  </a:cubicBezTo>
                  <a:cubicBezTo>
                    <a:pt x="485" y="61"/>
                    <a:pt x="483" y="64"/>
                    <a:pt x="481" y="67"/>
                  </a:cubicBezTo>
                  <a:cubicBezTo>
                    <a:pt x="476" y="75"/>
                    <a:pt x="478" y="84"/>
                    <a:pt x="480" y="92"/>
                  </a:cubicBezTo>
                  <a:cubicBezTo>
                    <a:pt x="481" y="95"/>
                    <a:pt x="483" y="98"/>
                    <a:pt x="482" y="101"/>
                  </a:cubicBezTo>
                  <a:cubicBezTo>
                    <a:pt x="481" y="103"/>
                    <a:pt x="479" y="106"/>
                    <a:pt x="476" y="105"/>
                  </a:cubicBezTo>
                  <a:cubicBezTo>
                    <a:pt x="474" y="105"/>
                    <a:pt x="473" y="104"/>
                    <a:pt x="472" y="103"/>
                  </a:cubicBezTo>
                  <a:cubicBezTo>
                    <a:pt x="470" y="101"/>
                    <a:pt x="468" y="99"/>
                    <a:pt x="466" y="97"/>
                  </a:cubicBezTo>
                  <a:cubicBezTo>
                    <a:pt x="464" y="94"/>
                    <a:pt x="461" y="94"/>
                    <a:pt x="459" y="92"/>
                  </a:cubicBezTo>
                  <a:cubicBezTo>
                    <a:pt x="457" y="91"/>
                    <a:pt x="456" y="86"/>
                    <a:pt x="453" y="85"/>
                  </a:cubicBezTo>
                  <a:cubicBezTo>
                    <a:pt x="450" y="83"/>
                    <a:pt x="446" y="87"/>
                    <a:pt x="442" y="88"/>
                  </a:cubicBezTo>
                  <a:cubicBezTo>
                    <a:pt x="439" y="88"/>
                    <a:pt x="435" y="88"/>
                    <a:pt x="432" y="88"/>
                  </a:cubicBezTo>
                  <a:cubicBezTo>
                    <a:pt x="432" y="85"/>
                    <a:pt x="431" y="82"/>
                    <a:pt x="428" y="81"/>
                  </a:cubicBezTo>
                  <a:cubicBezTo>
                    <a:pt x="424" y="79"/>
                    <a:pt x="419" y="82"/>
                    <a:pt x="418" y="87"/>
                  </a:cubicBezTo>
                  <a:cubicBezTo>
                    <a:pt x="418" y="89"/>
                    <a:pt x="418" y="90"/>
                    <a:pt x="417" y="92"/>
                  </a:cubicBezTo>
                  <a:cubicBezTo>
                    <a:pt x="416" y="93"/>
                    <a:pt x="416" y="94"/>
                    <a:pt x="414" y="95"/>
                  </a:cubicBezTo>
                  <a:cubicBezTo>
                    <a:pt x="412" y="95"/>
                    <a:pt x="409" y="94"/>
                    <a:pt x="408" y="93"/>
                  </a:cubicBezTo>
                  <a:cubicBezTo>
                    <a:pt x="405" y="90"/>
                    <a:pt x="403" y="83"/>
                    <a:pt x="403" y="79"/>
                  </a:cubicBezTo>
                  <a:cubicBezTo>
                    <a:pt x="402" y="76"/>
                    <a:pt x="400" y="71"/>
                    <a:pt x="395" y="73"/>
                  </a:cubicBezTo>
                  <a:cubicBezTo>
                    <a:pt x="393" y="74"/>
                    <a:pt x="393" y="76"/>
                    <a:pt x="392" y="77"/>
                  </a:cubicBezTo>
                  <a:cubicBezTo>
                    <a:pt x="391" y="79"/>
                    <a:pt x="389" y="80"/>
                    <a:pt x="387" y="80"/>
                  </a:cubicBezTo>
                  <a:cubicBezTo>
                    <a:pt x="385" y="81"/>
                    <a:pt x="384" y="81"/>
                    <a:pt x="382" y="82"/>
                  </a:cubicBezTo>
                  <a:cubicBezTo>
                    <a:pt x="379" y="83"/>
                    <a:pt x="379" y="82"/>
                    <a:pt x="378" y="84"/>
                  </a:cubicBezTo>
                  <a:cubicBezTo>
                    <a:pt x="378" y="86"/>
                    <a:pt x="380" y="91"/>
                    <a:pt x="378" y="92"/>
                  </a:cubicBezTo>
                  <a:cubicBezTo>
                    <a:pt x="377" y="93"/>
                    <a:pt x="374" y="93"/>
                    <a:pt x="372" y="93"/>
                  </a:cubicBezTo>
                  <a:cubicBezTo>
                    <a:pt x="372" y="88"/>
                    <a:pt x="374" y="79"/>
                    <a:pt x="368" y="77"/>
                  </a:cubicBezTo>
                  <a:cubicBezTo>
                    <a:pt x="367" y="77"/>
                    <a:pt x="364" y="77"/>
                    <a:pt x="363" y="77"/>
                  </a:cubicBezTo>
                  <a:cubicBezTo>
                    <a:pt x="361" y="78"/>
                    <a:pt x="360" y="80"/>
                    <a:pt x="359" y="81"/>
                  </a:cubicBezTo>
                  <a:cubicBezTo>
                    <a:pt x="357" y="82"/>
                    <a:pt x="356" y="81"/>
                    <a:pt x="354" y="78"/>
                  </a:cubicBezTo>
                  <a:cubicBezTo>
                    <a:pt x="353" y="75"/>
                    <a:pt x="351" y="66"/>
                    <a:pt x="347" y="66"/>
                  </a:cubicBezTo>
                  <a:cubicBezTo>
                    <a:pt x="344" y="65"/>
                    <a:pt x="343" y="70"/>
                    <a:pt x="343" y="72"/>
                  </a:cubicBezTo>
                  <a:cubicBezTo>
                    <a:pt x="342" y="74"/>
                    <a:pt x="341" y="75"/>
                    <a:pt x="338" y="75"/>
                  </a:cubicBezTo>
                  <a:cubicBezTo>
                    <a:pt x="336" y="75"/>
                    <a:pt x="333" y="72"/>
                    <a:pt x="332" y="73"/>
                  </a:cubicBezTo>
                  <a:cubicBezTo>
                    <a:pt x="330" y="74"/>
                    <a:pt x="331" y="77"/>
                    <a:pt x="331" y="79"/>
                  </a:cubicBezTo>
                  <a:cubicBezTo>
                    <a:pt x="330" y="81"/>
                    <a:pt x="329" y="82"/>
                    <a:pt x="327" y="84"/>
                  </a:cubicBezTo>
                  <a:cubicBezTo>
                    <a:pt x="324" y="86"/>
                    <a:pt x="323" y="86"/>
                    <a:pt x="321" y="83"/>
                  </a:cubicBezTo>
                  <a:cubicBezTo>
                    <a:pt x="320" y="81"/>
                    <a:pt x="319" y="78"/>
                    <a:pt x="318" y="75"/>
                  </a:cubicBezTo>
                  <a:cubicBezTo>
                    <a:pt x="317" y="72"/>
                    <a:pt x="314" y="72"/>
                    <a:pt x="311" y="72"/>
                  </a:cubicBezTo>
                  <a:cubicBezTo>
                    <a:pt x="308" y="72"/>
                    <a:pt x="305" y="75"/>
                    <a:pt x="303" y="74"/>
                  </a:cubicBezTo>
                  <a:cubicBezTo>
                    <a:pt x="302" y="73"/>
                    <a:pt x="302" y="72"/>
                    <a:pt x="302" y="71"/>
                  </a:cubicBezTo>
                  <a:cubicBezTo>
                    <a:pt x="301" y="70"/>
                    <a:pt x="301" y="70"/>
                    <a:pt x="300" y="68"/>
                  </a:cubicBezTo>
                  <a:cubicBezTo>
                    <a:pt x="300" y="67"/>
                    <a:pt x="300" y="67"/>
                    <a:pt x="299" y="66"/>
                  </a:cubicBezTo>
                  <a:cubicBezTo>
                    <a:pt x="299" y="65"/>
                    <a:pt x="298" y="64"/>
                    <a:pt x="298" y="64"/>
                  </a:cubicBezTo>
                  <a:cubicBezTo>
                    <a:pt x="297" y="62"/>
                    <a:pt x="297" y="60"/>
                    <a:pt x="296" y="59"/>
                  </a:cubicBezTo>
                  <a:cubicBezTo>
                    <a:pt x="291" y="53"/>
                    <a:pt x="284" y="62"/>
                    <a:pt x="279" y="61"/>
                  </a:cubicBezTo>
                  <a:cubicBezTo>
                    <a:pt x="276" y="60"/>
                    <a:pt x="274" y="58"/>
                    <a:pt x="272" y="57"/>
                  </a:cubicBezTo>
                  <a:cubicBezTo>
                    <a:pt x="270" y="56"/>
                    <a:pt x="267" y="55"/>
                    <a:pt x="265" y="54"/>
                  </a:cubicBezTo>
                  <a:cubicBezTo>
                    <a:pt x="262" y="54"/>
                    <a:pt x="259" y="54"/>
                    <a:pt x="255" y="54"/>
                  </a:cubicBezTo>
                  <a:cubicBezTo>
                    <a:pt x="253" y="55"/>
                    <a:pt x="250" y="56"/>
                    <a:pt x="248" y="55"/>
                  </a:cubicBezTo>
                  <a:cubicBezTo>
                    <a:pt x="246" y="54"/>
                    <a:pt x="247" y="51"/>
                    <a:pt x="244" y="50"/>
                  </a:cubicBezTo>
                  <a:cubicBezTo>
                    <a:pt x="243" y="49"/>
                    <a:pt x="240" y="50"/>
                    <a:pt x="239" y="50"/>
                  </a:cubicBezTo>
                  <a:cubicBezTo>
                    <a:pt x="237" y="50"/>
                    <a:pt x="235" y="49"/>
                    <a:pt x="234" y="49"/>
                  </a:cubicBezTo>
                  <a:cubicBezTo>
                    <a:pt x="231" y="48"/>
                    <a:pt x="229" y="48"/>
                    <a:pt x="227" y="48"/>
                  </a:cubicBezTo>
                  <a:cubicBezTo>
                    <a:pt x="226" y="48"/>
                    <a:pt x="224" y="48"/>
                    <a:pt x="223" y="47"/>
                  </a:cubicBezTo>
                  <a:cubicBezTo>
                    <a:pt x="222" y="47"/>
                    <a:pt x="221" y="46"/>
                    <a:pt x="220" y="46"/>
                  </a:cubicBezTo>
                  <a:cubicBezTo>
                    <a:pt x="219" y="45"/>
                    <a:pt x="216" y="46"/>
                    <a:pt x="214" y="46"/>
                  </a:cubicBezTo>
                  <a:cubicBezTo>
                    <a:pt x="210" y="46"/>
                    <a:pt x="206" y="45"/>
                    <a:pt x="202" y="45"/>
                  </a:cubicBezTo>
                  <a:cubicBezTo>
                    <a:pt x="198" y="45"/>
                    <a:pt x="194" y="44"/>
                    <a:pt x="190" y="44"/>
                  </a:cubicBezTo>
                  <a:cubicBezTo>
                    <a:pt x="188" y="44"/>
                    <a:pt x="187" y="44"/>
                    <a:pt x="185" y="44"/>
                  </a:cubicBezTo>
                  <a:cubicBezTo>
                    <a:pt x="182" y="43"/>
                    <a:pt x="179" y="46"/>
                    <a:pt x="176" y="46"/>
                  </a:cubicBezTo>
                  <a:cubicBezTo>
                    <a:pt x="174" y="47"/>
                    <a:pt x="172" y="47"/>
                    <a:pt x="171" y="47"/>
                  </a:cubicBezTo>
                  <a:cubicBezTo>
                    <a:pt x="169" y="47"/>
                    <a:pt x="167" y="45"/>
                    <a:pt x="165" y="45"/>
                  </a:cubicBezTo>
                  <a:cubicBezTo>
                    <a:pt x="163" y="44"/>
                    <a:pt x="161" y="44"/>
                    <a:pt x="159" y="44"/>
                  </a:cubicBezTo>
                  <a:cubicBezTo>
                    <a:pt x="156" y="43"/>
                    <a:pt x="153" y="44"/>
                    <a:pt x="151" y="46"/>
                  </a:cubicBezTo>
                  <a:cubicBezTo>
                    <a:pt x="151" y="46"/>
                    <a:pt x="149" y="48"/>
                    <a:pt x="149" y="48"/>
                  </a:cubicBezTo>
                  <a:cubicBezTo>
                    <a:pt x="148" y="48"/>
                    <a:pt x="147" y="48"/>
                    <a:pt x="146" y="48"/>
                  </a:cubicBezTo>
                  <a:cubicBezTo>
                    <a:pt x="145" y="48"/>
                    <a:pt x="143" y="49"/>
                    <a:pt x="142" y="51"/>
                  </a:cubicBezTo>
                  <a:cubicBezTo>
                    <a:pt x="139" y="54"/>
                    <a:pt x="141" y="57"/>
                    <a:pt x="139" y="60"/>
                  </a:cubicBezTo>
                  <a:cubicBezTo>
                    <a:pt x="138" y="64"/>
                    <a:pt x="133" y="64"/>
                    <a:pt x="131" y="66"/>
                  </a:cubicBezTo>
                  <a:cubicBezTo>
                    <a:pt x="128" y="68"/>
                    <a:pt x="127" y="68"/>
                    <a:pt x="124" y="68"/>
                  </a:cubicBezTo>
                  <a:cubicBezTo>
                    <a:pt x="121" y="69"/>
                    <a:pt x="118" y="70"/>
                    <a:pt x="115" y="70"/>
                  </a:cubicBezTo>
                  <a:cubicBezTo>
                    <a:pt x="115" y="70"/>
                    <a:pt x="115" y="70"/>
                    <a:pt x="115" y="70"/>
                  </a:cubicBezTo>
                  <a:cubicBezTo>
                    <a:pt x="116" y="71"/>
                    <a:pt x="116" y="74"/>
                    <a:pt x="117" y="76"/>
                  </a:cubicBezTo>
                  <a:cubicBezTo>
                    <a:pt x="117" y="78"/>
                    <a:pt x="117" y="79"/>
                    <a:pt x="117" y="81"/>
                  </a:cubicBezTo>
                  <a:cubicBezTo>
                    <a:pt x="117" y="84"/>
                    <a:pt x="118" y="87"/>
                    <a:pt x="119" y="90"/>
                  </a:cubicBezTo>
                  <a:cubicBezTo>
                    <a:pt x="120" y="94"/>
                    <a:pt x="122" y="97"/>
                    <a:pt x="124" y="101"/>
                  </a:cubicBezTo>
                  <a:cubicBezTo>
                    <a:pt x="124" y="103"/>
                    <a:pt x="125" y="104"/>
                    <a:pt x="126" y="106"/>
                  </a:cubicBezTo>
                  <a:cubicBezTo>
                    <a:pt x="126" y="107"/>
                    <a:pt x="126" y="107"/>
                    <a:pt x="127" y="108"/>
                  </a:cubicBezTo>
                  <a:cubicBezTo>
                    <a:pt x="127" y="108"/>
                    <a:pt x="127" y="109"/>
                    <a:pt x="127" y="109"/>
                  </a:cubicBezTo>
                  <a:cubicBezTo>
                    <a:pt x="127" y="110"/>
                    <a:pt x="127" y="111"/>
                    <a:pt x="128" y="111"/>
                  </a:cubicBezTo>
                  <a:cubicBezTo>
                    <a:pt x="129" y="111"/>
                    <a:pt x="130" y="111"/>
                    <a:pt x="130" y="111"/>
                  </a:cubicBezTo>
                  <a:cubicBezTo>
                    <a:pt x="131" y="112"/>
                    <a:pt x="132" y="115"/>
                    <a:pt x="132" y="116"/>
                  </a:cubicBezTo>
                  <a:cubicBezTo>
                    <a:pt x="134" y="119"/>
                    <a:pt x="136" y="122"/>
                    <a:pt x="138" y="124"/>
                  </a:cubicBezTo>
                  <a:cubicBezTo>
                    <a:pt x="138" y="126"/>
                    <a:pt x="138" y="128"/>
                    <a:pt x="139" y="130"/>
                  </a:cubicBezTo>
                  <a:cubicBezTo>
                    <a:pt x="140" y="131"/>
                    <a:pt x="140" y="130"/>
                    <a:pt x="141" y="132"/>
                  </a:cubicBezTo>
                  <a:cubicBezTo>
                    <a:pt x="141" y="133"/>
                    <a:pt x="141" y="134"/>
                    <a:pt x="140" y="135"/>
                  </a:cubicBezTo>
                  <a:cubicBezTo>
                    <a:pt x="140" y="135"/>
                    <a:pt x="125" y="134"/>
                    <a:pt x="129" y="139"/>
                  </a:cubicBezTo>
                  <a:cubicBezTo>
                    <a:pt x="129" y="139"/>
                    <a:pt x="131" y="140"/>
                    <a:pt x="132" y="140"/>
                  </a:cubicBezTo>
                  <a:cubicBezTo>
                    <a:pt x="132" y="140"/>
                    <a:pt x="134" y="141"/>
                    <a:pt x="135" y="142"/>
                  </a:cubicBezTo>
                  <a:cubicBezTo>
                    <a:pt x="136" y="144"/>
                    <a:pt x="136" y="145"/>
                    <a:pt x="136" y="147"/>
                  </a:cubicBezTo>
                  <a:cubicBezTo>
                    <a:pt x="136" y="152"/>
                    <a:pt x="136" y="157"/>
                    <a:pt x="136" y="162"/>
                  </a:cubicBezTo>
                  <a:cubicBezTo>
                    <a:pt x="136" y="162"/>
                    <a:pt x="135" y="163"/>
                    <a:pt x="135" y="164"/>
                  </a:cubicBezTo>
                  <a:cubicBezTo>
                    <a:pt x="136" y="163"/>
                    <a:pt x="136" y="163"/>
                    <a:pt x="136" y="162"/>
                  </a:cubicBezTo>
                  <a:cubicBezTo>
                    <a:pt x="136" y="162"/>
                    <a:pt x="136" y="161"/>
                    <a:pt x="136" y="161"/>
                  </a:cubicBezTo>
                  <a:cubicBezTo>
                    <a:pt x="136" y="161"/>
                    <a:pt x="136" y="162"/>
                    <a:pt x="136" y="162"/>
                  </a:cubicBezTo>
                  <a:cubicBezTo>
                    <a:pt x="136" y="165"/>
                    <a:pt x="137" y="169"/>
                    <a:pt x="135" y="170"/>
                  </a:cubicBezTo>
                  <a:cubicBezTo>
                    <a:pt x="134" y="171"/>
                    <a:pt x="128" y="170"/>
                    <a:pt x="126" y="170"/>
                  </a:cubicBezTo>
                  <a:cubicBezTo>
                    <a:pt x="120" y="170"/>
                    <a:pt x="114" y="172"/>
                    <a:pt x="109" y="176"/>
                  </a:cubicBezTo>
                  <a:cubicBezTo>
                    <a:pt x="105" y="178"/>
                    <a:pt x="101" y="183"/>
                    <a:pt x="98" y="186"/>
                  </a:cubicBezTo>
                  <a:cubicBezTo>
                    <a:pt x="96" y="190"/>
                    <a:pt x="92" y="192"/>
                    <a:pt x="90" y="196"/>
                  </a:cubicBezTo>
                  <a:cubicBezTo>
                    <a:pt x="89" y="197"/>
                    <a:pt x="87" y="197"/>
                    <a:pt x="86" y="199"/>
                  </a:cubicBezTo>
                  <a:cubicBezTo>
                    <a:pt x="85" y="199"/>
                    <a:pt x="85" y="201"/>
                    <a:pt x="85" y="203"/>
                  </a:cubicBezTo>
                  <a:cubicBezTo>
                    <a:pt x="84" y="203"/>
                    <a:pt x="84" y="204"/>
                    <a:pt x="84" y="204"/>
                  </a:cubicBezTo>
                  <a:cubicBezTo>
                    <a:pt x="84" y="205"/>
                    <a:pt x="84" y="206"/>
                    <a:pt x="84" y="206"/>
                  </a:cubicBezTo>
                  <a:cubicBezTo>
                    <a:pt x="83" y="207"/>
                    <a:pt x="82" y="209"/>
                    <a:pt x="81" y="211"/>
                  </a:cubicBezTo>
                  <a:cubicBezTo>
                    <a:pt x="78" y="216"/>
                    <a:pt x="75" y="220"/>
                    <a:pt x="72" y="225"/>
                  </a:cubicBezTo>
                  <a:cubicBezTo>
                    <a:pt x="71" y="228"/>
                    <a:pt x="69" y="231"/>
                    <a:pt x="68" y="233"/>
                  </a:cubicBezTo>
                  <a:cubicBezTo>
                    <a:pt x="68" y="234"/>
                    <a:pt x="67" y="235"/>
                    <a:pt x="66" y="235"/>
                  </a:cubicBezTo>
                  <a:cubicBezTo>
                    <a:pt x="65" y="237"/>
                    <a:pt x="64" y="237"/>
                    <a:pt x="62" y="238"/>
                  </a:cubicBezTo>
                  <a:cubicBezTo>
                    <a:pt x="61" y="239"/>
                    <a:pt x="60" y="241"/>
                    <a:pt x="58" y="242"/>
                  </a:cubicBezTo>
                  <a:cubicBezTo>
                    <a:pt x="57" y="244"/>
                    <a:pt x="57" y="242"/>
                    <a:pt x="57" y="244"/>
                  </a:cubicBezTo>
                  <a:cubicBezTo>
                    <a:pt x="57" y="244"/>
                    <a:pt x="57" y="245"/>
                    <a:pt x="57" y="246"/>
                  </a:cubicBezTo>
                  <a:cubicBezTo>
                    <a:pt x="57" y="247"/>
                    <a:pt x="57" y="247"/>
                    <a:pt x="57" y="248"/>
                  </a:cubicBezTo>
                  <a:cubicBezTo>
                    <a:pt x="58" y="251"/>
                    <a:pt x="59" y="252"/>
                    <a:pt x="59" y="254"/>
                  </a:cubicBezTo>
                  <a:cubicBezTo>
                    <a:pt x="59" y="255"/>
                    <a:pt x="59" y="257"/>
                    <a:pt x="59" y="258"/>
                  </a:cubicBezTo>
                  <a:cubicBezTo>
                    <a:pt x="60" y="258"/>
                    <a:pt x="60" y="259"/>
                    <a:pt x="61" y="259"/>
                  </a:cubicBezTo>
                  <a:cubicBezTo>
                    <a:pt x="62" y="261"/>
                    <a:pt x="61" y="264"/>
                    <a:pt x="61" y="266"/>
                  </a:cubicBezTo>
                  <a:cubicBezTo>
                    <a:pt x="61" y="269"/>
                    <a:pt x="60" y="274"/>
                    <a:pt x="64" y="275"/>
                  </a:cubicBezTo>
                  <a:cubicBezTo>
                    <a:pt x="65" y="275"/>
                    <a:pt x="66" y="275"/>
                    <a:pt x="66" y="275"/>
                  </a:cubicBezTo>
                  <a:cubicBezTo>
                    <a:pt x="67" y="275"/>
                    <a:pt x="67" y="276"/>
                    <a:pt x="67" y="276"/>
                  </a:cubicBezTo>
                  <a:cubicBezTo>
                    <a:pt x="68" y="277"/>
                    <a:pt x="68" y="277"/>
                    <a:pt x="69" y="277"/>
                  </a:cubicBezTo>
                  <a:cubicBezTo>
                    <a:pt x="69" y="280"/>
                    <a:pt x="72" y="282"/>
                    <a:pt x="71" y="285"/>
                  </a:cubicBezTo>
                  <a:cubicBezTo>
                    <a:pt x="69" y="285"/>
                    <a:pt x="65" y="285"/>
                    <a:pt x="63" y="285"/>
                  </a:cubicBezTo>
                  <a:cubicBezTo>
                    <a:pt x="62" y="284"/>
                    <a:pt x="62" y="283"/>
                    <a:pt x="61" y="283"/>
                  </a:cubicBezTo>
                  <a:cubicBezTo>
                    <a:pt x="60" y="283"/>
                    <a:pt x="59" y="283"/>
                    <a:pt x="58" y="283"/>
                  </a:cubicBezTo>
                  <a:cubicBezTo>
                    <a:pt x="55" y="283"/>
                    <a:pt x="54" y="282"/>
                    <a:pt x="52" y="280"/>
                  </a:cubicBezTo>
                  <a:cubicBezTo>
                    <a:pt x="52" y="281"/>
                    <a:pt x="52" y="281"/>
                    <a:pt x="51" y="281"/>
                  </a:cubicBezTo>
                  <a:cubicBezTo>
                    <a:pt x="51" y="283"/>
                    <a:pt x="50" y="284"/>
                    <a:pt x="50" y="285"/>
                  </a:cubicBezTo>
                  <a:cubicBezTo>
                    <a:pt x="47" y="289"/>
                    <a:pt x="44" y="290"/>
                    <a:pt x="40" y="291"/>
                  </a:cubicBezTo>
                  <a:cubicBezTo>
                    <a:pt x="39" y="291"/>
                    <a:pt x="37" y="291"/>
                    <a:pt x="35" y="291"/>
                  </a:cubicBezTo>
                  <a:cubicBezTo>
                    <a:pt x="33" y="291"/>
                    <a:pt x="31" y="290"/>
                    <a:pt x="29" y="290"/>
                  </a:cubicBezTo>
                  <a:cubicBezTo>
                    <a:pt x="28" y="290"/>
                    <a:pt x="27" y="291"/>
                    <a:pt x="25" y="291"/>
                  </a:cubicBezTo>
                  <a:cubicBezTo>
                    <a:pt x="24" y="292"/>
                    <a:pt x="21" y="291"/>
                    <a:pt x="20" y="292"/>
                  </a:cubicBezTo>
                  <a:cubicBezTo>
                    <a:pt x="19" y="292"/>
                    <a:pt x="18" y="293"/>
                    <a:pt x="18" y="293"/>
                  </a:cubicBezTo>
                  <a:cubicBezTo>
                    <a:pt x="17" y="294"/>
                    <a:pt x="18" y="294"/>
                    <a:pt x="17" y="295"/>
                  </a:cubicBezTo>
                  <a:cubicBezTo>
                    <a:pt x="17" y="297"/>
                    <a:pt x="15" y="299"/>
                    <a:pt x="14" y="300"/>
                  </a:cubicBezTo>
                  <a:cubicBezTo>
                    <a:pt x="13" y="302"/>
                    <a:pt x="12" y="303"/>
                    <a:pt x="12" y="305"/>
                  </a:cubicBezTo>
                  <a:cubicBezTo>
                    <a:pt x="11" y="307"/>
                    <a:pt x="11" y="308"/>
                    <a:pt x="11" y="310"/>
                  </a:cubicBezTo>
                  <a:cubicBezTo>
                    <a:pt x="11" y="311"/>
                    <a:pt x="9" y="313"/>
                    <a:pt x="9" y="314"/>
                  </a:cubicBezTo>
                  <a:cubicBezTo>
                    <a:pt x="8" y="315"/>
                    <a:pt x="7" y="317"/>
                    <a:pt x="7" y="318"/>
                  </a:cubicBezTo>
                  <a:cubicBezTo>
                    <a:pt x="6" y="320"/>
                    <a:pt x="6" y="321"/>
                    <a:pt x="5" y="322"/>
                  </a:cubicBezTo>
                  <a:cubicBezTo>
                    <a:pt x="5" y="324"/>
                    <a:pt x="4" y="324"/>
                    <a:pt x="4" y="326"/>
                  </a:cubicBezTo>
                  <a:cubicBezTo>
                    <a:pt x="4" y="328"/>
                    <a:pt x="4" y="327"/>
                    <a:pt x="3" y="328"/>
                  </a:cubicBezTo>
                  <a:cubicBezTo>
                    <a:pt x="2" y="329"/>
                    <a:pt x="1" y="330"/>
                    <a:pt x="0" y="331"/>
                  </a:cubicBezTo>
                  <a:cubicBezTo>
                    <a:pt x="20" y="353"/>
                    <a:pt x="20" y="353"/>
                    <a:pt x="20" y="353"/>
                  </a:cubicBezTo>
                  <a:cubicBezTo>
                    <a:pt x="22" y="353"/>
                    <a:pt x="22" y="353"/>
                    <a:pt x="23" y="354"/>
                  </a:cubicBezTo>
                  <a:cubicBezTo>
                    <a:pt x="23" y="355"/>
                    <a:pt x="23" y="356"/>
                    <a:pt x="23" y="357"/>
                  </a:cubicBezTo>
                  <a:cubicBezTo>
                    <a:pt x="23" y="359"/>
                    <a:pt x="22" y="362"/>
                    <a:pt x="24" y="362"/>
                  </a:cubicBezTo>
                  <a:cubicBezTo>
                    <a:pt x="25" y="360"/>
                    <a:pt x="28" y="362"/>
                    <a:pt x="31" y="362"/>
                  </a:cubicBezTo>
                  <a:cubicBezTo>
                    <a:pt x="32" y="362"/>
                    <a:pt x="33" y="362"/>
                    <a:pt x="34" y="362"/>
                  </a:cubicBezTo>
                  <a:cubicBezTo>
                    <a:pt x="35" y="363"/>
                    <a:pt x="36" y="363"/>
                    <a:pt x="37" y="363"/>
                  </a:cubicBezTo>
                  <a:cubicBezTo>
                    <a:pt x="37" y="364"/>
                    <a:pt x="38" y="364"/>
                    <a:pt x="39" y="365"/>
                  </a:cubicBezTo>
                  <a:cubicBezTo>
                    <a:pt x="39" y="366"/>
                    <a:pt x="39" y="368"/>
                    <a:pt x="39" y="369"/>
                  </a:cubicBezTo>
                  <a:cubicBezTo>
                    <a:pt x="39" y="370"/>
                    <a:pt x="39" y="371"/>
                    <a:pt x="39" y="372"/>
                  </a:cubicBezTo>
                  <a:cubicBezTo>
                    <a:pt x="42" y="371"/>
                    <a:pt x="46" y="373"/>
                    <a:pt x="49" y="372"/>
                  </a:cubicBezTo>
                  <a:cubicBezTo>
                    <a:pt x="50" y="371"/>
                    <a:pt x="51" y="370"/>
                    <a:pt x="52" y="369"/>
                  </a:cubicBezTo>
                  <a:cubicBezTo>
                    <a:pt x="53" y="368"/>
                    <a:pt x="54" y="367"/>
                    <a:pt x="56" y="366"/>
                  </a:cubicBezTo>
                  <a:cubicBezTo>
                    <a:pt x="59" y="364"/>
                    <a:pt x="62" y="365"/>
                    <a:pt x="64" y="367"/>
                  </a:cubicBezTo>
                  <a:cubicBezTo>
                    <a:pt x="66" y="370"/>
                    <a:pt x="65" y="372"/>
                    <a:pt x="69" y="373"/>
                  </a:cubicBezTo>
                  <a:cubicBezTo>
                    <a:pt x="73" y="373"/>
                    <a:pt x="76" y="372"/>
                    <a:pt x="80" y="372"/>
                  </a:cubicBezTo>
                  <a:cubicBezTo>
                    <a:pt x="81" y="372"/>
                    <a:pt x="83" y="371"/>
                    <a:pt x="85" y="373"/>
                  </a:cubicBezTo>
                  <a:cubicBezTo>
                    <a:pt x="86" y="373"/>
                    <a:pt x="88" y="377"/>
                    <a:pt x="88" y="378"/>
                  </a:cubicBezTo>
                  <a:cubicBezTo>
                    <a:pt x="89" y="376"/>
                    <a:pt x="89" y="375"/>
                    <a:pt x="91" y="375"/>
                  </a:cubicBezTo>
                  <a:cubicBezTo>
                    <a:pt x="93" y="375"/>
                    <a:pt x="95" y="375"/>
                    <a:pt x="97" y="375"/>
                  </a:cubicBezTo>
                  <a:cubicBezTo>
                    <a:pt x="99" y="375"/>
                    <a:pt x="104" y="375"/>
                    <a:pt x="106" y="376"/>
                  </a:cubicBezTo>
                  <a:cubicBezTo>
                    <a:pt x="107" y="377"/>
                    <a:pt x="107" y="378"/>
                    <a:pt x="108" y="378"/>
                  </a:cubicBezTo>
                  <a:cubicBezTo>
                    <a:pt x="108" y="378"/>
                    <a:pt x="109" y="378"/>
                    <a:pt x="110" y="378"/>
                  </a:cubicBezTo>
                  <a:cubicBezTo>
                    <a:pt x="114" y="380"/>
                    <a:pt x="117" y="380"/>
                    <a:pt x="122" y="378"/>
                  </a:cubicBezTo>
                  <a:cubicBezTo>
                    <a:pt x="123" y="378"/>
                    <a:pt x="133" y="374"/>
                    <a:pt x="132" y="378"/>
                  </a:cubicBezTo>
                  <a:cubicBezTo>
                    <a:pt x="135" y="378"/>
                    <a:pt x="134" y="379"/>
                    <a:pt x="135" y="380"/>
                  </a:cubicBezTo>
                  <a:cubicBezTo>
                    <a:pt x="136" y="381"/>
                    <a:pt x="138" y="382"/>
                    <a:pt x="139" y="383"/>
                  </a:cubicBezTo>
                  <a:cubicBezTo>
                    <a:pt x="140" y="384"/>
                    <a:pt x="141" y="386"/>
                    <a:pt x="143" y="388"/>
                  </a:cubicBezTo>
                  <a:cubicBezTo>
                    <a:pt x="147" y="391"/>
                    <a:pt x="153" y="393"/>
                    <a:pt x="158" y="391"/>
                  </a:cubicBezTo>
                  <a:cubicBezTo>
                    <a:pt x="161" y="390"/>
                    <a:pt x="162" y="386"/>
                    <a:pt x="163" y="384"/>
                  </a:cubicBezTo>
                  <a:cubicBezTo>
                    <a:pt x="165" y="381"/>
                    <a:pt x="166" y="379"/>
                    <a:pt x="170" y="379"/>
                  </a:cubicBezTo>
                  <a:cubicBezTo>
                    <a:pt x="175" y="379"/>
                    <a:pt x="181" y="379"/>
                    <a:pt x="187" y="379"/>
                  </a:cubicBezTo>
                  <a:cubicBezTo>
                    <a:pt x="187" y="379"/>
                    <a:pt x="189" y="379"/>
                    <a:pt x="189" y="379"/>
                  </a:cubicBezTo>
                  <a:cubicBezTo>
                    <a:pt x="190" y="379"/>
                    <a:pt x="190" y="378"/>
                    <a:pt x="190" y="378"/>
                  </a:cubicBezTo>
                  <a:cubicBezTo>
                    <a:pt x="192" y="377"/>
                    <a:pt x="195" y="376"/>
                    <a:pt x="197" y="376"/>
                  </a:cubicBezTo>
                  <a:cubicBezTo>
                    <a:pt x="202" y="376"/>
                    <a:pt x="207" y="374"/>
                    <a:pt x="211" y="374"/>
                  </a:cubicBezTo>
                  <a:cubicBezTo>
                    <a:pt x="215" y="374"/>
                    <a:pt x="216" y="375"/>
                    <a:pt x="218" y="372"/>
                  </a:cubicBezTo>
                  <a:cubicBezTo>
                    <a:pt x="220" y="370"/>
                    <a:pt x="220" y="367"/>
                    <a:pt x="222" y="365"/>
                  </a:cubicBezTo>
                  <a:cubicBezTo>
                    <a:pt x="223" y="362"/>
                    <a:pt x="227" y="360"/>
                    <a:pt x="230" y="359"/>
                  </a:cubicBezTo>
                  <a:cubicBezTo>
                    <a:pt x="233" y="357"/>
                    <a:pt x="235" y="356"/>
                    <a:pt x="238" y="355"/>
                  </a:cubicBezTo>
                  <a:cubicBezTo>
                    <a:pt x="238" y="355"/>
                    <a:pt x="238" y="355"/>
                    <a:pt x="238" y="355"/>
                  </a:cubicBezTo>
                  <a:cubicBezTo>
                    <a:pt x="241" y="354"/>
                    <a:pt x="244" y="351"/>
                    <a:pt x="248" y="351"/>
                  </a:cubicBezTo>
                  <a:cubicBezTo>
                    <a:pt x="248" y="350"/>
                    <a:pt x="248" y="350"/>
                    <a:pt x="248" y="350"/>
                  </a:cubicBezTo>
                  <a:cubicBezTo>
                    <a:pt x="249" y="349"/>
                    <a:pt x="249" y="349"/>
                    <a:pt x="250" y="348"/>
                  </a:cubicBezTo>
                  <a:cubicBezTo>
                    <a:pt x="250" y="347"/>
                    <a:pt x="250" y="346"/>
                    <a:pt x="250" y="345"/>
                  </a:cubicBezTo>
                  <a:cubicBezTo>
                    <a:pt x="250" y="344"/>
                    <a:pt x="249" y="344"/>
                    <a:pt x="249" y="343"/>
                  </a:cubicBezTo>
                  <a:cubicBezTo>
                    <a:pt x="249" y="342"/>
                    <a:pt x="249" y="341"/>
                    <a:pt x="249" y="340"/>
                  </a:cubicBezTo>
                  <a:cubicBezTo>
                    <a:pt x="249" y="338"/>
                    <a:pt x="250" y="338"/>
                    <a:pt x="252" y="337"/>
                  </a:cubicBezTo>
                  <a:cubicBezTo>
                    <a:pt x="252" y="337"/>
                    <a:pt x="253" y="337"/>
                    <a:pt x="254" y="337"/>
                  </a:cubicBezTo>
                  <a:cubicBezTo>
                    <a:pt x="255" y="337"/>
                    <a:pt x="254" y="340"/>
                    <a:pt x="256" y="340"/>
                  </a:cubicBezTo>
                  <a:cubicBezTo>
                    <a:pt x="257" y="341"/>
                    <a:pt x="258" y="340"/>
                    <a:pt x="259" y="341"/>
                  </a:cubicBezTo>
                  <a:cubicBezTo>
                    <a:pt x="260" y="341"/>
                    <a:pt x="260" y="342"/>
                    <a:pt x="260" y="343"/>
                  </a:cubicBezTo>
                  <a:cubicBezTo>
                    <a:pt x="261" y="344"/>
                    <a:pt x="262" y="344"/>
                    <a:pt x="263" y="343"/>
                  </a:cubicBezTo>
                  <a:cubicBezTo>
                    <a:pt x="266" y="342"/>
                    <a:pt x="266" y="341"/>
                    <a:pt x="267" y="339"/>
                  </a:cubicBezTo>
                  <a:cubicBezTo>
                    <a:pt x="267" y="337"/>
                    <a:pt x="267" y="337"/>
                    <a:pt x="269" y="338"/>
                  </a:cubicBezTo>
                  <a:cubicBezTo>
                    <a:pt x="271" y="338"/>
                    <a:pt x="272" y="339"/>
                    <a:pt x="273" y="341"/>
                  </a:cubicBezTo>
                  <a:cubicBezTo>
                    <a:pt x="273" y="342"/>
                    <a:pt x="273" y="342"/>
                    <a:pt x="274" y="342"/>
                  </a:cubicBezTo>
                  <a:cubicBezTo>
                    <a:pt x="276" y="342"/>
                    <a:pt x="279" y="341"/>
                    <a:pt x="280" y="340"/>
                  </a:cubicBezTo>
                  <a:cubicBezTo>
                    <a:pt x="281" y="339"/>
                    <a:pt x="282" y="339"/>
                    <a:pt x="283" y="338"/>
                  </a:cubicBezTo>
                  <a:cubicBezTo>
                    <a:pt x="283" y="337"/>
                    <a:pt x="283" y="336"/>
                    <a:pt x="284" y="336"/>
                  </a:cubicBezTo>
                  <a:cubicBezTo>
                    <a:pt x="284" y="335"/>
                    <a:pt x="285" y="336"/>
                    <a:pt x="285" y="337"/>
                  </a:cubicBezTo>
                  <a:cubicBezTo>
                    <a:pt x="286" y="337"/>
                    <a:pt x="286" y="338"/>
                    <a:pt x="287" y="339"/>
                  </a:cubicBezTo>
                  <a:cubicBezTo>
                    <a:pt x="288" y="340"/>
                    <a:pt x="289" y="340"/>
                    <a:pt x="290" y="340"/>
                  </a:cubicBezTo>
                  <a:cubicBezTo>
                    <a:pt x="293" y="339"/>
                    <a:pt x="296" y="337"/>
                    <a:pt x="296" y="334"/>
                  </a:cubicBezTo>
                  <a:cubicBezTo>
                    <a:pt x="296" y="334"/>
                    <a:pt x="296" y="332"/>
                    <a:pt x="297" y="332"/>
                  </a:cubicBezTo>
                  <a:cubicBezTo>
                    <a:pt x="299" y="330"/>
                    <a:pt x="301" y="335"/>
                    <a:pt x="302" y="335"/>
                  </a:cubicBezTo>
                  <a:cubicBezTo>
                    <a:pt x="302" y="336"/>
                    <a:pt x="304" y="336"/>
                    <a:pt x="305" y="336"/>
                  </a:cubicBezTo>
                  <a:cubicBezTo>
                    <a:pt x="307" y="336"/>
                    <a:pt x="306" y="336"/>
                    <a:pt x="308" y="337"/>
                  </a:cubicBezTo>
                  <a:cubicBezTo>
                    <a:pt x="308" y="338"/>
                    <a:pt x="309" y="338"/>
                    <a:pt x="309" y="338"/>
                  </a:cubicBezTo>
                  <a:cubicBezTo>
                    <a:pt x="310" y="339"/>
                    <a:pt x="311" y="340"/>
                    <a:pt x="312" y="341"/>
                  </a:cubicBezTo>
                  <a:cubicBezTo>
                    <a:pt x="314" y="342"/>
                    <a:pt x="316" y="342"/>
                    <a:pt x="317" y="343"/>
                  </a:cubicBezTo>
                  <a:cubicBezTo>
                    <a:pt x="319" y="344"/>
                    <a:pt x="321" y="347"/>
                    <a:pt x="323" y="348"/>
                  </a:cubicBezTo>
                  <a:cubicBezTo>
                    <a:pt x="324" y="348"/>
                    <a:pt x="325" y="348"/>
                    <a:pt x="325" y="349"/>
                  </a:cubicBezTo>
                  <a:cubicBezTo>
                    <a:pt x="325" y="349"/>
                    <a:pt x="325" y="350"/>
                    <a:pt x="325" y="350"/>
                  </a:cubicBezTo>
                  <a:cubicBezTo>
                    <a:pt x="325" y="352"/>
                    <a:pt x="325" y="351"/>
                    <a:pt x="327" y="351"/>
                  </a:cubicBezTo>
                  <a:cubicBezTo>
                    <a:pt x="328" y="352"/>
                    <a:pt x="327" y="352"/>
                    <a:pt x="328" y="353"/>
                  </a:cubicBezTo>
                  <a:cubicBezTo>
                    <a:pt x="328" y="354"/>
                    <a:pt x="330" y="355"/>
                    <a:pt x="331" y="355"/>
                  </a:cubicBezTo>
                  <a:cubicBezTo>
                    <a:pt x="331" y="354"/>
                    <a:pt x="332" y="354"/>
                    <a:pt x="332" y="353"/>
                  </a:cubicBezTo>
                  <a:cubicBezTo>
                    <a:pt x="334" y="353"/>
                    <a:pt x="335" y="354"/>
                    <a:pt x="336" y="353"/>
                  </a:cubicBezTo>
                  <a:cubicBezTo>
                    <a:pt x="338" y="353"/>
                    <a:pt x="339" y="352"/>
                    <a:pt x="340" y="354"/>
                  </a:cubicBezTo>
                  <a:cubicBezTo>
                    <a:pt x="341" y="356"/>
                    <a:pt x="340" y="358"/>
                    <a:pt x="339" y="359"/>
                  </a:cubicBezTo>
                  <a:cubicBezTo>
                    <a:pt x="338" y="360"/>
                    <a:pt x="337" y="360"/>
                    <a:pt x="337" y="361"/>
                  </a:cubicBezTo>
                  <a:cubicBezTo>
                    <a:pt x="338" y="362"/>
                    <a:pt x="339" y="361"/>
                    <a:pt x="340" y="361"/>
                  </a:cubicBezTo>
                  <a:cubicBezTo>
                    <a:pt x="341" y="361"/>
                    <a:pt x="342" y="359"/>
                    <a:pt x="343" y="359"/>
                  </a:cubicBezTo>
                  <a:cubicBezTo>
                    <a:pt x="343" y="360"/>
                    <a:pt x="343" y="362"/>
                    <a:pt x="343" y="362"/>
                  </a:cubicBezTo>
                  <a:cubicBezTo>
                    <a:pt x="343" y="363"/>
                    <a:pt x="343" y="365"/>
                    <a:pt x="343" y="365"/>
                  </a:cubicBezTo>
                  <a:cubicBezTo>
                    <a:pt x="344" y="365"/>
                    <a:pt x="344" y="365"/>
                    <a:pt x="345" y="365"/>
                  </a:cubicBezTo>
                  <a:cubicBezTo>
                    <a:pt x="345" y="366"/>
                    <a:pt x="345" y="367"/>
                    <a:pt x="345" y="367"/>
                  </a:cubicBezTo>
                  <a:cubicBezTo>
                    <a:pt x="346" y="367"/>
                    <a:pt x="347" y="365"/>
                    <a:pt x="347" y="364"/>
                  </a:cubicBezTo>
                  <a:cubicBezTo>
                    <a:pt x="347" y="364"/>
                    <a:pt x="347" y="361"/>
                    <a:pt x="347" y="360"/>
                  </a:cubicBezTo>
                  <a:cubicBezTo>
                    <a:pt x="348" y="359"/>
                    <a:pt x="351" y="360"/>
                    <a:pt x="352" y="360"/>
                  </a:cubicBezTo>
                  <a:cubicBezTo>
                    <a:pt x="353" y="360"/>
                    <a:pt x="354" y="360"/>
                    <a:pt x="355" y="361"/>
                  </a:cubicBezTo>
                  <a:cubicBezTo>
                    <a:pt x="356" y="361"/>
                    <a:pt x="357" y="362"/>
                    <a:pt x="357" y="362"/>
                  </a:cubicBezTo>
                  <a:cubicBezTo>
                    <a:pt x="358" y="362"/>
                    <a:pt x="359" y="362"/>
                    <a:pt x="359" y="362"/>
                  </a:cubicBezTo>
                  <a:cubicBezTo>
                    <a:pt x="361" y="362"/>
                    <a:pt x="360" y="362"/>
                    <a:pt x="361" y="363"/>
                  </a:cubicBezTo>
                  <a:cubicBezTo>
                    <a:pt x="362" y="363"/>
                    <a:pt x="362" y="364"/>
                    <a:pt x="363" y="365"/>
                  </a:cubicBezTo>
                  <a:cubicBezTo>
                    <a:pt x="364" y="365"/>
                    <a:pt x="364" y="364"/>
                    <a:pt x="365" y="365"/>
                  </a:cubicBezTo>
                  <a:cubicBezTo>
                    <a:pt x="366" y="365"/>
                    <a:pt x="365" y="367"/>
                    <a:pt x="365" y="368"/>
                  </a:cubicBezTo>
                  <a:cubicBezTo>
                    <a:pt x="365" y="370"/>
                    <a:pt x="365" y="370"/>
                    <a:pt x="367" y="372"/>
                  </a:cubicBezTo>
                  <a:cubicBezTo>
                    <a:pt x="368" y="373"/>
                    <a:pt x="368" y="375"/>
                    <a:pt x="369" y="375"/>
                  </a:cubicBezTo>
                  <a:cubicBezTo>
                    <a:pt x="371" y="375"/>
                    <a:pt x="371" y="375"/>
                    <a:pt x="372" y="376"/>
                  </a:cubicBezTo>
                  <a:cubicBezTo>
                    <a:pt x="373" y="377"/>
                    <a:pt x="372" y="377"/>
                    <a:pt x="373" y="378"/>
                  </a:cubicBezTo>
                  <a:cubicBezTo>
                    <a:pt x="374" y="378"/>
                    <a:pt x="376" y="378"/>
                    <a:pt x="377" y="378"/>
                  </a:cubicBezTo>
                  <a:cubicBezTo>
                    <a:pt x="377" y="378"/>
                    <a:pt x="378" y="378"/>
                    <a:pt x="378" y="378"/>
                  </a:cubicBezTo>
                  <a:cubicBezTo>
                    <a:pt x="379" y="378"/>
                    <a:pt x="379" y="377"/>
                    <a:pt x="380" y="376"/>
                  </a:cubicBezTo>
                  <a:cubicBezTo>
                    <a:pt x="381" y="375"/>
                    <a:pt x="383" y="376"/>
                    <a:pt x="384" y="376"/>
                  </a:cubicBezTo>
                  <a:cubicBezTo>
                    <a:pt x="385" y="377"/>
                    <a:pt x="386" y="377"/>
                    <a:pt x="387" y="378"/>
                  </a:cubicBezTo>
                  <a:cubicBezTo>
                    <a:pt x="388" y="378"/>
                    <a:pt x="389" y="378"/>
                    <a:pt x="389" y="378"/>
                  </a:cubicBezTo>
                  <a:cubicBezTo>
                    <a:pt x="391" y="379"/>
                    <a:pt x="391" y="381"/>
                    <a:pt x="390" y="382"/>
                  </a:cubicBezTo>
                  <a:cubicBezTo>
                    <a:pt x="390" y="383"/>
                    <a:pt x="390" y="383"/>
                    <a:pt x="390" y="383"/>
                  </a:cubicBezTo>
                  <a:cubicBezTo>
                    <a:pt x="389" y="384"/>
                    <a:pt x="389" y="384"/>
                    <a:pt x="389" y="385"/>
                  </a:cubicBezTo>
                  <a:cubicBezTo>
                    <a:pt x="389" y="385"/>
                    <a:pt x="389" y="386"/>
                    <a:pt x="389" y="386"/>
                  </a:cubicBezTo>
                  <a:cubicBezTo>
                    <a:pt x="389" y="388"/>
                    <a:pt x="389" y="388"/>
                    <a:pt x="388" y="389"/>
                  </a:cubicBezTo>
                  <a:cubicBezTo>
                    <a:pt x="388" y="389"/>
                    <a:pt x="388" y="390"/>
                    <a:pt x="388" y="390"/>
                  </a:cubicBezTo>
                  <a:cubicBezTo>
                    <a:pt x="388" y="391"/>
                    <a:pt x="389" y="391"/>
                    <a:pt x="390" y="392"/>
                  </a:cubicBezTo>
                  <a:cubicBezTo>
                    <a:pt x="391" y="393"/>
                    <a:pt x="390" y="393"/>
                    <a:pt x="389" y="393"/>
                  </a:cubicBezTo>
                  <a:cubicBezTo>
                    <a:pt x="389" y="394"/>
                    <a:pt x="388" y="395"/>
                    <a:pt x="388" y="396"/>
                  </a:cubicBezTo>
                  <a:cubicBezTo>
                    <a:pt x="388" y="397"/>
                    <a:pt x="388" y="398"/>
                    <a:pt x="387" y="400"/>
                  </a:cubicBezTo>
                  <a:cubicBezTo>
                    <a:pt x="387" y="400"/>
                    <a:pt x="387" y="401"/>
                    <a:pt x="387" y="402"/>
                  </a:cubicBezTo>
                  <a:cubicBezTo>
                    <a:pt x="387" y="403"/>
                    <a:pt x="387" y="404"/>
                    <a:pt x="387" y="404"/>
                  </a:cubicBezTo>
                  <a:cubicBezTo>
                    <a:pt x="387" y="406"/>
                    <a:pt x="384" y="406"/>
                    <a:pt x="383" y="408"/>
                  </a:cubicBezTo>
                  <a:cubicBezTo>
                    <a:pt x="382" y="409"/>
                    <a:pt x="382" y="410"/>
                    <a:pt x="383" y="411"/>
                  </a:cubicBezTo>
                  <a:cubicBezTo>
                    <a:pt x="383" y="412"/>
                    <a:pt x="383" y="413"/>
                    <a:pt x="383" y="414"/>
                  </a:cubicBezTo>
                  <a:cubicBezTo>
                    <a:pt x="383" y="414"/>
                    <a:pt x="383" y="414"/>
                    <a:pt x="384" y="415"/>
                  </a:cubicBezTo>
                  <a:cubicBezTo>
                    <a:pt x="385" y="416"/>
                    <a:pt x="385" y="418"/>
                    <a:pt x="386" y="419"/>
                  </a:cubicBezTo>
                  <a:cubicBezTo>
                    <a:pt x="387" y="419"/>
                    <a:pt x="387" y="420"/>
                    <a:pt x="388" y="421"/>
                  </a:cubicBezTo>
                  <a:cubicBezTo>
                    <a:pt x="389" y="422"/>
                    <a:pt x="389" y="423"/>
                    <a:pt x="389" y="424"/>
                  </a:cubicBezTo>
                  <a:cubicBezTo>
                    <a:pt x="389" y="425"/>
                    <a:pt x="391" y="426"/>
                    <a:pt x="392" y="426"/>
                  </a:cubicBezTo>
                  <a:cubicBezTo>
                    <a:pt x="392" y="426"/>
                    <a:pt x="393" y="425"/>
                    <a:pt x="393" y="424"/>
                  </a:cubicBezTo>
                  <a:cubicBezTo>
                    <a:pt x="393" y="425"/>
                    <a:pt x="394" y="426"/>
                    <a:pt x="394" y="426"/>
                  </a:cubicBezTo>
                  <a:cubicBezTo>
                    <a:pt x="394" y="427"/>
                    <a:pt x="394" y="429"/>
                    <a:pt x="395" y="430"/>
                  </a:cubicBezTo>
                  <a:cubicBezTo>
                    <a:pt x="396" y="430"/>
                    <a:pt x="397" y="431"/>
                    <a:pt x="398" y="431"/>
                  </a:cubicBezTo>
                  <a:cubicBezTo>
                    <a:pt x="401" y="433"/>
                    <a:pt x="402" y="430"/>
                    <a:pt x="404" y="428"/>
                  </a:cubicBezTo>
                  <a:cubicBezTo>
                    <a:pt x="404" y="428"/>
                    <a:pt x="405" y="428"/>
                    <a:pt x="405" y="428"/>
                  </a:cubicBezTo>
                  <a:cubicBezTo>
                    <a:pt x="406" y="427"/>
                    <a:pt x="407" y="427"/>
                    <a:pt x="408" y="427"/>
                  </a:cubicBezTo>
                  <a:cubicBezTo>
                    <a:pt x="408" y="428"/>
                    <a:pt x="408" y="430"/>
                    <a:pt x="408" y="431"/>
                  </a:cubicBezTo>
                  <a:cubicBezTo>
                    <a:pt x="408" y="433"/>
                    <a:pt x="410" y="435"/>
                    <a:pt x="409" y="437"/>
                  </a:cubicBezTo>
                  <a:cubicBezTo>
                    <a:pt x="408" y="439"/>
                    <a:pt x="406" y="439"/>
                    <a:pt x="407" y="442"/>
                  </a:cubicBezTo>
                  <a:cubicBezTo>
                    <a:pt x="407" y="442"/>
                    <a:pt x="407" y="443"/>
                    <a:pt x="407" y="443"/>
                  </a:cubicBezTo>
                  <a:cubicBezTo>
                    <a:pt x="407" y="444"/>
                    <a:pt x="407" y="444"/>
                    <a:pt x="407" y="445"/>
                  </a:cubicBezTo>
                  <a:cubicBezTo>
                    <a:pt x="406" y="446"/>
                    <a:pt x="406" y="445"/>
                    <a:pt x="405" y="447"/>
                  </a:cubicBezTo>
                  <a:cubicBezTo>
                    <a:pt x="405" y="448"/>
                    <a:pt x="405" y="449"/>
                    <a:pt x="406" y="450"/>
                  </a:cubicBezTo>
                  <a:cubicBezTo>
                    <a:pt x="404" y="449"/>
                    <a:pt x="403" y="448"/>
                    <a:pt x="402" y="450"/>
                  </a:cubicBezTo>
                  <a:cubicBezTo>
                    <a:pt x="400" y="452"/>
                    <a:pt x="404" y="453"/>
                    <a:pt x="406" y="453"/>
                  </a:cubicBezTo>
                  <a:cubicBezTo>
                    <a:pt x="407" y="453"/>
                    <a:pt x="410" y="453"/>
                    <a:pt x="411" y="453"/>
                  </a:cubicBezTo>
                  <a:cubicBezTo>
                    <a:pt x="412" y="454"/>
                    <a:pt x="412" y="456"/>
                    <a:pt x="412" y="456"/>
                  </a:cubicBezTo>
                  <a:cubicBezTo>
                    <a:pt x="412" y="457"/>
                    <a:pt x="412" y="458"/>
                    <a:pt x="412" y="458"/>
                  </a:cubicBezTo>
                  <a:cubicBezTo>
                    <a:pt x="411" y="460"/>
                    <a:pt x="411" y="462"/>
                    <a:pt x="411" y="463"/>
                  </a:cubicBezTo>
                  <a:cubicBezTo>
                    <a:pt x="411" y="463"/>
                    <a:pt x="412" y="464"/>
                    <a:pt x="412" y="464"/>
                  </a:cubicBezTo>
                  <a:cubicBezTo>
                    <a:pt x="413" y="465"/>
                    <a:pt x="413" y="465"/>
                    <a:pt x="413" y="466"/>
                  </a:cubicBezTo>
                  <a:cubicBezTo>
                    <a:pt x="413" y="468"/>
                    <a:pt x="415" y="471"/>
                    <a:pt x="415" y="473"/>
                  </a:cubicBezTo>
                  <a:cubicBezTo>
                    <a:pt x="416" y="474"/>
                    <a:pt x="416" y="474"/>
                    <a:pt x="417" y="474"/>
                  </a:cubicBezTo>
                  <a:cubicBezTo>
                    <a:pt x="418" y="473"/>
                    <a:pt x="419" y="473"/>
                    <a:pt x="421" y="472"/>
                  </a:cubicBezTo>
                  <a:cubicBezTo>
                    <a:pt x="422" y="471"/>
                    <a:pt x="423" y="472"/>
                    <a:pt x="424" y="473"/>
                  </a:cubicBezTo>
                  <a:cubicBezTo>
                    <a:pt x="426" y="474"/>
                    <a:pt x="428" y="474"/>
                    <a:pt x="428" y="477"/>
                  </a:cubicBezTo>
                  <a:cubicBezTo>
                    <a:pt x="428" y="481"/>
                    <a:pt x="428" y="486"/>
                    <a:pt x="427" y="490"/>
                  </a:cubicBezTo>
                  <a:cubicBezTo>
                    <a:pt x="427" y="491"/>
                    <a:pt x="426" y="493"/>
                    <a:pt x="426" y="495"/>
                  </a:cubicBezTo>
                  <a:cubicBezTo>
                    <a:pt x="426" y="496"/>
                    <a:pt x="427" y="497"/>
                    <a:pt x="426" y="498"/>
                  </a:cubicBezTo>
                  <a:cubicBezTo>
                    <a:pt x="424" y="499"/>
                    <a:pt x="423" y="497"/>
                    <a:pt x="421" y="498"/>
                  </a:cubicBezTo>
                  <a:cubicBezTo>
                    <a:pt x="421" y="499"/>
                    <a:pt x="421" y="500"/>
                    <a:pt x="421" y="500"/>
                  </a:cubicBezTo>
                  <a:cubicBezTo>
                    <a:pt x="420" y="501"/>
                    <a:pt x="420" y="501"/>
                    <a:pt x="419" y="502"/>
                  </a:cubicBezTo>
                  <a:cubicBezTo>
                    <a:pt x="418" y="503"/>
                    <a:pt x="419" y="504"/>
                    <a:pt x="418" y="505"/>
                  </a:cubicBezTo>
                  <a:cubicBezTo>
                    <a:pt x="418" y="506"/>
                    <a:pt x="417" y="507"/>
                    <a:pt x="416" y="508"/>
                  </a:cubicBezTo>
                  <a:cubicBezTo>
                    <a:pt x="414" y="510"/>
                    <a:pt x="414" y="512"/>
                    <a:pt x="414" y="515"/>
                  </a:cubicBezTo>
                  <a:cubicBezTo>
                    <a:pt x="413" y="515"/>
                    <a:pt x="411" y="515"/>
                    <a:pt x="411" y="515"/>
                  </a:cubicBezTo>
                  <a:cubicBezTo>
                    <a:pt x="410" y="514"/>
                    <a:pt x="409" y="513"/>
                    <a:pt x="408" y="512"/>
                  </a:cubicBezTo>
                  <a:cubicBezTo>
                    <a:pt x="408" y="511"/>
                    <a:pt x="407" y="510"/>
                    <a:pt x="407" y="510"/>
                  </a:cubicBezTo>
                  <a:cubicBezTo>
                    <a:pt x="407" y="509"/>
                    <a:pt x="406" y="508"/>
                    <a:pt x="406" y="507"/>
                  </a:cubicBezTo>
                  <a:cubicBezTo>
                    <a:pt x="405" y="507"/>
                    <a:pt x="404" y="506"/>
                    <a:pt x="403" y="506"/>
                  </a:cubicBezTo>
                  <a:cubicBezTo>
                    <a:pt x="403" y="505"/>
                    <a:pt x="403" y="505"/>
                    <a:pt x="403" y="504"/>
                  </a:cubicBezTo>
                  <a:cubicBezTo>
                    <a:pt x="403" y="503"/>
                    <a:pt x="403" y="502"/>
                    <a:pt x="402" y="502"/>
                  </a:cubicBezTo>
                  <a:cubicBezTo>
                    <a:pt x="399" y="501"/>
                    <a:pt x="397" y="506"/>
                    <a:pt x="396" y="507"/>
                  </a:cubicBezTo>
                  <a:cubicBezTo>
                    <a:pt x="395" y="506"/>
                    <a:pt x="394" y="502"/>
                    <a:pt x="394" y="501"/>
                  </a:cubicBezTo>
                  <a:cubicBezTo>
                    <a:pt x="394" y="500"/>
                    <a:pt x="395" y="499"/>
                    <a:pt x="394" y="498"/>
                  </a:cubicBezTo>
                  <a:cubicBezTo>
                    <a:pt x="393" y="499"/>
                    <a:pt x="392" y="502"/>
                    <a:pt x="392" y="505"/>
                  </a:cubicBezTo>
                  <a:cubicBezTo>
                    <a:pt x="392" y="506"/>
                    <a:pt x="392" y="507"/>
                    <a:pt x="391" y="508"/>
                  </a:cubicBezTo>
                  <a:cubicBezTo>
                    <a:pt x="391" y="509"/>
                    <a:pt x="390" y="509"/>
                    <a:pt x="390" y="510"/>
                  </a:cubicBezTo>
                  <a:cubicBezTo>
                    <a:pt x="390" y="510"/>
                    <a:pt x="390" y="511"/>
                    <a:pt x="389" y="512"/>
                  </a:cubicBezTo>
                  <a:cubicBezTo>
                    <a:pt x="388" y="513"/>
                    <a:pt x="388" y="510"/>
                    <a:pt x="387" y="509"/>
                  </a:cubicBezTo>
                  <a:cubicBezTo>
                    <a:pt x="387" y="507"/>
                    <a:pt x="387" y="506"/>
                    <a:pt x="389" y="504"/>
                  </a:cubicBezTo>
                  <a:cubicBezTo>
                    <a:pt x="390" y="502"/>
                    <a:pt x="391" y="501"/>
                    <a:pt x="391" y="499"/>
                  </a:cubicBezTo>
                  <a:cubicBezTo>
                    <a:pt x="391" y="494"/>
                    <a:pt x="385" y="496"/>
                    <a:pt x="383" y="498"/>
                  </a:cubicBezTo>
                  <a:cubicBezTo>
                    <a:pt x="382" y="499"/>
                    <a:pt x="383" y="499"/>
                    <a:pt x="382" y="499"/>
                  </a:cubicBezTo>
                  <a:cubicBezTo>
                    <a:pt x="381" y="500"/>
                    <a:pt x="380" y="500"/>
                    <a:pt x="379" y="500"/>
                  </a:cubicBezTo>
                  <a:cubicBezTo>
                    <a:pt x="378" y="500"/>
                    <a:pt x="377" y="501"/>
                    <a:pt x="375" y="502"/>
                  </a:cubicBezTo>
                  <a:cubicBezTo>
                    <a:pt x="374" y="502"/>
                    <a:pt x="374" y="502"/>
                    <a:pt x="373" y="504"/>
                  </a:cubicBezTo>
                  <a:cubicBezTo>
                    <a:pt x="373" y="504"/>
                    <a:pt x="372" y="506"/>
                    <a:pt x="372" y="507"/>
                  </a:cubicBezTo>
                  <a:cubicBezTo>
                    <a:pt x="373" y="508"/>
                    <a:pt x="374" y="507"/>
                    <a:pt x="375" y="509"/>
                  </a:cubicBezTo>
                  <a:cubicBezTo>
                    <a:pt x="375" y="510"/>
                    <a:pt x="374" y="511"/>
                    <a:pt x="374" y="512"/>
                  </a:cubicBezTo>
                  <a:cubicBezTo>
                    <a:pt x="374" y="514"/>
                    <a:pt x="374" y="516"/>
                    <a:pt x="373" y="518"/>
                  </a:cubicBezTo>
                  <a:cubicBezTo>
                    <a:pt x="373" y="519"/>
                    <a:pt x="371" y="522"/>
                    <a:pt x="372" y="523"/>
                  </a:cubicBezTo>
                  <a:cubicBezTo>
                    <a:pt x="372" y="524"/>
                    <a:pt x="374" y="523"/>
                    <a:pt x="375" y="523"/>
                  </a:cubicBezTo>
                  <a:cubicBezTo>
                    <a:pt x="376" y="524"/>
                    <a:pt x="376" y="524"/>
                    <a:pt x="376" y="525"/>
                  </a:cubicBezTo>
                  <a:cubicBezTo>
                    <a:pt x="377" y="527"/>
                    <a:pt x="377" y="528"/>
                    <a:pt x="376" y="530"/>
                  </a:cubicBezTo>
                  <a:cubicBezTo>
                    <a:pt x="375" y="532"/>
                    <a:pt x="373" y="534"/>
                    <a:pt x="374" y="536"/>
                  </a:cubicBezTo>
                  <a:cubicBezTo>
                    <a:pt x="375" y="537"/>
                    <a:pt x="376" y="538"/>
                    <a:pt x="376" y="539"/>
                  </a:cubicBezTo>
                  <a:cubicBezTo>
                    <a:pt x="376" y="540"/>
                    <a:pt x="375" y="540"/>
                    <a:pt x="374" y="541"/>
                  </a:cubicBezTo>
                  <a:cubicBezTo>
                    <a:pt x="370" y="543"/>
                    <a:pt x="366" y="544"/>
                    <a:pt x="363" y="546"/>
                  </a:cubicBezTo>
                  <a:cubicBezTo>
                    <a:pt x="361" y="547"/>
                    <a:pt x="358" y="549"/>
                    <a:pt x="359" y="551"/>
                  </a:cubicBezTo>
                  <a:cubicBezTo>
                    <a:pt x="360" y="553"/>
                    <a:pt x="361" y="555"/>
                    <a:pt x="359" y="557"/>
                  </a:cubicBezTo>
                  <a:cubicBezTo>
                    <a:pt x="358" y="557"/>
                    <a:pt x="357" y="558"/>
                    <a:pt x="356" y="558"/>
                  </a:cubicBezTo>
                  <a:cubicBezTo>
                    <a:pt x="355" y="558"/>
                    <a:pt x="355" y="558"/>
                    <a:pt x="354" y="558"/>
                  </a:cubicBezTo>
                  <a:cubicBezTo>
                    <a:pt x="353" y="559"/>
                    <a:pt x="352" y="559"/>
                    <a:pt x="352" y="560"/>
                  </a:cubicBezTo>
                  <a:cubicBezTo>
                    <a:pt x="351" y="560"/>
                    <a:pt x="350" y="561"/>
                    <a:pt x="350" y="562"/>
                  </a:cubicBezTo>
                  <a:cubicBezTo>
                    <a:pt x="350" y="563"/>
                    <a:pt x="350" y="563"/>
                    <a:pt x="349" y="564"/>
                  </a:cubicBezTo>
                  <a:cubicBezTo>
                    <a:pt x="348" y="564"/>
                    <a:pt x="347" y="564"/>
                    <a:pt x="347" y="565"/>
                  </a:cubicBezTo>
                  <a:cubicBezTo>
                    <a:pt x="347" y="566"/>
                    <a:pt x="347" y="567"/>
                    <a:pt x="347" y="568"/>
                  </a:cubicBezTo>
                  <a:cubicBezTo>
                    <a:pt x="347" y="570"/>
                    <a:pt x="349" y="571"/>
                    <a:pt x="348" y="573"/>
                  </a:cubicBezTo>
                  <a:cubicBezTo>
                    <a:pt x="348" y="573"/>
                    <a:pt x="347" y="574"/>
                    <a:pt x="347" y="574"/>
                  </a:cubicBezTo>
                  <a:cubicBezTo>
                    <a:pt x="347" y="574"/>
                    <a:pt x="347" y="575"/>
                    <a:pt x="347" y="575"/>
                  </a:cubicBezTo>
                  <a:cubicBezTo>
                    <a:pt x="347" y="576"/>
                    <a:pt x="347" y="577"/>
                    <a:pt x="347" y="578"/>
                  </a:cubicBezTo>
                  <a:cubicBezTo>
                    <a:pt x="346" y="579"/>
                    <a:pt x="346" y="580"/>
                    <a:pt x="346" y="580"/>
                  </a:cubicBezTo>
                  <a:cubicBezTo>
                    <a:pt x="346" y="581"/>
                    <a:pt x="346" y="582"/>
                    <a:pt x="346" y="583"/>
                  </a:cubicBezTo>
                  <a:cubicBezTo>
                    <a:pt x="346" y="583"/>
                    <a:pt x="345" y="583"/>
                    <a:pt x="345" y="584"/>
                  </a:cubicBezTo>
                  <a:cubicBezTo>
                    <a:pt x="344" y="584"/>
                    <a:pt x="344" y="585"/>
                    <a:pt x="344" y="585"/>
                  </a:cubicBezTo>
                  <a:cubicBezTo>
                    <a:pt x="343" y="586"/>
                    <a:pt x="343" y="586"/>
                    <a:pt x="342" y="586"/>
                  </a:cubicBezTo>
                  <a:cubicBezTo>
                    <a:pt x="339" y="586"/>
                    <a:pt x="339" y="579"/>
                    <a:pt x="336" y="582"/>
                  </a:cubicBezTo>
                  <a:cubicBezTo>
                    <a:pt x="335" y="582"/>
                    <a:pt x="334" y="583"/>
                    <a:pt x="333" y="584"/>
                  </a:cubicBezTo>
                  <a:cubicBezTo>
                    <a:pt x="332" y="585"/>
                    <a:pt x="331" y="586"/>
                    <a:pt x="330" y="586"/>
                  </a:cubicBezTo>
                  <a:cubicBezTo>
                    <a:pt x="330" y="587"/>
                    <a:pt x="331" y="587"/>
                    <a:pt x="331" y="588"/>
                  </a:cubicBezTo>
                  <a:cubicBezTo>
                    <a:pt x="332" y="588"/>
                    <a:pt x="337" y="596"/>
                    <a:pt x="337" y="597"/>
                  </a:cubicBezTo>
                  <a:cubicBezTo>
                    <a:pt x="339" y="598"/>
                    <a:pt x="345" y="601"/>
                    <a:pt x="347" y="601"/>
                  </a:cubicBezTo>
                  <a:cubicBezTo>
                    <a:pt x="349" y="602"/>
                    <a:pt x="351" y="603"/>
                    <a:pt x="353" y="605"/>
                  </a:cubicBezTo>
                  <a:cubicBezTo>
                    <a:pt x="356" y="606"/>
                    <a:pt x="357" y="608"/>
                    <a:pt x="360" y="605"/>
                  </a:cubicBezTo>
                  <a:cubicBezTo>
                    <a:pt x="361" y="604"/>
                    <a:pt x="361" y="601"/>
                    <a:pt x="362" y="601"/>
                  </a:cubicBezTo>
                  <a:cubicBezTo>
                    <a:pt x="364" y="600"/>
                    <a:pt x="366" y="601"/>
                    <a:pt x="368" y="601"/>
                  </a:cubicBezTo>
                  <a:cubicBezTo>
                    <a:pt x="370" y="601"/>
                    <a:pt x="372" y="601"/>
                    <a:pt x="377" y="599"/>
                  </a:cubicBezTo>
                  <a:cubicBezTo>
                    <a:pt x="381" y="598"/>
                    <a:pt x="384" y="596"/>
                    <a:pt x="385" y="595"/>
                  </a:cubicBezTo>
                  <a:cubicBezTo>
                    <a:pt x="387" y="593"/>
                    <a:pt x="387" y="592"/>
                    <a:pt x="390" y="592"/>
                  </a:cubicBezTo>
                  <a:cubicBezTo>
                    <a:pt x="397" y="590"/>
                    <a:pt x="401" y="593"/>
                    <a:pt x="406" y="596"/>
                  </a:cubicBezTo>
                  <a:cubicBezTo>
                    <a:pt x="408" y="597"/>
                    <a:pt x="413" y="599"/>
                    <a:pt x="416" y="600"/>
                  </a:cubicBezTo>
                  <a:cubicBezTo>
                    <a:pt x="417" y="597"/>
                    <a:pt x="414" y="596"/>
                    <a:pt x="412" y="592"/>
                  </a:cubicBezTo>
                  <a:cubicBezTo>
                    <a:pt x="409" y="588"/>
                    <a:pt x="406" y="582"/>
                    <a:pt x="406" y="578"/>
                  </a:cubicBezTo>
                  <a:cubicBezTo>
                    <a:pt x="405" y="574"/>
                    <a:pt x="410" y="572"/>
                    <a:pt x="409" y="569"/>
                  </a:cubicBezTo>
                  <a:cubicBezTo>
                    <a:pt x="409" y="573"/>
                    <a:pt x="414" y="575"/>
                    <a:pt x="415" y="580"/>
                  </a:cubicBezTo>
                  <a:cubicBezTo>
                    <a:pt x="417" y="580"/>
                    <a:pt x="423" y="578"/>
                    <a:pt x="424" y="576"/>
                  </a:cubicBezTo>
                  <a:cubicBezTo>
                    <a:pt x="425" y="573"/>
                    <a:pt x="422" y="570"/>
                    <a:pt x="423" y="568"/>
                  </a:cubicBezTo>
                  <a:cubicBezTo>
                    <a:pt x="428" y="567"/>
                    <a:pt x="435" y="568"/>
                    <a:pt x="434" y="561"/>
                  </a:cubicBezTo>
                  <a:cubicBezTo>
                    <a:pt x="439" y="560"/>
                    <a:pt x="438" y="564"/>
                    <a:pt x="442" y="561"/>
                  </a:cubicBezTo>
                  <a:cubicBezTo>
                    <a:pt x="443" y="560"/>
                    <a:pt x="444" y="558"/>
                    <a:pt x="445" y="557"/>
                  </a:cubicBezTo>
                  <a:cubicBezTo>
                    <a:pt x="447" y="556"/>
                    <a:pt x="450" y="556"/>
                    <a:pt x="452" y="553"/>
                  </a:cubicBezTo>
                  <a:cubicBezTo>
                    <a:pt x="453" y="550"/>
                    <a:pt x="452" y="546"/>
                    <a:pt x="452" y="543"/>
                  </a:cubicBezTo>
                  <a:cubicBezTo>
                    <a:pt x="453" y="542"/>
                    <a:pt x="454" y="541"/>
                    <a:pt x="453" y="539"/>
                  </a:cubicBezTo>
                  <a:cubicBezTo>
                    <a:pt x="452" y="538"/>
                    <a:pt x="447" y="537"/>
                    <a:pt x="446" y="536"/>
                  </a:cubicBezTo>
                  <a:cubicBezTo>
                    <a:pt x="444" y="535"/>
                    <a:pt x="432" y="528"/>
                    <a:pt x="434" y="523"/>
                  </a:cubicBezTo>
                  <a:cubicBezTo>
                    <a:pt x="436" y="519"/>
                    <a:pt x="446" y="521"/>
                    <a:pt x="448" y="523"/>
                  </a:cubicBezTo>
                  <a:cubicBezTo>
                    <a:pt x="450" y="526"/>
                    <a:pt x="452" y="529"/>
                    <a:pt x="454" y="532"/>
                  </a:cubicBezTo>
                  <a:cubicBezTo>
                    <a:pt x="455" y="534"/>
                    <a:pt x="459" y="535"/>
                    <a:pt x="460" y="538"/>
                  </a:cubicBezTo>
                  <a:cubicBezTo>
                    <a:pt x="459" y="532"/>
                    <a:pt x="464" y="532"/>
                    <a:pt x="467" y="528"/>
                  </a:cubicBezTo>
                  <a:cubicBezTo>
                    <a:pt x="469" y="527"/>
                    <a:pt x="469" y="525"/>
                    <a:pt x="470" y="523"/>
                  </a:cubicBezTo>
                  <a:cubicBezTo>
                    <a:pt x="472" y="522"/>
                    <a:pt x="474" y="520"/>
                    <a:pt x="474" y="517"/>
                  </a:cubicBezTo>
                  <a:cubicBezTo>
                    <a:pt x="473" y="513"/>
                    <a:pt x="466" y="511"/>
                    <a:pt x="474" y="508"/>
                  </a:cubicBezTo>
                  <a:cubicBezTo>
                    <a:pt x="476" y="507"/>
                    <a:pt x="479" y="507"/>
                    <a:pt x="482" y="507"/>
                  </a:cubicBezTo>
                  <a:cubicBezTo>
                    <a:pt x="484" y="507"/>
                    <a:pt x="487" y="508"/>
                    <a:pt x="489" y="507"/>
                  </a:cubicBezTo>
                  <a:cubicBezTo>
                    <a:pt x="491" y="506"/>
                    <a:pt x="491" y="505"/>
                    <a:pt x="492" y="503"/>
                  </a:cubicBezTo>
                  <a:cubicBezTo>
                    <a:pt x="495" y="499"/>
                    <a:pt x="501" y="496"/>
                    <a:pt x="506" y="496"/>
                  </a:cubicBezTo>
                  <a:cubicBezTo>
                    <a:pt x="508" y="495"/>
                    <a:pt x="510" y="496"/>
                    <a:pt x="513" y="495"/>
                  </a:cubicBezTo>
                  <a:cubicBezTo>
                    <a:pt x="515" y="495"/>
                    <a:pt x="517" y="493"/>
                    <a:pt x="519" y="493"/>
                  </a:cubicBezTo>
                  <a:cubicBezTo>
                    <a:pt x="520" y="493"/>
                    <a:pt x="522" y="494"/>
                    <a:pt x="523" y="495"/>
                  </a:cubicBezTo>
                  <a:cubicBezTo>
                    <a:pt x="524" y="495"/>
                    <a:pt x="528" y="495"/>
                    <a:pt x="529" y="495"/>
                  </a:cubicBezTo>
                  <a:cubicBezTo>
                    <a:pt x="533" y="496"/>
                    <a:pt x="533" y="495"/>
                    <a:pt x="535" y="492"/>
                  </a:cubicBezTo>
                  <a:cubicBezTo>
                    <a:pt x="537" y="489"/>
                    <a:pt x="538" y="489"/>
                    <a:pt x="538" y="486"/>
                  </a:cubicBezTo>
                  <a:cubicBezTo>
                    <a:pt x="538" y="485"/>
                    <a:pt x="537" y="483"/>
                    <a:pt x="539" y="481"/>
                  </a:cubicBezTo>
                  <a:cubicBezTo>
                    <a:pt x="543" y="484"/>
                    <a:pt x="541" y="491"/>
                    <a:pt x="542" y="495"/>
                  </a:cubicBezTo>
                  <a:cubicBezTo>
                    <a:pt x="545" y="495"/>
                    <a:pt x="548" y="494"/>
                    <a:pt x="550" y="496"/>
                  </a:cubicBezTo>
                  <a:cubicBezTo>
                    <a:pt x="553" y="497"/>
                    <a:pt x="558" y="502"/>
                    <a:pt x="557" y="505"/>
                  </a:cubicBezTo>
                  <a:cubicBezTo>
                    <a:pt x="552" y="506"/>
                    <a:pt x="547" y="503"/>
                    <a:pt x="543" y="502"/>
                  </a:cubicBezTo>
                  <a:cubicBezTo>
                    <a:pt x="540" y="502"/>
                    <a:pt x="537" y="501"/>
                    <a:pt x="534" y="501"/>
                  </a:cubicBezTo>
                  <a:cubicBezTo>
                    <a:pt x="532" y="501"/>
                    <a:pt x="521" y="502"/>
                    <a:pt x="521" y="506"/>
                  </a:cubicBezTo>
                  <a:cubicBezTo>
                    <a:pt x="526" y="507"/>
                    <a:pt x="529" y="510"/>
                    <a:pt x="533" y="512"/>
                  </a:cubicBezTo>
                  <a:cubicBezTo>
                    <a:pt x="535" y="514"/>
                    <a:pt x="539" y="516"/>
                    <a:pt x="537" y="519"/>
                  </a:cubicBezTo>
                  <a:cubicBezTo>
                    <a:pt x="536" y="521"/>
                    <a:pt x="532" y="519"/>
                    <a:pt x="531" y="521"/>
                  </a:cubicBezTo>
                  <a:cubicBezTo>
                    <a:pt x="528" y="525"/>
                    <a:pt x="533" y="524"/>
                    <a:pt x="534" y="525"/>
                  </a:cubicBezTo>
                  <a:cubicBezTo>
                    <a:pt x="537" y="526"/>
                    <a:pt x="538" y="528"/>
                    <a:pt x="540" y="530"/>
                  </a:cubicBezTo>
                  <a:cubicBezTo>
                    <a:pt x="542" y="532"/>
                    <a:pt x="545" y="533"/>
                    <a:pt x="548" y="534"/>
                  </a:cubicBezTo>
                  <a:cubicBezTo>
                    <a:pt x="550" y="535"/>
                    <a:pt x="552" y="536"/>
                    <a:pt x="555" y="536"/>
                  </a:cubicBezTo>
                  <a:cubicBezTo>
                    <a:pt x="557" y="537"/>
                    <a:pt x="558" y="536"/>
                    <a:pt x="560" y="536"/>
                  </a:cubicBezTo>
                  <a:cubicBezTo>
                    <a:pt x="563" y="537"/>
                    <a:pt x="563" y="540"/>
                    <a:pt x="566" y="542"/>
                  </a:cubicBezTo>
                  <a:cubicBezTo>
                    <a:pt x="569" y="543"/>
                    <a:pt x="569" y="540"/>
                    <a:pt x="571" y="538"/>
                  </a:cubicBezTo>
                  <a:cubicBezTo>
                    <a:pt x="574" y="537"/>
                    <a:pt x="578" y="539"/>
                    <a:pt x="581" y="539"/>
                  </a:cubicBezTo>
                  <a:cubicBezTo>
                    <a:pt x="584" y="539"/>
                    <a:pt x="586" y="540"/>
                    <a:pt x="589" y="540"/>
                  </a:cubicBezTo>
                  <a:cubicBezTo>
                    <a:pt x="591" y="540"/>
                    <a:pt x="595" y="540"/>
                    <a:pt x="597" y="540"/>
                  </a:cubicBezTo>
                  <a:cubicBezTo>
                    <a:pt x="599" y="540"/>
                    <a:pt x="603" y="540"/>
                    <a:pt x="604" y="539"/>
                  </a:cubicBezTo>
                  <a:cubicBezTo>
                    <a:pt x="606" y="538"/>
                    <a:pt x="608" y="535"/>
                    <a:pt x="610" y="535"/>
                  </a:cubicBezTo>
                  <a:cubicBezTo>
                    <a:pt x="612" y="534"/>
                    <a:pt x="616" y="534"/>
                    <a:pt x="618" y="534"/>
                  </a:cubicBezTo>
                  <a:cubicBezTo>
                    <a:pt x="618" y="537"/>
                    <a:pt x="621" y="537"/>
                    <a:pt x="622" y="538"/>
                  </a:cubicBezTo>
                  <a:cubicBezTo>
                    <a:pt x="624" y="540"/>
                    <a:pt x="623" y="542"/>
                    <a:pt x="627" y="542"/>
                  </a:cubicBezTo>
                  <a:cubicBezTo>
                    <a:pt x="632" y="541"/>
                    <a:pt x="633" y="533"/>
                    <a:pt x="637" y="532"/>
                  </a:cubicBezTo>
                  <a:cubicBezTo>
                    <a:pt x="637" y="532"/>
                    <a:pt x="637" y="532"/>
                    <a:pt x="637" y="531"/>
                  </a:cubicBezTo>
                  <a:cubicBezTo>
                    <a:pt x="634" y="526"/>
                    <a:pt x="640" y="526"/>
                    <a:pt x="642" y="526"/>
                  </a:cubicBezTo>
                  <a:cubicBezTo>
                    <a:pt x="646" y="526"/>
                    <a:pt x="647" y="524"/>
                    <a:pt x="650" y="526"/>
                  </a:cubicBezTo>
                  <a:cubicBezTo>
                    <a:pt x="653" y="528"/>
                    <a:pt x="654" y="534"/>
                    <a:pt x="658" y="536"/>
                  </a:cubicBezTo>
                  <a:cubicBezTo>
                    <a:pt x="661" y="537"/>
                    <a:pt x="663" y="535"/>
                    <a:pt x="666" y="535"/>
                  </a:cubicBezTo>
                  <a:cubicBezTo>
                    <a:pt x="668" y="535"/>
                    <a:pt x="669" y="536"/>
                    <a:pt x="671" y="536"/>
                  </a:cubicBezTo>
                  <a:cubicBezTo>
                    <a:pt x="676" y="536"/>
                    <a:pt x="678" y="531"/>
                    <a:pt x="675" y="527"/>
                  </a:cubicBezTo>
                  <a:cubicBezTo>
                    <a:pt x="678" y="527"/>
                    <a:pt x="681" y="528"/>
                    <a:pt x="683" y="529"/>
                  </a:cubicBezTo>
                  <a:cubicBezTo>
                    <a:pt x="686" y="530"/>
                    <a:pt x="690" y="533"/>
                    <a:pt x="692" y="533"/>
                  </a:cubicBezTo>
                  <a:cubicBezTo>
                    <a:pt x="693" y="533"/>
                    <a:pt x="694" y="533"/>
                    <a:pt x="695" y="533"/>
                  </a:cubicBezTo>
                  <a:cubicBezTo>
                    <a:pt x="695" y="533"/>
                    <a:pt x="695" y="532"/>
                    <a:pt x="696" y="532"/>
                  </a:cubicBezTo>
                  <a:cubicBezTo>
                    <a:pt x="696" y="533"/>
                    <a:pt x="695" y="533"/>
                    <a:pt x="695" y="533"/>
                  </a:cubicBezTo>
                  <a:cubicBezTo>
                    <a:pt x="693" y="535"/>
                    <a:pt x="691" y="537"/>
                    <a:pt x="690" y="539"/>
                  </a:cubicBezTo>
                  <a:cubicBezTo>
                    <a:pt x="688" y="541"/>
                    <a:pt x="687" y="542"/>
                    <a:pt x="688" y="545"/>
                  </a:cubicBezTo>
                  <a:cubicBezTo>
                    <a:pt x="692" y="545"/>
                    <a:pt x="696" y="544"/>
                    <a:pt x="698" y="540"/>
                  </a:cubicBezTo>
                  <a:cubicBezTo>
                    <a:pt x="698" y="538"/>
                    <a:pt x="698" y="535"/>
                    <a:pt x="698" y="533"/>
                  </a:cubicBezTo>
                  <a:cubicBezTo>
                    <a:pt x="700" y="533"/>
                    <a:pt x="701" y="532"/>
                    <a:pt x="702" y="532"/>
                  </a:cubicBezTo>
                  <a:cubicBezTo>
                    <a:pt x="705" y="531"/>
                    <a:pt x="707" y="530"/>
                    <a:pt x="709" y="530"/>
                  </a:cubicBezTo>
                  <a:cubicBezTo>
                    <a:pt x="712" y="529"/>
                    <a:pt x="719" y="527"/>
                    <a:pt x="721" y="525"/>
                  </a:cubicBezTo>
                  <a:cubicBezTo>
                    <a:pt x="723" y="522"/>
                    <a:pt x="722" y="518"/>
                    <a:pt x="722" y="515"/>
                  </a:cubicBezTo>
                  <a:cubicBezTo>
                    <a:pt x="723" y="513"/>
                    <a:pt x="723" y="510"/>
                    <a:pt x="724" y="509"/>
                  </a:cubicBezTo>
                  <a:cubicBezTo>
                    <a:pt x="725" y="508"/>
                    <a:pt x="728" y="505"/>
                    <a:pt x="730" y="506"/>
                  </a:cubicBezTo>
                  <a:cubicBezTo>
                    <a:pt x="734" y="508"/>
                    <a:pt x="729" y="514"/>
                    <a:pt x="736" y="512"/>
                  </a:cubicBezTo>
                  <a:cubicBezTo>
                    <a:pt x="737" y="510"/>
                    <a:pt x="737" y="507"/>
                    <a:pt x="737" y="506"/>
                  </a:cubicBezTo>
                  <a:cubicBezTo>
                    <a:pt x="736" y="504"/>
                    <a:pt x="734" y="503"/>
                    <a:pt x="734" y="501"/>
                  </a:cubicBezTo>
                  <a:cubicBezTo>
                    <a:pt x="733" y="499"/>
                    <a:pt x="733" y="493"/>
                    <a:pt x="734" y="490"/>
                  </a:cubicBezTo>
                  <a:cubicBezTo>
                    <a:pt x="737" y="489"/>
                    <a:pt x="740" y="501"/>
                    <a:pt x="742" y="502"/>
                  </a:cubicBezTo>
                  <a:cubicBezTo>
                    <a:pt x="746" y="506"/>
                    <a:pt x="752" y="500"/>
                    <a:pt x="754" y="497"/>
                  </a:cubicBezTo>
                  <a:cubicBezTo>
                    <a:pt x="758" y="491"/>
                    <a:pt x="761" y="484"/>
                    <a:pt x="769" y="482"/>
                  </a:cubicBezTo>
                  <a:cubicBezTo>
                    <a:pt x="772" y="482"/>
                    <a:pt x="775" y="482"/>
                    <a:pt x="778" y="482"/>
                  </a:cubicBezTo>
                  <a:cubicBezTo>
                    <a:pt x="781" y="482"/>
                    <a:pt x="784" y="483"/>
                    <a:pt x="786" y="483"/>
                  </a:cubicBezTo>
                  <a:cubicBezTo>
                    <a:pt x="792" y="485"/>
                    <a:pt x="791" y="482"/>
                    <a:pt x="796" y="479"/>
                  </a:cubicBezTo>
                  <a:cubicBezTo>
                    <a:pt x="797" y="478"/>
                    <a:pt x="800" y="478"/>
                    <a:pt x="801" y="478"/>
                  </a:cubicBezTo>
                  <a:cubicBezTo>
                    <a:pt x="805" y="477"/>
                    <a:pt x="809" y="477"/>
                    <a:pt x="813" y="477"/>
                  </a:cubicBezTo>
                  <a:cubicBezTo>
                    <a:pt x="816" y="476"/>
                    <a:pt x="821" y="475"/>
                    <a:pt x="823" y="477"/>
                  </a:cubicBezTo>
                  <a:cubicBezTo>
                    <a:pt x="824" y="473"/>
                    <a:pt x="832" y="470"/>
                    <a:pt x="836" y="469"/>
                  </a:cubicBezTo>
                  <a:cubicBezTo>
                    <a:pt x="839" y="468"/>
                    <a:pt x="846" y="470"/>
                    <a:pt x="848" y="467"/>
                  </a:cubicBezTo>
                  <a:cubicBezTo>
                    <a:pt x="851" y="470"/>
                    <a:pt x="856" y="461"/>
                    <a:pt x="857" y="459"/>
                  </a:cubicBezTo>
                  <a:cubicBezTo>
                    <a:pt x="860" y="456"/>
                    <a:pt x="861" y="454"/>
                    <a:pt x="865" y="453"/>
                  </a:cubicBezTo>
                  <a:cubicBezTo>
                    <a:pt x="867" y="453"/>
                    <a:pt x="870" y="453"/>
                    <a:pt x="872" y="453"/>
                  </a:cubicBezTo>
                  <a:cubicBezTo>
                    <a:pt x="876" y="452"/>
                    <a:pt x="879" y="449"/>
                    <a:pt x="883" y="448"/>
                  </a:cubicBezTo>
                  <a:cubicBezTo>
                    <a:pt x="886" y="448"/>
                    <a:pt x="889" y="449"/>
                    <a:pt x="892" y="448"/>
                  </a:cubicBezTo>
                  <a:cubicBezTo>
                    <a:pt x="895" y="448"/>
                    <a:pt x="898" y="448"/>
                    <a:pt x="901" y="447"/>
                  </a:cubicBezTo>
                  <a:cubicBezTo>
                    <a:pt x="905" y="447"/>
                    <a:pt x="907" y="446"/>
                    <a:pt x="910" y="443"/>
                  </a:cubicBezTo>
                  <a:cubicBezTo>
                    <a:pt x="912" y="442"/>
                    <a:pt x="914" y="441"/>
                    <a:pt x="916" y="441"/>
                  </a:cubicBezTo>
                  <a:cubicBezTo>
                    <a:pt x="919" y="440"/>
                    <a:pt x="920" y="444"/>
                    <a:pt x="923" y="444"/>
                  </a:cubicBezTo>
                  <a:cubicBezTo>
                    <a:pt x="924" y="444"/>
                    <a:pt x="926" y="443"/>
                    <a:pt x="927" y="442"/>
                  </a:cubicBezTo>
                  <a:cubicBezTo>
                    <a:pt x="922" y="441"/>
                    <a:pt x="918" y="438"/>
                    <a:pt x="912" y="437"/>
                  </a:cubicBezTo>
                  <a:cubicBezTo>
                    <a:pt x="907" y="437"/>
                    <a:pt x="906" y="438"/>
                    <a:pt x="906" y="432"/>
                  </a:cubicBezTo>
                  <a:cubicBezTo>
                    <a:pt x="905" y="427"/>
                    <a:pt x="904" y="422"/>
                    <a:pt x="905" y="417"/>
                  </a:cubicBezTo>
                  <a:cubicBezTo>
                    <a:pt x="906" y="414"/>
                    <a:pt x="908" y="410"/>
                    <a:pt x="911" y="408"/>
                  </a:cubicBezTo>
                  <a:cubicBezTo>
                    <a:pt x="914" y="407"/>
                    <a:pt x="915" y="407"/>
                    <a:pt x="917" y="405"/>
                  </a:cubicBezTo>
                  <a:cubicBezTo>
                    <a:pt x="919" y="403"/>
                    <a:pt x="920" y="402"/>
                    <a:pt x="923" y="401"/>
                  </a:cubicBezTo>
                  <a:cubicBezTo>
                    <a:pt x="926" y="400"/>
                    <a:pt x="931" y="403"/>
                    <a:pt x="934" y="401"/>
                  </a:cubicBezTo>
                  <a:cubicBezTo>
                    <a:pt x="938" y="399"/>
                    <a:pt x="935" y="394"/>
                    <a:pt x="937" y="391"/>
                  </a:cubicBezTo>
                  <a:cubicBezTo>
                    <a:pt x="939" y="389"/>
                    <a:pt x="943" y="390"/>
                    <a:pt x="946" y="390"/>
                  </a:cubicBezTo>
                  <a:cubicBezTo>
                    <a:pt x="947" y="390"/>
                    <a:pt x="949" y="389"/>
                    <a:pt x="949" y="389"/>
                  </a:cubicBezTo>
                  <a:cubicBezTo>
                    <a:pt x="951" y="389"/>
                    <a:pt x="952" y="391"/>
                    <a:pt x="954" y="391"/>
                  </a:cubicBezTo>
                  <a:cubicBezTo>
                    <a:pt x="955" y="391"/>
                    <a:pt x="957" y="389"/>
                    <a:pt x="958" y="389"/>
                  </a:cubicBezTo>
                  <a:cubicBezTo>
                    <a:pt x="961" y="387"/>
                    <a:pt x="964" y="387"/>
                    <a:pt x="967" y="387"/>
                  </a:cubicBezTo>
                  <a:cubicBezTo>
                    <a:pt x="972" y="387"/>
                    <a:pt x="976" y="387"/>
                    <a:pt x="979" y="388"/>
                  </a:cubicBezTo>
                  <a:cubicBezTo>
                    <a:pt x="984" y="390"/>
                    <a:pt x="987" y="391"/>
                    <a:pt x="992" y="387"/>
                  </a:cubicBezTo>
                  <a:cubicBezTo>
                    <a:pt x="993" y="386"/>
                    <a:pt x="994" y="384"/>
                    <a:pt x="995" y="383"/>
                  </a:cubicBezTo>
                  <a:cubicBezTo>
                    <a:pt x="997" y="382"/>
                    <a:pt x="998" y="382"/>
                    <a:pt x="999" y="381"/>
                  </a:cubicBezTo>
                  <a:cubicBezTo>
                    <a:pt x="1001" y="379"/>
                    <a:pt x="1000" y="379"/>
                    <a:pt x="1001" y="377"/>
                  </a:cubicBezTo>
                  <a:cubicBezTo>
                    <a:pt x="1002" y="371"/>
                    <a:pt x="1000" y="365"/>
                    <a:pt x="1002" y="359"/>
                  </a:cubicBezTo>
                  <a:cubicBezTo>
                    <a:pt x="1003" y="357"/>
                    <a:pt x="1005" y="355"/>
                    <a:pt x="1006" y="353"/>
                  </a:cubicBezTo>
                  <a:cubicBezTo>
                    <a:pt x="1007" y="352"/>
                    <a:pt x="1010" y="352"/>
                    <a:pt x="1009" y="349"/>
                  </a:cubicBezTo>
                  <a:cubicBezTo>
                    <a:pt x="1005" y="349"/>
                    <a:pt x="1004" y="349"/>
                    <a:pt x="1002" y="346"/>
                  </a:cubicBezTo>
                  <a:cubicBezTo>
                    <a:pt x="1002" y="347"/>
                    <a:pt x="1001" y="347"/>
                    <a:pt x="1001" y="347"/>
                  </a:cubicBezTo>
                  <a:cubicBezTo>
                    <a:pt x="998" y="342"/>
                    <a:pt x="998" y="336"/>
                    <a:pt x="997" y="331"/>
                  </a:cubicBezTo>
                  <a:cubicBezTo>
                    <a:pt x="995" y="331"/>
                    <a:pt x="994" y="331"/>
                    <a:pt x="992" y="331"/>
                  </a:cubicBezTo>
                  <a:cubicBezTo>
                    <a:pt x="991" y="326"/>
                    <a:pt x="992" y="319"/>
                    <a:pt x="992" y="314"/>
                  </a:cubicBezTo>
                  <a:cubicBezTo>
                    <a:pt x="992" y="313"/>
                    <a:pt x="991" y="308"/>
                    <a:pt x="992" y="306"/>
                  </a:cubicBezTo>
                  <a:cubicBezTo>
                    <a:pt x="994" y="302"/>
                    <a:pt x="1014" y="306"/>
                    <a:pt x="1011" y="300"/>
                  </a:cubicBezTo>
                  <a:cubicBezTo>
                    <a:pt x="1010" y="297"/>
                    <a:pt x="1003" y="298"/>
                    <a:pt x="1001" y="298"/>
                  </a:cubicBezTo>
                  <a:cubicBezTo>
                    <a:pt x="995" y="298"/>
                    <a:pt x="993" y="295"/>
                    <a:pt x="988" y="291"/>
                  </a:cubicBezTo>
                  <a:cubicBezTo>
                    <a:pt x="983" y="287"/>
                    <a:pt x="982" y="283"/>
                    <a:pt x="990" y="282"/>
                  </a:cubicBezTo>
                  <a:cubicBezTo>
                    <a:pt x="996" y="282"/>
                    <a:pt x="1002" y="283"/>
                    <a:pt x="1008" y="282"/>
                  </a:cubicBezTo>
                  <a:cubicBezTo>
                    <a:pt x="1008" y="280"/>
                    <a:pt x="1008" y="278"/>
                    <a:pt x="1009" y="276"/>
                  </a:cubicBezTo>
                  <a:cubicBezTo>
                    <a:pt x="1012" y="269"/>
                    <a:pt x="1018" y="273"/>
                    <a:pt x="1024" y="269"/>
                  </a:cubicBezTo>
                  <a:cubicBezTo>
                    <a:pt x="1026" y="267"/>
                    <a:pt x="1026" y="266"/>
                    <a:pt x="1024" y="264"/>
                  </a:cubicBezTo>
                  <a:moveTo>
                    <a:pt x="134" y="165"/>
                  </a:moveTo>
                  <a:cubicBezTo>
                    <a:pt x="134" y="165"/>
                    <a:pt x="134" y="165"/>
                    <a:pt x="134" y="165"/>
                  </a:cubicBezTo>
                  <a:cubicBezTo>
                    <a:pt x="134" y="165"/>
                    <a:pt x="134" y="165"/>
                    <a:pt x="133" y="165"/>
                  </a:cubicBezTo>
                  <a:lnTo>
                    <a:pt x="134" y="16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6" name="Freeform 6"/>
            <p:cNvSpPr>
              <a:spLocks/>
            </p:cNvSpPr>
            <p:nvPr/>
          </p:nvSpPr>
          <p:spPr bwMode="auto">
            <a:xfrm>
              <a:off x="3535363" y="5638800"/>
              <a:ext cx="84138" cy="50800"/>
            </a:xfrm>
            <a:custGeom>
              <a:avLst/>
              <a:gdLst/>
              <a:ahLst/>
              <a:cxnLst>
                <a:cxn ang="0">
                  <a:pos x="17" y="3"/>
                </a:cxn>
                <a:cxn ang="0">
                  <a:pos x="15" y="1"/>
                </a:cxn>
                <a:cxn ang="0">
                  <a:pos x="13" y="0"/>
                </a:cxn>
                <a:cxn ang="0">
                  <a:pos x="10" y="4"/>
                </a:cxn>
                <a:cxn ang="0">
                  <a:pos x="9" y="5"/>
                </a:cxn>
                <a:cxn ang="0">
                  <a:pos x="8" y="6"/>
                </a:cxn>
                <a:cxn ang="0">
                  <a:pos x="7" y="6"/>
                </a:cxn>
                <a:cxn ang="0">
                  <a:pos x="7" y="7"/>
                </a:cxn>
                <a:cxn ang="0">
                  <a:pos x="1" y="10"/>
                </a:cxn>
                <a:cxn ang="0">
                  <a:pos x="1" y="14"/>
                </a:cxn>
                <a:cxn ang="0">
                  <a:pos x="5" y="19"/>
                </a:cxn>
                <a:cxn ang="0">
                  <a:pos x="9" y="22"/>
                </a:cxn>
                <a:cxn ang="0">
                  <a:pos x="15" y="22"/>
                </a:cxn>
                <a:cxn ang="0">
                  <a:pos x="18" y="22"/>
                </a:cxn>
                <a:cxn ang="0">
                  <a:pos x="20" y="21"/>
                </a:cxn>
                <a:cxn ang="0">
                  <a:pos x="22" y="21"/>
                </a:cxn>
                <a:cxn ang="0">
                  <a:pos x="25" y="21"/>
                </a:cxn>
                <a:cxn ang="0">
                  <a:pos x="29" y="22"/>
                </a:cxn>
                <a:cxn ang="0">
                  <a:pos x="32" y="24"/>
                </a:cxn>
                <a:cxn ang="0">
                  <a:pos x="39" y="26"/>
                </a:cxn>
                <a:cxn ang="0">
                  <a:pos x="44" y="25"/>
                </a:cxn>
                <a:cxn ang="0">
                  <a:pos x="44" y="19"/>
                </a:cxn>
                <a:cxn ang="0">
                  <a:pos x="43" y="16"/>
                </a:cxn>
                <a:cxn ang="0">
                  <a:pos x="42" y="13"/>
                </a:cxn>
                <a:cxn ang="0">
                  <a:pos x="38" y="10"/>
                </a:cxn>
                <a:cxn ang="0">
                  <a:pos x="35" y="9"/>
                </a:cxn>
                <a:cxn ang="0">
                  <a:pos x="33" y="9"/>
                </a:cxn>
                <a:cxn ang="0">
                  <a:pos x="27" y="5"/>
                </a:cxn>
                <a:cxn ang="0">
                  <a:pos x="23" y="4"/>
                </a:cxn>
                <a:cxn ang="0">
                  <a:pos x="20" y="3"/>
                </a:cxn>
                <a:cxn ang="0">
                  <a:pos x="17" y="3"/>
                </a:cxn>
              </a:cxnLst>
              <a:rect l="0" t="0" r="r" b="b"/>
              <a:pathLst>
                <a:path w="45" h="27">
                  <a:moveTo>
                    <a:pt x="17" y="3"/>
                  </a:moveTo>
                  <a:cubicBezTo>
                    <a:pt x="17" y="2"/>
                    <a:pt x="16" y="2"/>
                    <a:pt x="15" y="1"/>
                  </a:cubicBezTo>
                  <a:cubicBezTo>
                    <a:pt x="14" y="1"/>
                    <a:pt x="13" y="0"/>
                    <a:pt x="13" y="0"/>
                  </a:cubicBezTo>
                  <a:cubicBezTo>
                    <a:pt x="11" y="1"/>
                    <a:pt x="11" y="2"/>
                    <a:pt x="10" y="4"/>
                  </a:cubicBezTo>
                  <a:cubicBezTo>
                    <a:pt x="10" y="4"/>
                    <a:pt x="10" y="5"/>
                    <a:pt x="9" y="5"/>
                  </a:cubicBezTo>
                  <a:cubicBezTo>
                    <a:pt x="9" y="5"/>
                    <a:pt x="9" y="6"/>
                    <a:pt x="8" y="6"/>
                  </a:cubicBezTo>
                  <a:cubicBezTo>
                    <a:pt x="8" y="6"/>
                    <a:pt x="8" y="6"/>
                    <a:pt x="7" y="6"/>
                  </a:cubicBezTo>
                  <a:cubicBezTo>
                    <a:pt x="7" y="6"/>
                    <a:pt x="7" y="6"/>
                    <a:pt x="7" y="7"/>
                  </a:cubicBezTo>
                  <a:cubicBezTo>
                    <a:pt x="5" y="8"/>
                    <a:pt x="2" y="8"/>
                    <a:pt x="1" y="10"/>
                  </a:cubicBezTo>
                  <a:cubicBezTo>
                    <a:pt x="0" y="11"/>
                    <a:pt x="0" y="13"/>
                    <a:pt x="1" y="14"/>
                  </a:cubicBezTo>
                  <a:cubicBezTo>
                    <a:pt x="1" y="16"/>
                    <a:pt x="3" y="17"/>
                    <a:pt x="5" y="19"/>
                  </a:cubicBezTo>
                  <a:cubicBezTo>
                    <a:pt x="6" y="20"/>
                    <a:pt x="7" y="21"/>
                    <a:pt x="9" y="22"/>
                  </a:cubicBezTo>
                  <a:cubicBezTo>
                    <a:pt x="11" y="22"/>
                    <a:pt x="13" y="22"/>
                    <a:pt x="15" y="22"/>
                  </a:cubicBezTo>
                  <a:cubicBezTo>
                    <a:pt x="16" y="23"/>
                    <a:pt x="17" y="23"/>
                    <a:pt x="18" y="22"/>
                  </a:cubicBezTo>
                  <a:cubicBezTo>
                    <a:pt x="19" y="22"/>
                    <a:pt x="19" y="22"/>
                    <a:pt x="20" y="21"/>
                  </a:cubicBezTo>
                  <a:cubicBezTo>
                    <a:pt x="20" y="21"/>
                    <a:pt x="21" y="21"/>
                    <a:pt x="22" y="21"/>
                  </a:cubicBezTo>
                  <a:cubicBezTo>
                    <a:pt x="23" y="21"/>
                    <a:pt x="24" y="21"/>
                    <a:pt x="25" y="21"/>
                  </a:cubicBezTo>
                  <a:cubicBezTo>
                    <a:pt x="27" y="21"/>
                    <a:pt x="28" y="22"/>
                    <a:pt x="29" y="22"/>
                  </a:cubicBezTo>
                  <a:cubicBezTo>
                    <a:pt x="30" y="22"/>
                    <a:pt x="31" y="23"/>
                    <a:pt x="32" y="24"/>
                  </a:cubicBezTo>
                  <a:cubicBezTo>
                    <a:pt x="34" y="25"/>
                    <a:pt x="36" y="26"/>
                    <a:pt x="39" y="26"/>
                  </a:cubicBezTo>
                  <a:cubicBezTo>
                    <a:pt x="40" y="27"/>
                    <a:pt x="43" y="27"/>
                    <a:pt x="44" y="25"/>
                  </a:cubicBezTo>
                  <a:cubicBezTo>
                    <a:pt x="45" y="23"/>
                    <a:pt x="44" y="21"/>
                    <a:pt x="44" y="19"/>
                  </a:cubicBezTo>
                  <a:cubicBezTo>
                    <a:pt x="43" y="18"/>
                    <a:pt x="43" y="17"/>
                    <a:pt x="43" y="16"/>
                  </a:cubicBezTo>
                  <a:cubicBezTo>
                    <a:pt x="43" y="15"/>
                    <a:pt x="43" y="14"/>
                    <a:pt x="42" y="13"/>
                  </a:cubicBezTo>
                  <a:cubicBezTo>
                    <a:pt x="41" y="11"/>
                    <a:pt x="39" y="11"/>
                    <a:pt x="38" y="10"/>
                  </a:cubicBezTo>
                  <a:cubicBezTo>
                    <a:pt x="37" y="10"/>
                    <a:pt x="36" y="9"/>
                    <a:pt x="35" y="9"/>
                  </a:cubicBezTo>
                  <a:cubicBezTo>
                    <a:pt x="34" y="9"/>
                    <a:pt x="34" y="9"/>
                    <a:pt x="33" y="9"/>
                  </a:cubicBezTo>
                  <a:cubicBezTo>
                    <a:pt x="31" y="8"/>
                    <a:pt x="29" y="6"/>
                    <a:pt x="27" y="5"/>
                  </a:cubicBezTo>
                  <a:cubicBezTo>
                    <a:pt x="26" y="5"/>
                    <a:pt x="24" y="5"/>
                    <a:pt x="23" y="4"/>
                  </a:cubicBezTo>
                  <a:cubicBezTo>
                    <a:pt x="22" y="4"/>
                    <a:pt x="21" y="4"/>
                    <a:pt x="20" y="3"/>
                  </a:cubicBezTo>
                  <a:cubicBezTo>
                    <a:pt x="20" y="3"/>
                    <a:pt x="19" y="4"/>
                    <a:pt x="17" y="3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7" name="Freeform 7"/>
            <p:cNvSpPr>
              <a:spLocks noEditPoints="1"/>
            </p:cNvSpPr>
            <p:nvPr/>
          </p:nvSpPr>
          <p:spPr bwMode="auto">
            <a:xfrm>
              <a:off x="2355850" y="3716338"/>
              <a:ext cx="463550" cy="674688"/>
            </a:xfrm>
            <a:custGeom>
              <a:avLst/>
              <a:gdLst/>
              <a:ahLst/>
              <a:cxnLst>
                <a:cxn ang="0">
                  <a:pos x="182" y="8"/>
                </a:cxn>
                <a:cxn ang="0">
                  <a:pos x="163" y="8"/>
                </a:cxn>
                <a:cxn ang="0">
                  <a:pos x="124" y="24"/>
                </a:cxn>
                <a:cxn ang="0">
                  <a:pos x="114" y="53"/>
                </a:cxn>
                <a:cxn ang="0">
                  <a:pos x="94" y="68"/>
                </a:cxn>
                <a:cxn ang="0">
                  <a:pos x="127" y="72"/>
                </a:cxn>
                <a:cxn ang="0">
                  <a:pos x="110" y="90"/>
                </a:cxn>
                <a:cxn ang="0">
                  <a:pos x="100" y="105"/>
                </a:cxn>
                <a:cxn ang="0">
                  <a:pos x="75" y="113"/>
                </a:cxn>
                <a:cxn ang="0">
                  <a:pos x="33" y="106"/>
                </a:cxn>
                <a:cxn ang="0">
                  <a:pos x="31" y="131"/>
                </a:cxn>
                <a:cxn ang="0">
                  <a:pos x="14" y="139"/>
                </a:cxn>
                <a:cxn ang="0">
                  <a:pos x="40" y="142"/>
                </a:cxn>
                <a:cxn ang="0">
                  <a:pos x="35" y="153"/>
                </a:cxn>
                <a:cxn ang="0">
                  <a:pos x="24" y="179"/>
                </a:cxn>
                <a:cxn ang="0">
                  <a:pos x="37" y="189"/>
                </a:cxn>
                <a:cxn ang="0">
                  <a:pos x="45" y="197"/>
                </a:cxn>
                <a:cxn ang="0">
                  <a:pos x="74" y="214"/>
                </a:cxn>
                <a:cxn ang="0">
                  <a:pos x="55" y="240"/>
                </a:cxn>
                <a:cxn ang="0">
                  <a:pos x="39" y="257"/>
                </a:cxn>
                <a:cxn ang="0">
                  <a:pos x="70" y="260"/>
                </a:cxn>
                <a:cxn ang="0">
                  <a:pos x="40" y="289"/>
                </a:cxn>
                <a:cxn ang="0">
                  <a:pos x="4" y="292"/>
                </a:cxn>
                <a:cxn ang="0">
                  <a:pos x="24" y="304"/>
                </a:cxn>
                <a:cxn ang="0">
                  <a:pos x="23" y="310"/>
                </a:cxn>
                <a:cxn ang="0">
                  <a:pos x="10" y="331"/>
                </a:cxn>
                <a:cxn ang="0">
                  <a:pos x="51" y="325"/>
                </a:cxn>
                <a:cxn ang="0">
                  <a:pos x="19" y="346"/>
                </a:cxn>
                <a:cxn ang="0">
                  <a:pos x="56" y="341"/>
                </a:cxn>
                <a:cxn ang="0">
                  <a:pos x="60" y="357"/>
                </a:cxn>
                <a:cxn ang="0">
                  <a:pos x="104" y="344"/>
                </a:cxn>
                <a:cxn ang="0">
                  <a:pos x="134" y="322"/>
                </a:cxn>
                <a:cxn ang="0">
                  <a:pos x="173" y="302"/>
                </a:cxn>
                <a:cxn ang="0">
                  <a:pos x="208" y="294"/>
                </a:cxn>
                <a:cxn ang="0">
                  <a:pos x="219" y="277"/>
                </a:cxn>
                <a:cxn ang="0">
                  <a:pos x="238" y="240"/>
                </a:cxn>
                <a:cxn ang="0">
                  <a:pos x="230" y="195"/>
                </a:cxn>
                <a:cxn ang="0">
                  <a:pos x="245" y="187"/>
                </a:cxn>
                <a:cxn ang="0">
                  <a:pos x="225" y="161"/>
                </a:cxn>
                <a:cxn ang="0">
                  <a:pos x="231" y="134"/>
                </a:cxn>
                <a:cxn ang="0">
                  <a:pos x="234" y="126"/>
                </a:cxn>
                <a:cxn ang="0">
                  <a:pos x="218" y="123"/>
                </a:cxn>
                <a:cxn ang="0">
                  <a:pos x="201" y="112"/>
                </a:cxn>
                <a:cxn ang="0">
                  <a:pos x="184" y="95"/>
                </a:cxn>
                <a:cxn ang="0">
                  <a:pos x="172" y="114"/>
                </a:cxn>
                <a:cxn ang="0">
                  <a:pos x="153" y="114"/>
                </a:cxn>
                <a:cxn ang="0">
                  <a:pos x="137" y="104"/>
                </a:cxn>
                <a:cxn ang="0">
                  <a:pos x="130" y="90"/>
                </a:cxn>
                <a:cxn ang="0">
                  <a:pos x="149" y="73"/>
                </a:cxn>
                <a:cxn ang="0">
                  <a:pos x="147" y="63"/>
                </a:cxn>
                <a:cxn ang="0">
                  <a:pos x="165" y="46"/>
                </a:cxn>
                <a:cxn ang="0">
                  <a:pos x="184" y="28"/>
                </a:cxn>
                <a:cxn ang="0">
                  <a:pos x="191" y="16"/>
                </a:cxn>
                <a:cxn ang="0">
                  <a:pos x="240" y="128"/>
                </a:cxn>
                <a:cxn ang="0">
                  <a:pos x="216" y="17"/>
                </a:cxn>
                <a:cxn ang="0">
                  <a:pos x="214" y="18"/>
                </a:cxn>
              </a:cxnLst>
              <a:rect l="0" t="0" r="r" b="b"/>
              <a:pathLst>
                <a:path w="248" h="361">
                  <a:moveTo>
                    <a:pt x="203" y="10"/>
                  </a:moveTo>
                  <a:cubicBezTo>
                    <a:pt x="201" y="10"/>
                    <a:pt x="199" y="10"/>
                    <a:pt x="198" y="10"/>
                  </a:cubicBezTo>
                  <a:cubicBezTo>
                    <a:pt x="197" y="10"/>
                    <a:pt x="195" y="11"/>
                    <a:pt x="194" y="10"/>
                  </a:cubicBezTo>
                  <a:cubicBezTo>
                    <a:pt x="191" y="10"/>
                    <a:pt x="189" y="8"/>
                    <a:pt x="187" y="8"/>
                  </a:cubicBezTo>
                  <a:cubicBezTo>
                    <a:pt x="185" y="8"/>
                    <a:pt x="183" y="9"/>
                    <a:pt x="182" y="8"/>
                  </a:cubicBezTo>
                  <a:cubicBezTo>
                    <a:pt x="180" y="7"/>
                    <a:pt x="181" y="6"/>
                    <a:pt x="179" y="5"/>
                  </a:cubicBezTo>
                  <a:cubicBezTo>
                    <a:pt x="178" y="4"/>
                    <a:pt x="176" y="4"/>
                    <a:pt x="175" y="4"/>
                  </a:cubicBezTo>
                  <a:cubicBezTo>
                    <a:pt x="172" y="4"/>
                    <a:pt x="172" y="4"/>
                    <a:pt x="170" y="3"/>
                  </a:cubicBezTo>
                  <a:cubicBezTo>
                    <a:pt x="168" y="2"/>
                    <a:pt x="167" y="0"/>
                    <a:pt x="165" y="3"/>
                  </a:cubicBezTo>
                  <a:cubicBezTo>
                    <a:pt x="163" y="4"/>
                    <a:pt x="165" y="7"/>
                    <a:pt x="163" y="8"/>
                  </a:cubicBezTo>
                  <a:cubicBezTo>
                    <a:pt x="162" y="9"/>
                    <a:pt x="160" y="8"/>
                    <a:pt x="159" y="8"/>
                  </a:cubicBezTo>
                  <a:cubicBezTo>
                    <a:pt x="154" y="8"/>
                    <a:pt x="137" y="8"/>
                    <a:pt x="138" y="16"/>
                  </a:cubicBezTo>
                  <a:cubicBezTo>
                    <a:pt x="135" y="17"/>
                    <a:pt x="133" y="13"/>
                    <a:pt x="131" y="11"/>
                  </a:cubicBezTo>
                  <a:cubicBezTo>
                    <a:pt x="128" y="14"/>
                    <a:pt x="133" y="21"/>
                    <a:pt x="128" y="24"/>
                  </a:cubicBezTo>
                  <a:cubicBezTo>
                    <a:pt x="127" y="24"/>
                    <a:pt x="125" y="24"/>
                    <a:pt x="124" y="24"/>
                  </a:cubicBezTo>
                  <a:cubicBezTo>
                    <a:pt x="123" y="24"/>
                    <a:pt x="122" y="25"/>
                    <a:pt x="121" y="26"/>
                  </a:cubicBezTo>
                  <a:cubicBezTo>
                    <a:pt x="120" y="26"/>
                    <a:pt x="117" y="25"/>
                    <a:pt x="116" y="26"/>
                  </a:cubicBezTo>
                  <a:cubicBezTo>
                    <a:pt x="112" y="29"/>
                    <a:pt x="116" y="34"/>
                    <a:pt x="112" y="37"/>
                  </a:cubicBezTo>
                  <a:cubicBezTo>
                    <a:pt x="110" y="39"/>
                    <a:pt x="104" y="40"/>
                    <a:pt x="105" y="46"/>
                  </a:cubicBezTo>
                  <a:cubicBezTo>
                    <a:pt x="109" y="46"/>
                    <a:pt x="115" y="48"/>
                    <a:pt x="114" y="53"/>
                  </a:cubicBezTo>
                  <a:cubicBezTo>
                    <a:pt x="112" y="58"/>
                    <a:pt x="109" y="54"/>
                    <a:pt x="106" y="55"/>
                  </a:cubicBezTo>
                  <a:cubicBezTo>
                    <a:pt x="103" y="55"/>
                    <a:pt x="104" y="55"/>
                    <a:pt x="103" y="57"/>
                  </a:cubicBezTo>
                  <a:cubicBezTo>
                    <a:pt x="103" y="58"/>
                    <a:pt x="103" y="58"/>
                    <a:pt x="103" y="59"/>
                  </a:cubicBezTo>
                  <a:cubicBezTo>
                    <a:pt x="102" y="60"/>
                    <a:pt x="102" y="59"/>
                    <a:pt x="101" y="60"/>
                  </a:cubicBezTo>
                  <a:cubicBezTo>
                    <a:pt x="98" y="62"/>
                    <a:pt x="96" y="65"/>
                    <a:pt x="94" y="68"/>
                  </a:cubicBezTo>
                  <a:cubicBezTo>
                    <a:pt x="91" y="71"/>
                    <a:pt x="88" y="75"/>
                    <a:pt x="94" y="76"/>
                  </a:cubicBezTo>
                  <a:cubicBezTo>
                    <a:pt x="96" y="77"/>
                    <a:pt x="98" y="76"/>
                    <a:pt x="100" y="76"/>
                  </a:cubicBezTo>
                  <a:cubicBezTo>
                    <a:pt x="102" y="76"/>
                    <a:pt x="103" y="78"/>
                    <a:pt x="105" y="78"/>
                  </a:cubicBezTo>
                  <a:cubicBezTo>
                    <a:pt x="110" y="80"/>
                    <a:pt x="112" y="77"/>
                    <a:pt x="117" y="76"/>
                  </a:cubicBezTo>
                  <a:cubicBezTo>
                    <a:pt x="120" y="75"/>
                    <a:pt x="123" y="74"/>
                    <a:pt x="127" y="72"/>
                  </a:cubicBezTo>
                  <a:cubicBezTo>
                    <a:pt x="127" y="75"/>
                    <a:pt x="127" y="76"/>
                    <a:pt x="126" y="77"/>
                  </a:cubicBezTo>
                  <a:cubicBezTo>
                    <a:pt x="124" y="80"/>
                    <a:pt x="123" y="80"/>
                    <a:pt x="122" y="83"/>
                  </a:cubicBezTo>
                  <a:cubicBezTo>
                    <a:pt x="121" y="85"/>
                    <a:pt x="122" y="85"/>
                    <a:pt x="120" y="86"/>
                  </a:cubicBezTo>
                  <a:cubicBezTo>
                    <a:pt x="119" y="87"/>
                    <a:pt x="117" y="87"/>
                    <a:pt x="115" y="88"/>
                  </a:cubicBezTo>
                  <a:cubicBezTo>
                    <a:pt x="113" y="88"/>
                    <a:pt x="112" y="90"/>
                    <a:pt x="110" y="90"/>
                  </a:cubicBezTo>
                  <a:cubicBezTo>
                    <a:pt x="109" y="91"/>
                    <a:pt x="108" y="90"/>
                    <a:pt x="107" y="90"/>
                  </a:cubicBezTo>
                  <a:cubicBezTo>
                    <a:pt x="106" y="91"/>
                    <a:pt x="106" y="92"/>
                    <a:pt x="105" y="93"/>
                  </a:cubicBezTo>
                  <a:cubicBezTo>
                    <a:pt x="103" y="95"/>
                    <a:pt x="98" y="97"/>
                    <a:pt x="99" y="100"/>
                  </a:cubicBezTo>
                  <a:cubicBezTo>
                    <a:pt x="100" y="100"/>
                    <a:pt x="101" y="100"/>
                    <a:pt x="102" y="100"/>
                  </a:cubicBezTo>
                  <a:cubicBezTo>
                    <a:pt x="103" y="103"/>
                    <a:pt x="103" y="104"/>
                    <a:pt x="100" y="105"/>
                  </a:cubicBezTo>
                  <a:cubicBezTo>
                    <a:pt x="99" y="106"/>
                    <a:pt x="97" y="105"/>
                    <a:pt x="96" y="105"/>
                  </a:cubicBezTo>
                  <a:cubicBezTo>
                    <a:pt x="94" y="106"/>
                    <a:pt x="94" y="106"/>
                    <a:pt x="93" y="106"/>
                  </a:cubicBezTo>
                  <a:cubicBezTo>
                    <a:pt x="90" y="107"/>
                    <a:pt x="90" y="105"/>
                    <a:pt x="87" y="104"/>
                  </a:cubicBezTo>
                  <a:cubicBezTo>
                    <a:pt x="85" y="104"/>
                    <a:pt x="82" y="104"/>
                    <a:pt x="80" y="105"/>
                  </a:cubicBezTo>
                  <a:cubicBezTo>
                    <a:pt x="79" y="108"/>
                    <a:pt x="80" y="114"/>
                    <a:pt x="75" y="113"/>
                  </a:cubicBezTo>
                  <a:cubicBezTo>
                    <a:pt x="69" y="112"/>
                    <a:pt x="72" y="105"/>
                    <a:pt x="66" y="103"/>
                  </a:cubicBezTo>
                  <a:cubicBezTo>
                    <a:pt x="61" y="103"/>
                    <a:pt x="57" y="103"/>
                    <a:pt x="52" y="102"/>
                  </a:cubicBezTo>
                  <a:cubicBezTo>
                    <a:pt x="49" y="102"/>
                    <a:pt x="46" y="101"/>
                    <a:pt x="43" y="101"/>
                  </a:cubicBezTo>
                  <a:cubicBezTo>
                    <a:pt x="40" y="101"/>
                    <a:pt x="37" y="102"/>
                    <a:pt x="33" y="102"/>
                  </a:cubicBezTo>
                  <a:cubicBezTo>
                    <a:pt x="33" y="103"/>
                    <a:pt x="33" y="105"/>
                    <a:pt x="33" y="106"/>
                  </a:cubicBezTo>
                  <a:cubicBezTo>
                    <a:pt x="29" y="107"/>
                    <a:pt x="25" y="107"/>
                    <a:pt x="22" y="111"/>
                  </a:cubicBezTo>
                  <a:cubicBezTo>
                    <a:pt x="20" y="115"/>
                    <a:pt x="17" y="123"/>
                    <a:pt x="20" y="126"/>
                  </a:cubicBezTo>
                  <a:cubicBezTo>
                    <a:pt x="21" y="125"/>
                    <a:pt x="22" y="123"/>
                    <a:pt x="23" y="122"/>
                  </a:cubicBezTo>
                  <a:cubicBezTo>
                    <a:pt x="24" y="120"/>
                    <a:pt x="27" y="117"/>
                    <a:pt x="29" y="117"/>
                  </a:cubicBezTo>
                  <a:cubicBezTo>
                    <a:pt x="33" y="117"/>
                    <a:pt x="32" y="128"/>
                    <a:pt x="31" y="131"/>
                  </a:cubicBezTo>
                  <a:cubicBezTo>
                    <a:pt x="35" y="133"/>
                    <a:pt x="39" y="132"/>
                    <a:pt x="42" y="134"/>
                  </a:cubicBezTo>
                  <a:cubicBezTo>
                    <a:pt x="40" y="137"/>
                    <a:pt x="32" y="136"/>
                    <a:pt x="30" y="134"/>
                  </a:cubicBezTo>
                  <a:cubicBezTo>
                    <a:pt x="27" y="133"/>
                    <a:pt x="28" y="132"/>
                    <a:pt x="24" y="131"/>
                  </a:cubicBezTo>
                  <a:cubicBezTo>
                    <a:pt x="21" y="131"/>
                    <a:pt x="18" y="131"/>
                    <a:pt x="16" y="132"/>
                  </a:cubicBezTo>
                  <a:cubicBezTo>
                    <a:pt x="14" y="133"/>
                    <a:pt x="12" y="136"/>
                    <a:pt x="14" y="139"/>
                  </a:cubicBezTo>
                  <a:cubicBezTo>
                    <a:pt x="16" y="141"/>
                    <a:pt x="19" y="138"/>
                    <a:pt x="21" y="139"/>
                  </a:cubicBezTo>
                  <a:cubicBezTo>
                    <a:pt x="22" y="140"/>
                    <a:pt x="23" y="141"/>
                    <a:pt x="24" y="142"/>
                  </a:cubicBezTo>
                  <a:cubicBezTo>
                    <a:pt x="25" y="144"/>
                    <a:pt x="25" y="143"/>
                    <a:pt x="27" y="144"/>
                  </a:cubicBezTo>
                  <a:cubicBezTo>
                    <a:pt x="31" y="146"/>
                    <a:pt x="34" y="147"/>
                    <a:pt x="38" y="146"/>
                  </a:cubicBezTo>
                  <a:cubicBezTo>
                    <a:pt x="38" y="145"/>
                    <a:pt x="39" y="143"/>
                    <a:pt x="40" y="142"/>
                  </a:cubicBezTo>
                  <a:cubicBezTo>
                    <a:pt x="42" y="141"/>
                    <a:pt x="45" y="142"/>
                    <a:pt x="45" y="145"/>
                  </a:cubicBezTo>
                  <a:cubicBezTo>
                    <a:pt x="45" y="145"/>
                    <a:pt x="46" y="145"/>
                    <a:pt x="47" y="145"/>
                  </a:cubicBezTo>
                  <a:cubicBezTo>
                    <a:pt x="47" y="147"/>
                    <a:pt x="46" y="150"/>
                    <a:pt x="44" y="151"/>
                  </a:cubicBezTo>
                  <a:cubicBezTo>
                    <a:pt x="42" y="151"/>
                    <a:pt x="41" y="150"/>
                    <a:pt x="39" y="151"/>
                  </a:cubicBezTo>
                  <a:cubicBezTo>
                    <a:pt x="38" y="151"/>
                    <a:pt x="36" y="153"/>
                    <a:pt x="35" y="153"/>
                  </a:cubicBezTo>
                  <a:cubicBezTo>
                    <a:pt x="32" y="155"/>
                    <a:pt x="32" y="155"/>
                    <a:pt x="32" y="159"/>
                  </a:cubicBezTo>
                  <a:cubicBezTo>
                    <a:pt x="31" y="162"/>
                    <a:pt x="32" y="165"/>
                    <a:pt x="31" y="169"/>
                  </a:cubicBezTo>
                  <a:cubicBezTo>
                    <a:pt x="29" y="169"/>
                    <a:pt x="26" y="168"/>
                    <a:pt x="24" y="169"/>
                  </a:cubicBezTo>
                  <a:cubicBezTo>
                    <a:pt x="21" y="169"/>
                    <a:pt x="18" y="173"/>
                    <a:pt x="19" y="176"/>
                  </a:cubicBezTo>
                  <a:cubicBezTo>
                    <a:pt x="21" y="176"/>
                    <a:pt x="25" y="176"/>
                    <a:pt x="24" y="179"/>
                  </a:cubicBezTo>
                  <a:cubicBezTo>
                    <a:pt x="21" y="179"/>
                    <a:pt x="21" y="182"/>
                    <a:pt x="18" y="182"/>
                  </a:cubicBezTo>
                  <a:cubicBezTo>
                    <a:pt x="17" y="185"/>
                    <a:pt x="18" y="185"/>
                    <a:pt x="20" y="187"/>
                  </a:cubicBezTo>
                  <a:cubicBezTo>
                    <a:pt x="21" y="188"/>
                    <a:pt x="25" y="190"/>
                    <a:pt x="26" y="190"/>
                  </a:cubicBezTo>
                  <a:cubicBezTo>
                    <a:pt x="28" y="191"/>
                    <a:pt x="30" y="191"/>
                    <a:pt x="31" y="191"/>
                  </a:cubicBezTo>
                  <a:cubicBezTo>
                    <a:pt x="33" y="190"/>
                    <a:pt x="34" y="188"/>
                    <a:pt x="37" y="189"/>
                  </a:cubicBezTo>
                  <a:cubicBezTo>
                    <a:pt x="37" y="190"/>
                    <a:pt x="37" y="191"/>
                    <a:pt x="37" y="192"/>
                  </a:cubicBezTo>
                  <a:cubicBezTo>
                    <a:pt x="36" y="191"/>
                    <a:pt x="35" y="192"/>
                    <a:pt x="34" y="192"/>
                  </a:cubicBezTo>
                  <a:cubicBezTo>
                    <a:pt x="34" y="194"/>
                    <a:pt x="35" y="197"/>
                    <a:pt x="38" y="196"/>
                  </a:cubicBezTo>
                  <a:cubicBezTo>
                    <a:pt x="39" y="195"/>
                    <a:pt x="41" y="191"/>
                    <a:pt x="43" y="191"/>
                  </a:cubicBezTo>
                  <a:cubicBezTo>
                    <a:pt x="45" y="191"/>
                    <a:pt x="44" y="196"/>
                    <a:pt x="45" y="197"/>
                  </a:cubicBezTo>
                  <a:cubicBezTo>
                    <a:pt x="46" y="199"/>
                    <a:pt x="51" y="201"/>
                    <a:pt x="53" y="202"/>
                  </a:cubicBezTo>
                  <a:cubicBezTo>
                    <a:pt x="60" y="203"/>
                    <a:pt x="67" y="200"/>
                    <a:pt x="74" y="200"/>
                  </a:cubicBezTo>
                  <a:cubicBezTo>
                    <a:pt x="78" y="200"/>
                    <a:pt x="82" y="202"/>
                    <a:pt x="81" y="207"/>
                  </a:cubicBezTo>
                  <a:cubicBezTo>
                    <a:pt x="78" y="207"/>
                    <a:pt x="77" y="206"/>
                    <a:pt x="75" y="210"/>
                  </a:cubicBezTo>
                  <a:cubicBezTo>
                    <a:pt x="75" y="212"/>
                    <a:pt x="76" y="213"/>
                    <a:pt x="74" y="214"/>
                  </a:cubicBezTo>
                  <a:cubicBezTo>
                    <a:pt x="72" y="215"/>
                    <a:pt x="69" y="213"/>
                    <a:pt x="69" y="210"/>
                  </a:cubicBezTo>
                  <a:cubicBezTo>
                    <a:pt x="65" y="209"/>
                    <a:pt x="63" y="215"/>
                    <a:pt x="61" y="218"/>
                  </a:cubicBezTo>
                  <a:cubicBezTo>
                    <a:pt x="60" y="221"/>
                    <a:pt x="51" y="228"/>
                    <a:pt x="52" y="232"/>
                  </a:cubicBezTo>
                  <a:cubicBezTo>
                    <a:pt x="55" y="232"/>
                    <a:pt x="57" y="233"/>
                    <a:pt x="59" y="230"/>
                  </a:cubicBezTo>
                  <a:cubicBezTo>
                    <a:pt x="59" y="235"/>
                    <a:pt x="56" y="235"/>
                    <a:pt x="55" y="240"/>
                  </a:cubicBezTo>
                  <a:cubicBezTo>
                    <a:pt x="54" y="243"/>
                    <a:pt x="54" y="243"/>
                    <a:pt x="51" y="245"/>
                  </a:cubicBezTo>
                  <a:cubicBezTo>
                    <a:pt x="50" y="247"/>
                    <a:pt x="49" y="248"/>
                    <a:pt x="48" y="249"/>
                  </a:cubicBezTo>
                  <a:cubicBezTo>
                    <a:pt x="47" y="250"/>
                    <a:pt x="46" y="250"/>
                    <a:pt x="45" y="251"/>
                  </a:cubicBezTo>
                  <a:cubicBezTo>
                    <a:pt x="45" y="251"/>
                    <a:pt x="45" y="252"/>
                    <a:pt x="45" y="253"/>
                  </a:cubicBezTo>
                  <a:cubicBezTo>
                    <a:pt x="44" y="255"/>
                    <a:pt x="41" y="256"/>
                    <a:pt x="39" y="257"/>
                  </a:cubicBezTo>
                  <a:cubicBezTo>
                    <a:pt x="36" y="258"/>
                    <a:pt x="31" y="260"/>
                    <a:pt x="32" y="264"/>
                  </a:cubicBezTo>
                  <a:cubicBezTo>
                    <a:pt x="37" y="265"/>
                    <a:pt x="43" y="264"/>
                    <a:pt x="48" y="261"/>
                  </a:cubicBezTo>
                  <a:cubicBezTo>
                    <a:pt x="51" y="258"/>
                    <a:pt x="51" y="258"/>
                    <a:pt x="55" y="258"/>
                  </a:cubicBezTo>
                  <a:cubicBezTo>
                    <a:pt x="57" y="258"/>
                    <a:pt x="59" y="259"/>
                    <a:pt x="62" y="259"/>
                  </a:cubicBezTo>
                  <a:cubicBezTo>
                    <a:pt x="64" y="260"/>
                    <a:pt x="67" y="259"/>
                    <a:pt x="70" y="260"/>
                  </a:cubicBezTo>
                  <a:cubicBezTo>
                    <a:pt x="72" y="267"/>
                    <a:pt x="52" y="263"/>
                    <a:pt x="48" y="264"/>
                  </a:cubicBezTo>
                  <a:cubicBezTo>
                    <a:pt x="46" y="270"/>
                    <a:pt x="39" y="271"/>
                    <a:pt x="35" y="273"/>
                  </a:cubicBezTo>
                  <a:cubicBezTo>
                    <a:pt x="31" y="275"/>
                    <a:pt x="32" y="275"/>
                    <a:pt x="33" y="279"/>
                  </a:cubicBezTo>
                  <a:cubicBezTo>
                    <a:pt x="33" y="282"/>
                    <a:pt x="33" y="284"/>
                    <a:pt x="33" y="287"/>
                  </a:cubicBezTo>
                  <a:cubicBezTo>
                    <a:pt x="35" y="287"/>
                    <a:pt x="39" y="288"/>
                    <a:pt x="40" y="289"/>
                  </a:cubicBezTo>
                  <a:cubicBezTo>
                    <a:pt x="39" y="292"/>
                    <a:pt x="33" y="291"/>
                    <a:pt x="30" y="290"/>
                  </a:cubicBezTo>
                  <a:cubicBezTo>
                    <a:pt x="30" y="284"/>
                    <a:pt x="26" y="283"/>
                    <a:pt x="21" y="286"/>
                  </a:cubicBezTo>
                  <a:cubicBezTo>
                    <a:pt x="20" y="286"/>
                    <a:pt x="19" y="287"/>
                    <a:pt x="18" y="288"/>
                  </a:cubicBezTo>
                  <a:cubicBezTo>
                    <a:pt x="17" y="288"/>
                    <a:pt x="15" y="288"/>
                    <a:pt x="14" y="288"/>
                  </a:cubicBezTo>
                  <a:cubicBezTo>
                    <a:pt x="11" y="289"/>
                    <a:pt x="7" y="291"/>
                    <a:pt x="4" y="292"/>
                  </a:cubicBezTo>
                  <a:cubicBezTo>
                    <a:pt x="4" y="293"/>
                    <a:pt x="4" y="295"/>
                    <a:pt x="4" y="296"/>
                  </a:cubicBezTo>
                  <a:cubicBezTo>
                    <a:pt x="3" y="296"/>
                    <a:pt x="3" y="297"/>
                    <a:pt x="2" y="297"/>
                  </a:cubicBezTo>
                  <a:cubicBezTo>
                    <a:pt x="2" y="298"/>
                    <a:pt x="2" y="299"/>
                    <a:pt x="2" y="300"/>
                  </a:cubicBezTo>
                  <a:cubicBezTo>
                    <a:pt x="0" y="308"/>
                    <a:pt x="8" y="306"/>
                    <a:pt x="15" y="306"/>
                  </a:cubicBezTo>
                  <a:cubicBezTo>
                    <a:pt x="18" y="305"/>
                    <a:pt x="21" y="304"/>
                    <a:pt x="24" y="304"/>
                  </a:cubicBezTo>
                  <a:cubicBezTo>
                    <a:pt x="26" y="304"/>
                    <a:pt x="29" y="304"/>
                    <a:pt x="31" y="304"/>
                  </a:cubicBezTo>
                  <a:cubicBezTo>
                    <a:pt x="32" y="303"/>
                    <a:pt x="35" y="303"/>
                    <a:pt x="36" y="303"/>
                  </a:cubicBezTo>
                  <a:cubicBezTo>
                    <a:pt x="37" y="302"/>
                    <a:pt x="37" y="300"/>
                    <a:pt x="40" y="301"/>
                  </a:cubicBezTo>
                  <a:cubicBezTo>
                    <a:pt x="41" y="309"/>
                    <a:pt x="35" y="305"/>
                    <a:pt x="30" y="307"/>
                  </a:cubicBezTo>
                  <a:cubicBezTo>
                    <a:pt x="28" y="307"/>
                    <a:pt x="26" y="309"/>
                    <a:pt x="23" y="310"/>
                  </a:cubicBezTo>
                  <a:cubicBezTo>
                    <a:pt x="20" y="311"/>
                    <a:pt x="16" y="312"/>
                    <a:pt x="14" y="313"/>
                  </a:cubicBezTo>
                  <a:cubicBezTo>
                    <a:pt x="12" y="314"/>
                    <a:pt x="12" y="315"/>
                    <a:pt x="11" y="316"/>
                  </a:cubicBezTo>
                  <a:cubicBezTo>
                    <a:pt x="10" y="316"/>
                    <a:pt x="9" y="318"/>
                    <a:pt x="8" y="319"/>
                  </a:cubicBezTo>
                  <a:cubicBezTo>
                    <a:pt x="7" y="321"/>
                    <a:pt x="8" y="322"/>
                    <a:pt x="9" y="325"/>
                  </a:cubicBezTo>
                  <a:cubicBezTo>
                    <a:pt x="9" y="328"/>
                    <a:pt x="8" y="329"/>
                    <a:pt x="10" y="331"/>
                  </a:cubicBezTo>
                  <a:cubicBezTo>
                    <a:pt x="13" y="333"/>
                    <a:pt x="15" y="330"/>
                    <a:pt x="18" y="330"/>
                  </a:cubicBezTo>
                  <a:cubicBezTo>
                    <a:pt x="20" y="334"/>
                    <a:pt x="24" y="337"/>
                    <a:pt x="29" y="337"/>
                  </a:cubicBezTo>
                  <a:cubicBezTo>
                    <a:pt x="34" y="336"/>
                    <a:pt x="31" y="333"/>
                    <a:pt x="34" y="330"/>
                  </a:cubicBezTo>
                  <a:cubicBezTo>
                    <a:pt x="36" y="328"/>
                    <a:pt x="39" y="328"/>
                    <a:pt x="41" y="327"/>
                  </a:cubicBezTo>
                  <a:cubicBezTo>
                    <a:pt x="45" y="326"/>
                    <a:pt x="48" y="324"/>
                    <a:pt x="51" y="325"/>
                  </a:cubicBezTo>
                  <a:cubicBezTo>
                    <a:pt x="52" y="328"/>
                    <a:pt x="48" y="330"/>
                    <a:pt x="46" y="332"/>
                  </a:cubicBezTo>
                  <a:cubicBezTo>
                    <a:pt x="43" y="333"/>
                    <a:pt x="41" y="335"/>
                    <a:pt x="38" y="337"/>
                  </a:cubicBezTo>
                  <a:cubicBezTo>
                    <a:pt x="37" y="338"/>
                    <a:pt x="35" y="339"/>
                    <a:pt x="33" y="340"/>
                  </a:cubicBezTo>
                  <a:cubicBezTo>
                    <a:pt x="31" y="340"/>
                    <a:pt x="30" y="339"/>
                    <a:pt x="28" y="340"/>
                  </a:cubicBezTo>
                  <a:cubicBezTo>
                    <a:pt x="26" y="341"/>
                    <a:pt x="19" y="344"/>
                    <a:pt x="19" y="346"/>
                  </a:cubicBezTo>
                  <a:cubicBezTo>
                    <a:pt x="17" y="350"/>
                    <a:pt x="25" y="351"/>
                    <a:pt x="27" y="350"/>
                  </a:cubicBezTo>
                  <a:cubicBezTo>
                    <a:pt x="30" y="350"/>
                    <a:pt x="30" y="349"/>
                    <a:pt x="31" y="348"/>
                  </a:cubicBezTo>
                  <a:cubicBezTo>
                    <a:pt x="34" y="347"/>
                    <a:pt x="37" y="348"/>
                    <a:pt x="40" y="347"/>
                  </a:cubicBezTo>
                  <a:cubicBezTo>
                    <a:pt x="42" y="346"/>
                    <a:pt x="45" y="345"/>
                    <a:pt x="47" y="343"/>
                  </a:cubicBezTo>
                  <a:cubicBezTo>
                    <a:pt x="50" y="342"/>
                    <a:pt x="53" y="340"/>
                    <a:pt x="56" y="341"/>
                  </a:cubicBezTo>
                  <a:cubicBezTo>
                    <a:pt x="58" y="347"/>
                    <a:pt x="40" y="352"/>
                    <a:pt x="36" y="356"/>
                  </a:cubicBezTo>
                  <a:cubicBezTo>
                    <a:pt x="32" y="361"/>
                    <a:pt x="43" y="361"/>
                    <a:pt x="46" y="361"/>
                  </a:cubicBezTo>
                  <a:cubicBezTo>
                    <a:pt x="49" y="360"/>
                    <a:pt x="52" y="360"/>
                    <a:pt x="56" y="358"/>
                  </a:cubicBezTo>
                  <a:cubicBezTo>
                    <a:pt x="57" y="358"/>
                    <a:pt x="56" y="357"/>
                    <a:pt x="58" y="357"/>
                  </a:cubicBezTo>
                  <a:cubicBezTo>
                    <a:pt x="58" y="356"/>
                    <a:pt x="60" y="357"/>
                    <a:pt x="60" y="357"/>
                  </a:cubicBezTo>
                  <a:cubicBezTo>
                    <a:pt x="65" y="357"/>
                    <a:pt x="69" y="357"/>
                    <a:pt x="74" y="355"/>
                  </a:cubicBezTo>
                  <a:cubicBezTo>
                    <a:pt x="77" y="354"/>
                    <a:pt x="81" y="354"/>
                    <a:pt x="84" y="353"/>
                  </a:cubicBezTo>
                  <a:cubicBezTo>
                    <a:pt x="86" y="353"/>
                    <a:pt x="88" y="352"/>
                    <a:pt x="89" y="351"/>
                  </a:cubicBezTo>
                  <a:cubicBezTo>
                    <a:pt x="94" y="350"/>
                    <a:pt x="96" y="351"/>
                    <a:pt x="100" y="348"/>
                  </a:cubicBezTo>
                  <a:cubicBezTo>
                    <a:pt x="101" y="347"/>
                    <a:pt x="103" y="345"/>
                    <a:pt x="104" y="344"/>
                  </a:cubicBezTo>
                  <a:cubicBezTo>
                    <a:pt x="107" y="342"/>
                    <a:pt x="107" y="343"/>
                    <a:pt x="109" y="341"/>
                  </a:cubicBezTo>
                  <a:cubicBezTo>
                    <a:pt x="112" y="338"/>
                    <a:pt x="115" y="338"/>
                    <a:pt x="117" y="335"/>
                  </a:cubicBezTo>
                  <a:cubicBezTo>
                    <a:pt x="119" y="331"/>
                    <a:pt x="120" y="330"/>
                    <a:pt x="124" y="329"/>
                  </a:cubicBezTo>
                  <a:cubicBezTo>
                    <a:pt x="126" y="328"/>
                    <a:pt x="128" y="328"/>
                    <a:pt x="130" y="327"/>
                  </a:cubicBezTo>
                  <a:cubicBezTo>
                    <a:pt x="131" y="325"/>
                    <a:pt x="132" y="324"/>
                    <a:pt x="134" y="322"/>
                  </a:cubicBezTo>
                  <a:cubicBezTo>
                    <a:pt x="136" y="322"/>
                    <a:pt x="138" y="320"/>
                    <a:pt x="140" y="319"/>
                  </a:cubicBezTo>
                  <a:cubicBezTo>
                    <a:pt x="142" y="318"/>
                    <a:pt x="143" y="319"/>
                    <a:pt x="145" y="317"/>
                  </a:cubicBezTo>
                  <a:cubicBezTo>
                    <a:pt x="148" y="315"/>
                    <a:pt x="152" y="312"/>
                    <a:pt x="154" y="310"/>
                  </a:cubicBezTo>
                  <a:cubicBezTo>
                    <a:pt x="157" y="308"/>
                    <a:pt x="158" y="305"/>
                    <a:pt x="161" y="304"/>
                  </a:cubicBezTo>
                  <a:cubicBezTo>
                    <a:pt x="164" y="302"/>
                    <a:pt x="169" y="303"/>
                    <a:pt x="173" y="302"/>
                  </a:cubicBezTo>
                  <a:cubicBezTo>
                    <a:pt x="176" y="301"/>
                    <a:pt x="175" y="301"/>
                    <a:pt x="177" y="299"/>
                  </a:cubicBezTo>
                  <a:cubicBezTo>
                    <a:pt x="181" y="296"/>
                    <a:pt x="189" y="300"/>
                    <a:pt x="192" y="295"/>
                  </a:cubicBezTo>
                  <a:cubicBezTo>
                    <a:pt x="193" y="297"/>
                    <a:pt x="192" y="299"/>
                    <a:pt x="193" y="301"/>
                  </a:cubicBezTo>
                  <a:cubicBezTo>
                    <a:pt x="195" y="301"/>
                    <a:pt x="197" y="301"/>
                    <a:pt x="199" y="300"/>
                  </a:cubicBezTo>
                  <a:cubicBezTo>
                    <a:pt x="202" y="298"/>
                    <a:pt x="206" y="295"/>
                    <a:pt x="208" y="294"/>
                  </a:cubicBezTo>
                  <a:cubicBezTo>
                    <a:pt x="211" y="294"/>
                    <a:pt x="214" y="294"/>
                    <a:pt x="217" y="294"/>
                  </a:cubicBezTo>
                  <a:cubicBezTo>
                    <a:pt x="218" y="294"/>
                    <a:pt x="218" y="295"/>
                    <a:pt x="220" y="295"/>
                  </a:cubicBezTo>
                  <a:cubicBezTo>
                    <a:pt x="221" y="294"/>
                    <a:pt x="222" y="293"/>
                    <a:pt x="223" y="292"/>
                  </a:cubicBezTo>
                  <a:cubicBezTo>
                    <a:pt x="225" y="292"/>
                    <a:pt x="228" y="293"/>
                    <a:pt x="227" y="289"/>
                  </a:cubicBezTo>
                  <a:cubicBezTo>
                    <a:pt x="223" y="288"/>
                    <a:pt x="217" y="281"/>
                    <a:pt x="219" y="277"/>
                  </a:cubicBezTo>
                  <a:cubicBezTo>
                    <a:pt x="223" y="277"/>
                    <a:pt x="223" y="273"/>
                    <a:pt x="225" y="270"/>
                  </a:cubicBezTo>
                  <a:cubicBezTo>
                    <a:pt x="226" y="267"/>
                    <a:pt x="229" y="266"/>
                    <a:pt x="230" y="264"/>
                  </a:cubicBezTo>
                  <a:cubicBezTo>
                    <a:pt x="230" y="262"/>
                    <a:pt x="230" y="259"/>
                    <a:pt x="230" y="257"/>
                  </a:cubicBezTo>
                  <a:cubicBezTo>
                    <a:pt x="230" y="253"/>
                    <a:pt x="230" y="249"/>
                    <a:pt x="233" y="245"/>
                  </a:cubicBezTo>
                  <a:cubicBezTo>
                    <a:pt x="235" y="243"/>
                    <a:pt x="237" y="243"/>
                    <a:pt x="238" y="240"/>
                  </a:cubicBezTo>
                  <a:cubicBezTo>
                    <a:pt x="239" y="238"/>
                    <a:pt x="238" y="238"/>
                    <a:pt x="238" y="236"/>
                  </a:cubicBezTo>
                  <a:cubicBezTo>
                    <a:pt x="238" y="231"/>
                    <a:pt x="238" y="226"/>
                    <a:pt x="238" y="221"/>
                  </a:cubicBezTo>
                  <a:cubicBezTo>
                    <a:pt x="238" y="217"/>
                    <a:pt x="239" y="212"/>
                    <a:pt x="237" y="209"/>
                  </a:cubicBezTo>
                  <a:cubicBezTo>
                    <a:pt x="235" y="206"/>
                    <a:pt x="233" y="204"/>
                    <a:pt x="233" y="200"/>
                  </a:cubicBezTo>
                  <a:cubicBezTo>
                    <a:pt x="232" y="197"/>
                    <a:pt x="232" y="197"/>
                    <a:pt x="230" y="195"/>
                  </a:cubicBezTo>
                  <a:cubicBezTo>
                    <a:pt x="229" y="194"/>
                    <a:pt x="229" y="193"/>
                    <a:pt x="228" y="192"/>
                  </a:cubicBezTo>
                  <a:cubicBezTo>
                    <a:pt x="227" y="192"/>
                    <a:pt x="225" y="193"/>
                    <a:pt x="224" y="192"/>
                  </a:cubicBezTo>
                  <a:cubicBezTo>
                    <a:pt x="226" y="191"/>
                    <a:pt x="229" y="190"/>
                    <a:pt x="232" y="189"/>
                  </a:cubicBezTo>
                  <a:cubicBezTo>
                    <a:pt x="235" y="189"/>
                    <a:pt x="239" y="192"/>
                    <a:pt x="242" y="191"/>
                  </a:cubicBezTo>
                  <a:cubicBezTo>
                    <a:pt x="242" y="189"/>
                    <a:pt x="244" y="188"/>
                    <a:pt x="245" y="187"/>
                  </a:cubicBezTo>
                  <a:cubicBezTo>
                    <a:pt x="247" y="184"/>
                    <a:pt x="248" y="179"/>
                    <a:pt x="248" y="175"/>
                  </a:cubicBezTo>
                  <a:cubicBezTo>
                    <a:pt x="244" y="175"/>
                    <a:pt x="242" y="175"/>
                    <a:pt x="239" y="173"/>
                  </a:cubicBezTo>
                  <a:cubicBezTo>
                    <a:pt x="236" y="172"/>
                    <a:pt x="235" y="170"/>
                    <a:pt x="232" y="168"/>
                  </a:cubicBezTo>
                  <a:cubicBezTo>
                    <a:pt x="231" y="168"/>
                    <a:pt x="226" y="166"/>
                    <a:pt x="225" y="165"/>
                  </a:cubicBezTo>
                  <a:cubicBezTo>
                    <a:pt x="225" y="164"/>
                    <a:pt x="225" y="162"/>
                    <a:pt x="225" y="161"/>
                  </a:cubicBezTo>
                  <a:cubicBezTo>
                    <a:pt x="226" y="159"/>
                    <a:pt x="228" y="159"/>
                    <a:pt x="228" y="156"/>
                  </a:cubicBezTo>
                  <a:cubicBezTo>
                    <a:pt x="228" y="154"/>
                    <a:pt x="228" y="150"/>
                    <a:pt x="228" y="148"/>
                  </a:cubicBezTo>
                  <a:cubicBezTo>
                    <a:pt x="227" y="146"/>
                    <a:pt x="225" y="144"/>
                    <a:pt x="224" y="142"/>
                  </a:cubicBezTo>
                  <a:cubicBezTo>
                    <a:pt x="223" y="139"/>
                    <a:pt x="224" y="137"/>
                    <a:pt x="226" y="135"/>
                  </a:cubicBezTo>
                  <a:cubicBezTo>
                    <a:pt x="228" y="134"/>
                    <a:pt x="229" y="134"/>
                    <a:pt x="231" y="134"/>
                  </a:cubicBezTo>
                  <a:cubicBezTo>
                    <a:pt x="231" y="134"/>
                    <a:pt x="232" y="134"/>
                    <a:pt x="233" y="134"/>
                  </a:cubicBezTo>
                  <a:cubicBezTo>
                    <a:pt x="234" y="133"/>
                    <a:pt x="233" y="132"/>
                    <a:pt x="234" y="131"/>
                  </a:cubicBezTo>
                  <a:cubicBezTo>
                    <a:pt x="235" y="131"/>
                    <a:pt x="237" y="131"/>
                    <a:pt x="238" y="131"/>
                  </a:cubicBezTo>
                  <a:cubicBezTo>
                    <a:pt x="238" y="130"/>
                    <a:pt x="239" y="129"/>
                    <a:pt x="239" y="129"/>
                  </a:cubicBezTo>
                  <a:cubicBezTo>
                    <a:pt x="238" y="128"/>
                    <a:pt x="236" y="127"/>
                    <a:pt x="234" y="126"/>
                  </a:cubicBezTo>
                  <a:cubicBezTo>
                    <a:pt x="232" y="125"/>
                    <a:pt x="232" y="125"/>
                    <a:pt x="230" y="125"/>
                  </a:cubicBezTo>
                  <a:cubicBezTo>
                    <a:pt x="228" y="125"/>
                    <a:pt x="227" y="123"/>
                    <a:pt x="225" y="122"/>
                  </a:cubicBezTo>
                  <a:cubicBezTo>
                    <a:pt x="223" y="121"/>
                    <a:pt x="222" y="121"/>
                    <a:pt x="220" y="120"/>
                  </a:cubicBezTo>
                  <a:cubicBezTo>
                    <a:pt x="219" y="121"/>
                    <a:pt x="219" y="122"/>
                    <a:pt x="219" y="123"/>
                  </a:cubicBezTo>
                  <a:cubicBezTo>
                    <a:pt x="218" y="123"/>
                    <a:pt x="218" y="123"/>
                    <a:pt x="218" y="123"/>
                  </a:cubicBezTo>
                  <a:cubicBezTo>
                    <a:pt x="217" y="125"/>
                    <a:pt x="216" y="125"/>
                    <a:pt x="215" y="126"/>
                  </a:cubicBezTo>
                  <a:cubicBezTo>
                    <a:pt x="213" y="127"/>
                    <a:pt x="211" y="127"/>
                    <a:pt x="209" y="127"/>
                  </a:cubicBezTo>
                  <a:cubicBezTo>
                    <a:pt x="206" y="127"/>
                    <a:pt x="206" y="125"/>
                    <a:pt x="206" y="123"/>
                  </a:cubicBezTo>
                  <a:cubicBezTo>
                    <a:pt x="206" y="120"/>
                    <a:pt x="205" y="118"/>
                    <a:pt x="204" y="115"/>
                  </a:cubicBezTo>
                  <a:cubicBezTo>
                    <a:pt x="204" y="114"/>
                    <a:pt x="203" y="113"/>
                    <a:pt x="201" y="112"/>
                  </a:cubicBezTo>
                  <a:cubicBezTo>
                    <a:pt x="199" y="112"/>
                    <a:pt x="196" y="112"/>
                    <a:pt x="196" y="110"/>
                  </a:cubicBezTo>
                  <a:cubicBezTo>
                    <a:pt x="196" y="108"/>
                    <a:pt x="197" y="107"/>
                    <a:pt x="196" y="105"/>
                  </a:cubicBezTo>
                  <a:cubicBezTo>
                    <a:pt x="195" y="103"/>
                    <a:pt x="194" y="102"/>
                    <a:pt x="192" y="100"/>
                  </a:cubicBezTo>
                  <a:cubicBezTo>
                    <a:pt x="191" y="98"/>
                    <a:pt x="190" y="96"/>
                    <a:pt x="188" y="94"/>
                  </a:cubicBezTo>
                  <a:cubicBezTo>
                    <a:pt x="187" y="95"/>
                    <a:pt x="185" y="94"/>
                    <a:pt x="184" y="95"/>
                  </a:cubicBezTo>
                  <a:cubicBezTo>
                    <a:pt x="182" y="95"/>
                    <a:pt x="181" y="98"/>
                    <a:pt x="180" y="99"/>
                  </a:cubicBezTo>
                  <a:cubicBezTo>
                    <a:pt x="179" y="101"/>
                    <a:pt x="178" y="102"/>
                    <a:pt x="178" y="104"/>
                  </a:cubicBezTo>
                  <a:cubicBezTo>
                    <a:pt x="178" y="105"/>
                    <a:pt x="178" y="106"/>
                    <a:pt x="179" y="107"/>
                  </a:cubicBezTo>
                  <a:cubicBezTo>
                    <a:pt x="180" y="109"/>
                    <a:pt x="180" y="112"/>
                    <a:pt x="178" y="113"/>
                  </a:cubicBezTo>
                  <a:cubicBezTo>
                    <a:pt x="177" y="114"/>
                    <a:pt x="173" y="112"/>
                    <a:pt x="172" y="114"/>
                  </a:cubicBezTo>
                  <a:cubicBezTo>
                    <a:pt x="171" y="116"/>
                    <a:pt x="173" y="119"/>
                    <a:pt x="171" y="120"/>
                  </a:cubicBezTo>
                  <a:cubicBezTo>
                    <a:pt x="169" y="120"/>
                    <a:pt x="166" y="119"/>
                    <a:pt x="165" y="119"/>
                  </a:cubicBezTo>
                  <a:cubicBezTo>
                    <a:pt x="163" y="118"/>
                    <a:pt x="160" y="119"/>
                    <a:pt x="158" y="118"/>
                  </a:cubicBezTo>
                  <a:cubicBezTo>
                    <a:pt x="157" y="117"/>
                    <a:pt x="156" y="116"/>
                    <a:pt x="155" y="116"/>
                  </a:cubicBezTo>
                  <a:cubicBezTo>
                    <a:pt x="154" y="115"/>
                    <a:pt x="154" y="115"/>
                    <a:pt x="153" y="114"/>
                  </a:cubicBezTo>
                  <a:cubicBezTo>
                    <a:pt x="152" y="114"/>
                    <a:pt x="153" y="114"/>
                    <a:pt x="152" y="113"/>
                  </a:cubicBezTo>
                  <a:cubicBezTo>
                    <a:pt x="151" y="112"/>
                    <a:pt x="148" y="112"/>
                    <a:pt x="147" y="112"/>
                  </a:cubicBezTo>
                  <a:cubicBezTo>
                    <a:pt x="145" y="112"/>
                    <a:pt x="142" y="111"/>
                    <a:pt x="141" y="110"/>
                  </a:cubicBezTo>
                  <a:cubicBezTo>
                    <a:pt x="140" y="109"/>
                    <a:pt x="140" y="108"/>
                    <a:pt x="140" y="107"/>
                  </a:cubicBezTo>
                  <a:cubicBezTo>
                    <a:pt x="139" y="105"/>
                    <a:pt x="138" y="105"/>
                    <a:pt x="137" y="104"/>
                  </a:cubicBezTo>
                  <a:cubicBezTo>
                    <a:pt x="137" y="103"/>
                    <a:pt x="137" y="102"/>
                    <a:pt x="136" y="102"/>
                  </a:cubicBezTo>
                  <a:cubicBezTo>
                    <a:pt x="136" y="101"/>
                    <a:pt x="137" y="101"/>
                    <a:pt x="136" y="100"/>
                  </a:cubicBezTo>
                  <a:cubicBezTo>
                    <a:pt x="136" y="100"/>
                    <a:pt x="135" y="99"/>
                    <a:pt x="135" y="99"/>
                  </a:cubicBezTo>
                  <a:cubicBezTo>
                    <a:pt x="133" y="98"/>
                    <a:pt x="132" y="97"/>
                    <a:pt x="131" y="96"/>
                  </a:cubicBezTo>
                  <a:cubicBezTo>
                    <a:pt x="130" y="94"/>
                    <a:pt x="130" y="92"/>
                    <a:pt x="130" y="90"/>
                  </a:cubicBezTo>
                  <a:cubicBezTo>
                    <a:pt x="130" y="88"/>
                    <a:pt x="132" y="88"/>
                    <a:pt x="133" y="86"/>
                  </a:cubicBezTo>
                  <a:cubicBezTo>
                    <a:pt x="135" y="84"/>
                    <a:pt x="136" y="83"/>
                    <a:pt x="138" y="82"/>
                  </a:cubicBezTo>
                  <a:cubicBezTo>
                    <a:pt x="140" y="81"/>
                    <a:pt x="143" y="79"/>
                    <a:pt x="144" y="78"/>
                  </a:cubicBezTo>
                  <a:cubicBezTo>
                    <a:pt x="145" y="77"/>
                    <a:pt x="146" y="76"/>
                    <a:pt x="146" y="75"/>
                  </a:cubicBezTo>
                  <a:cubicBezTo>
                    <a:pt x="147" y="74"/>
                    <a:pt x="148" y="73"/>
                    <a:pt x="149" y="73"/>
                  </a:cubicBezTo>
                  <a:cubicBezTo>
                    <a:pt x="148" y="73"/>
                    <a:pt x="147" y="72"/>
                    <a:pt x="146" y="72"/>
                  </a:cubicBezTo>
                  <a:cubicBezTo>
                    <a:pt x="144" y="72"/>
                    <a:pt x="143" y="72"/>
                    <a:pt x="141" y="71"/>
                  </a:cubicBezTo>
                  <a:cubicBezTo>
                    <a:pt x="140" y="70"/>
                    <a:pt x="140" y="70"/>
                    <a:pt x="140" y="69"/>
                  </a:cubicBezTo>
                  <a:cubicBezTo>
                    <a:pt x="140" y="68"/>
                    <a:pt x="141" y="66"/>
                    <a:pt x="141" y="65"/>
                  </a:cubicBezTo>
                  <a:cubicBezTo>
                    <a:pt x="142" y="63"/>
                    <a:pt x="145" y="63"/>
                    <a:pt x="147" y="63"/>
                  </a:cubicBezTo>
                  <a:cubicBezTo>
                    <a:pt x="150" y="63"/>
                    <a:pt x="152" y="63"/>
                    <a:pt x="154" y="63"/>
                  </a:cubicBezTo>
                  <a:cubicBezTo>
                    <a:pt x="157" y="63"/>
                    <a:pt x="157" y="63"/>
                    <a:pt x="158" y="61"/>
                  </a:cubicBezTo>
                  <a:cubicBezTo>
                    <a:pt x="158" y="59"/>
                    <a:pt x="159" y="56"/>
                    <a:pt x="161" y="54"/>
                  </a:cubicBezTo>
                  <a:cubicBezTo>
                    <a:pt x="162" y="53"/>
                    <a:pt x="163" y="53"/>
                    <a:pt x="163" y="51"/>
                  </a:cubicBezTo>
                  <a:cubicBezTo>
                    <a:pt x="164" y="50"/>
                    <a:pt x="164" y="48"/>
                    <a:pt x="165" y="46"/>
                  </a:cubicBezTo>
                  <a:cubicBezTo>
                    <a:pt x="166" y="44"/>
                    <a:pt x="167" y="43"/>
                    <a:pt x="168" y="41"/>
                  </a:cubicBezTo>
                  <a:cubicBezTo>
                    <a:pt x="170" y="39"/>
                    <a:pt x="171" y="39"/>
                    <a:pt x="171" y="36"/>
                  </a:cubicBezTo>
                  <a:cubicBezTo>
                    <a:pt x="172" y="32"/>
                    <a:pt x="173" y="34"/>
                    <a:pt x="176" y="33"/>
                  </a:cubicBezTo>
                  <a:cubicBezTo>
                    <a:pt x="178" y="33"/>
                    <a:pt x="178" y="32"/>
                    <a:pt x="180" y="31"/>
                  </a:cubicBezTo>
                  <a:cubicBezTo>
                    <a:pt x="181" y="30"/>
                    <a:pt x="183" y="29"/>
                    <a:pt x="184" y="28"/>
                  </a:cubicBezTo>
                  <a:cubicBezTo>
                    <a:pt x="184" y="28"/>
                    <a:pt x="185" y="26"/>
                    <a:pt x="185" y="26"/>
                  </a:cubicBezTo>
                  <a:cubicBezTo>
                    <a:pt x="186" y="25"/>
                    <a:pt x="186" y="24"/>
                    <a:pt x="186" y="23"/>
                  </a:cubicBezTo>
                  <a:cubicBezTo>
                    <a:pt x="187" y="23"/>
                    <a:pt x="187" y="23"/>
                    <a:pt x="188" y="23"/>
                  </a:cubicBezTo>
                  <a:cubicBezTo>
                    <a:pt x="188" y="22"/>
                    <a:pt x="188" y="21"/>
                    <a:pt x="188" y="20"/>
                  </a:cubicBezTo>
                  <a:cubicBezTo>
                    <a:pt x="188" y="19"/>
                    <a:pt x="190" y="17"/>
                    <a:pt x="191" y="16"/>
                  </a:cubicBezTo>
                  <a:cubicBezTo>
                    <a:pt x="193" y="15"/>
                    <a:pt x="194" y="13"/>
                    <a:pt x="196" y="13"/>
                  </a:cubicBezTo>
                  <a:cubicBezTo>
                    <a:pt x="198" y="12"/>
                    <a:pt x="201" y="12"/>
                    <a:pt x="203" y="10"/>
                  </a:cubicBezTo>
                  <a:cubicBezTo>
                    <a:pt x="203" y="10"/>
                    <a:pt x="203" y="10"/>
                    <a:pt x="203" y="10"/>
                  </a:cubicBezTo>
                  <a:moveTo>
                    <a:pt x="240" y="128"/>
                  </a:moveTo>
                  <a:cubicBezTo>
                    <a:pt x="240" y="128"/>
                    <a:pt x="240" y="128"/>
                    <a:pt x="240" y="128"/>
                  </a:cubicBezTo>
                  <a:cubicBezTo>
                    <a:pt x="240" y="128"/>
                    <a:pt x="240" y="128"/>
                    <a:pt x="240" y="128"/>
                  </a:cubicBezTo>
                  <a:moveTo>
                    <a:pt x="203" y="10"/>
                  </a:moveTo>
                  <a:cubicBezTo>
                    <a:pt x="204" y="10"/>
                    <a:pt x="205" y="10"/>
                    <a:pt x="205" y="10"/>
                  </a:cubicBezTo>
                  <a:cubicBezTo>
                    <a:pt x="205" y="10"/>
                    <a:pt x="204" y="10"/>
                    <a:pt x="203" y="10"/>
                  </a:cubicBezTo>
                  <a:moveTo>
                    <a:pt x="216" y="17"/>
                  </a:moveTo>
                  <a:cubicBezTo>
                    <a:pt x="216" y="17"/>
                    <a:pt x="217" y="16"/>
                    <a:pt x="218" y="16"/>
                  </a:cubicBezTo>
                  <a:cubicBezTo>
                    <a:pt x="217" y="16"/>
                    <a:pt x="216" y="17"/>
                    <a:pt x="216" y="17"/>
                  </a:cubicBezTo>
                  <a:moveTo>
                    <a:pt x="214" y="18"/>
                  </a:moveTo>
                  <a:cubicBezTo>
                    <a:pt x="215" y="18"/>
                    <a:pt x="215" y="17"/>
                    <a:pt x="216" y="17"/>
                  </a:cubicBezTo>
                  <a:cubicBezTo>
                    <a:pt x="215" y="17"/>
                    <a:pt x="215" y="18"/>
                    <a:pt x="214" y="1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8" name="Freeform 8"/>
            <p:cNvSpPr>
              <a:spLocks/>
            </p:cNvSpPr>
            <p:nvPr/>
          </p:nvSpPr>
          <p:spPr bwMode="auto">
            <a:xfrm>
              <a:off x="944563" y="1371600"/>
              <a:ext cx="1119188" cy="758825"/>
            </a:xfrm>
            <a:custGeom>
              <a:avLst/>
              <a:gdLst/>
              <a:ahLst/>
              <a:cxnLst>
                <a:cxn ang="0">
                  <a:pos x="500" y="44"/>
                </a:cxn>
                <a:cxn ang="0">
                  <a:pos x="476" y="22"/>
                </a:cxn>
                <a:cxn ang="0">
                  <a:pos x="449" y="8"/>
                </a:cxn>
                <a:cxn ang="0">
                  <a:pos x="438" y="31"/>
                </a:cxn>
                <a:cxn ang="0">
                  <a:pos x="399" y="48"/>
                </a:cxn>
                <a:cxn ang="0">
                  <a:pos x="370" y="67"/>
                </a:cxn>
                <a:cxn ang="0">
                  <a:pos x="341" y="79"/>
                </a:cxn>
                <a:cxn ang="0">
                  <a:pos x="331" y="81"/>
                </a:cxn>
                <a:cxn ang="0">
                  <a:pos x="294" y="62"/>
                </a:cxn>
                <a:cxn ang="0">
                  <a:pos x="278" y="96"/>
                </a:cxn>
                <a:cxn ang="0">
                  <a:pos x="251" y="73"/>
                </a:cxn>
                <a:cxn ang="0">
                  <a:pos x="227" y="97"/>
                </a:cxn>
                <a:cxn ang="0">
                  <a:pos x="217" y="135"/>
                </a:cxn>
                <a:cxn ang="0">
                  <a:pos x="190" y="151"/>
                </a:cxn>
                <a:cxn ang="0">
                  <a:pos x="165" y="148"/>
                </a:cxn>
                <a:cxn ang="0">
                  <a:pos x="159" y="111"/>
                </a:cxn>
                <a:cxn ang="0">
                  <a:pos x="174" y="77"/>
                </a:cxn>
                <a:cxn ang="0">
                  <a:pos x="143" y="46"/>
                </a:cxn>
                <a:cxn ang="0">
                  <a:pos x="118" y="19"/>
                </a:cxn>
                <a:cxn ang="0">
                  <a:pos x="78" y="15"/>
                </a:cxn>
                <a:cxn ang="0">
                  <a:pos x="105" y="61"/>
                </a:cxn>
                <a:cxn ang="0">
                  <a:pos x="107" y="92"/>
                </a:cxn>
                <a:cxn ang="0">
                  <a:pos x="72" y="51"/>
                </a:cxn>
                <a:cxn ang="0">
                  <a:pos x="60" y="75"/>
                </a:cxn>
                <a:cxn ang="0">
                  <a:pos x="40" y="101"/>
                </a:cxn>
                <a:cxn ang="0">
                  <a:pos x="59" y="112"/>
                </a:cxn>
                <a:cxn ang="0">
                  <a:pos x="37" y="123"/>
                </a:cxn>
                <a:cxn ang="0">
                  <a:pos x="23" y="128"/>
                </a:cxn>
                <a:cxn ang="0">
                  <a:pos x="36" y="153"/>
                </a:cxn>
                <a:cxn ang="0">
                  <a:pos x="76" y="137"/>
                </a:cxn>
                <a:cxn ang="0">
                  <a:pos x="107" y="136"/>
                </a:cxn>
                <a:cxn ang="0">
                  <a:pos x="136" y="142"/>
                </a:cxn>
                <a:cxn ang="0">
                  <a:pos x="126" y="164"/>
                </a:cxn>
                <a:cxn ang="0">
                  <a:pos x="151" y="182"/>
                </a:cxn>
                <a:cxn ang="0">
                  <a:pos x="106" y="199"/>
                </a:cxn>
                <a:cxn ang="0">
                  <a:pos x="69" y="212"/>
                </a:cxn>
                <a:cxn ang="0">
                  <a:pos x="25" y="222"/>
                </a:cxn>
                <a:cxn ang="0">
                  <a:pos x="69" y="229"/>
                </a:cxn>
                <a:cxn ang="0">
                  <a:pos x="117" y="245"/>
                </a:cxn>
                <a:cxn ang="0">
                  <a:pos x="135" y="282"/>
                </a:cxn>
                <a:cxn ang="0">
                  <a:pos x="160" y="282"/>
                </a:cxn>
                <a:cxn ang="0">
                  <a:pos x="144" y="311"/>
                </a:cxn>
                <a:cxn ang="0">
                  <a:pos x="104" y="323"/>
                </a:cxn>
                <a:cxn ang="0">
                  <a:pos x="98" y="354"/>
                </a:cxn>
                <a:cxn ang="0">
                  <a:pos x="152" y="350"/>
                </a:cxn>
                <a:cxn ang="0">
                  <a:pos x="193" y="356"/>
                </a:cxn>
                <a:cxn ang="0">
                  <a:pos x="241" y="387"/>
                </a:cxn>
                <a:cxn ang="0">
                  <a:pos x="313" y="405"/>
                </a:cxn>
                <a:cxn ang="0">
                  <a:pos x="397" y="362"/>
                </a:cxn>
                <a:cxn ang="0">
                  <a:pos x="455" y="328"/>
                </a:cxn>
                <a:cxn ang="0">
                  <a:pos x="526" y="287"/>
                </a:cxn>
                <a:cxn ang="0">
                  <a:pos x="557" y="248"/>
                </a:cxn>
                <a:cxn ang="0">
                  <a:pos x="577" y="229"/>
                </a:cxn>
                <a:cxn ang="0">
                  <a:pos x="565" y="200"/>
                </a:cxn>
                <a:cxn ang="0">
                  <a:pos x="589" y="184"/>
                </a:cxn>
                <a:cxn ang="0">
                  <a:pos x="572" y="167"/>
                </a:cxn>
                <a:cxn ang="0">
                  <a:pos x="584" y="136"/>
                </a:cxn>
                <a:cxn ang="0">
                  <a:pos x="548" y="126"/>
                </a:cxn>
                <a:cxn ang="0">
                  <a:pos x="525" y="97"/>
                </a:cxn>
                <a:cxn ang="0">
                  <a:pos x="511" y="65"/>
                </a:cxn>
                <a:cxn ang="0">
                  <a:pos x="527" y="28"/>
                </a:cxn>
              </a:cxnLst>
              <a:rect l="0" t="0" r="r" b="b"/>
              <a:pathLst>
                <a:path w="599" h="406">
                  <a:moveTo>
                    <a:pt x="536" y="27"/>
                  </a:moveTo>
                  <a:cubicBezTo>
                    <a:pt x="533" y="28"/>
                    <a:pt x="531" y="25"/>
                    <a:pt x="528" y="25"/>
                  </a:cubicBezTo>
                  <a:cubicBezTo>
                    <a:pt x="528" y="24"/>
                    <a:pt x="528" y="23"/>
                    <a:pt x="527" y="22"/>
                  </a:cubicBezTo>
                  <a:cubicBezTo>
                    <a:pt x="527" y="23"/>
                    <a:pt x="525" y="21"/>
                    <a:pt x="525" y="21"/>
                  </a:cubicBezTo>
                  <a:cubicBezTo>
                    <a:pt x="522" y="20"/>
                    <a:pt x="520" y="21"/>
                    <a:pt x="519" y="24"/>
                  </a:cubicBezTo>
                  <a:cubicBezTo>
                    <a:pt x="518" y="26"/>
                    <a:pt x="517" y="28"/>
                    <a:pt x="516" y="30"/>
                  </a:cubicBezTo>
                  <a:cubicBezTo>
                    <a:pt x="516" y="33"/>
                    <a:pt x="514" y="34"/>
                    <a:pt x="512" y="36"/>
                  </a:cubicBezTo>
                  <a:cubicBezTo>
                    <a:pt x="511" y="37"/>
                    <a:pt x="509" y="38"/>
                    <a:pt x="507" y="39"/>
                  </a:cubicBezTo>
                  <a:cubicBezTo>
                    <a:pt x="506" y="39"/>
                    <a:pt x="505" y="40"/>
                    <a:pt x="504" y="40"/>
                  </a:cubicBezTo>
                  <a:cubicBezTo>
                    <a:pt x="503" y="40"/>
                    <a:pt x="501" y="40"/>
                    <a:pt x="501" y="41"/>
                  </a:cubicBezTo>
                  <a:cubicBezTo>
                    <a:pt x="500" y="41"/>
                    <a:pt x="500" y="43"/>
                    <a:pt x="500" y="44"/>
                  </a:cubicBezTo>
                  <a:cubicBezTo>
                    <a:pt x="499" y="45"/>
                    <a:pt x="499" y="46"/>
                    <a:pt x="499" y="47"/>
                  </a:cubicBezTo>
                  <a:cubicBezTo>
                    <a:pt x="498" y="49"/>
                    <a:pt x="498" y="48"/>
                    <a:pt x="497" y="50"/>
                  </a:cubicBezTo>
                  <a:cubicBezTo>
                    <a:pt x="497" y="51"/>
                    <a:pt x="496" y="51"/>
                    <a:pt x="496" y="53"/>
                  </a:cubicBezTo>
                  <a:cubicBezTo>
                    <a:pt x="495" y="53"/>
                    <a:pt x="493" y="53"/>
                    <a:pt x="492" y="53"/>
                  </a:cubicBezTo>
                  <a:cubicBezTo>
                    <a:pt x="492" y="51"/>
                    <a:pt x="489" y="47"/>
                    <a:pt x="488" y="46"/>
                  </a:cubicBezTo>
                  <a:cubicBezTo>
                    <a:pt x="486" y="46"/>
                    <a:pt x="485" y="47"/>
                    <a:pt x="484" y="47"/>
                  </a:cubicBezTo>
                  <a:cubicBezTo>
                    <a:pt x="481" y="47"/>
                    <a:pt x="477" y="44"/>
                    <a:pt x="479" y="40"/>
                  </a:cubicBezTo>
                  <a:cubicBezTo>
                    <a:pt x="476" y="39"/>
                    <a:pt x="474" y="38"/>
                    <a:pt x="476" y="35"/>
                  </a:cubicBezTo>
                  <a:cubicBezTo>
                    <a:pt x="477" y="33"/>
                    <a:pt x="478" y="33"/>
                    <a:pt x="478" y="30"/>
                  </a:cubicBezTo>
                  <a:cubicBezTo>
                    <a:pt x="478" y="29"/>
                    <a:pt x="479" y="27"/>
                    <a:pt x="479" y="25"/>
                  </a:cubicBezTo>
                  <a:cubicBezTo>
                    <a:pt x="479" y="23"/>
                    <a:pt x="478" y="23"/>
                    <a:pt x="476" y="22"/>
                  </a:cubicBezTo>
                  <a:cubicBezTo>
                    <a:pt x="476" y="22"/>
                    <a:pt x="474" y="21"/>
                    <a:pt x="474" y="21"/>
                  </a:cubicBezTo>
                  <a:cubicBezTo>
                    <a:pt x="474" y="21"/>
                    <a:pt x="474" y="21"/>
                    <a:pt x="473" y="21"/>
                  </a:cubicBezTo>
                  <a:cubicBezTo>
                    <a:pt x="473" y="21"/>
                    <a:pt x="472" y="20"/>
                    <a:pt x="472" y="20"/>
                  </a:cubicBezTo>
                  <a:cubicBezTo>
                    <a:pt x="470" y="19"/>
                    <a:pt x="469" y="19"/>
                    <a:pt x="469" y="17"/>
                  </a:cubicBezTo>
                  <a:cubicBezTo>
                    <a:pt x="469" y="14"/>
                    <a:pt x="469" y="13"/>
                    <a:pt x="468" y="11"/>
                  </a:cubicBezTo>
                  <a:cubicBezTo>
                    <a:pt x="468" y="10"/>
                    <a:pt x="467" y="8"/>
                    <a:pt x="466" y="8"/>
                  </a:cubicBezTo>
                  <a:cubicBezTo>
                    <a:pt x="465" y="7"/>
                    <a:pt x="464" y="8"/>
                    <a:pt x="464" y="7"/>
                  </a:cubicBezTo>
                  <a:cubicBezTo>
                    <a:pt x="463" y="7"/>
                    <a:pt x="463" y="6"/>
                    <a:pt x="463" y="6"/>
                  </a:cubicBezTo>
                  <a:cubicBezTo>
                    <a:pt x="461" y="3"/>
                    <a:pt x="458" y="0"/>
                    <a:pt x="455" y="2"/>
                  </a:cubicBezTo>
                  <a:cubicBezTo>
                    <a:pt x="454" y="3"/>
                    <a:pt x="453" y="5"/>
                    <a:pt x="453" y="6"/>
                  </a:cubicBezTo>
                  <a:cubicBezTo>
                    <a:pt x="451" y="8"/>
                    <a:pt x="451" y="8"/>
                    <a:pt x="449" y="8"/>
                  </a:cubicBezTo>
                  <a:cubicBezTo>
                    <a:pt x="449" y="8"/>
                    <a:pt x="447" y="8"/>
                    <a:pt x="447" y="8"/>
                  </a:cubicBezTo>
                  <a:cubicBezTo>
                    <a:pt x="446" y="8"/>
                    <a:pt x="447" y="9"/>
                    <a:pt x="446" y="10"/>
                  </a:cubicBezTo>
                  <a:cubicBezTo>
                    <a:pt x="445" y="10"/>
                    <a:pt x="441" y="10"/>
                    <a:pt x="440" y="10"/>
                  </a:cubicBezTo>
                  <a:cubicBezTo>
                    <a:pt x="440" y="9"/>
                    <a:pt x="440" y="9"/>
                    <a:pt x="440" y="8"/>
                  </a:cubicBezTo>
                  <a:cubicBezTo>
                    <a:pt x="439" y="8"/>
                    <a:pt x="438" y="8"/>
                    <a:pt x="437" y="8"/>
                  </a:cubicBezTo>
                  <a:cubicBezTo>
                    <a:pt x="435" y="8"/>
                    <a:pt x="435" y="7"/>
                    <a:pt x="434" y="9"/>
                  </a:cubicBezTo>
                  <a:cubicBezTo>
                    <a:pt x="433" y="10"/>
                    <a:pt x="434" y="14"/>
                    <a:pt x="434" y="16"/>
                  </a:cubicBezTo>
                  <a:cubicBezTo>
                    <a:pt x="434" y="16"/>
                    <a:pt x="435" y="17"/>
                    <a:pt x="435" y="18"/>
                  </a:cubicBezTo>
                  <a:cubicBezTo>
                    <a:pt x="435" y="19"/>
                    <a:pt x="435" y="19"/>
                    <a:pt x="435" y="20"/>
                  </a:cubicBezTo>
                  <a:cubicBezTo>
                    <a:pt x="436" y="23"/>
                    <a:pt x="437" y="24"/>
                    <a:pt x="438" y="27"/>
                  </a:cubicBezTo>
                  <a:cubicBezTo>
                    <a:pt x="439" y="28"/>
                    <a:pt x="438" y="30"/>
                    <a:pt x="438" y="31"/>
                  </a:cubicBezTo>
                  <a:cubicBezTo>
                    <a:pt x="437" y="34"/>
                    <a:pt x="438" y="34"/>
                    <a:pt x="439" y="36"/>
                  </a:cubicBezTo>
                  <a:cubicBezTo>
                    <a:pt x="440" y="38"/>
                    <a:pt x="439" y="39"/>
                    <a:pt x="438" y="40"/>
                  </a:cubicBezTo>
                  <a:cubicBezTo>
                    <a:pt x="437" y="42"/>
                    <a:pt x="437" y="45"/>
                    <a:pt x="436" y="46"/>
                  </a:cubicBezTo>
                  <a:cubicBezTo>
                    <a:pt x="435" y="47"/>
                    <a:pt x="434" y="48"/>
                    <a:pt x="433" y="49"/>
                  </a:cubicBezTo>
                  <a:cubicBezTo>
                    <a:pt x="431" y="50"/>
                    <a:pt x="429" y="51"/>
                    <a:pt x="426" y="52"/>
                  </a:cubicBezTo>
                  <a:cubicBezTo>
                    <a:pt x="424" y="53"/>
                    <a:pt x="423" y="54"/>
                    <a:pt x="422" y="56"/>
                  </a:cubicBezTo>
                  <a:cubicBezTo>
                    <a:pt x="422" y="58"/>
                    <a:pt x="423" y="58"/>
                    <a:pt x="420" y="58"/>
                  </a:cubicBezTo>
                  <a:cubicBezTo>
                    <a:pt x="416" y="59"/>
                    <a:pt x="413" y="57"/>
                    <a:pt x="409" y="56"/>
                  </a:cubicBezTo>
                  <a:cubicBezTo>
                    <a:pt x="409" y="55"/>
                    <a:pt x="409" y="53"/>
                    <a:pt x="408" y="52"/>
                  </a:cubicBezTo>
                  <a:cubicBezTo>
                    <a:pt x="408" y="51"/>
                    <a:pt x="407" y="50"/>
                    <a:pt x="406" y="50"/>
                  </a:cubicBezTo>
                  <a:cubicBezTo>
                    <a:pt x="404" y="48"/>
                    <a:pt x="401" y="46"/>
                    <a:pt x="399" y="48"/>
                  </a:cubicBezTo>
                  <a:cubicBezTo>
                    <a:pt x="398" y="49"/>
                    <a:pt x="398" y="50"/>
                    <a:pt x="397" y="51"/>
                  </a:cubicBezTo>
                  <a:cubicBezTo>
                    <a:pt x="397" y="52"/>
                    <a:pt x="397" y="52"/>
                    <a:pt x="396" y="52"/>
                  </a:cubicBezTo>
                  <a:cubicBezTo>
                    <a:pt x="396" y="53"/>
                    <a:pt x="394" y="53"/>
                    <a:pt x="393" y="54"/>
                  </a:cubicBezTo>
                  <a:cubicBezTo>
                    <a:pt x="391" y="56"/>
                    <a:pt x="391" y="60"/>
                    <a:pt x="392" y="62"/>
                  </a:cubicBezTo>
                  <a:cubicBezTo>
                    <a:pt x="391" y="62"/>
                    <a:pt x="389" y="65"/>
                    <a:pt x="388" y="66"/>
                  </a:cubicBezTo>
                  <a:cubicBezTo>
                    <a:pt x="386" y="68"/>
                    <a:pt x="385" y="71"/>
                    <a:pt x="383" y="73"/>
                  </a:cubicBezTo>
                  <a:cubicBezTo>
                    <a:pt x="380" y="77"/>
                    <a:pt x="374" y="74"/>
                    <a:pt x="369" y="75"/>
                  </a:cubicBezTo>
                  <a:cubicBezTo>
                    <a:pt x="370" y="76"/>
                    <a:pt x="372" y="76"/>
                    <a:pt x="373" y="76"/>
                  </a:cubicBezTo>
                  <a:cubicBezTo>
                    <a:pt x="373" y="75"/>
                    <a:pt x="372" y="75"/>
                    <a:pt x="372" y="74"/>
                  </a:cubicBezTo>
                  <a:cubicBezTo>
                    <a:pt x="371" y="73"/>
                    <a:pt x="372" y="72"/>
                    <a:pt x="372" y="71"/>
                  </a:cubicBezTo>
                  <a:cubicBezTo>
                    <a:pt x="371" y="69"/>
                    <a:pt x="372" y="68"/>
                    <a:pt x="370" y="67"/>
                  </a:cubicBezTo>
                  <a:cubicBezTo>
                    <a:pt x="369" y="65"/>
                    <a:pt x="367" y="66"/>
                    <a:pt x="366" y="64"/>
                  </a:cubicBezTo>
                  <a:cubicBezTo>
                    <a:pt x="365" y="62"/>
                    <a:pt x="364" y="59"/>
                    <a:pt x="364" y="58"/>
                  </a:cubicBezTo>
                  <a:cubicBezTo>
                    <a:pt x="361" y="58"/>
                    <a:pt x="360" y="56"/>
                    <a:pt x="357" y="55"/>
                  </a:cubicBezTo>
                  <a:cubicBezTo>
                    <a:pt x="356" y="54"/>
                    <a:pt x="355" y="55"/>
                    <a:pt x="355" y="54"/>
                  </a:cubicBezTo>
                  <a:cubicBezTo>
                    <a:pt x="354" y="54"/>
                    <a:pt x="353" y="53"/>
                    <a:pt x="352" y="53"/>
                  </a:cubicBezTo>
                  <a:cubicBezTo>
                    <a:pt x="351" y="52"/>
                    <a:pt x="349" y="53"/>
                    <a:pt x="348" y="52"/>
                  </a:cubicBezTo>
                  <a:cubicBezTo>
                    <a:pt x="346" y="52"/>
                    <a:pt x="345" y="51"/>
                    <a:pt x="343" y="51"/>
                  </a:cubicBezTo>
                  <a:cubicBezTo>
                    <a:pt x="342" y="51"/>
                    <a:pt x="339" y="50"/>
                    <a:pt x="338" y="51"/>
                  </a:cubicBezTo>
                  <a:cubicBezTo>
                    <a:pt x="336" y="52"/>
                    <a:pt x="336" y="54"/>
                    <a:pt x="335" y="56"/>
                  </a:cubicBezTo>
                  <a:cubicBezTo>
                    <a:pt x="335" y="60"/>
                    <a:pt x="335" y="64"/>
                    <a:pt x="336" y="68"/>
                  </a:cubicBezTo>
                  <a:cubicBezTo>
                    <a:pt x="337" y="71"/>
                    <a:pt x="339" y="76"/>
                    <a:pt x="341" y="79"/>
                  </a:cubicBezTo>
                  <a:cubicBezTo>
                    <a:pt x="342" y="81"/>
                    <a:pt x="344" y="81"/>
                    <a:pt x="346" y="83"/>
                  </a:cubicBezTo>
                  <a:cubicBezTo>
                    <a:pt x="347" y="85"/>
                    <a:pt x="347" y="87"/>
                    <a:pt x="347" y="89"/>
                  </a:cubicBezTo>
                  <a:cubicBezTo>
                    <a:pt x="348" y="92"/>
                    <a:pt x="348" y="96"/>
                    <a:pt x="348" y="99"/>
                  </a:cubicBezTo>
                  <a:cubicBezTo>
                    <a:pt x="349" y="103"/>
                    <a:pt x="350" y="110"/>
                    <a:pt x="349" y="114"/>
                  </a:cubicBezTo>
                  <a:cubicBezTo>
                    <a:pt x="346" y="114"/>
                    <a:pt x="346" y="112"/>
                    <a:pt x="346" y="110"/>
                  </a:cubicBezTo>
                  <a:cubicBezTo>
                    <a:pt x="346" y="108"/>
                    <a:pt x="346" y="106"/>
                    <a:pt x="346" y="104"/>
                  </a:cubicBezTo>
                  <a:cubicBezTo>
                    <a:pt x="345" y="102"/>
                    <a:pt x="344" y="101"/>
                    <a:pt x="343" y="99"/>
                  </a:cubicBezTo>
                  <a:cubicBezTo>
                    <a:pt x="341" y="96"/>
                    <a:pt x="342" y="94"/>
                    <a:pt x="341" y="91"/>
                  </a:cubicBezTo>
                  <a:cubicBezTo>
                    <a:pt x="338" y="91"/>
                    <a:pt x="339" y="85"/>
                    <a:pt x="338" y="84"/>
                  </a:cubicBezTo>
                  <a:cubicBezTo>
                    <a:pt x="338" y="83"/>
                    <a:pt x="335" y="82"/>
                    <a:pt x="335" y="82"/>
                  </a:cubicBezTo>
                  <a:cubicBezTo>
                    <a:pt x="333" y="81"/>
                    <a:pt x="332" y="81"/>
                    <a:pt x="331" y="81"/>
                  </a:cubicBezTo>
                  <a:cubicBezTo>
                    <a:pt x="329" y="80"/>
                    <a:pt x="327" y="79"/>
                    <a:pt x="326" y="77"/>
                  </a:cubicBezTo>
                  <a:cubicBezTo>
                    <a:pt x="326" y="76"/>
                    <a:pt x="326" y="73"/>
                    <a:pt x="326" y="71"/>
                  </a:cubicBezTo>
                  <a:cubicBezTo>
                    <a:pt x="326" y="67"/>
                    <a:pt x="323" y="66"/>
                    <a:pt x="320" y="64"/>
                  </a:cubicBezTo>
                  <a:cubicBezTo>
                    <a:pt x="319" y="65"/>
                    <a:pt x="316" y="67"/>
                    <a:pt x="316" y="68"/>
                  </a:cubicBezTo>
                  <a:cubicBezTo>
                    <a:pt x="315" y="66"/>
                    <a:pt x="316" y="62"/>
                    <a:pt x="318" y="62"/>
                  </a:cubicBezTo>
                  <a:cubicBezTo>
                    <a:pt x="319" y="60"/>
                    <a:pt x="322" y="56"/>
                    <a:pt x="318" y="54"/>
                  </a:cubicBezTo>
                  <a:cubicBezTo>
                    <a:pt x="316" y="54"/>
                    <a:pt x="313" y="55"/>
                    <a:pt x="312" y="56"/>
                  </a:cubicBezTo>
                  <a:cubicBezTo>
                    <a:pt x="312" y="53"/>
                    <a:pt x="313" y="51"/>
                    <a:pt x="310" y="51"/>
                  </a:cubicBezTo>
                  <a:cubicBezTo>
                    <a:pt x="309" y="51"/>
                    <a:pt x="307" y="50"/>
                    <a:pt x="307" y="51"/>
                  </a:cubicBezTo>
                  <a:cubicBezTo>
                    <a:pt x="306" y="51"/>
                    <a:pt x="306" y="53"/>
                    <a:pt x="305" y="53"/>
                  </a:cubicBezTo>
                  <a:cubicBezTo>
                    <a:pt x="304" y="49"/>
                    <a:pt x="293" y="58"/>
                    <a:pt x="294" y="62"/>
                  </a:cubicBezTo>
                  <a:cubicBezTo>
                    <a:pt x="296" y="62"/>
                    <a:pt x="297" y="65"/>
                    <a:pt x="295" y="66"/>
                  </a:cubicBezTo>
                  <a:cubicBezTo>
                    <a:pt x="293" y="64"/>
                    <a:pt x="291" y="65"/>
                    <a:pt x="288" y="65"/>
                  </a:cubicBezTo>
                  <a:cubicBezTo>
                    <a:pt x="285" y="65"/>
                    <a:pt x="282" y="64"/>
                    <a:pt x="280" y="65"/>
                  </a:cubicBezTo>
                  <a:cubicBezTo>
                    <a:pt x="278" y="65"/>
                    <a:pt x="278" y="67"/>
                    <a:pt x="277" y="67"/>
                  </a:cubicBezTo>
                  <a:cubicBezTo>
                    <a:pt x="276" y="69"/>
                    <a:pt x="276" y="68"/>
                    <a:pt x="275" y="69"/>
                  </a:cubicBezTo>
                  <a:cubicBezTo>
                    <a:pt x="274" y="72"/>
                    <a:pt x="275" y="78"/>
                    <a:pt x="275" y="81"/>
                  </a:cubicBezTo>
                  <a:cubicBezTo>
                    <a:pt x="275" y="82"/>
                    <a:pt x="276" y="83"/>
                    <a:pt x="276" y="85"/>
                  </a:cubicBezTo>
                  <a:cubicBezTo>
                    <a:pt x="276" y="86"/>
                    <a:pt x="276" y="86"/>
                    <a:pt x="276" y="87"/>
                  </a:cubicBezTo>
                  <a:cubicBezTo>
                    <a:pt x="276" y="88"/>
                    <a:pt x="277" y="89"/>
                    <a:pt x="277" y="89"/>
                  </a:cubicBezTo>
                  <a:cubicBezTo>
                    <a:pt x="277" y="91"/>
                    <a:pt x="277" y="92"/>
                    <a:pt x="277" y="93"/>
                  </a:cubicBezTo>
                  <a:cubicBezTo>
                    <a:pt x="277" y="94"/>
                    <a:pt x="278" y="95"/>
                    <a:pt x="278" y="96"/>
                  </a:cubicBezTo>
                  <a:cubicBezTo>
                    <a:pt x="278" y="97"/>
                    <a:pt x="279" y="98"/>
                    <a:pt x="279" y="99"/>
                  </a:cubicBezTo>
                  <a:cubicBezTo>
                    <a:pt x="280" y="102"/>
                    <a:pt x="280" y="105"/>
                    <a:pt x="276" y="105"/>
                  </a:cubicBezTo>
                  <a:cubicBezTo>
                    <a:pt x="274" y="105"/>
                    <a:pt x="272" y="104"/>
                    <a:pt x="270" y="104"/>
                  </a:cubicBezTo>
                  <a:cubicBezTo>
                    <a:pt x="270" y="105"/>
                    <a:pt x="269" y="107"/>
                    <a:pt x="268" y="107"/>
                  </a:cubicBezTo>
                  <a:cubicBezTo>
                    <a:pt x="267" y="105"/>
                    <a:pt x="265" y="105"/>
                    <a:pt x="264" y="104"/>
                  </a:cubicBezTo>
                  <a:cubicBezTo>
                    <a:pt x="264" y="102"/>
                    <a:pt x="264" y="99"/>
                    <a:pt x="264" y="97"/>
                  </a:cubicBezTo>
                  <a:cubicBezTo>
                    <a:pt x="264" y="94"/>
                    <a:pt x="264" y="91"/>
                    <a:pt x="261" y="89"/>
                  </a:cubicBezTo>
                  <a:cubicBezTo>
                    <a:pt x="259" y="88"/>
                    <a:pt x="259" y="89"/>
                    <a:pt x="257" y="88"/>
                  </a:cubicBezTo>
                  <a:cubicBezTo>
                    <a:pt x="256" y="86"/>
                    <a:pt x="256" y="85"/>
                    <a:pt x="255" y="83"/>
                  </a:cubicBezTo>
                  <a:cubicBezTo>
                    <a:pt x="254" y="81"/>
                    <a:pt x="253" y="80"/>
                    <a:pt x="252" y="79"/>
                  </a:cubicBezTo>
                  <a:cubicBezTo>
                    <a:pt x="251" y="77"/>
                    <a:pt x="251" y="76"/>
                    <a:pt x="251" y="73"/>
                  </a:cubicBezTo>
                  <a:cubicBezTo>
                    <a:pt x="250" y="73"/>
                    <a:pt x="247" y="72"/>
                    <a:pt x="246" y="72"/>
                  </a:cubicBezTo>
                  <a:cubicBezTo>
                    <a:pt x="244" y="70"/>
                    <a:pt x="245" y="67"/>
                    <a:pt x="244" y="65"/>
                  </a:cubicBezTo>
                  <a:cubicBezTo>
                    <a:pt x="244" y="62"/>
                    <a:pt x="243" y="62"/>
                    <a:pt x="241" y="61"/>
                  </a:cubicBezTo>
                  <a:cubicBezTo>
                    <a:pt x="239" y="60"/>
                    <a:pt x="238" y="59"/>
                    <a:pt x="236" y="58"/>
                  </a:cubicBezTo>
                  <a:cubicBezTo>
                    <a:pt x="231" y="56"/>
                    <a:pt x="229" y="60"/>
                    <a:pt x="227" y="64"/>
                  </a:cubicBezTo>
                  <a:cubicBezTo>
                    <a:pt x="225" y="65"/>
                    <a:pt x="224" y="67"/>
                    <a:pt x="223" y="69"/>
                  </a:cubicBezTo>
                  <a:cubicBezTo>
                    <a:pt x="223" y="69"/>
                    <a:pt x="222" y="69"/>
                    <a:pt x="222" y="70"/>
                  </a:cubicBezTo>
                  <a:cubicBezTo>
                    <a:pt x="221" y="71"/>
                    <a:pt x="221" y="74"/>
                    <a:pt x="222" y="75"/>
                  </a:cubicBezTo>
                  <a:cubicBezTo>
                    <a:pt x="222" y="78"/>
                    <a:pt x="222" y="80"/>
                    <a:pt x="222" y="83"/>
                  </a:cubicBezTo>
                  <a:cubicBezTo>
                    <a:pt x="222" y="86"/>
                    <a:pt x="225" y="88"/>
                    <a:pt x="226" y="91"/>
                  </a:cubicBezTo>
                  <a:cubicBezTo>
                    <a:pt x="227" y="93"/>
                    <a:pt x="227" y="95"/>
                    <a:pt x="227" y="97"/>
                  </a:cubicBezTo>
                  <a:cubicBezTo>
                    <a:pt x="227" y="101"/>
                    <a:pt x="229" y="105"/>
                    <a:pt x="229" y="108"/>
                  </a:cubicBezTo>
                  <a:cubicBezTo>
                    <a:pt x="228" y="111"/>
                    <a:pt x="228" y="112"/>
                    <a:pt x="228" y="114"/>
                  </a:cubicBezTo>
                  <a:cubicBezTo>
                    <a:pt x="228" y="116"/>
                    <a:pt x="229" y="120"/>
                    <a:pt x="228" y="122"/>
                  </a:cubicBezTo>
                  <a:cubicBezTo>
                    <a:pt x="227" y="122"/>
                    <a:pt x="225" y="123"/>
                    <a:pt x="225" y="124"/>
                  </a:cubicBezTo>
                  <a:cubicBezTo>
                    <a:pt x="224" y="125"/>
                    <a:pt x="225" y="127"/>
                    <a:pt x="224" y="128"/>
                  </a:cubicBezTo>
                  <a:cubicBezTo>
                    <a:pt x="223" y="129"/>
                    <a:pt x="221" y="128"/>
                    <a:pt x="220" y="128"/>
                  </a:cubicBezTo>
                  <a:cubicBezTo>
                    <a:pt x="219" y="131"/>
                    <a:pt x="221" y="132"/>
                    <a:pt x="221" y="134"/>
                  </a:cubicBezTo>
                  <a:cubicBezTo>
                    <a:pt x="220" y="136"/>
                    <a:pt x="219" y="137"/>
                    <a:pt x="219" y="139"/>
                  </a:cubicBezTo>
                  <a:cubicBezTo>
                    <a:pt x="219" y="140"/>
                    <a:pt x="219" y="142"/>
                    <a:pt x="219" y="143"/>
                  </a:cubicBezTo>
                  <a:cubicBezTo>
                    <a:pt x="219" y="143"/>
                    <a:pt x="218" y="143"/>
                    <a:pt x="218" y="143"/>
                  </a:cubicBezTo>
                  <a:cubicBezTo>
                    <a:pt x="217" y="140"/>
                    <a:pt x="218" y="137"/>
                    <a:pt x="217" y="135"/>
                  </a:cubicBezTo>
                  <a:cubicBezTo>
                    <a:pt x="216" y="134"/>
                    <a:pt x="215" y="133"/>
                    <a:pt x="214" y="132"/>
                  </a:cubicBezTo>
                  <a:cubicBezTo>
                    <a:pt x="214" y="131"/>
                    <a:pt x="212" y="129"/>
                    <a:pt x="212" y="127"/>
                  </a:cubicBezTo>
                  <a:cubicBezTo>
                    <a:pt x="211" y="123"/>
                    <a:pt x="215" y="117"/>
                    <a:pt x="212" y="113"/>
                  </a:cubicBezTo>
                  <a:cubicBezTo>
                    <a:pt x="210" y="111"/>
                    <a:pt x="210" y="113"/>
                    <a:pt x="208" y="114"/>
                  </a:cubicBezTo>
                  <a:cubicBezTo>
                    <a:pt x="206" y="116"/>
                    <a:pt x="205" y="118"/>
                    <a:pt x="204" y="120"/>
                  </a:cubicBezTo>
                  <a:cubicBezTo>
                    <a:pt x="201" y="122"/>
                    <a:pt x="197" y="125"/>
                    <a:pt x="196" y="128"/>
                  </a:cubicBezTo>
                  <a:cubicBezTo>
                    <a:pt x="194" y="132"/>
                    <a:pt x="196" y="136"/>
                    <a:pt x="195" y="140"/>
                  </a:cubicBezTo>
                  <a:cubicBezTo>
                    <a:pt x="195" y="142"/>
                    <a:pt x="193" y="143"/>
                    <a:pt x="193" y="144"/>
                  </a:cubicBezTo>
                  <a:cubicBezTo>
                    <a:pt x="191" y="146"/>
                    <a:pt x="191" y="147"/>
                    <a:pt x="191" y="149"/>
                  </a:cubicBezTo>
                  <a:cubicBezTo>
                    <a:pt x="191" y="153"/>
                    <a:pt x="191" y="157"/>
                    <a:pt x="193" y="160"/>
                  </a:cubicBezTo>
                  <a:cubicBezTo>
                    <a:pt x="192" y="158"/>
                    <a:pt x="191" y="154"/>
                    <a:pt x="190" y="151"/>
                  </a:cubicBezTo>
                  <a:cubicBezTo>
                    <a:pt x="189" y="150"/>
                    <a:pt x="188" y="149"/>
                    <a:pt x="187" y="148"/>
                  </a:cubicBezTo>
                  <a:cubicBezTo>
                    <a:pt x="186" y="147"/>
                    <a:pt x="186" y="145"/>
                    <a:pt x="185" y="144"/>
                  </a:cubicBezTo>
                  <a:cubicBezTo>
                    <a:pt x="183" y="148"/>
                    <a:pt x="183" y="152"/>
                    <a:pt x="183" y="156"/>
                  </a:cubicBezTo>
                  <a:cubicBezTo>
                    <a:pt x="183" y="160"/>
                    <a:pt x="183" y="164"/>
                    <a:pt x="183" y="168"/>
                  </a:cubicBezTo>
                  <a:cubicBezTo>
                    <a:pt x="184" y="173"/>
                    <a:pt x="184" y="178"/>
                    <a:pt x="184" y="184"/>
                  </a:cubicBezTo>
                  <a:cubicBezTo>
                    <a:pt x="183" y="182"/>
                    <a:pt x="183" y="180"/>
                    <a:pt x="183" y="178"/>
                  </a:cubicBezTo>
                  <a:cubicBezTo>
                    <a:pt x="183" y="176"/>
                    <a:pt x="183" y="173"/>
                    <a:pt x="183" y="170"/>
                  </a:cubicBezTo>
                  <a:cubicBezTo>
                    <a:pt x="183" y="165"/>
                    <a:pt x="183" y="160"/>
                    <a:pt x="182" y="155"/>
                  </a:cubicBezTo>
                  <a:cubicBezTo>
                    <a:pt x="182" y="151"/>
                    <a:pt x="180" y="147"/>
                    <a:pt x="176" y="146"/>
                  </a:cubicBezTo>
                  <a:cubicBezTo>
                    <a:pt x="175" y="145"/>
                    <a:pt x="172" y="145"/>
                    <a:pt x="171" y="145"/>
                  </a:cubicBezTo>
                  <a:cubicBezTo>
                    <a:pt x="169" y="146"/>
                    <a:pt x="167" y="148"/>
                    <a:pt x="165" y="148"/>
                  </a:cubicBezTo>
                  <a:cubicBezTo>
                    <a:pt x="167" y="146"/>
                    <a:pt x="168" y="143"/>
                    <a:pt x="171" y="141"/>
                  </a:cubicBezTo>
                  <a:cubicBezTo>
                    <a:pt x="173" y="138"/>
                    <a:pt x="175" y="139"/>
                    <a:pt x="176" y="135"/>
                  </a:cubicBezTo>
                  <a:cubicBezTo>
                    <a:pt x="176" y="132"/>
                    <a:pt x="175" y="131"/>
                    <a:pt x="172" y="130"/>
                  </a:cubicBezTo>
                  <a:cubicBezTo>
                    <a:pt x="169" y="130"/>
                    <a:pt x="169" y="131"/>
                    <a:pt x="169" y="127"/>
                  </a:cubicBezTo>
                  <a:cubicBezTo>
                    <a:pt x="170" y="125"/>
                    <a:pt x="169" y="123"/>
                    <a:pt x="167" y="122"/>
                  </a:cubicBezTo>
                  <a:cubicBezTo>
                    <a:pt x="164" y="121"/>
                    <a:pt x="162" y="123"/>
                    <a:pt x="160" y="121"/>
                  </a:cubicBezTo>
                  <a:cubicBezTo>
                    <a:pt x="160" y="120"/>
                    <a:pt x="159" y="119"/>
                    <a:pt x="159" y="118"/>
                  </a:cubicBezTo>
                  <a:cubicBezTo>
                    <a:pt x="158" y="117"/>
                    <a:pt x="157" y="116"/>
                    <a:pt x="157" y="116"/>
                  </a:cubicBezTo>
                  <a:cubicBezTo>
                    <a:pt x="157" y="114"/>
                    <a:pt x="159" y="108"/>
                    <a:pt x="156" y="109"/>
                  </a:cubicBezTo>
                  <a:cubicBezTo>
                    <a:pt x="156" y="107"/>
                    <a:pt x="154" y="105"/>
                    <a:pt x="153" y="105"/>
                  </a:cubicBezTo>
                  <a:cubicBezTo>
                    <a:pt x="153" y="107"/>
                    <a:pt x="157" y="109"/>
                    <a:pt x="159" y="111"/>
                  </a:cubicBezTo>
                  <a:cubicBezTo>
                    <a:pt x="160" y="112"/>
                    <a:pt x="165" y="117"/>
                    <a:pt x="167" y="116"/>
                  </a:cubicBezTo>
                  <a:cubicBezTo>
                    <a:pt x="168" y="115"/>
                    <a:pt x="168" y="114"/>
                    <a:pt x="168" y="114"/>
                  </a:cubicBezTo>
                  <a:cubicBezTo>
                    <a:pt x="169" y="113"/>
                    <a:pt x="169" y="113"/>
                    <a:pt x="170" y="112"/>
                  </a:cubicBezTo>
                  <a:cubicBezTo>
                    <a:pt x="171" y="111"/>
                    <a:pt x="174" y="111"/>
                    <a:pt x="174" y="109"/>
                  </a:cubicBezTo>
                  <a:cubicBezTo>
                    <a:pt x="175" y="105"/>
                    <a:pt x="171" y="105"/>
                    <a:pt x="168" y="105"/>
                  </a:cubicBezTo>
                  <a:cubicBezTo>
                    <a:pt x="172" y="105"/>
                    <a:pt x="173" y="103"/>
                    <a:pt x="175" y="100"/>
                  </a:cubicBezTo>
                  <a:cubicBezTo>
                    <a:pt x="177" y="98"/>
                    <a:pt x="178" y="94"/>
                    <a:pt x="178" y="91"/>
                  </a:cubicBezTo>
                  <a:cubicBezTo>
                    <a:pt x="179" y="88"/>
                    <a:pt x="178" y="84"/>
                    <a:pt x="176" y="83"/>
                  </a:cubicBezTo>
                  <a:cubicBezTo>
                    <a:pt x="173" y="81"/>
                    <a:pt x="170" y="82"/>
                    <a:pt x="167" y="82"/>
                  </a:cubicBezTo>
                  <a:cubicBezTo>
                    <a:pt x="167" y="78"/>
                    <a:pt x="161" y="78"/>
                    <a:pt x="159" y="79"/>
                  </a:cubicBezTo>
                  <a:cubicBezTo>
                    <a:pt x="164" y="78"/>
                    <a:pt x="168" y="77"/>
                    <a:pt x="174" y="77"/>
                  </a:cubicBezTo>
                  <a:cubicBezTo>
                    <a:pt x="176" y="77"/>
                    <a:pt x="178" y="77"/>
                    <a:pt x="177" y="74"/>
                  </a:cubicBezTo>
                  <a:cubicBezTo>
                    <a:pt x="175" y="71"/>
                    <a:pt x="173" y="70"/>
                    <a:pt x="170" y="70"/>
                  </a:cubicBezTo>
                  <a:cubicBezTo>
                    <a:pt x="169" y="70"/>
                    <a:pt x="168" y="70"/>
                    <a:pt x="167" y="71"/>
                  </a:cubicBezTo>
                  <a:cubicBezTo>
                    <a:pt x="166" y="71"/>
                    <a:pt x="166" y="72"/>
                    <a:pt x="165" y="71"/>
                  </a:cubicBezTo>
                  <a:cubicBezTo>
                    <a:pt x="167" y="67"/>
                    <a:pt x="165" y="63"/>
                    <a:pt x="160" y="64"/>
                  </a:cubicBezTo>
                  <a:cubicBezTo>
                    <a:pt x="160" y="66"/>
                    <a:pt x="160" y="69"/>
                    <a:pt x="159" y="71"/>
                  </a:cubicBezTo>
                  <a:cubicBezTo>
                    <a:pt x="158" y="70"/>
                    <a:pt x="156" y="64"/>
                    <a:pt x="154" y="66"/>
                  </a:cubicBezTo>
                  <a:cubicBezTo>
                    <a:pt x="154" y="62"/>
                    <a:pt x="155" y="58"/>
                    <a:pt x="153" y="55"/>
                  </a:cubicBezTo>
                  <a:cubicBezTo>
                    <a:pt x="153" y="54"/>
                    <a:pt x="153" y="52"/>
                    <a:pt x="152" y="51"/>
                  </a:cubicBezTo>
                  <a:cubicBezTo>
                    <a:pt x="151" y="50"/>
                    <a:pt x="147" y="49"/>
                    <a:pt x="146" y="49"/>
                  </a:cubicBezTo>
                  <a:cubicBezTo>
                    <a:pt x="145" y="48"/>
                    <a:pt x="144" y="48"/>
                    <a:pt x="143" y="46"/>
                  </a:cubicBezTo>
                  <a:cubicBezTo>
                    <a:pt x="143" y="45"/>
                    <a:pt x="143" y="42"/>
                    <a:pt x="142" y="41"/>
                  </a:cubicBezTo>
                  <a:cubicBezTo>
                    <a:pt x="141" y="40"/>
                    <a:pt x="140" y="40"/>
                    <a:pt x="138" y="40"/>
                  </a:cubicBezTo>
                  <a:cubicBezTo>
                    <a:pt x="138" y="40"/>
                    <a:pt x="138" y="39"/>
                    <a:pt x="137" y="39"/>
                  </a:cubicBezTo>
                  <a:cubicBezTo>
                    <a:pt x="135" y="38"/>
                    <a:pt x="133" y="39"/>
                    <a:pt x="132" y="39"/>
                  </a:cubicBezTo>
                  <a:cubicBezTo>
                    <a:pt x="131" y="37"/>
                    <a:pt x="133" y="37"/>
                    <a:pt x="133" y="35"/>
                  </a:cubicBezTo>
                  <a:cubicBezTo>
                    <a:pt x="131" y="34"/>
                    <a:pt x="132" y="38"/>
                    <a:pt x="131" y="39"/>
                  </a:cubicBezTo>
                  <a:cubicBezTo>
                    <a:pt x="129" y="40"/>
                    <a:pt x="129" y="37"/>
                    <a:pt x="127" y="37"/>
                  </a:cubicBezTo>
                  <a:cubicBezTo>
                    <a:pt x="126" y="32"/>
                    <a:pt x="129" y="31"/>
                    <a:pt x="125" y="27"/>
                  </a:cubicBezTo>
                  <a:cubicBezTo>
                    <a:pt x="124" y="26"/>
                    <a:pt x="123" y="25"/>
                    <a:pt x="122" y="23"/>
                  </a:cubicBezTo>
                  <a:cubicBezTo>
                    <a:pt x="122" y="22"/>
                    <a:pt x="122" y="21"/>
                    <a:pt x="121" y="21"/>
                  </a:cubicBezTo>
                  <a:cubicBezTo>
                    <a:pt x="120" y="19"/>
                    <a:pt x="119" y="20"/>
                    <a:pt x="118" y="19"/>
                  </a:cubicBezTo>
                  <a:cubicBezTo>
                    <a:pt x="117" y="17"/>
                    <a:pt x="119" y="14"/>
                    <a:pt x="118" y="13"/>
                  </a:cubicBezTo>
                  <a:cubicBezTo>
                    <a:pt x="117" y="11"/>
                    <a:pt x="113" y="10"/>
                    <a:pt x="111" y="11"/>
                  </a:cubicBezTo>
                  <a:cubicBezTo>
                    <a:pt x="107" y="13"/>
                    <a:pt x="115" y="16"/>
                    <a:pt x="114" y="19"/>
                  </a:cubicBezTo>
                  <a:cubicBezTo>
                    <a:pt x="111" y="16"/>
                    <a:pt x="109" y="13"/>
                    <a:pt x="105" y="15"/>
                  </a:cubicBezTo>
                  <a:cubicBezTo>
                    <a:pt x="103" y="16"/>
                    <a:pt x="103" y="19"/>
                    <a:pt x="101" y="19"/>
                  </a:cubicBezTo>
                  <a:cubicBezTo>
                    <a:pt x="99" y="17"/>
                    <a:pt x="97" y="16"/>
                    <a:pt x="95" y="15"/>
                  </a:cubicBezTo>
                  <a:cubicBezTo>
                    <a:pt x="93" y="15"/>
                    <a:pt x="91" y="15"/>
                    <a:pt x="89" y="15"/>
                  </a:cubicBezTo>
                  <a:cubicBezTo>
                    <a:pt x="89" y="17"/>
                    <a:pt x="92" y="17"/>
                    <a:pt x="92" y="19"/>
                  </a:cubicBezTo>
                  <a:cubicBezTo>
                    <a:pt x="89" y="19"/>
                    <a:pt x="88" y="17"/>
                    <a:pt x="85" y="17"/>
                  </a:cubicBezTo>
                  <a:cubicBezTo>
                    <a:pt x="84" y="17"/>
                    <a:pt x="83" y="17"/>
                    <a:pt x="81" y="17"/>
                  </a:cubicBezTo>
                  <a:cubicBezTo>
                    <a:pt x="79" y="17"/>
                    <a:pt x="79" y="17"/>
                    <a:pt x="78" y="15"/>
                  </a:cubicBezTo>
                  <a:cubicBezTo>
                    <a:pt x="76" y="18"/>
                    <a:pt x="78" y="18"/>
                    <a:pt x="79" y="19"/>
                  </a:cubicBezTo>
                  <a:cubicBezTo>
                    <a:pt x="81" y="21"/>
                    <a:pt x="80" y="21"/>
                    <a:pt x="80" y="23"/>
                  </a:cubicBezTo>
                  <a:cubicBezTo>
                    <a:pt x="81" y="28"/>
                    <a:pt x="80" y="27"/>
                    <a:pt x="76" y="27"/>
                  </a:cubicBezTo>
                  <a:cubicBezTo>
                    <a:pt x="75" y="27"/>
                    <a:pt x="74" y="27"/>
                    <a:pt x="73" y="28"/>
                  </a:cubicBezTo>
                  <a:cubicBezTo>
                    <a:pt x="72" y="31"/>
                    <a:pt x="76" y="32"/>
                    <a:pt x="77" y="33"/>
                  </a:cubicBezTo>
                  <a:cubicBezTo>
                    <a:pt x="78" y="35"/>
                    <a:pt x="78" y="36"/>
                    <a:pt x="78" y="37"/>
                  </a:cubicBezTo>
                  <a:cubicBezTo>
                    <a:pt x="79" y="40"/>
                    <a:pt x="81" y="40"/>
                    <a:pt x="82" y="42"/>
                  </a:cubicBezTo>
                  <a:cubicBezTo>
                    <a:pt x="84" y="44"/>
                    <a:pt x="83" y="46"/>
                    <a:pt x="83" y="48"/>
                  </a:cubicBezTo>
                  <a:cubicBezTo>
                    <a:pt x="84" y="51"/>
                    <a:pt x="87" y="53"/>
                    <a:pt x="89" y="55"/>
                  </a:cubicBezTo>
                  <a:cubicBezTo>
                    <a:pt x="92" y="57"/>
                    <a:pt x="95" y="58"/>
                    <a:pt x="99" y="58"/>
                  </a:cubicBezTo>
                  <a:cubicBezTo>
                    <a:pt x="101" y="58"/>
                    <a:pt x="103" y="59"/>
                    <a:pt x="105" y="61"/>
                  </a:cubicBezTo>
                  <a:cubicBezTo>
                    <a:pt x="105" y="61"/>
                    <a:pt x="107" y="62"/>
                    <a:pt x="107" y="62"/>
                  </a:cubicBezTo>
                  <a:cubicBezTo>
                    <a:pt x="108" y="63"/>
                    <a:pt x="108" y="64"/>
                    <a:pt x="108" y="64"/>
                  </a:cubicBezTo>
                  <a:cubicBezTo>
                    <a:pt x="110" y="66"/>
                    <a:pt x="110" y="65"/>
                    <a:pt x="112" y="66"/>
                  </a:cubicBezTo>
                  <a:cubicBezTo>
                    <a:pt x="113" y="66"/>
                    <a:pt x="116" y="69"/>
                    <a:pt x="113" y="70"/>
                  </a:cubicBezTo>
                  <a:cubicBezTo>
                    <a:pt x="113" y="73"/>
                    <a:pt x="115" y="74"/>
                    <a:pt x="116" y="77"/>
                  </a:cubicBezTo>
                  <a:cubicBezTo>
                    <a:pt x="118" y="81"/>
                    <a:pt x="118" y="86"/>
                    <a:pt x="120" y="90"/>
                  </a:cubicBezTo>
                  <a:cubicBezTo>
                    <a:pt x="120" y="88"/>
                    <a:pt x="117" y="85"/>
                    <a:pt x="116" y="84"/>
                  </a:cubicBezTo>
                  <a:cubicBezTo>
                    <a:pt x="115" y="83"/>
                    <a:pt x="114" y="83"/>
                    <a:pt x="114" y="81"/>
                  </a:cubicBezTo>
                  <a:cubicBezTo>
                    <a:pt x="113" y="81"/>
                    <a:pt x="112" y="81"/>
                    <a:pt x="111" y="81"/>
                  </a:cubicBezTo>
                  <a:cubicBezTo>
                    <a:pt x="111" y="85"/>
                    <a:pt x="112" y="87"/>
                    <a:pt x="109" y="90"/>
                  </a:cubicBezTo>
                  <a:cubicBezTo>
                    <a:pt x="108" y="90"/>
                    <a:pt x="108" y="91"/>
                    <a:pt x="107" y="92"/>
                  </a:cubicBezTo>
                  <a:cubicBezTo>
                    <a:pt x="106" y="93"/>
                    <a:pt x="104" y="95"/>
                    <a:pt x="103" y="95"/>
                  </a:cubicBezTo>
                  <a:cubicBezTo>
                    <a:pt x="100" y="94"/>
                    <a:pt x="104" y="86"/>
                    <a:pt x="105" y="84"/>
                  </a:cubicBezTo>
                  <a:cubicBezTo>
                    <a:pt x="105" y="81"/>
                    <a:pt x="105" y="75"/>
                    <a:pt x="103" y="73"/>
                  </a:cubicBezTo>
                  <a:cubicBezTo>
                    <a:pt x="100" y="69"/>
                    <a:pt x="90" y="69"/>
                    <a:pt x="90" y="75"/>
                  </a:cubicBezTo>
                  <a:cubicBezTo>
                    <a:pt x="89" y="74"/>
                    <a:pt x="89" y="73"/>
                    <a:pt x="89" y="72"/>
                  </a:cubicBezTo>
                  <a:cubicBezTo>
                    <a:pt x="88" y="72"/>
                    <a:pt x="88" y="71"/>
                    <a:pt x="88" y="70"/>
                  </a:cubicBezTo>
                  <a:cubicBezTo>
                    <a:pt x="88" y="69"/>
                    <a:pt x="88" y="68"/>
                    <a:pt x="88" y="67"/>
                  </a:cubicBezTo>
                  <a:cubicBezTo>
                    <a:pt x="87" y="65"/>
                    <a:pt x="85" y="65"/>
                    <a:pt x="83" y="64"/>
                  </a:cubicBezTo>
                  <a:cubicBezTo>
                    <a:pt x="82" y="62"/>
                    <a:pt x="82" y="60"/>
                    <a:pt x="80" y="58"/>
                  </a:cubicBezTo>
                  <a:cubicBezTo>
                    <a:pt x="79" y="56"/>
                    <a:pt x="77" y="55"/>
                    <a:pt x="76" y="54"/>
                  </a:cubicBezTo>
                  <a:cubicBezTo>
                    <a:pt x="75" y="52"/>
                    <a:pt x="74" y="51"/>
                    <a:pt x="72" y="51"/>
                  </a:cubicBezTo>
                  <a:cubicBezTo>
                    <a:pt x="69" y="50"/>
                    <a:pt x="67" y="49"/>
                    <a:pt x="65" y="49"/>
                  </a:cubicBezTo>
                  <a:cubicBezTo>
                    <a:pt x="62" y="49"/>
                    <a:pt x="59" y="48"/>
                    <a:pt x="57" y="49"/>
                  </a:cubicBezTo>
                  <a:cubicBezTo>
                    <a:pt x="55" y="50"/>
                    <a:pt x="54" y="52"/>
                    <a:pt x="53" y="54"/>
                  </a:cubicBezTo>
                  <a:cubicBezTo>
                    <a:pt x="54" y="57"/>
                    <a:pt x="59" y="57"/>
                    <a:pt x="58" y="60"/>
                  </a:cubicBezTo>
                  <a:cubicBezTo>
                    <a:pt x="55" y="60"/>
                    <a:pt x="54" y="57"/>
                    <a:pt x="51" y="58"/>
                  </a:cubicBezTo>
                  <a:cubicBezTo>
                    <a:pt x="51" y="59"/>
                    <a:pt x="51" y="60"/>
                    <a:pt x="51" y="61"/>
                  </a:cubicBezTo>
                  <a:cubicBezTo>
                    <a:pt x="51" y="62"/>
                    <a:pt x="50" y="62"/>
                    <a:pt x="50" y="63"/>
                  </a:cubicBezTo>
                  <a:cubicBezTo>
                    <a:pt x="50" y="65"/>
                    <a:pt x="52" y="65"/>
                    <a:pt x="53" y="67"/>
                  </a:cubicBezTo>
                  <a:cubicBezTo>
                    <a:pt x="54" y="67"/>
                    <a:pt x="54" y="69"/>
                    <a:pt x="55" y="69"/>
                  </a:cubicBezTo>
                  <a:cubicBezTo>
                    <a:pt x="56" y="70"/>
                    <a:pt x="57" y="70"/>
                    <a:pt x="58" y="71"/>
                  </a:cubicBezTo>
                  <a:cubicBezTo>
                    <a:pt x="59" y="72"/>
                    <a:pt x="60" y="74"/>
                    <a:pt x="60" y="75"/>
                  </a:cubicBezTo>
                  <a:cubicBezTo>
                    <a:pt x="57" y="76"/>
                    <a:pt x="53" y="73"/>
                    <a:pt x="49" y="72"/>
                  </a:cubicBezTo>
                  <a:cubicBezTo>
                    <a:pt x="46" y="72"/>
                    <a:pt x="43" y="71"/>
                    <a:pt x="40" y="72"/>
                  </a:cubicBezTo>
                  <a:cubicBezTo>
                    <a:pt x="39" y="79"/>
                    <a:pt x="46" y="83"/>
                    <a:pt x="51" y="87"/>
                  </a:cubicBezTo>
                  <a:cubicBezTo>
                    <a:pt x="53" y="89"/>
                    <a:pt x="55" y="89"/>
                    <a:pt x="57" y="90"/>
                  </a:cubicBezTo>
                  <a:cubicBezTo>
                    <a:pt x="60" y="91"/>
                    <a:pt x="65" y="91"/>
                    <a:pt x="67" y="93"/>
                  </a:cubicBezTo>
                  <a:cubicBezTo>
                    <a:pt x="63" y="95"/>
                    <a:pt x="56" y="90"/>
                    <a:pt x="52" y="89"/>
                  </a:cubicBezTo>
                  <a:cubicBezTo>
                    <a:pt x="51" y="89"/>
                    <a:pt x="51" y="89"/>
                    <a:pt x="50" y="89"/>
                  </a:cubicBezTo>
                  <a:cubicBezTo>
                    <a:pt x="49" y="89"/>
                    <a:pt x="48" y="87"/>
                    <a:pt x="47" y="87"/>
                  </a:cubicBezTo>
                  <a:cubicBezTo>
                    <a:pt x="45" y="86"/>
                    <a:pt x="44" y="85"/>
                    <a:pt x="42" y="85"/>
                  </a:cubicBezTo>
                  <a:cubicBezTo>
                    <a:pt x="39" y="86"/>
                    <a:pt x="40" y="86"/>
                    <a:pt x="40" y="89"/>
                  </a:cubicBezTo>
                  <a:cubicBezTo>
                    <a:pt x="39" y="93"/>
                    <a:pt x="36" y="98"/>
                    <a:pt x="40" y="101"/>
                  </a:cubicBezTo>
                  <a:cubicBezTo>
                    <a:pt x="41" y="101"/>
                    <a:pt x="42" y="101"/>
                    <a:pt x="43" y="101"/>
                  </a:cubicBezTo>
                  <a:cubicBezTo>
                    <a:pt x="43" y="102"/>
                    <a:pt x="44" y="104"/>
                    <a:pt x="45" y="105"/>
                  </a:cubicBezTo>
                  <a:cubicBezTo>
                    <a:pt x="46" y="106"/>
                    <a:pt x="49" y="110"/>
                    <a:pt x="50" y="110"/>
                  </a:cubicBezTo>
                  <a:cubicBezTo>
                    <a:pt x="52" y="111"/>
                    <a:pt x="51" y="110"/>
                    <a:pt x="53" y="109"/>
                  </a:cubicBezTo>
                  <a:cubicBezTo>
                    <a:pt x="54" y="109"/>
                    <a:pt x="53" y="109"/>
                    <a:pt x="54" y="109"/>
                  </a:cubicBezTo>
                  <a:cubicBezTo>
                    <a:pt x="56" y="108"/>
                    <a:pt x="59" y="109"/>
                    <a:pt x="61" y="109"/>
                  </a:cubicBezTo>
                  <a:cubicBezTo>
                    <a:pt x="63" y="108"/>
                    <a:pt x="64" y="106"/>
                    <a:pt x="66" y="105"/>
                  </a:cubicBezTo>
                  <a:cubicBezTo>
                    <a:pt x="68" y="105"/>
                    <a:pt x="77" y="104"/>
                    <a:pt x="74" y="108"/>
                  </a:cubicBezTo>
                  <a:cubicBezTo>
                    <a:pt x="73" y="110"/>
                    <a:pt x="70" y="108"/>
                    <a:pt x="69" y="109"/>
                  </a:cubicBezTo>
                  <a:cubicBezTo>
                    <a:pt x="67" y="109"/>
                    <a:pt x="66" y="110"/>
                    <a:pt x="65" y="110"/>
                  </a:cubicBezTo>
                  <a:cubicBezTo>
                    <a:pt x="62" y="111"/>
                    <a:pt x="60" y="110"/>
                    <a:pt x="59" y="112"/>
                  </a:cubicBezTo>
                  <a:cubicBezTo>
                    <a:pt x="55" y="117"/>
                    <a:pt x="61" y="119"/>
                    <a:pt x="65" y="120"/>
                  </a:cubicBezTo>
                  <a:cubicBezTo>
                    <a:pt x="63" y="120"/>
                    <a:pt x="60" y="120"/>
                    <a:pt x="58" y="120"/>
                  </a:cubicBezTo>
                  <a:cubicBezTo>
                    <a:pt x="57" y="118"/>
                    <a:pt x="56" y="116"/>
                    <a:pt x="54" y="115"/>
                  </a:cubicBezTo>
                  <a:cubicBezTo>
                    <a:pt x="52" y="114"/>
                    <a:pt x="50" y="115"/>
                    <a:pt x="47" y="114"/>
                  </a:cubicBezTo>
                  <a:cubicBezTo>
                    <a:pt x="44" y="114"/>
                    <a:pt x="42" y="111"/>
                    <a:pt x="40" y="109"/>
                  </a:cubicBezTo>
                  <a:cubicBezTo>
                    <a:pt x="38" y="106"/>
                    <a:pt x="37" y="105"/>
                    <a:pt x="33" y="105"/>
                  </a:cubicBezTo>
                  <a:cubicBezTo>
                    <a:pt x="31" y="105"/>
                    <a:pt x="30" y="104"/>
                    <a:pt x="29" y="104"/>
                  </a:cubicBezTo>
                  <a:cubicBezTo>
                    <a:pt x="28" y="103"/>
                    <a:pt x="27" y="102"/>
                    <a:pt x="26" y="102"/>
                  </a:cubicBezTo>
                  <a:cubicBezTo>
                    <a:pt x="24" y="103"/>
                    <a:pt x="24" y="113"/>
                    <a:pt x="25" y="115"/>
                  </a:cubicBezTo>
                  <a:cubicBezTo>
                    <a:pt x="27" y="117"/>
                    <a:pt x="31" y="118"/>
                    <a:pt x="33" y="119"/>
                  </a:cubicBezTo>
                  <a:cubicBezTo>
                    <a:pt x="37" y="120"/>
                    <a:pt x="36" y="120"/>
                    <a:pt x="37" y="123"/>
                  </a:cubicBezTo>
                  <a:cubicBezTo>
                    <a:pt x="37" y="124"/>
                    <a:pt x="40" y="125"/>
                    <a:pt x="38" y="126"/>
                  </a:cubicBezTo>
                  <a:cubicBezTo>
                    <a:pt x="35" y="125"/>
                    <a:pt x="34" y="123"/>
                    <a:pt x="32" y="123"/>
                  </a:cubicBezTo>
                  <a:cubicBezTo>
                    <a:pt x="29" y="123"/>
                    <a:pt x="27" y="123"/>
                    <a:pt x="25" y="123"/>
                  </a:cubicBezTo>
                  <a:cubicBezTo>
                    <a:pt x="24" y="126"/>
                    <a:pt x="26" y="126"/>
                    <a:pt x="27" y="128"/>
                  </a:cubicBezTo>
                  <a:cubicBezTo>
                    <a:pt x="29" y="129"/>
                    <a:pt x="29" y="131"/>
                    <a:pt x="31" y="132"/>
                  </a:cubicBezTo>
                  <a:cubicBezTo>
                    <a:pt x="31" y="132"/>
                    <a:pt x="31" y="132"/>
                    <a:pt x="32" y="132"/>
                  </a:cubicBezTo>
                  <a:cubicBezTo>
                    <a:pt x="32" y="133"/>
                    <a:pt x="32" y="133"/>
                    <a:pt x="33" y="134"/>
                  </a:cubicBezTo>
                  <a:cubicBezTo>
                    <a:pt x="35" y="136"/>
                    <a:pt x="36" y="136"/>
                    <a:pt x="39" y="136"/>
                  </a:cubicBezTo>
                  <a:cubicBezTo>
                    <a:pt x="37" y="136"/>
                    <a:pt x="34" y="136"/>
                    <a:pt x="33" y="135"/>
                  </a:cubicBezTo>
                  <a:cubicBezTo>
                    <a:pt x="32" y="135"/>
                    <a:pt x="32" y="134"/>
                    <a:pt x="31" y="133"/>
                  </a:cubicBezTo>
                  <a:cubicBezTo>
                    <a:pt x="29" y="131"/>
                    <a:pt x="26" y="129"/>
                    <a:pt x="23" y="128"/>
                  </a:cubicBezTo>
                  <a:cubicBezTo>
                    <a:pt x="19" y="127"/>
                    <a:pt x="13" y="127"/>
                    <a:pt x="8" y="128"/>
                  </a:cubicBezTo>
                  <a:cubicBezTo>
                    <a:pt x="8" y="130"/>
                    <a:pt x="9" y="132"/>
                    <a:pt x="8" y="134"/>
                  </a:cubicBezTo>
                  <a:cubicBezTo>
                    <a:pt x="6" y="136"/>
                    <a:pt x="3" y="135"/>
                    <a:pt x="1" y="135"/>
                  </a:cubicBezTo>
                  <a:cubicBezTo>
                    <a:pt x="0" y="141"/>
                    <a:pt x="6" y="141"/>
                    <a:pt x="11" y="141"/>
                  </a:cubicBezTo>
                  <a:cubicBezTo>
                    <a:pt x="14" y="141"/>
                    <a:pt x="15" y="142"/>
                    <a:pt x="18" y="143"/>
                  </a:cubicBezTo>
                  <a:cubicBezTo>
                    <a:pt x="19" y="143"/>
                    <a:pt x="21" y="143"/>
                    <a:pt x="22" y="143"/>
                  </a:cubicBezTo>
                  <a:cubicBezTo>
                    <a:pt x="22" y="144"/>
                    <a:pt x="22" y="145"/>
                    <a:pt x="22" y="145"/>
                  </a:cubicBezTo>
                  <a:cubicBezTo>
                    <a:pt x="23" y="146"/>
                    <a:pt x="24" y="145"/>
                    <a:pt x="25" y="146"/>
                  </a:cubicBezTo>
                  <a:cubicBezTo>
                    <a:pt x="27" y="147"/>
                    <a:pt x="28" y="147"/>
                    <a:pt x="30" y="148"/>
                  </a:cubicBezTo>
                  <a:cubicBezTo>
                    <a:pt x="31" y="149"/>
                    <a:pt x="32" y="149"/>
                    <a:pt x="33" y="151"/>
                  </a:cubicBezTo>
                  <a:cubicBezTo>
                    <a:pt x="34" y="152"/>
                    <a:pt x="34" y="153"/>
                    <a:pt x="36" y="153"/>
                  </a:cubicBezTo>
                  <a:cubicBezTo>
                    <a:pt x="39" y="154"/>
                    <a:pt x="39" y="153"/>
                    <a:pt x="41" y="152"/>
                  </a:cubicBezTo>
                  <a:cubicBezTo>
                    <a:pt x="42" y="152"/>
                    <a:pt x="44" y="152"/>
                    <a:pt x="44" y="152"/>
                  </a:cubicBezTo>
                  <a:cubicBezTo>
                    <a:pt x="47" y="151"/>
                    <a:pt x="46" y="150"/>
                    <a:pt x="48" y="148"/>
                  </a:cubicBezTo>
                  <a:cubicBezTo>
                    <a:pt x="49" y="147"/>
                    <a:pt x="55" y="148"/>
                    <a:pt x="58" y="148"/>
                  </a:cubicBezTo>
                  <a:cubicBezTo>
                    <a:pt x="59" y="148"/>
                    <a:pt x="60" y="148"/>
                    <a:pt x="61" y="147"/>
                  </a:cubicBezTo>
                  <a:cubicBezTo>
                    <a:pt x="62" y="146"/>
                    <a:pt x="61" y="145"/>
                    <a:pt x="63" y="144"/>
                  </a:cubicBezTo>
                  <a:cubicBezTo>
                    <a:pt x="64" y="143"/>
                    <a:pt x="67" y="143"/>
                    <a:pt x="69" y="143"/>
                  </a:cubicBezTo>
                  <a:cubicBezTo>
                    <a:pt x="69" y="143"/>
                    <a:pt x="70" y="143"/>
                    <a:pt x="71" y="143"/>
                  </a:cubicBezTo>
                  <a:cubicBezTo>
                    <a:pt x="72" y="143"/>
                    <a:pt x="72" y="142"/>
                    <a:pt x="72" y="141"/>
                  </a:cubicBezTo>
                  <a:cubicBezTo>
                    <a:pt x="73" y="141"/>
                    <a:pt x="74" y="140"/>
                    <a:pt x="74" y="139"/>
                  </a:cubicBezTo>
                  <a:cubicBezTo>
                    <a:pt x="75" y="139"/>
                    <a:pt x="76" y="138"/>
                    <a:pt x="76" y="137"/>
                  </a:cubicBezTo>
                  <a:cubicBezTo>
                    <a:pt x="76" y="137"/>
                    <a:pt x="76" y="134"/>
                    <a:pt x="77" y="134"/>
                  </a:cubicBezTo>
                  <a:cubicBezTo>
                    <a:pt x="78" y="133"/>
                    <a:pt x="82" y="134"/>
                    <a:pt x="84" y="134"/>
                  </a:cubicBezTo>
                  <a:cubicBezTo>
                    <a:pt x="86" y="134"/>
                    <a:pt x="86" y="132"/>
                    <a:pt x="88" y="131"/>
                  </a:cubicBezTo>
                  <a:cubicBezTo>
                    <a:pt x="89" y="131"/>
                    <a:pt x="90" y="131"/>
                    <a:pt x="91" y="131"/>
                  </a:cubicBezTo>
                  <a:cubicBezTo>
                    <a:pt x="94" y="131"/>
                    <a:pt x="95" y="130"/>
                    <a:pt x="96" y="128"/>
                  </a:cubicBezTo>
                  <a:cubicBezTo>
                    <a:pt x="98" y="129"/>
                    <a:pt x="96" y="131"/>
                    <a:pt x="96" y="132"/>
                  </a:cubicBezTo>
                  <a:cubicBezTo>
                    <a:pt x="95" y="134"/>
                    <a:pt x="95" y="137"/>
                    <a:pt x="95" y="139"/>
                  </a:cubicBezTo>
                  <a:cubicBezTo>
                    <a:pt x="102" y="140"/>
                    <a:pt x="97" y="133"/>
                    <a:pt x="100" y="132"/>
                  </a:cubicBezTo>
                  <a:cubicBezTo>
                    <a:pt x="101" y="133"/>
                    <a:pt x="100" y="135"/>
                    <a:pt x="102" y="135"/>
                  </a:cubicBezTo>
                  <a:cubicBezTo>
                    <a:pt x="103" y="135"/>
                    <a:pt x="105" y="133"/>
                    <a:pt x="105" y="132"/>
                  </a:cubicBezTo>
                  <a:cubicBezTo>
                    <a:pt x="106" y="133"/>
                    <a:pt x="105" y="135"/>
                    <a:pt x="107" y="136"/>
                  </a:cubicBezTo>
                  <a:cubicBezTo>
                    <a:pt x="108" y="135"/>
                    <a:pt x="108" y="131"/>
                    <a:pt x="111" y="132"/>
                  </a:cubicBezTo>
                  <a:cubicBezTo>
                    <a:pt x="111" y="134"/>
                    <a:pt x="109" y="135"/>
                    <a:pt x="109" y="138"/>
                  </a:cubicBezTo>
                  <a:cubicBezTo>
                    <a:pt x="110" y="141"/>
                    <a:pt x="112" y="138"/>
                    <a:pt x="113" y="136"/>
                  </a:cubicBezTo>
                  <a:cubicBezTo>
                    <a:pt x="114" y="136"/>
                    <a:pt x="115" y="136"/>
                    <a:pt x="116" y="136"/>
                  </a:cubicBezTo>
                  <a:cubicBezTo>
                    <a:pt x="116" y="137"/>
                    <a:pt x="116" y="138"/>
                    <a:pt x="117" y="139"/>
                  </a:cubicBezTo>
                  <a:cubicBezTo>
                    <a:pt x="119" y="140"/>
                    <a:pt x="122" y="138"/>
                    <a:pt x="124" y="139"/>
                  </a:cubicBezTo>
                  <a:cubicBezTo>
                    <a:pt x="122" y="139"/>
                    <a:pt x="120" y="141"/>
                    <a:pt x="119" y="143"/>
                  </a:cubicBezTo>
                  <a:cubicBezTo>
                    <a:pt x="117" y="148"/>
                    <a:pt x="121" y="149"/>
                    <a:pt x="125" y="151"/>
                  </a:cubicBezTo>
                  <a:cubicBezTo>
                    <a:pt x="128" y="152"/>
                    <a:pt x="129" y="152"/>
                    <a:pt x="131" y="148"/>
                  </a:cubicBezTo>
                  <a:cubicBezTo>
                    <a:pt x="131" y="148"/>
                    <a:pt x="132" y="145"/>
                    <a:pt x="133" y="144"/>
                  </a:cubicBezTo>
                  <a:cubicBezTo>
                    <a:pt x="134" y="143"/>
                    <a:pt x="135" y="143"/>
                    <a:pt x="136" y="142"/>
                  </a:cubicBezTo>
                  <a:cubicBezTo>
                    <a:pt x="137" y="143"/>
                    <a:pt x="137" y="143"/>
                    <a:pt x="138" y="144"/>
                  </a:cubicBezTo>
                  <a:cubicBezTo>
                    <a:pt x="138" y="144"/>
                    <a:pt x="139" y="145"/>
                    <a:pt x="140" y="145"/>
                  </a:cubicBezTo>
                  <a:cubicBezTo>
                    <a:pt x="141" y="146"/>
                    <a:pt x="141" y="148"/>
                    <a:pt x="142" y="148"/>
                  </a:cubicBezTo>
                  <a:cubicBezTo>
                    <a:pt x="143" y="149"/>
                    <a:pt x="142" y="149"/>
                    <a:pt x="143" y="150"/>
                  </a:cubicBezTo>
                  <a:cubicBezTo>
                    <a:pt x="144" y="150"/>
                    <a:pt x="145" y="150"/>
                    <a:pt x="145" y="150"/>
                  </a:cubicBezTo>
                  <a:cubicBezTo>
                    <a:pt x="147" y="150"/>
                    <a:pt x="147" y="151"/>
                    <a:pt x="149" y="151"/>
                  </a:cubicBezTo>
                  <a:cubicBezTo>
                    <a:pt x="149" y="156"/>
                    <a:pt x="140" y="154"/>
                    <a:pt x="138" y="156"/>
                  </a:cubicBezTo>
                  <a:cubicBezTo>
                    <a:pt x="137" y="156"/>
                    <a:pt x="137" y="158"/>
                    <a:pt x="136" y="159"/>
                  </a:cubicBezTo>
                  <a:cubicBezTo>
                    <a:pt x="135" y="160"/>
                    <a:pt x="133" y="160"/>
                    <a:pt x="132" y="161"/>
                  </a:cubicBezTo>
                  <a:cubicBezTo>
                    <a:pt x="131" y="162"/>
                    <a:pt x="129" y="162"/>
                    <a:pt x="128" y="163"/>
                  </a:cubicBezTo>
                  <a:cubicBezTo>
                    <a:pt x="127" y="163"/>
                    <a:pt x="127" y="163"/>
                    <a:pt x="126" y="164"/>
                  </a:cubicBezTo>
                  <a:cubicBezTo>
                    <a:pt x="125" y="165"/>
                    <a:pt x="124" y="166"/>
                    <a:pt x="124" y="166"/>
                  </a:cubicBezTo>
                  <a:cubicBezTo>
                    <a:pt x="124" y="167"/>
                    <a:pt x="123" y="167"/>
                    <a:pt x="123" y="167"/>
                  </a:cubicBezTo>
                  <a:cubicBezTo>
                    <a:pt x="123" y="167"/>
                    <a:pt x="121" y="169"/>
                    <a:pt x="121" y="169"/>
                  </a:cubicBezTo>
                  <a:cubicBezTo>
                    <a:pt x="120" y="170"/>
                    <a:pt x="119" y="169"/>
                    <a:pt x="118" y="169"/>
                  </a:cubicBezTo>
                  <a:cubicBezTo>
                    <a:pt x="115" y="171"/>
                    <a:pt x="112" y="175"/>
                    <a:pt x="112" y="178"/>
                  </a:cubicBezTo>
                  <a:cubicBezTo>
                    <a:pt x="112" y="179"/>
                    <a:pt x="112" y="181"/>
                    <a:pt x="113" y="182"/>
                  </a:cubicBezTo>
                  <a:cubicBezTo>
                    <a:pt x="114" y="184"/>
                    <a:pt x="116" y="184"/>
                    <a:pt x="117" y="184"/>
                  </a:cubicBezTo>
                  <a:cubicBezTo>
                    <a:pt x="121" y="187"/>
                    <a:pt x="124" y="189"/>
                    <a:pt x="127" y="191"/>
                  </a:cubicBezTo>
                  <a:cubicBezTo>
                    <a:pt x="130" y="193"/>
                    <a:pt x="137" y="195"/>
                    <a:pt x="141" y="193"/>
                  </a:cubicBezTo>
                  <a:cubicBezTo>
                    <a:pt x="141" y="191"/>
                    <a:pt x="141" y="190"/>
                    <a:pt x="142" y="188"/>
                  </a:cubicBezTo>
                  <a:cubicBezTo>
                    <a:pt x="145" y="185"/>
                    <a:pt x="149" y="185"/>
                    <a:pt x="151" y="182"/>
                  </a:cubicBezTo>
                  <a:cubicBezTo>
                    <a:pt x="152" y="182"/>
                    <a:pt x="152" y="179"/>
                    <a:pt x="154" y="180"/>
                  </a:cubicBezTo>
                  <a:cubicBezTo>
                    <a:pt x="155" y="181"/>
                    <a:pt x="155" y="182"/>
                    <a:pt x="155" y="182"/>
                  </a:cubicBezTo>
                  <a:cubicBezTo>
                    <a:pt x="155" y="185"/>
                    <a:pt x="154" y="183"/>
                    <a:pt x="154" y="184"/>
                  </a:cubicBezTo>
                  <a:cubicBezTo>
                    <a:pt x="152" y="185"/>
                    <a:pt x="151" y="187"/>
                    <a:pt x="151" y="189"/>
                  </a:cubicBezTo>
                  <a:cubicBezTo>
                    <a:pt x="150" y="192"/>
                    <a:pt x="151" y="196"/>
                    <a:pt x="150" y="199"/>
                  </a:cubicBezTo>
                  <a:cubicBezTo>
                    <a:pt x="149" y="201"/>
                    <a:pt x="145" y="200"/>
                    <a:pt x="142" y="200"/>
                  </a:cubicBezTo>
                  <a:cubicBezTo>
                    <a:pt x="140" y="200"/>
                    <a:pt x="138" y="200"/>
                    <a:pt x="136" y="200"/>
                  </a:cubicBezTo>
                  <a:cubicBezTo>
                    <a:pt x="133" y="200"/>
                    <a:pt x="131" y="199"/>
                    <a:pt x="128" y="199"/>
                  </a:cubicBezTo>
                  <a:cubicBezTo>
                    <a:pt x="126" y="199"/>
                    <a:pt x="123" y="199"/>
                    <a:pt x="121" y="199"/>
                  </a:cubicBezTo>
                  <a:cubicBezTo>
                    <a:pt x="118" y="199"/>
                    <a:pt x="115" y="198"/>
                    <a:pt x="113" y="198"/>
                  </a:cubicBezTo>
                  <a:cubicBezTo>
                    <a:pt x="110" y="198"/>
                    <a:pt x="108" y="197"/>
                    <a:pt x="106" y="199"/>
                  </a:cubicBezTo>
                  <a:cubicBezTo>
                    <a:pt x="105" y="200"/>
                    <a:pt x="106" y="203"/>
                    <a:pt x="104" y="204"/>
                  </a:cubicBezTo>
                  <a:cubicBezTo>
                    <a:pt x="101" y="206"/>
                    <a:pt x="102" y="201"/>
                    <a:pt x="101" y="200"/>
                  </a:cubicBezTo>
                  <a:cubicBezTo>
                    <a:pt x="101" y="199"/>
                    <a:pt x="98" y="196"/>
                    <a:pt x="96" y="196"/>
                  </a:cubicBezTo>
                  <a:cubicBezTo>
                    <a:pt x="95" y="197"/>
                    <a:pt x="96" y="199"/>
                    <a:pt x="95" y="200"/>
                  </a:cubicBezTo>
                  <a:cubicBezTo>
                    <a:pt x="94" y="200"/>
                    <a:pt x="93" y="200"/>
                    <a:pt x="92" y="200"/>
                  </a:cubicBezTo>
                  <a:cubicBezTo>
                    <a:pt x="91" y="202"/>
                    <a:pt x="95" y="202"/>
                    <a:pt x="95" y="204"/>
                  </a:cubicBezTo>
                  <a:cubicBezTo>
                    <a:pt x="93" y="204"/>
                    <a:pt x="89" y="203"/>
                    <a:pt x="86" y="204"/>
                  </a:cubicBezTo>
                  <a:cubicBezTo>
                    <a:pt x="84" y="204"/>
                    <a:pt x="76" y="208"/>
                    <a:pt x="77" y="210"/>
                  </a:cubicBezTo>
                  <a:cubicBezTo>
                    <a:pt x="77" y="210"/>
                    <a:pt x="75" y="204"/>
                    <a:pt x="74" y="204"/>
                  </a:cubicBezTo>
                  <a:cubicBezTo>
                    <a:pt x="72" y="203"/>
                    <a:pt x="73" y="209"/>
                    <a:pt x="72" y="211"/>
                  </a:cubicBezTo>
                  <a:cubicBezTo>
                    <a:pt x="71" y="211"/>
                    <a:pt x="70" y="211"/>
                    <a:pt x="69" y="212"/>
                  </a:cubicBezTo>
                  <a:cubicBezTo>
                    <a:pt x="67" y="211"/>
                    <a:pt x="65" y="209"/>
                    <a:pt x="62" y="210"/>
                  </a:cubicBezTo>
                  <a:cubicBezTo>
                    <a:pt x="61" y="210"/>
                    <a:pt x="62" y="211"/>
                    <a:pt x="61" y="212"/>
                  </a:cubicBezTo>
                  <a:cubicBezTo>
                    <a:pt x="60" y="212"/>
                    <a:pt x="59" y="212"/>
                    <a:pt x="58" y="212"/>
                  </a:cubicBezTo>
                  <a:cubicBezTo>
                    <a:pt x="57" y="213"/>
                    <a:pt x="57" y="213"/>
                    <a:pt x="55" y="213"/>
                  </a:cubicBezTo>
                  <a:cubicBezTo>
                    <a:pt x="55" y="214"/>
                    <a:pt x="54" y="214"/>
                    <a:pt x="53" y="214"/>
                  </a:cubicBezTo>
                  <a:cubicBezTo>
                    <a:pt x="53" y="214"/>
                    <a:pt x="53" y="215"/>
                    <a:pt x="53" y="215"/>
                  </a:cubicBezTo>
                  <a:cubicBezTo>
                    <a:pt x="52" y="216"/>
                    <a:pt x="51" y="215"/>
                    <a:pt x="50" y="216"/>
                  </a:cubicBezTo>
                  <a:cubicBezTo>
                    <a:pt x="49" y="216"/>
                    <a:pt x="49" y="217"/>
                    <a:pt x="48" y="217"/>
                  </a:cubicBezTo>
                  <a:cubicBezTo>
                    <a:pt x="43" y="218"/>
                    <a:pt x="41" y="212"/>
                    <a:pt x="36" y="214"/>
                  </a:cubicBezTo>
                  <a:cubicBezTo>
                    <a:pt x="35" y="214"/>
                    <a:pt x="34" y="217"/>
                    <a:pt x="32" y="218"/>
                  </a:cubicBezTo>
                  <a:cubicBezTo>
                    <a:pt x="30" y="220"/>
                    <a:pt x="28" y="221"/>
                    <a:pt x="25" y="222"/>
                  </a:cubicBezTo>
                  <a:cubicBezTo>
                    <a:pt x="25" y="224"/>
                    <a:pt x="25" y="226"/>
                    <a:pt x="25" y="228"/>
                  </a:cubicBezTo>
                  <a:cubicBezTo>
                    <a:pt x="26" y="230"/>
                    <a:pt x="26" y="229"/>
                    <a:pt x="27" y="230"/>
                  </a:cubicBezTo>
                  <a:cubicBezTo>
                    <a:pt x="29" y="230"/>
                    <a:pt x="30" y="229"/>
                    <a:pt x="32" y="231"/>
                  </a:cubicBezTo>
                  <a:cubicBezTo>
                    <a:pt x="34" y="234"/>
                    <a:pt x="34" y="237"/>
                    <a:pt x="38" y="238"/>
                  </a:cubicBezTo>
                  <a:cubicBezTo>
                    <a:pt x="40" y="239"/>
                    <a:pt x="41" y="239"/>
                    <a:pt x="43" y="239"/>
                  </a:cubicBezTo>
                  <a:cubicBezTo>
                    <a:pt x="44" y="239"/>
                    <a:pt x="45" y="238"/>
                    <a:pt x="46" y="238"/>
                  </a:cubicBezTo>
                  <a:cubicBezTo>
                    <a:pt x="46" y="238"/>
                    <a:pt x="48" y="237"/>
                    <a:pt x="48" y="237"/>
                  </a:cubicBezTo>
                  <a:cubicBezTo>
                    <a:pt x="50" y="236"/>
                    <a:pt x="52" y="234"/>
                    <a:pt x="53" y="233"/>
                  </a:cubicBezTo>
                  <a:cubicBezTo>
                    <a:pt x="54" y="232"/>
                    <a:pt x="53" y="231"/>
                    <a:pt x="54" y="230"/>
                  </a:cubicBezTo>
                  <a:cubicBezTo>
                    <a:pt x="56" y="229"/>
                    <a:pt x="59" y="232"/>
                    <a:pt x="60" y="233"/>
                  </a:cubicBezTo>
                  <a:cubicBezTo>
                    <a:pt x="65" y="235"/>
                    <a:pt x="65" y="230"/>
                    <a:pt x="69" y="229"/>
                  </a:cubicBezTo>
                  <a:cubicBezTo>
                    <a:pt x="72" y="228"/>
                    <a:pt x="76" y="229"/>
                    <a:pt x="79" y="230"/>
                  </a:cubicBezTo>
                  <a:cubicBezTo>
                    <a:pt x="81" y="230"/>
                    <a:pt x="83" y="230"/>
                    <a:pt x="85" y="230"/>
                  </a:cubicBezTo>
                  <a:cubicBezTo>
                    <a:pt x="88" y="231"/>
                    <a:pt x="89" y="232"/>
                    <a:pt x="92" y="231"/>
                  </a:cubicBezTo>
                  <a:cubicBezTo>
                    <a:pt x="94" y="231"/>
                    <a:pt x="96" y="232"/>
                    <a:pt x="99" y="232"/>
                  </a:cubicBezTo>
                  <a:cubicBezTo>
                    <a:pt x="100" y="233"/>
                    <a:pt x="102" y="233"/>
                    <a:pt x="103" y="233"/>
                  </a:cubicBezTo>
                  <a:cubicBezTo>
                    <a:pt x="105" y="233"/>
                    <a:pt x="105" y="233"/>
                    <a:pt x="106" y="234"/>
                  </a:cubicBezTo>
                  <a:cubicBezTo>
                    <a:pt x="107" y="235"/>
                    <a:pt x="109" y="237"/>
                    <a:pt x="109" y="233"/>
                  </a:cubicBezTo>
                  <a:cubicBezTo>
                    <a:pt x="111" y="234"/>
                    <a:pt x="112" y="233"/>
                    <a:pt x="114" y="233"/>
                  </a:cubicBezTo>
                  <a:cubicBezTo>
                    <a:pt x="115" y="234"/>
                    <a:pt x="113" y="236"/>
                    <a:pt x="114" y="237"/>
                  </a:cubicBezTo>
                  <a:cubicBezTo>
                    <a:pt x="115" y="239"/>
                    <a:pt x="117" y="238"/>
                    <a:pt x="118" y="239"/>
                  </a:cubicBezTo>
                  <a:cubicBezTo>
                    <a:pt x="122" y="241"/>
                    <a:pt x="118" y="243"/>
                    <a:pt x="117" y="245"/>
                  </a:cubicBezTo>
                  <a:cubicBezTo>
                    <a:pt x="115" y="248"/>
                    <a:pt x="118" y="250"/>
                    <a:pt x="118" y="254"/>
                  </a:cubicBezTo>
                  <a:cubicBezTo>
                    <a:pt x="118" y="256"/>
                    <a:pt x="117" y="257"/>
                    <a:pt x="119" y="259"/>
                  </a:cubicBezTo>
                  <a:cubicBezTo>
                    <a:pt x="120" y="260"/>
                    <a:pt x="121" y="260"/>
                    <a:pt x="123" y="260"/>
                  </a:cubicBezTo>
                  <a:cubicBezTo>
                    <a:pt x="123" y="262"/>
                    <a:pt x="122" y="265"/>
                    <a:pt x="123" y="267"/>
                  </a:cubicBezTo>
                  <a:cubicBezTo>
                    <a:pt x="125" y="270"/>
                    <a:pt x="126" y="268"/>
                    <a:pt x="128" y="269"/>
                  </a:cubicBezTo>
                  <a:cubicBezTo>
                    <a:pt x="129" y="269"/>
                    <a:pt x="129" y="270"/>
                    <a:pt x="130" y="271"/>
                  </a:cubicBezTo>
                  <a:cubicBezTo>
                    <a:pt x="131" y="271"/>
                    <a:pt x="133" y="270"/>
                    <a:pt x="133" y="270"/>
                  </a:cubicBezTo>
                  <a:cubicBezTo>
                    <a:pt x="135" y="268"/>
                    <a:pt x="134" y="264"/>
                    <a:pt x="137" y="264"/>
                  </a:cubicBezTo>
                  <a:cubicBezTo>
                    <a:pt x="139" y="264"/>
                    <a:pt x="139" y="268"/>
                    <a:pt x="139" y="269"/>
                  </a:cubicBezTo>
                  <a:cubicBezTo>
                    <a:pt x="139" y="274"/>
                    <a:pt x="133" y="275"/>
                    <a:pt x="132" y="279"/>
                  </a:cubicBezTo>
                  <a:cubicBezTo>
                    <a:pt x="131" y="282"/>
                    <a:pt x="133" y="282"/>
                    <a:pt x="135" y="282"/>
                  </a:cubicBezTo>
                  <a:cubicBezTo>
                    <a:pt x="137" y="282"/>
                    <a:pt x="139" y="282"/>
                    <a:pt x="142" y="282"/>
                  </a:cubicBezTo>
                  <a:cubicBezTo>
                    <a:pt x="138" y="283"/>
                    <a:pt x="137" y="283"/>
                    <a:pt x="135" y="286"/>
                  </a:cubicBezTo>
                  <a:cubicBezTo>
                    <a:pt x="133" y="288"/>
                    <a:pt x="132" y="289"/>
                    <a:pt x="133" y="292"/>
                  </a:cubicBezTo>
                  <a:cubicBezTo>
                    <a:pt x="134" y="292"/>
                    <a:pt x="135" y="292"/>
                    <a:pt x="137" y="292"/>
                  </a:cubicBezTo>
                  <a:cubicBezTo>
                    <a:pt x="138" y="292"/>
                    <a:pt x="140" y="294"/>
                    <a:pt x="142" y="294"/>
                  </a:cubicBezTo>
                  <a:cubicBezTo>
                    <a:pt x="145" y="294"/>
                    <a:pt x="146" y="288"/>
                    <a:pt x="149" y="286"/>
                  </a:cubicBezTo>
                  <a:cubicBezTo>
                    <a:pt x="150" y="286"/>
                    <a:pt x="151" y="286"/>
                    <a:pt x="151" y="286"/>
                  </a:cubicBezTo>
                  <a:cubicBezTo>
                    <a:pt x="152" y="285"/>
                    <a:pt x="152" y="285"/>
                    <a:pt x="152" y="284"/>
                  </a:cubicBezTo>
                  <a:cubicBezTo>
                    <a:pt x="153" y="283"/>
                    <a:pt x="153" y="284"/>
                    <a:pt x="154" y="283"/>
                  </a:cubicBezTo>
                  <a:cubicBezTo>
                    <a:pt x="155" y="282"/>
                    <a:pt x="155" y="281"/>
                    <a:pt x="155" y="281"/>
                  </a:cubicBezTo>
                  <a:cubicBezTo>
                    <a:pt x="157" y="280"/>
                    <a:pt x="159" y="281"/>
                    <a:pt x="160" y="282"/>
                  </a:cubicBezTo>
                  <a:cubicBezTo>
                    <a:pt x="162" y="282"/>
                    <a:pt x="163" y="283"/>
                    <a:pt x="164" y="284"/>
                  </a:cubicBezTo>
                  <a:cubicBezTo>
                    <a:pt x="162" y="285"/>
                    <a:pt x="156" y="286"/>
                    <a:pt x="154" y="288"/>
                  </a:cubicBezTo>
                  <a:cubicBezTo>
                    <a:pt x="153" y="289"/>
                    <a:pt x="153" y="291"/>
                    <a:pt x="152" y="293"/>
                  </a:cubicBezTo>
                  <a:cubicBezTo>
                    <a:pt x="151" y="295"/>
                    <a:pt x="148" y="292"/>
                    <a:pt x="147" y="295"/>
                  </a:cubicBezTo>
                  <a:cubicBezTo>
                    <a:pt x="146" y="299"/>
                    <a:pt x="149" y="299"/>
                    <a:pt x="152" y="300"/>
                  </a:cubicBezTo>
                  <a:cubicBezTo>
                    <a:pt x="152" y="301"/>
                    <a:pt x="151" y="303"/>
                    <a:pt x="152" y="304"/>
                  </a:cubicBezTo>
                  <a:cubicBezTo>
                    <a:pt x="153" y="305"/>
                    <a:pt x="156" y="304"/>
                    <a:pt x="157" y="306"/>
                  </a:cubicBezTo>
                  <a:cubicBezTo>
                    <a:pt x="158" y="308"/>
                    <a:pt x="155" y="307"/>
                    <a:pt x="154" y="307"/>
                  </a:cubicBezTo>
                  <a:cubicBezTo>
                    <a:pt x="153" y="307"/>
                    <a:pt x="153" y="308"/>
                    <a:pt x="152" y="308"/>
                  </a:cubicBezTo>
                  <a:cubicBezTo>
                    <a:pt x="153" y="308"/>
                    <a:pt x="150" y="310"/>
                    <a:pt x="150" y="310"/>
                  </a:cubicBezTo>
                  <a:cubicBezTo>
                    <a:pt x="148" y="311"/>
                    <a:pt x="147" y="311"/>
                    <a:pt x="144" y="311"/>
                  </a:cubicBezTo>
                  <a:cubicBezTo>
                    <a:pt x="142" y="311"/>
                    <a:pt x="139" y="311"/>
                    <a:pt x="137" y="312"/>
                  </a:cubicBezTo>
                  <a:cubicBezTo>
                    <a:pt x="137" y="313"/>
                    <a:pt x="137" y="314"/>
                    <a:pt x="137" y="315"/>
                  </a:cubicBezTo>
                  <a:cubicBezTo>
                    <a:pt x="138" y="315"/>
                    <a:pt x="138" y="316"/>
                    <a:pt x="138" y="316"/>
                  </a:cubicBezTo>
                  <a:cubicBezTo>
                    <a:pt x="137" y="316"/>
                    <a:pt x="134" y="317"/>
                    <a:pt x="137" y="319"/>
                  </a:cubicBezTo>
                  <a:cubicBezTo>
                    <a:pt x="136" y="319"/>
                    <a:pt x="134" y="322"/>
                    <a:pt x="133" y="322"/>
                  </a:cubicBezTo>
                  <a:cubicBezTo>
                    <a:pt x="132" y="323"/>
                    <a:pt x="131" y="323"/>
                    <a:pt x="129" y="323"/>
                  </a:cubicBezTo>
                  <a:cubicBezTo>
                    <a:pt x="124" y="323"/>
                    <a:pt x="126" y="325"/>
                    <a:pt x="124" y="329"/>
                  </a:cubicBezTo>
                  <a:cubicBezTo>
                    <a:pt x="122" y="332"/>
                    <a:pt x="121" y="330"/>
                    <a:pt x="118" y="331"/>
                  </a:cubicBezTo>
                  <a:cubicBezTo>
                    <a:pt x="117" y="331"/>
                    <a:pt x="115" y="334"/>
                    <a:pt x="113" y="333"/>
                  </a:cubicBezTo>
                  <a:cubicBezTo>
                    <a:pt x="111" y="332"/>
                    <a:pt x="110" y="329"/>
                    <a:pt x="109" y="327"/>
                  </a:cubicBezTo>
                  <a:cubicBezTo>
                    <a:pt x="109" y="324"/>
                    <a:pt x="107" y="323"/>
                    <a:pt x="104" y="323"/>
                  </a:cubicBezTo>
                  <a:cubicBezTo>
                    <a:pt x="100" y="323"/>
                    <a:pt x="100" y="323"/>
                    <a:pt x="100" y="327"/>
                  </a:cubicBezTo>
                  <a:cubicBezTo>
                    <a:pt x="100" y="328"/>
                    <a:pt x="100" y="330"/>
                    <a:pt x="100" y="331"/>
                  </a:cubicBezTo>
                  <a:cubicBezTo>
                    <a:pt x="99" y="332"/>
                    <a:pt x="98" y="333"/>
                    <a:pt x="98" y="335"/>
                  </a:cubicBezTo>
                  <a:cubicBezTo>
                    <a:pt x="95" y="335"/>
                    <a:pt x="91" y="334"/>
                    <a:pt x="87" y="335"/>
                  </a:cubicBezTo>
                  <a:cubicBezTo>
                    <a:pt x="84" y="335"/>
                    <a:pt x="81" y="335"/>
                    <a:pt x="78" y="335"/>
                  </a:cubicBezTo>
                  <a:cubicBezTo>
                    <a:pt x="75" y="335"/>
                    <a:pt x="73" y="335"/>
                    <a:pt x="72" y="338"/>
                  </a:cubicBezTo>
                  <a:cubicBezTo>
                    <a:pt x="71" y="342"/>
                    <a:pt x="75" y="343"/>
                    <a:pt x="78" y="344"/>
                  </a:cubicBezTo>
                  <a:cubicBezTo>
                    <a:pt x="81" y="347"/>
                    <a:pt x="84" y="346"/>
                    <a:pt x="88" y="346"/>
                  </a:cubicBezTo>
                  <a:cubicBezTo>
                    <a:pt x="91" y="346"/>
                    <a:pt x="93" y="346"/>
                    <a:pt x="94" y="348"/>
                  </a:cubicBezTo>
                  <a:cubicBezTo>
                    <a:pt x="94" y="349"/>
                    <a:pt x="94" y="350"/>
                    <a:pt x="94" y="351"/>
                  </a:cubicBezTo>
                  <a:cubicBezTo>
                    <a:pt x="95" y="354"/>
                    <a:pt x="96" y="353"/>
                    <a:pt x="98" y="354"/>
                  </a:cubicBezTo>
                  <a:cubicBezTo>
                    <a:pt x="102" y="354"/>
                    <a:pt x="106" y="354"/>
                    <a:pt x="110" y="354"/>
                  </a:cubicBezTo>
                  <a:cubicBezTo>
                    <a:pt x="112" y="354"/>
                    <a:pt x="113" y="354"/>
                    <a:pt x="114" y="354"/>
                  </a:cubicBezTo>
                  <a:cubicBezTo>
                    <a:pt x="116" y="354"/>
                    <a:pt x="120" y="355"/>
                    <a:pt x="121" y="354"/>
                  </a:cubicBezTo>
                  <a:cubicBezTo>
                    <a:pt x="124" y="353"/>
                    <a:pt x="122" y="351"/>
                    <a:pt x="123" y="350"/>
                  </a:cubicBezTo>
                  <a:cubicBezTo>
                    <a:pt x="124" y="350"/>
                    <a:pt x="127" y="352"/>
                    <a:pt x="127" y="352"/>
                  </a:cubicBezTo>
                  <a:cubicBezTo>
                    <a:pt x="128" y="353"/>
                    <a:pt x="129" y="352"/>
                    <a:pt x="131" y="352"/>
                  </a:cubicBezTo>
                  <a:cubicBezTo>
                    <a:pt x="131" y="352"/>
                    <a:pt x="133" y="353"/>
                    <a:pt x="133" y="353"/>
                  </a:cubicBezTo>
                  <a:cubicBezTo>
                    <a:pt x="135" y="352"/>
                    <a:pt x="135" y="351"/>
                    <a:pt x="137" y="351"/>
                  </a:cubicBezTo>
                  <a:cubicBezTo>
                    <a:pt x="138" y="350"/>
                    <a:pt x="141" y="350"/>
                    <a:pt x="142" y="351"/>
                  </a:cubicBezTo>
                  <a:cubicBezTo>
                    <a:pt x="144" y="347"/>
                    <a:pt x="144" y="349"/>
                    <a:pt x="148" y="348"/>
                  </a:cubicBezTo>
                  <a:cubicBezTo>
                    <a:pt x="151" y="347"/>
                    <a:pt x="152" y="345"/>
                    <a:pt x="152" y="350"/>
                  </a:cubicBezTo>
                  <a:cubicBezTo>
                    <a:pt x="153" y="351"/>
                    <a:pt x="157" y="352"/>
                    <a:pt x="159" y="351"/>
                  </a:cubicBezTo>
                  <a:cubicBezTo>
                    <a:pt x="160" y="351"/>
                    <a:pt x="160" y="349"/>
                    <a:pt x="161" y="348"/>
                  </a:cubicBezTo>
                  <a:cubicBezTo>
                    <a:pt x="161" y="348"/>
                    <a:pt x="164" y="346"/>
                    <a:pt x="165" y="346"/>
                  </a:cubicBezTo>
                  <a:cubicBezTo>
                    <a:pt x="167" y="346"/>
                    <a:pt x="169" y="346"/>
                    <a:pt x="170" y="347"/>
                  </a:cubicBezTo>
                  <a:cubicBezTo>
                    <a:pt x="171" y="347"/>
                    <a:pt x="172" y="348"/>
                    <a:pt x="173" y="349"/>
                  </a:cubicBezTo>
                  <a:cubicBezTo>
                    <a:pt x="173" y="349"/>
                    <a:pt x="174" y="350"/>
                    <a:pt x="175" y="350"/>
                  </a:cubicBezTo>
                  <a:cubicBezTo>
                    <a:pt x="175" y="350"/>
                    <a:pt x="176" y="349"/>
                    <a:pt x="177" y="350"/>
                  </a:cubicBezTo>
                  <a:cubicBezTo>
                    <a:pt x="178" y="350"/>
                    <a:pt x="178" y="352"/>
                    <a:pt x="178" y="352"/>
                  </a:cubicBezTo>
                  <a:cubicBezTo>
                    <a:pt x="179" y="353"/>
                    <a:pt x="181" y="353"/>
                    <a:pt x="183" y="353"/>
                  </a:cubicBezTo>
                  <a:cubicBezTo>
                    <a:pt x="185" y="354"/>
                    <a:pt x="189" y="353"/>
                    <a:pt x="191" y="354"/>
                  </a:cubicBezTo>
                  <a:cubicBezTo>
                    <a:pt x="192" y="355"/>
                    <a:pt x="192" y="356"/>
                    <a:pt x="193" y="356"/>
                  </a:cubicBezTo>
                  <a:cubicBezTo>
                    <a:pt x="194" y="357"/>
                    <a:pt x="198" y="356"/>
                    <a:pt x="199" y="356"/>
                  </a:cubicBezTo>
                  <a:cubicBezTo>
                    <a:pt x="202" y="356"/>
                    <a:pt x="204" y="357"/>
                    <a:pt x="206" y="357"/>
                  </a:cubicBezTo>
                  <a:cubicBezTo>
                    <a:pt x="208" y="357"/>
                    <a:pt x="209" y="358"/>
                    <a:pt x="209" y="355"/>
                  </a:cubicBezTo>
                  <a:cubicBezTo>
                    <a:pt x="210" y="360"/>
                    <a:pt x="209" y="361"/>
                    <a:pt x="213" y="364"/>
                  </a:cubicBezTo>
                  <a:cubicBezTo>
                    <a:pt x="215" y="365"/>
                    <a:pt x="218" y="366"/>
                    <a:pt x="220" y="368"/>
                  </a:cubicBezTo>
                  <a:cubicBezTo>
                    <a:pt x="221" y="369"/>
                    <a:pt x="223" y="371"/>
                    <a:pt x="224" y="372"/>
                  </a:cubicBezTo>
                  <a:cubicBezTo>
                    <a:pt x="225" y="373"/>
                    <a:pt x="226" y="374"/>
                    <a:pt x="227" y="375"/>
                  </a:cubicBezTo>
                  <a:cubicBezTo>
                    <a:pt x="228" y="376"/>
                    <a:pt x="230" y="377"/>
                    <a:pt x="230" y="378"/>
                  </a:cubicBezTo>
                  <a:cubicBezTo>
                    <a:pt x="231" y="379"/>
                    <a:pt x="232" y="380"/>
                    <a:pt x="233" y="381"/>
                  </a:cubicBezTo>
                  <a:cubicBezTo>
                    <a:pt x="234" y="382"/>
                    <a:pt x="236" y="383"/>
                    <a:pt x="236" y="385"/>
                  </a:cubicBezTo>
                  <a:cubicBezTo>
                    <a:pt x="238" y="385"/>
                    <a:pt x="239" y="387"/>
                    <a:pt x="241" y="387"/>
                  </a:cubicBezTo>
                  <a:cubicBezTo>
                    <a:pt x="243" y="388"/>
                    <a:pt x="246" y="387"/>
                    <a:pt x="248" y="387"/>
                  </a:cubicBezTo>
                  <a:cubicBezTo>
                    <a:pt x="249" y="387"/>
                    <a:pt x="251" y="387"/>
                    <a:pt x="251" y="387"/>
                  </a:cubicBezTo>
                  <a:cubicBezTo>
                    <a:pt x="254" y="388"/>
                    <a:pt x="256" y="390"/>
                    <a:pt x="258" y="391"/>
                  </a:cubicBezTo>
                  <a:cubicBezTo>
                    <a:pt x="261" y="392"/>
                    <a:pt x="263" y="393"/>
                    <a:pt x="265" y="394"/>
                  </a:cubicBezTo>
                  <a:cubicBezTo>
                    <a:pt x="267" y="395"/>
                    <a:pt x="268" y="396"/>
                    <a:pt x="270" y="397"/>
                  </a:cubicBezTo>
                  <a:cubicBezTo>
                    <a:pt x="272" y="397"/>
                    <a:pt x="274" y="397"/>
                    <a:pt x="275" y="398"/>
                  </a:cubicBezTo>
                  <a:cubicBezTo>
                    <a:pt x="277" y="399"/>
                    <a:pt x="278" y="399"/>
                    <a:pt x="280" y="400"/>
                  </a:cubicBezTo>
                  <a:cubicBezTo>
                    <a:pt x="284" y="401"/>
                    <a:pt x="288" y="401"/>
                    <a:pt x="292" y="401"/>
                  </a:cubicBezTo>
                  <a:cubicBezTo>
                    <a:pt x="295" y="401"/>
                    <a:pt x="299" y="402"/>
                    <a:pt x="302" y="403"/>
                  </a:cubicBezTo>
                  <a:cubicBezTo>
                    <a:pt x="304" y="403"/>
                    <a:pt x="305" y="404"/>
                    <a:pt x="307" y="405"/>
                  </a:cubicBezTo>
                  <a:cubicBezTo>
                    <a:pt x="309" y="405"/>
                    <a:pt x="311" y="404"/>
                    <a:pt x="313" y="405"/>
                  </a:cubicBezTo>
                  <a:cubicBezTo>
                    <a:pt x="315" y="406"/>
                    <a:pt x="316" y="406"/>
                    <a:pt x="319" y="406"/>
                  </a:cubicBezTo>
                  <a:cubicBezTo>
                    <a:pt x="321" y="406"/>
                    <a:pt x="324" y="405"/>
                    <a:pt x="327" y="404"/>
                  </a:cubicBezTo>
                  <a:cubicBezTo>
                    <a:pt x="331" y="403"/>
                    <a:pt x="335" y="403"/>
                    <a:pt x="338" y="401"/>
                  </a:cubicBezTo>
                  <a:cubicBezTo>
                    <a:pt x="340" y="400"/>
                    <a:pt x="341" y="398"/>
                    <a:pt x="343" y="397"/>
                  </a:cubicBezTo>
                  <a:cubicBezTo>
                    <a:pt x="347" y="396"/>
                    <a:pt x="350" y="394"/>
                    <a:pt x="354" y="392"/>
                  </a:cubicBezTo>
                  <a:cubicBezTo>
                    <a:pt x="359" y="389"/>
                    <a:pt x="363" y="388"/>
                    <a:pt x="363" y="381"/>
                  </a:cubicBezTo>
                  <a:cubicBezTo>
                    <a:pt x="363" y="376"/>
                    <a:pt x="362" y="372"/>
                    <a:pt x="367" y="369"/>
                  </a:cubicBezTo>
                  <a:cubicBezTo>
                    <a:pt x="371" y="373"/>
                    <a:pt x="376" y="367"/>
                    <a:pt x="380" y="365"/>
                  </a:cubicBezTo>
                  <a:cubicBezTo>
                    <a:pt x="382" y="364"/>
                    <a:pt x="382" y="364"/>
                    <a:pt x="385" y="364"/>
                  </a:cubicBezTo>
                  <a:cubicBezTo>
                    <a:pt x="388" y="364"/>
                    <a:pt x="390" y="363"/>
                    <a:pt x="393" y="362"/>
                  </a:cubicBezTo>
                  <a:cubicBezTo>
                    <a:pt x="394" y="362"/>
                    <a:pt x="395" y="362"/>
                    <a:pt x="397" y="362"/>
                  </a:cubicBezTo>
                  <a:cubicBezTo>
                    <a:pt x="399" y="362"/>
                    <a:pt x="400" y="361"/>
                    <a:pt x="402" y="360"/>
                  </a:cubicBezTo>
                  <a:cubicBezTo>
                    <a:pt x="405" y="359"/>
                    <a:pt x="407" y="358"/>
                    <a:pt x="410" y="358"/>
                  </a:cubicBezTo>
                  <a:cubicBezTo>
                    <a:pt x="412" y="358"/>
                    <a:pt x="413" y="358"/>
                    <a:pt x="415" y="356"/>
                  </a:cubicBezTo>
                  <a:cubicBezTo>
                    <a:pt x="417" y="354"/>
                    <a:pt x="419" y="353"/>
                    <a:pt x="421" y="351"/>
                  </a:cubicBezTo>
                  <a:cubicBezTo>
                    <a:pt x="423" y="351"/>
                    <a:pt x="423" y="350"/>
                    <a:pt x="425" y="349"/>
                  </a:cubicBezTo>
                  <a:cubicBezTo>
                    <a:pt x="425" y="348"/>
                    <a:pt x="426" y="346"/>
                    <a:pt x="427" y="346"/>
                  </a:cubicBezTo>
                  <a:cubicBezTo>
                    <a:pt x="428" y="346"/>
                    <a:pt x="428" y="346"/>
                    <a:pt x="429" y="346"/>
                  </a:cubicBezTo>
                  <a:cubicBezTo>
                    <a:pt x="431" y="346"/>
                    <a:pt x="432" y="345"/>
                    <a:pt x="433" y="344"/>
                  </a:cubicBezTo>
                  <a:cubicBezTo>
                    <a:pt x="435" y="343"/>
                    <a:pt x="437" y="343"/>
                    <a:pt x="439" y="342"/>
                  </a:cubicBezTo>
                  <a:cubicBezTo>
                    <a:pt x="442" y="340"/>
                    <a:pt x="445" y="336"/>
                    <a:pt x="448" y="334"/>
                  </a:cubicBezTo>
                  <a:cubicBezTo>
                    <a:pt x="450" y="332"/>
                    <a:pt x="452" y="330"/>
                    <a:pt x="455" y="328"/>
                  </a:cubicBezTo>
                  <a:cubicBezTo>
                    <a:pt x="458" y="327"/>
                    <a:pt x="460" y="324"/>
                    <a:pt x="463" y="322"/>
                  </a:cubicBezTo>
                  <a:cubicBezTo>
                    <a:pt x="464" y="321"/>
                    <a:pt x="466" y="320"/>
                    <a:pt x="467" y="318"/>
                  </a:cubicBezTo>
                  <a:cubicBezTo>
                    <a:pt x="469" y="314"/>
                    <a:pt x="473" y="310"/>
                    <a:pt x="476" y="306"/>
                  </a:cubicBezTo>
                  <a:cubicBezTo>
                    <a:pt x="478" y="304"/>
                    <a:pt x="480" y="303"/>
                    <a:pt x="482" y="301"/>
                  </a:cubicBezTo>
                  <a:cubicBezTo>
                    <a:pt x="484" y="299"/>
                    <a:pt x="486" y="297"/>
                    <a:pt x="489" y="296"/>
                  </a:cubicBezTo>
                  <a:cubicBezTo>
                    <a:pt x="491" y="295"/>
                    <a:pt x="493" y="295"/>
                    <a:pt x="494" y="295"/>
                  </a:cubicBezTo>
                  <a:cubicBezTo>
                    <a:pt x="497" y="295"/>
                    <a:pt x="501" y="295"/>
                    <a:pt x="503" y="296"/>
                  </a:cubicBezTo>
                  <a:cubicBezTo>
                    <a:pt x="505" y="296"/>
                    <a:pt x="506" y="297"/>
                    <a:pt x="508" y="298"/>
                  </a:cubicBezTo>
                  <a:cubicBezTo>
                    <a:pt x="510" y="298"/>
                    <a:pt x="515" y="298"/>
                    <a:pt x="516" y="298"/>
                  </a:cubicBezTo>
                  <a:cubicBezTo>
                    <a:pt x="522" y="296"/>
                    <a:pt x="517" y="291"/>
                    <a:pt x="521" y="288"/>
                  </a:cubicBezTo>
                  <a:cubicBezTo>
                    <a:pt x="522" y="287"/>
                    <a:pt x="524" y="288"/>
                    <a:pt x="526" y="287"/>
                  </a:cubicBezTo>
                  <a:cubicBezTo>
                    <a:pt x="527" y="286"/>
                    <a:pt x="527" y="283"/>
                    <a:pt x="528" y="282"/>
                  </a:cubicBezTo>
                  <a:cubicBezTo>
                    <a:pt x="530" y="280"/>
                    <a:pt x="530" y="280"/>
                    <a:pt x="532" y="280"/>
                  </a:cubicBezTo>
                  <a:cubicBezTo>
                    <a:pt x="536" y="281"/>
                    <a:pt x="538" y="286"/>
                    <a:pt x="542" y="287"/>
                  </a:cubicBezTo>
                  <a:cubicBezTo>
                    <a:pt x="543" y="285"/>
                    <a:pt x="544" y="282"/>
                    <a:pt x="545" y="280"/>
                  </a:cubicBezTo>
                  <a:cubicBezTo>
                    <a:pt x="547" y="275"/>
                    <a:pt x="549" y="270"/>
                    <a:pt x="548" y="264"/>
                  </a:cubicBezTo>
                  <a:cubicBezTo>
                    <a:pt x="546" y="264"/>
                    <a:pt x="545" y="264"/>
                    <a:pt x="544" y="263"/>
                  </a:cubicBezTo>
                  <a:cubicBezTo>
                    <a:pt x="543" y="262"/>
                    <a:pt x="543" y="260"/>
                    <a:pt x="541" y="260"/>
                  </a:cubicBezTo>
                  <a:cubicBezTo>
                    <a:pt x="541" y="259"/>
                    <a:pt x="541" y="258"/>
                    <a:pt x="541" y="257"/>
                  </a:cubicBezTo>
                  <a:cubicBezTo>
                    <a:pt x="542" y="257"/>
                    <a:pt x="543" y="257"/>
                    <a:pt x="545" y="257"/>
                  </a:cubicBezTo>
                  <a:cubicBezTo>
                    <a:pt x="543" y="254"/>
                    <a:pt x="545" y="249"/>
                    <a:pt x="541" y="249"/>
                  </a:cubicBezTo>
                  <a:cubicBezTo>
                    <a:pt x="545" y="249"/>
                    <a:pt x="554" y="251"/>
                    <a:pt x="557" y="248"/>
                  </a:cubicBezTo>
                  <a:cubicBezTo>
                    <a:pt x="557" y="246"/>
                    <a:pt x="549" y="242"/>
                    <a:pt x="547" y="240"/>
                  </a:cubicBezTo>
                  <a:cubicBezTo>
                    <a:pt x="545" y="237"/>
                    <a:pt x="545" y="234"/>
                    <a:pt x="541" y="233"/>
                  </a:cubicBezTo>
                  <a:cubicBezTo>
                    <a:pt x="546" y="232"/>
                    <a:pt x="548" y="235"/>
                    <a:pt x="552" y="237"/>
                  </a:cubicBezTo>
                  <a:cubicBezTo>
                    <a:pt x="553" y="238"/>
                    <a:pt x="555" y="238"/>
                    <a:pt x="557" y="239"/>
                  </a:cubicBezTo>
                  <a:cubicBezTo>
                    <a:pt x="557" y="240"/>
                    <a:pt x="557" y="240"/>
                    <a:pt x="557" y="241"/>
                  </a:cubicBezTo>
                  <a:cubicBezTo>
                    <a:pt x="559" y="242"/>
                    <a:pt x="562" y="241"/>
                    <a:pt x="564" y="243"/>
                  </a:cubicBezTo>
                  <a:cubicBezTo>
                    <a:pt x="564" y="242"/>
                    <a:pt x="564" y="242"/>
                    <a:pt x="564" y="241"/>
                  </a:cubicBezTo>
                  <a:cubicBezTo>
                    <a:pt x="566" y="241"/>
                    <a:pt x="568" y="241"/>
                    <a:pt x="569" y="241"/>
                  </a:cubicBezTo>
                  <a:cubicBezTo>
                    <a:pt x="573" y="238"/>
                    <a:pt x="569" y="236"/>
                    <a:pt x="569" y="233"/>
                  </a:cubicBezTo>
                  <a:cubicBezTo>
                    <a:pt x="571" y="232"/>
                    <a:pt x="574" y="234"/>
                    <a:pt x="576" y="233"/>
                  </a:cubicBezTo>
                  <a:cubicBezTo>
                    <a:pt x="578" y="232"/>
                    <a:pt x="577" y="231"/>
                    <a:pt x="577" y="229"/>
                  </a:cubicBezTo>
                  <a:cubicBezTo>
                    <a:pt x="578" y="227"/>
                    <a:pt x="578" y="228"/>
                    <a:pt x="579" y="226"/>
                  </a:cubicBezTo>
                  <a:cubicBezTo>
                    <a:pt x="581" y="224"/>
                    <a:pt x="584" y="223"/>
                    <a:pt x="582" y="220"/>
                  </a:cubicBezTo>
                  <a:cubicBezTo>
                    <a:pt x="580" y="217"/>
                    <a:pt x="577" y="218"/>
                    <a:pt x="574" y="218"/>
                  </a:cubicBezTo>
                  <a:cubicBezTo>
                    <a:pt x="579" y="218"/>
                    <a:pt x="583" y="218"/>
                    <a:pt x="588" y="218"/>
                  </a:cubicBezTo>
                  <a:cubicBezTo>
                    <a:pt x="587" y="213"/>
                    <a:pt x="580" y="210"/>
                    <a:pt x="577" y="208"/>
                  </a:cubicBezTo>
                  <a:cubicBezTo>
                    <a:pt x="575" y="208"/>
                    <a:pt x="573" y="207"/>
                    <a:pt x="572" y="206"/>
                  </a:cubicBezTo>
                  <a:cubicBezTo>
                    <a:pt x="570" y="205"/>
                    <a:pt x="568" y="204"/>
                    <a:pt x="567" y="204"/>
                  </a:cubicBezTo>
                  <a:cubicBezTo>
                    <a:pt x="566" y="204"/>
                    <a:pt x="565" y="204"/>
                    <a:pt x="565" y="204"/>
                  </a:cubicBezTo>
                  <a:cubicBezTo>
                    <a:pt x="564" y="204"/>
                    <a:pt x="563" y="203"/>
                    <a:pt x="562" y="202"/>
                  </a:cubicBezTo>
                  <a:cubicBezTo>
                    <a:pt x="561" y="202"/>
                    <a:pt x="559" y="202"/>
                    <a:pt x="557" y="203"/>
                  </a:cubicBezTo>
                  <a:cubicBezTo>
                    <a:pt x="560" y="202"/>
                    <a:pt x="562" y="202"/>
                    <a:pt x="565" y="200"/>
                  </a:cubicBezTo>
                  <a:cubicBezTo>
                    <a:pt x="566" y="199"/>
                    <a:pt x="566" y="198"/>
                    <a:pt x="567" y="198"/>
                  </a:cubicBezTo>
                  <a:cubicBezTo>
                    <a:pt x="570" y="200"/>
                    <a:pt x="571" y="201"/>
                    <a:pt x="575" y="202"/>
                  </a:cubicBezTo>
                  <a:cubicBezTo>
                    <a:pt x="577" y="203"/>
                    <a:pt x="580" y="203"/>
                    <a:pt x="580" y="206"/>
                  </a:cubicBezTo>
                  <a:cubicBezTo>
                    <a:pt x="583" y="206"/>
                    <a:pt x="587" y="208"/>
                    <a:pt x="589" y="207"/>
                  </a:cubicBezTo>
                  <a:cubicBezTo>
                    <a:pt x="591" y="206"/>
                    <a:pt x="596" y="203"/>
                    <a:pt x="594" y="201"/>
                  </a:cubicBezTo>
                  <a:cubicBezTo>
                    <a:pt x="597" y="199"/>
                    <a:pt x="598" y="198"/>
                    <a:pt x="598" y="194"/>
                  </a:cubicBezTo>
                  <a:cubicBezTo>
                    <a:pt x="598" y="193"/>
                    <a:pt x="598" y="192"/>
                    <a:pt x="598" y="191"/>
                  </a:cubicBezTo>
                  <a:cubicBezTo>
                    <a:pt x="598" y="190"/>
                    <a:pt x="599" y="188"/>
                    <a:pt x="599" y="187"/>
                  </a:cubicBezTo>
                  <a:cubicBezTo>
                    <a:pt x="599" y="185"/>
                    <a:pt x="597" y="185"/>
                    <a:pt x="595" y="186"/>
                  </a:cubicBezTo>
                  <a:cubicBezTo>
                    <a:pt x="594" y="188"/>
                    <a:pt x="595" y="192"/>
                    <a:pt x="592" y="193"/>
                  </a:cubicBezTo>
                  <a:cubicBezTo>
                    <a:pt x="588" y="194"/>
                    <a:pt x="589" y="186"/>
                    <a:pt x="589" y="184"/>
                  </a:cubicBezTo>
                  <a:cubicBezTo>
                    <a:pt x="588" y="182"/>
                    <a:pt x="588" y="182"/>
                    <a:pt x="586" y="182"/>
                  </a:cubicBezTo>
                  <a:cubicBezTo>
                    <a:pt x="584" y="182"/>
                    <a:pt x="582" y="182"/>
                    <a:pt x="580" y="182"/>
                  </a:cubicBezTo>
                  <a:cubicBezTo>
                    <a:pt x="577" y="182"/>
                    <a:pt x="576" y="181"/>
                    <a:pt x="573" y="180"/>
                  </a:cubicBezTo>
                  <a:cubicBezTo>
                    <a:pt x="574" y="177"/>
                    <a:pt x="581" y="179"/>
                    <a:pt x="584" y="179"/>
                  </a:cubicBezTo>
                  <a:cubicBezTo>
                    <a:pt x="585" y="179"/>
                    <a:pt x="589" y="179"/>
                    <a:pt x="590" y="179"/>
                  </a:cubicBezTo>
                  <a:cubicBezTo>
                    <a:pt x="591" y="178"/>
                    <a:pt x="592" y="172"/>
                    <a:pt x="592" y="171"/>
                  </a:cubicBezTo>
                  <a:cubicBezTo>
                    <a:pt x="593" y="168"/>
                    <a:pt x="591" y="167"/>
                    <a:pt x="588" y="167"/>
                  </a:cubicBezTo>
                  <a:cubicBezTo>
                    <a:pt x="586" y="166"/>
                    <a:pt x="583" y="166"/>
                    <a:pt x="581" y="167"/>
                  </a:cubicBezTo>
                  <a:cubicBezTo>
                    <a:pt x="580" y="168"/>
                    <a:pt x="581" y="169"/>
                    <a:pt x="580" y="169"/>
                  </a:cubicBezTo>
                  <a:cubicBezTo>
                    <a:pt x="579" y="169"/>
                    <a:pt x="578" y="169"/>
                    <a:pt x="577" y="169"/>
                  </a:cubicBezTo>
                  <a:cubicBezTo>
                    <a:pt x="576" y="169"/>
                    <a:pt x="573" y="170"/>
                    <a:pt x="572" y="167"/>
                  </a:cubicBezTo>
                  <a:cubicBezTo>
                    <a:pt x="576" y="167"/>
                    <a:pt x="579" y="165"/>
                    <a:pt x="581" y="162"/>
                  </a:cubicBezTo>
                  <a:cubicBezTo>
                    <a:pt x="584" y="160"/>
                    <a:pt x="582" y="159"/>
                    <a:pt x="579" y="158"/>
                  </a:cubicBezTo>
                  <a:cubicBezTo>
                    <a:pt x="579" y="156"/>
                    <a:pt x="589" y="158"/>
                    <a:pt x="591" y="157"/>
                  </a:cubicBezTo>
                  <a:cubicBezTo>
                    <a:pt x="591" y="156"/>
                    <a:pt x="590" y="155"/>
                    <a:pt x="589" y="155"/>
                  </a:cubicBezTo>
                  <a:cubicBezTo>
                    <a:pt x="589" y="152"/>
                    <a:pt x="588" y="151"/>
                    <a:pt x="588" y="149"/>
                  </a:cubicBezTo>
                  <a:cubicBezTo>
                    <a:pt x="588" y="147"/>
                    <a:pt x="587" y="145"/>
                    <a:pt x="588" y="143"/>
                  </a:cubicBezTo>
                  <a:cubicBezTo>
                    <a:pt x="588" y="143"/>
                    <a:pt x="588" y="142"/>
                    <a:pt x="588" y="142"/>
                  </a:cubicBezTo>
                  <a:cubicBezTo>
                    <a:pt x="589" y="140"/>
                    <a:pt x="590" y="140"/>
                    <a:pt x="591" y="139"/>
                  </a:cubicBezTo>
                  <a:cubicBezTo>
                    <a:pt x="592" y="136"/>
                    <a:pt x="590" y="134"/>
                    <a:pt x="588" y="133"/>
                  </a:cubicBezTo>
                  <a:cubicBezTo>
                    <a:pt x="587" y="132"/>
                    <a:pt x="586" y="131"/>
                    <a:pt x="585" y="132"/>
                  </a:cubicBezTo>
                  <a:cubicBezTo>
                    <a:pt x="583" y="132"/>
                    <a:pt x="584" y="134"/>
                    <a:pt x="584" y="136"/>
                  </a:cubicBezTo>
                  <a:cubicBezTo>
                    <a:pt x="582" y="133"/>
                    <a:pt x="581" y="131"/>
                    <a:pt x="579" y="128"/>
                  </a:cubicBezTo>
                  <a:cubicBezTo>
                    <a:pt x="579" y="127"/>
                    <a:pt x="579" y="123"/>
                    <a:pt x="576" y="124"/>
                  </a:cubicBezTo>
                  <a:cubicBezTo>
                    <a:pt x="576" y="126"/>
                    <a:pt x="572" y="124"/>
                    <a:pt x="571" y="124"/>
                  </a:cubicBezTo>
                  <a:cubicBezTo>
                    <a:pt x="569" y="124"/>
                    <a:pt x="568" y="124"/>
                    <a:pt x="567" y="125"/>
                  </a:cubicBezTo>
                  <a:cubicBezTo>
                    <a:pt x="566" y="124"/>
                    <a:pt x="564" y="123"/>
                    <a:pt x="563" y="122"/>
                  </a:cubicBezTo>
                  <a:cubicBezTo>
                    <a:pt x="561" y="120"/>
                    <a:pt x="562" y="121"/>
                    <a:pt x="559" y="120"/>
                  </a:cubicBezTo>
                  <a:cubicBezTo>
                    <a:pt x="559" y="120"/>
                    <a:pt x="558" y="119"/>
                    <a:pt x="557" y="119"/>
                  </a:cubicBezTo>
                  <a:cubicBezTo>
                    <a:pt x="556" y="120"/>
                    <a:pt x="557" y="120"/>
                    <a:pt x="555" y="121"/>
                  </a:cubicBezTo>
                  <a:cubicBezTo>
                    <a:pt x="555" y="121"/>
                    <a:pt x="554" y="121"/>
                    <a:pt x="554" y="122"/>
                  </a:cubicBezTo>
                  <a:cubicBezTo>
                    <a:pt x="552" y="122"/>
                    <a:pt x="551" y="123"/>
                    <a:pt x="550" y="124"/>
                  </a:cubicBezTo>
                  <a:cubicBezTo>
                    <a:pt x="548" y="125"/>
                    <a:pt x="549" y="124"/>
                    <a:pt x="548" y="126"/>
                  </a:cubicBezTo>
                  <a:cubicBezTo>
                    <a:pt x="547" y="127"/>
                    <a:pt x="547" y="128"/>
                    <a:pt x="546" y="128"/>
                  </a:cubicBezTo>
                  <a:cubicBezTo>
                    <a:pt x="544" y="126"/>
                    <a:pt x="548" y="122"/>
                    <a:pt x="549" y="120"/>
                  </a:cubicBezTo>
                  <a:cubicBezTo>
                    <a:pt x="549" y="119"/>
                    <a:pt x="552" y="117"/>
                    <a:pt x="552" y="116"/>
                  </a:cubicBezTo>
                  <a:cubicBezTo>
                    <a:pt x="551" y="114"/>
                    <a:pt x="549" y="115"/>
                    <a:pt x="548" y="112"/>
                  </a:cubicBezTo>
                  <a:cubicBezTo>
                    <a:pt x="550" y="111"/>
                    <a:pt x="552" y="108"/>
                    <a:pt x="551" y="105"/>
                  </a:cubicBezTo>
                  <a:cubicBezTo>
                    <a:pt x="550" y="98"/>
                    <a:pt x="545" y="102"/>
                    <a:pt x="541" y="105"/>
                  </a:cubicBezTo>
                  <a:cubicBezTo>
                    <a:pt x="540" y="106"/>
                    <a:pt x="539" y="108"/>
                    <a:pt x="538" y="109"/>
                  </a:cubicBezTo>
                  <a:cubicBezTo>
                    <a:pt x="537" y="110"/>
                    <a:pt x="535" y="111"/>
                    <a:pt x="533" y="111"/>
                  </a:cubicBezTo>
                  <a:cubicBezTo>
                    <a:pt x="531" y="110"/>
                    <a:pt x="530" y="109"/>
                    <a:pt x="528" y="109"/>
                  </a:cubicBezTo>
                  <a:cubicBezTo>
                    <a:pt x="526" y="108"/>
                    <a:pt x="525" y="109"/>
                    <a:pt x="523" y="109"/>
                  </a:cubicBezTo>
                  <a:cubicBezTo>
                    <a:pt x="523" y="108"/>
                    <a:pt x="528" y="98"/>
                    <a:pt x="525" y="97"/>
                  </a:cubicBezTo>
                  <a:cubicBezTo>
                    <a:pt x="526" y="96"/>
                    <a:pt x="527" y="93"/>
                    <a:pt x="528" y="92"/>
                  </a:cubicBezTo>
                  <a:cubicBezTo>
                    <a:pt x="530" y="90"/>
                    <a:pt x="531" y="90"/>
                    <a:pt x="532" y="87"/>
                  </a:cubicBezTo>
                  <a:cubicBezTo>
                    <a:pt x="532" y="86"/>
                    <a:pt x="532" y="84"/>
                    <a:pt x="532" y="83"/>
                  </a:cubicBezTo>
                  <a:cubicBezTo>
                    <a:pt x="532" y="80"/>
                    <a:pt x="531" y="76"/>
                    <a:pt x="532" y="74"/>
                  </a:cubicBezTo>
                  <a:cubicBezTo>
                    <a:pt x="532" y="73"/>
                    <a:pt x="534" y="72"/>
                    <a:pt x="534" y="71"/>
                  </a:cubicBezTo>
                  <a:cubicBezTo>
                    <a:pt x="535" y="70"/>
                    <a:pt x="535" y="67"/>
                    <a:pt x="535" y="66"/>
                  </a:cubicBezTo>
                  <a:cubicBezTo>
                    <a:pt x="533" y="66"/>
                    <a:pt x="529" y="68"/>
                    <a:pt x="528" y="69"/>
                  </a:cubicBezTo>
                  <a:cubicBezTo>
                    <a:pt x="526" y="71"/>
                    <a:pt x="526" y="72"/>
                    <a:pt x="524" y="70"/>
                  </a:cubicBezTo>
                  <a:cubicBezTo>
                    <a:pt x="523" y="67"/>
                    <a:pt x="521" y="64"/>
                    <a:pt x="517" y="63"/>
                  </a:cubicBezTo>
                  <a:cubicBezTo>
                    <a:pt x="517" y="62"/>
                    <a:pt x="515" y="62"/>
                    <a:pt x="514" y="62"/>
                  </a:cubicBezTo>
                  <a:cubicBezTo>
                    <a:pt x="512" y="63"/>
                    <a:pt x="512" y="64"/>
                    <a:pt x="511" y="65"/>
                  </a:cubicBezTo>
                  <a:cubicBezTo>
                    <a:pt x="509" y="64"/>
                    <a:pt x="509" y="62"/>
                    <a:pt x="508" y="62"/>
                  </a:cubicBezTo>
                  <a:cubicBezTo>
                    <a:pt x="507" y="62"/>
                    <a:pt x="506" y="60"/>
                    <a:pt x="506" y="59"/>
                  </a:cubicBezTo>
                  <a:cubicBezTo>
                    <a:pt x="507" y="57"/>
                    <a:pt x="508" y="59"/>
                    <a:pt x="510" y="58"/>
                  </a:cubicBezTo>
                  <a:cubicBezTo>
                    <a:pt x="513" y="58"/>
                    <a:pt x="515" y="54"/>
                    <a:pt x="517" y="53"/>
                  </a:cubicBezTo>
                  <a:cubicBezTo>
                    <a:pt x="518" y="52"/>
                    <a:pt x="519" y="52"/>
                    <a:pt x="520" y="51"/>
                  </a:cubicBezTo>
                  <a:cubicBezTo>
                    <a:pt x="521" y="49"/>
                    <a:pt x="521" y="47"/>
                    <a:pt x="521" y="45"/>
                  </a:cubicBezTo>
                  <a:cubicBezTo>
                    <a:pt x="521" y="43"/>
                    <a:pt x="521" y="40"/>
                    <a:pt x="520" y="39"/>
                  </a:cubicBezTo>
                  <a:cubicBezTo>
                    <a:pt x="519" y="38"/>
                    <a:pt x="517" y="39"/>
                    <a:pt x="517" y="37"/>
                  </a:cubicBezTo>
                  <a:cubicBezTo>
                    <a:pt x="518" y="36"/>
                    <a:pt x="520" y="36"/>
                    <a:pt x="521" y="35"/>
                  </a:cubicBezTo>
                  <a:cubicBezTo>
                    <a:pt x="523" y="34"/>
                    <a:pt x="524" y="33"/>
                    <a:pt x="525" y="31"/>
                  </a:cubicBezTo>
                  <a:cubicBezTo>
                    <a:pt x="525" y="30"/>
                    <a:pt x="526" y="29"/>
                    <a:pt x="527" y="28"/>
                  </a:cubicBezTo>
                  <a:cubicBezTo>
                    <a:pt x="528" y="27"/>
                    <a:pt x="530" y="27"/>
                    <a:pt x="532" y="27"/>
                  </a:cubicBezTo>
                  <a:lnTo>
                    <a:pt x="536" y="2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9" name="Freeform 9"/>
            <p:cNvSpPr>
              <a:spLocks noEditPoints="1"/>
            </p:cNvSpPr>
            <p:nvPr/>
          </p:nvSpPr>
          <p:spPr bwMode="auto">
            <a:xfrm>
              <a:off x="3722688" y="4314825"/>
              <a:ext cx="388938" cy="311150"/>
            </a:xfrm>
            <a:custGeom>
              <a:avLst/>
              <a:gdLst/>
              <a:ahLst/>
              <a:cxnLst>
                <a:cxn ang="0">
                  <a:pos x="207" y="85"/>
                </a:cxn>
                <a:cxn ang="0">
                  <a:pos x="198" y="80"/>
                </a:cxn>
                <a:cxn ang="0">
                  <a:pos x="191" y="69"/>
                </a:cxn>
                <a:cxn ang="0">
                  <a:pos x="189" y="63"/>
                </a:cxn>
                <a:cxn ang="0">
                  <a:pos x="188" y="61"/>
                </a:cxn>
                <a:cxn ang="0">
                  <a:pos x="169" y="57"/>
                </a:cxn>
                <a:cxn ang="0">
                  <a:pos x="170" y="46"/>
                </a:cxn>
                <a:cxn ang="0">
                  <a:pos x="175" y="34"/>
                </a:cxn>
                <a:cxn ang="0">
                  <a:pos x="178" y="28"/>
                </a:cxn>
                <a:cxn ang="0">
                  <a:pos x="175" y="22"/>
                </a:cxn>
                <a:cxn ang="0">
                  <a:pos x="168" y="18"/>
                </a:cxn>
                <a:cxn ang="0">
                  <a:pos x="156" y="17"/>
                </a:cxn>
                <a:cxn ang="0">
                  <a:pos x="150" y="15"/>
                </a:cxn>
                <a:cxn ang="0">
                  <a:pos x="140" y="10"/>
                </a:cxn>
                <a:cxn ang="0">
                  <a:pos x="143" y="0"/>
                </a:cxn>
                <a:cxn ang="0">
                  <a:pos x="135" y="2"/>
                </a:cxn>
                <a:cxn ang="0">
                  <a:pos x="119" y="0"/>
                </a:cxn>
                <a:cxn ang="0">
                  <a:pos x="104" y="1"/>
                </a:cxn>
                <a:cxn ang="0">
                  <a:pos x="97" y="6"/>
                </a:cxn>
                <a:cxn ang="0">
                  <a:pos x="92" y="11"/>
                </a:cxn>
                <a:cxn ang="0">
                  <a:pos x="87" y="14"/>
                </a:cxn>
                <a:cxn ang="0">
                  <a:pos x="81" y="21"/>
                </a:cxn>
                <a:cxn ang="0">
                  <a:pos x="61" y="12"/>
                </a:cxn>
                <a:cxn ang="0">
                  <a:pos x="49" y="15"/>
                </a:cxn>
                <a:cxn ang="0">
                  <a:pos x="43" y="8"/>
                </a:cxn>
                <a:cxn ang="0">
                  <a:pos x="31" y="8"/>
                </a:cxn>
                <a:cxn ang="0">
                  <a:pos x="24" y="15"/>
                </a:cxn>
                <a:cxn ang="0">
                  <a:pos x="16" y="19"/>
                </a:cxn>
                <a:cxn ang="0">
                  <a:pos x="5" y="23"/>
                </a:cxn>
                <a:cxn ang="0">
                  <a:pos x="3" y="32"/>
                </a:cxn>
                <a:cxn ang="0">
                  <a:pos x="3" y="45"/>
                </a:cxn>
                <a:cxn ang="0">
                  <a:pos x="31" y="56"/>
                </a:cxn>
                <a:cxn ang="0">
                  <a:pos x="39" y="71"/>
                </a:cxn>
                <a:cxn ang="0">
                  <a:pos x="61" y="89"/>
                </a:cxn>
                <a:cxn ang="0">
                  <a:pos x="79" y="95"/>
                </a:cxn>
                <a:cxn ang="0">
                  <a:pos x="83" y="110"/>
                </a:cxn>
                <a:cxn ang="0">
                  <a:pos x="95" y="127"/>
                </a:cxn>
                <a:cxn ang="0">
                  <a:pos x="114" y="123"/>
                </a:cxn>
                <a:cxn ang="0">
                  <a:pos x="124" y="114"/>
                </a:cxn>
                <a:cxn ang="0">
                  <a:pos x="125" y="141"/>
                </a:cxn>
                <a:cxn ang="0">
                  <a:pos x="153" y="157"/>
                </a:cxn>
                <a:cxn ang="0">
                  <a:pos x="171" y="161"/>
                </a:cxn>
                <a:cxn ang="0">
                  <a:pos x="179" y="152"/>
                </a:cxn>
                <a:cxn ang="0">
                  <a:pos x="171" y="141"/>
                </a:cxn>
                <a:cxn ang="0">
                  <a:pos x="171" y="133"/>
                </a:cxn>
                <a:cxn ang="0">
                  <a:pos x="177" y="127"/>
                </a:cxn>
                <a:cxn ang="0">
                  <a:pos x="185" y="114"/>
                </a:cxn>
                <a:cxn ang="0">
                  <a:pos x="193" y="111"/>
                </a:cxn>
                <a:cxn ang="0">
                  <a:pos x="198" y="106"/>
                </a:cxn>
                <a:cxn ang="0">
                  <a:pos x="201" y="100"/>
                </a:cxn>
                <a:cxn ang="0">
                  <a:pos x="207" y="91"/>
                </a:cxn>
              </a:cxnLst>
              <a:rect l="0" t="0" r="r" b="b"/>
              <a:pathLst>
                <a:path w="208" h="167">
                  <a:moveTo>
                    <a:pt x="196" y="13"/>
                  </a:moveTo>
                  <a:cubicBezTo>
                    <a:pt x="196" y="13"/>
                    <a:pt x="196" y="13"/>
                    <a:pt x="196" y="13"/>
                  </a:cubicBezTo>
                  <a:moveTo>
                    <a:pt x="207" y="85"/>
                  </a:moveTo>
                  <a:cubicBezTo>
                    <a:pt x="206" y="83"/>
                    <a:pt x="205" y="83"/>
                    <a:pt x="203" y="83"/>
                  </a:cubicBezTo>
                  <a:cubicBezTo>
                    <a:pt x="203" y="83"/>
                    <a:pt x="202" y="82"/>
                    <a:pt x="202" y="82"/>
                  </a:cubicBezTo>
                  <a:cubicBezTo>
                    <a:pt x="200" y="81"/>
                    <a:pt x="199" y="81"/>
                    <a:pt x="198" y="80"/>
                  </a:cubicBezTo>
                  <a:cubicBezTo>
                    <a:pt x="197" y="79"/>
                    <a:pt x="197" y="79"/>
                    <a:pt x="196" y="79"/>
                  </a:cubicBezTo>
                  <a:cubicBezTo>
                    <a:pt x="194" y="78"/>
                    <a:pt x="193" y="77"/>
                    <a:pt x="191" y="76"/>
                  </a:cubicBezTo>
                  <a:cubicBezTo>
                    <a:pt x="190" y="74"/>
                    <a:pt x="190" y="71"/>
                    <a:pt x="191" y="69"/>
                  </a:cubicBezTo>
                  <a:cubicBezTo>
                    <a:pt x="191" y="68"/>
                    <a:pt x="191" y="67"/>
                    <a:pt x="191" y="66"/>
                  </a:cubicBezTo>
                  <a:cubicBezTo>
                    <a:pt x="191" y="66"/>
                    <a:pt x="191" y="65"/>
                    <a:pt x="191" y="65"/>
                  </a:cubicBezTo>
                  <a:cubicBezTo>
                    <a:pt x="191" y="64"/>
                    <a:pt x="190" y="63"/>
                    <a:pt x="189" y="63"/>
                  </a:cubicBezTo>
                  <a:cubicBezTo>
                    <a:pt x="189" y="63"/>
                    <a:pt x="188" y="62"/>
                    <a:pt x="188" y="62"/>
                  </a:cubicBezTo>
                  <a:cubicBezTo>
                    <a:pt x="188" y="61"/>
                    <a:pt x="188" y="61"/>
                    <a:pt x="188" y="61"/>
                  </a:cubicBezTo>
                  <a:cubicBezTo>
                    <a:pt x="188" y="61"/>
                    <a:pt x="188" y="61"/>
                    <a:pt x="188" y="61"/>
                  </a:cubicBezTo>
                  <a:cubicBezTo>
                    <a:pt x="185" y="61"/>
                    <a:pt x="182" y="61"/>
                    <a:pt x="180" y="59"/>
                  </a:cubicBezTo>
                  <a:cubicBezTo>
                    <a:pt x="178" y="59"/>
                    <a:pt x="177" y="58"/>
                    <a:pt x="176" y="58"/>
                  </a:cubicBezTo>
                  <a:cubicBezTo>
                    <a:pt x="174" y="58"/>
                    <a:pt x="170" y="59"/>
                    <a:pt x="169" y="57"/>
                  </a:cubicBezTo>
                  <a:cubicBezTo>
                    <a:pt x="168" y="56"/>
                    <a:pt x="169" y="52"/>
                    <a:pt x="169" y="51"/>
                  </a:cubicBezTo>
                  <a:cubicBezTo>
                    <a:pt x="169" y="50"/>
                    <a:pt x="169" y="49"/>
                    <a:pt x="169" y="49"/>
                  </a:cubicBezTo>
                  <a:cubicBezTo>
                    <a:pt x="169" y="47"/>
                    <a:pt x="169" y="47"/>
                    <a:pt x="170" y="46"/>
                  </a:cubicBezTo>
                  <a:cubicBezTo>
                    <a:pt x="171" y="45"/>
                    <a:pt x="171" y="44"/>
                    <a:pt x="171" y="42"/>
                  </a:cubicBezTo>
                  <a:cubicBezTo>
                    <a:pt x="172" y="41"/>
                    <a:pt x="172" y="40"/>
                    <a:pt x="172" y="39"/>
                  </a:cubicBezTo>
                  <a:cubicBezTo>
                    <a:pt x="173" y="37"/>
                    <a:pt x="174" y="36"/>
                    <a:pt x="175" y="34"/>
                  </a:cubicBezTo>
                  <a:cubicBezTo>
                    <a:pt x="175" y="33"/>
                    <a:pt x="175" y="33"/>
                    <a:pt x="175" y="32"/>
                  </a:cubicBezTo>
                  <a:cubicBezTo>
                    <a:pt x="176" y="32"/>
                    <a:pt x="176" y="32"/>
                    <a:pt x="177" y="31"/>
                  </a:cubicBezTo>
                  <a:cubicBezTo>
                    <a:pt x="177" y="30"/>
                    <a:pt x="178" y="29"/>
                    <a:pt x="178" y="28"/>
                  </a:cubicBezTo>
                  <a:cubicBezTo>
                    <a:pt x="179" y="27"/>
                    <a:pt x="179" y="27"/>
                    <a:pt x="180" y="26"/>
                  </a:cubicBezTo>
                  <a:cubicBezTo>
                    <a:pt x="180" y="25"/>
                    <a:pt x="179" y="24"/>
                    <a:pt x="179" y="23"/>
                  </a:cubicBezTo>
                  <a:cubicBezTo>
                    <a:pt x="178" y="23"/>
                    <a:pt x="176" y="23"/>
                    <a:pt x="175" y="22"/>
                  </a:cubicBezTo>
                  <a:cubicBezTo>
                    <a:pt x="174" y="22"/>
                    <a:pt x="173" y="22"/>
                    <a:pt x="172" y="21"/>
                  </a:cubicBezTo>
                  <a:cubicBezTo>
                    <a:pt x="171" y="21"/>
                    <a:pt x="170" y="20"/>
                    <a:pt x="170" y="20"/>
                  </a:cubicBezTo>
                  <a:cubicBezTo>
                    <a:pt x="169" y="19"/>
                    <a:pt x="169" y="19"/>
                    <a:pt x="168" y="18"/>
                  </a:cubicBezTo>
                  <a:cubicBezTo>
                    <a:pt x="168" y="18"/>
                    <a:pt x="167" y="17"/>
                    <a:pt x="167" y="17"/>
                  </a:cubicBezTo>
                  <a:cubicBezTo>
                    <a:pt x="166" y="15"/>
                    <a:pt x="166" y="15"/>
                    <a:pt x="164" y="15"/>
                  </a:cubicBezTo>
                  <a:cubicBezTo>
                    <a:pt x="161" y="15"/>
                    <a:pt x="159" y="16"/>
                    <a:pt x="156" y="17"/>
                  </a:cubicBezTo>
                  <a:cubicBezTo>
                    <a:pt x="155" y="18"/>
                    <a:pt x="154" y="18"/>
                    <a:pt x="152" y="17"/>
                  </a:cubicBezTo>
                  <a:cubicBezTo>
                    <a:pt x="152" y="17"/>
                    <a:pt x="152" y="16"/>
                    <a:pt x="151" y="16"/>
                  </a:cubicBezTo>
                  <a:cubicBezTo>
                    <a:pt x="151" y="16"/>
                    <a:pt x="150" y="15"/>
                    <a:pt x="150" y="15"/>
                  </a:cubicBezTo>
                  <a:cubicBezTo>
                    <a:pt x="149" y="14"/>
                    <a:pt x="149" y="14"/>
                    <a:pt x="147" y="13"/>
                  </a:cubicBezTo>
                  <a:cubicBezTo>
                    <a:pt x="145" y="12"/>
                    <a:pt x="144" y="12"/>
                    <a:pt x="142" y="11"/>
                  </a:cubicBezTo>
                  <a:cubicBezTo>
                    <a:pt x="141" y="11"/>
                    <a:pt x="140" y="11"/>
                    <a:pt x="140" y="10"/>
                  </a:cubicBezTo>
                  <a:cubicBezTo>
                    <a:pt x="140" y="9"/>
                    <a:pt x="141" y="9"/>
                    <a:pt x="141" y="9"/>
                  </a:cubicBezTo>
                  <a:cubicBezTo>
                    <a:pt x="143" y="8"/>
                    <a:pt x="146" y="6"/>
                    <a:pt x="146" y="5"/>
                  </a:cubicBezTo>
                  <a:cubicBezTo>
                    <a:pt x="147" y="3"/>
                    <a:pt x="146" y="0"/>
                    <a:pt x="143" y="0"/>
                  </a:cubicBezTo>
                  <a:cubicBezTo>
                    <a:pt x="143" y="0"/>
                    <a:pt x="142" y="0"/>
                    <a:pt x="141" y="0"/>
                  </a:cubicBezTo>
                  <a:cubicBezTo>
                    <a:pt x="140" y="0"/>
                    <a:pt x="139" y="0"/>
                    <a:pt x="139" y="0"/>
                  </a:cubicBezTo>
                  <a:cubicBezTo>
                    <a:pt x="137" y="1"/>
                    <a:pt x="136" y="2"/>
                    <a:pt x="135" y="2"/>
                  </a:cubicBezTo>
                  <a:cubicBezTo>
                    <a:pt x="134" y="2"/>
                    <a:pt x="132" y="2"/>
                    <a:pt x="131" y="2"/>
                  </a:cubicBezTo>
                  <a:cubicBezTo>
                    <a:pt x="129" y="2"/>
                    <a:pt x="127" y="3"/>
                    <a:pt x="125" y="2"/>
                  </a:cubicBezTo>
                  <a:cubicBezTo>
                    <a:pt x="123" y="2"/>
                    <a:pt x="122" y="0"/>
                    <a:pt x="119" y="0"/>
                  </a:cubicBezTo>
                  <a:cubicBezTo>
                    <a:pt x="116" y="0"/>
                    <a:pt x="113" y="0"/>
                    <a:pt x="110" y="0"/>
                  </a:cubicBezTo>
                  <a:cubicBezTo>
                    <a:pt x="109" y="0"/>
                    <a:pt x="108" y="1"/>
                    <a:pt x="107" y="1"/>
                  </a:cubicBezTo>
                  <a:cubicBezTo>
                    <a:pt x="106" y="1"/>
                    <a:pt x="105" y="1"/>
                    <a:pt x="104" y="1"/>
                  </a:cubicBezTo>
                  <a:cubicBezTo>
                    <a:pt x="103" y="2"/>
                    <a:pt x="103" y="3"/>
                    <a:pt x="102" y="3"/>
                  </a:cubicBezTo>
                  <a:cubicBezTo>
                    <a:pt x="101" y="4"/>
                    <a:pt x="100" y="4"/>
                    <a:pt x="99" y="5"/>
                  </a:cubicBezTo>
                  <a:cubicBezTo>
                    <a:pt x="98" y="5"/>
                    <a:pt x="98" y="5"/>
                    <a:pt x="97" y="6"/>
                  </a:cubicBezTo>
                  <a:cubicBezTo>
                    <a:pt x="96" y="6"/>
                    <a:pt x="95" y="7"/>
                    <a:pt x="94" y="8"/>
                  </a:cubicBezTo>
                  <a:cubicBezTo>
                    <a:pt x="94" y="9"/>
                    <a:pt x="94" y="9"/>
                    <a:pt x="93" y="10"/>
                  </a:cubicBezTo>
                  <a:cubicBezTo>
                    <a:pt x="92" y="10"/>
                    <a:pt x="92" y="10"/>
                    <a:pt x="92" y="11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1" y="12"/>
                    <a:pt x="90" y="12"/>
                    <a:pt x="89" y="12"/>
                  </a:cubicBezTo>
                  <a:cubicBezTo>
                    <a:pt x="87" y="13"/>
                    <a:pt x="87" y="13"/>
                    <a:pt x="87" y="14"/>
                  </a:cubicBezTo>
                  <a:cubicBezTo>
                    <a:pt x="86" y="15"/>
                    <a:pt x="85" y="16"/>
                    <a:pt x="85" y="17"/>
                  </a:cubicBezTo>
                  <a:cubicBezTo>
                    <a:pt x="85" y="17"/>
                    <a:pt x="84" y="18"/>
                    <a:pt x="84" y="19"/>
                  </a:cubicBezTo>
                  <a:cubicBezTo>
                    <a:pt x="83" y="20"/>
                    <a:pt x="82" y="21"/>
                    <a:pt x="81" y="21"/>
                  </a:cubicBezTo>
                  <a:cubicBezTo>
                    <a:pt x="79" y="22"/>
                    <a:pt x="78" y="21"/>
                    <a:pt x="76" y="20"/>
                  </a:cubicBezTo>
                  <a:cubicBezTo>
                    <a:pt x="73" y="19"/>
                    <a:pt x="68" y="18"/>
                    <a:pt x="66" y="16"/>
                  </a:cubicBezTo>
                  <a:cubicBezTo>
                    <a:pt x="65" y="14"/>
                    <a:pt x="64" y="12"/>
                    <a:pt x="61" y="12"/>
                  </a:cubicBezTo>
                  <a:cubicBezTo>
                    <a:pt x="60" y="12"/>
                    <a:pt x="56" y="13"/>
                    <a:pt x="55" y="14"/>
                  </a:cubicBezTo>
                  <a:cubicBezTo>
                    <a:pt x="55" y="14"/>
                    <a:pt x="55" y="15"/>
                    <a:pt x="54" y="16"/>
                  </a:cubicBezTo>
                  <a:cubicBezTo>
                    <a:pt x="52" y="17"/>
                    <a:pt x="50" y="16"/>
                    <a:pt x="49" y="15"/>
                  </a:cubicBezTo>
                  <a:cubicBezTo>
                    <a:pt x="48" y="15"/>
                    <a:pt x="47" y="15"/>
                    <a:pt x="46" y="14"/>
                  </a:cubicBezTo>
                  <a:cubicBezTo>
                    <a:pt x="45" y="13"/>
                    <a:pt x="45" y="12"/>
                    <a:pt x="44" y="11"/>
                  </a:cubicBezTo>
                  <a:cubicBezTo>
                    <a:pt x="44" y="10"/>
                    <a:pt x="43" y="10"/>
                    <a:pt x="43" y="8"/>
                  </a:cubicBezTo>
                  <a:cubicBezTo>
                    <a:pt x="44" y="7"/>
                    <a:pt x="44" y="6"/>
                    <a:pt x="44" y="5"/>
                  </a:cubicBezTo>
                  <a:cubicBezTo>
                    <a:pt x="42" y="5"/>
                    <a:pt x="40" y="5"/>
                    <a:pt x="38" y="5"/>
                  </a:cubicBezTo>
                  <a:cubicBezTo>
                    <a:pt x="35" y="6"/>
                    <a:pt x="34" y="7"/>
                    <a:pt x="31" y="8"/>
                  </a:cubicBezTo>
                  <a:cubicBezTo>
                    <a:pt x="29" y="9"/>
                    <a:pt x="28" y="10"/>
                    <a:pt x="27" y="13"/>
                  </a:cubicBezTo>
                  <a:cubicBezTo>
                    <a:pt x="27" y="13"/>
                    <a:pt x="26" y="14"/>
                    <a:pt x="26" y="14"/>
                  </a:cubicBezTo>
                  <a:cubicBezTo>
                    <a:pt x="25" y="14"/>
                    <a:pt x="25" y="15"/>
                    <a:pt x="24" y="15"/>
                  </a:cubicBezTo>
                  <a:cubicBezTo>
                    <a:pt x="23" y="16"/>
                    <a:pt x="23" y="16"/>
                    <a:pt x="22" y="16"/>
                  </a:cubicBezTo>
                  <a:cubicBezTo>
                    <a:pt x="21" y="17"/>
                    <a:pt x="20" y="16"/>
                    <a:pt x="19" y="17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5" y="20"/>
                    <a:pt x="13" y="21"/>
                    <a:pt x="11" y="22"/>
                  </a:cubicBezTo>
                  <a:cubicBezTo>
                    <a:pt x="10" y="22"/>
                    <a:pt x="8" y="22"/>
                    <a:pt x="7" y="22"/>
                  </a:cubicBezTo>
                  <a:cubicBezTo>
                    <a:pt x="5" y="22"/>
                    <a:pt x="6" y="23"/>
                    <a:pt x="5" y="23"/>
                  </a:cubicBezTo>
                  <a:cubicBezTo>
                    <a:pt x="3" y="25"/>
                    <a:pt x="1" y="26"/>
                    <a:pt x="0" y="28"/>
                  </a:cubicBezTo>
                  <a:cubicBezTo>
                    <a:pt x="1" y="28"/>
                    <a:pt x="1" y="29"/>
                    <a:pt x="2" y="29"/>
                  </a:cubicBezTo>
                  <a:cubicBezTo>
                    <a:pt x="2" y="29"/>
                    <a:pt x="3" y="32"/>
                    <a:pt x="3" y="32"/>
                  </a:cubicBezTo>
                  <a:cubicBezTo>
                    <a:pt x="4" y="33"/>
                    <a:pt x="4" y="32"/>
                    <a:pt x="4" y="33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8"/>
                    <a:pt x="3" y="42"/>
                    <a:pt x="3" y="45"/>
                  </a:cubicBezTo>
                  <a:cubicBezTo>
                    <a:pt x="4" y="49"/>
                    <a:pt x="5" y="51"/>
                    <a:pt x="8" y="54"/>
                  </a:cubicBezTo>
                  <a:cubicBezTo>
                    <a:pt x="12" y="57"/>
                    <a:pt x="14" y="61"/>
                    <a:pt x="19" y="60"/>
                  </a:cubicBezTo>
                  <a:cubicBezTo>
                    <a:pt x="23" y="60"/>
                    <a:pt x="27" y="56"/>
                    <a:pt x="31" y="56"/>
                  </a:cubicBezTo>
                  <a:cubicBezTo>
                    <a:pt x="36" y="55"/>
                    <a:pt x="40" y="59"/>
                    <a:pt x="42" y="63"/>
                  </a:cubicBezTo>
                  <a:cubicBezTo>
                    <a:pt x="42" y="64"/>
                    <a:pt x="43" y="65"/>
                    <a:pt x="43" y="66"/>
                  </a:cubicBezTo>
                  <a:cubicBezTo>
                    <a:pt x="43" y="68"/>
                    <a:pt x="40" y="69"/>
                    <a:pt x="39" y="71"/>
                  </a:cubicBezTo>
                  <a:cubicBezTo>
                    <a:pt x="39" y="75"/>
                    <a:pt x="46" y="81"/>
                    <a:pt x="50" y="81"/>
                  </a:cubicBezTo>
                  <a:cubicBezTo>
                    <a:pt x="53" y="82"/>
                    <a:pt x="58" y="80"/>
                    <a:pt x="60" y="84"/>
                  </a:cubicBezTo>
                  <a:cubicBezTo>
                    <a:pt x="61" y="85"/>
                    <a:pt x="60" y="87"/>
                    <a:pt x="61" y="89"/>
                  </a:cubicBezTo>
                  <a:cubicBezTo>
                    <a:pt x="61" y="92"/>
                    <a:pt x="64" y="94"/>
                    <a:pt x="68" y="94"/>
                  </a:cubicBezTo>
                  <a:cubicBezTo>
                    <a:pt x="70" y="94"/>
                    <a:pt x="72" y="92"/>
                    <a:pt x="75" y="92"/>
                  </a:cubicBezTo>
                  <a:cubicBezTo>
                    <a:pt x="76" y="93"/>
                    <a:pt x="78" y="94"/>
                    <a:pt x="79" y="95"/>
                  </a:cubicBezTo>
                  <a:cubicBezTo>
                    <a:pt x="82" y="96"/>
                    <a:pt x="88" y="97"/>
                    <a:pt x="87" y="101"/>
                  </a:cubicBezTo>
                  <a:cubicBezTo>
                    <a:pt x="87" y="105"/>
                    <a:pt x="84" y="102"/>
                    <a:pt x="83" y="105"/>
                  </a:cubicBezTo>
                  <a:cubicBezTo>
                    <a:pt x="82" y="105"/>
                    <a:pt x="82" y="110"/>
                    <a:pt x="83" y="110"/>
                  </a:cubicBezTo>
                  <a:cubicBezTo>
                    <a:pt x="84" y="112"/>
                    <a:pt x="86" y="110"/>
                    <a:pt x="88" y="111"/>
                  </a:cubicBezTo>
                  <a:cubicBezTo>
                    <a:pt x="90" y="113"/>
                    <a:pt x="90" y="120"/>
                    <a:pt x="91" y="122"/>
                  </a:cubicBezTo>
                  <a:cubicBezTo>
                    <a:pt x="92" y="126"/>
                    <a:pt x="92" y="125"/>
                    <a:pt x="95" y="127"/>
                  </a:cubicBezTo>
                  <a:cubicBezTo>
                    <a:pt x="97" y="129"/>
                    <a:pt x="96" y="129"/>
                    <a:pt x="99" y="130"/>
                  </a:cubicBezTo>
                  <a:cubicBezTo>
                    <a:pt x="102" y="131"/>
                    <a:pt x="106" y="128"/>
                    <a:pt x="109" y="126"/>
                  </a:cubicBezTo>
                  <a:cubicBezTo>
                    <a:pt x="110" y="125"/>
                    <a:pt x="113" y="124"/>
                    <a:pt x="114" y="123"/>
                  </a:cubicBezTo>
                  <a:cubicBezTo>
                    <a:pt x="115" y="121"/>
                    <a:pt x="114" y="118"/>
                    <a:pt x="114" y="116"/>
                  </a:cubicBezTo>
                  <a:cubicBezTo>
                    <a:pt x="115" y="115"/>
                    <a:pt x="117" y="113"/>
                    <a:pt x="119" y="112"/>
                  </a:cubicBezTo>
                  <a:cubicBezTo>
                    <a:pt x="121" y="112"/>
                    <a:pt x="122" y="113"/>
                    <a:pt x="124" y="114"/>
                  </a:cubicBezTo>
                  <a:cubicBezTo>
                    <a:pt x="127" y="117"/>
                    <a:pt x="124" y="119"/>
                    <a:pt x="123" y="122"/>
                  </a:cubicBezTo>
                  <a:cubicBezTo>
                    <a:pt x="122" y="124"/>
                    <a:pt x="123" y="126"/>
                    <a:pt x="123" y="127"/>
                  </a:cubicBezTo>
                  <a:cubicBezTo>
                    <a:pt x="123" y="132"/>
                    <a:pt x="124" y="136"/>
                    <a:pt x="125" y="141"/>
                  </a:cubicBezTo>
                  <a:cubicBezTo>
                    <a:pt x="134" y="141"/>
                    <a:pt x="139" y="148"/>
                    <a:pt x="147" y="151"/>
                  </a:cubicBezTo>
                  <a:cubicBezTo>
                    <a:pt x="149" y="152"/>
                    <a:pt x="151" y="151"/>
                    <a:pt x="152" y="153"/>
                  </a:cubicBezTo>
                  <a:cubicBezTo>
                    <a:pt x="153" y="154"/>
                    <a:pt x="153" y="156"/>
                    <a:pt x="153" y="157"/>
                  </a:cubicBezTo>
                  <a:cubicBezTo>
                    <a:pt x="154" y="159"/>
                    <a:pt x="159" y="167"/>
                    <a:pt x="163" y="165"/>
                  </a:cubicBezTo>
                  <a:cubicBezTo>
                    <a:pt x="164" y="164"/>
                    <a:pt x="165" y="162"/>
                    <a:pt x="167" y="162"/>
                  </a:cubicBezTo>
                  <a:cubicBezTo>
                    <a:pt x="168" y="161"/>
                    <a:pt x="170" y="161"/>
                    <a:pt x="171" y="161"/>
                  </a:cubicBezTo>
                  <a:cubicBezTo>
                    <a:pt x="174" y="161"/>
                    <a:pt x="176" y="162"/>
                    <a:pt x="177" y="162"/>
                  </a:cubicBezTo>
                  <a:cubicBezTo>
                    <a:pt x="178" y="161"/>
                    <a:pt x="178" y="159"/>
                    <a:pt x="179" y="158"/>
                  </a:cubicBezTo>
                  <a:cubicBezTo>
                    <a:pt x="179" y="156"/>
                    <a:pt x="180" y="154"/>
                    <a:pt x="179" y="152"/>
                  </a:cubicBezTo>
                  <a:cubicBezTo>
                    <a:pt x="178" y="151"/>
                    <a:pt x="178" y="151"/>
                    <a:pt x="176" y="151"/>
                  </a:cubicBezTo>
                  <a:cubicBezTo>
                    <a:pt x="174" y="151"/>
                    <a:pt x="173" y="151"/>
                    <a:pt x="171" y="149"/>
                  </a:cubicBezTo>
                  <a:cubicBezTo>
                    <a:pt x="168" y="146"/>
                    <a:pt x="171" y="144"/>
                    <a:pt x="171" y="141"/>
                  </a:cubicBezTo>
                  <a:cubicBezTo>
                    <a:pt x="172" y="140"/>
                    <a:pt x="171" y="139"/>
                    <a:pt x="171" y="139"/>
                  </a:cubicBezTo>
                  <a:cubicBezTo>
                    <a:pt x="171" y="138"/>
                    <a:pt x="171" y="137"/>
                    <a:pt x="171" y="136"/>
                  </a:cubicBezTo>
                  <a:cubicBezTo>
                    <a:pt x="171" y="135"/>
                    <a:pt x="170" y="134"/>
                    <a:pt x="171" y="133"/>
                  </a:cubicBezTo>
                  <a:cubicBezTo>
                    <a:pt x="171" y="133"/>
                    <a:pt x="172" y="132"/>
                    <a:pt x="172" y="131"/>
                  </a:cubicBezTo>
                  <a:cubicBezTo>
                    <a:pt x="173" y="129"/>
                    <a:pt x="172" y="129"/>
                    <a:pt x="174" y="128"/>
                  </a:cubicBezTo>
                  <a:cubicBezTo>
                    <a:pt x="175" y="128"/>
                    <a:pt x="176" y="128"/>
                    <a:pt x="177" y="127"/>
                  </a:cubicBezTo>
                  <a:cubicBezTo>
                    <a:pt x="180" y="125"/>
                    <a:pt x="178" y="122"/>
                    <a:pt x="179" y="119"/>
                  </a:cubicBezTo>
                  <a:cubicBezTo>
                    <a:pt x="180" y="118"/>
                    <a:pt x="181" y="118"/>
                    <a:pt x="182" y="117"/>
                  </a:cubicBezTo>
                  <a:cubicBezTo>
                    <a:pt x="183" y="116"/>
                    <a:pt x="184" y="115"/>
                    <a:pt x="185" y="114"/>
                  </a:cubicBezTo>
                  <a:cubicBezTo>
                    <a:pt x="185" y="114"/>
                    <a:pt x="186" y="111"/>
                    <a:pt x="187" y="110"/>
                  </a:cubicBezTo>
                  <a:cubicBezTo>
                    <a:pt x="187" y="110"/>
                    <a:pt x="189" y="110"/>
                    <a:pt x="189" y="110"/>
                  </a:cubicBezTo>
                  <a:cubicBezTo>
                    <a:pt x="191" y="110"/>
                    <a:pt x="192" y="111"/>
                    <a:pt x="193" y="111"/>
                  </a:cubicBezTo>
                  <a:cubicBezTo>
                    <a:pt x="194" y="111"/>
                    <a:pt x="195" y="111"/>
                    <a:pt x="196" y="111"/>
                  </a:cubicBezTo>
                  <a:cubicBezTo>
                    <a:pt x="196" y="111"/>
                    <a:pt x="196" y="110"/>
                    <a:pt x="196" y="110"/>
                  </a:cubicBezTo>
                  <a:cubicBezTo>
                    <a:pt x="197" y="109"/>
                    <a:pt x="198" y="108"/>
                    <a:pt x="198" y="106"/>
                  </a:cubicBezTo>
                  <a:cubicBezTo>
                    <a:pt x="198" y="106"/>
                    <a:pt x="198" y="106"/>
                    <a:pt x="198" y="105"/>
                  </a:cubicBezTo>
                  <a:cubicBezTo>
                    <a:pt x="198" y="103"/>
                    <a:pt x="200" y="102"/>
                    <a:pt x="201" y="100"/>
                  </a:cubicBezTo>
                  <a:cubicBezTo>
                    <a:pt x="201" y="100"/>
                    <a:pt x="201" y="100"/>
                    <a:pt x="201" y="100"/>
                  </a:cubicBezTo>
                  <a:cubicBezTo>
                    <a:pt x="201" y="100"/>
                    <a:pt x="201" y="100"/>
                    <a:pt x="201" y="100"/>
                  </a:cubicBezTo>
                  <a:cubicBezTo>
                    <a:pt x="202" y="98"/>
                    <a:pt x="204" y="97"/>
                    <a:pt x="205" y="95"/>
                  </a:cubicBezTo>
                  <a:cubicBezTo>
                    <a:pt x="206" y="93"/>
                    <a:pt x="206" y="92"/>
                    <a:pt x="207" y="91"/>
                  </a:cubicBezTo>
                  <a:cubicBezTo>
                    <a:pt x="207" y="89"/>
                    <a:pt x="208" y="87"/>
                    <a:pt x="207" y="8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0" name="Freeform 10"/>
            <p:cNvSpPr>
              <a:spLocks/>
            </p:cNvSpPr>
            <p:nvPr/>
          </p:nvSpPr>
          <p:spPr bwMode="auto">
            <a:xfrm>
              <a:off x="4037013" y="4519613"/>
              <a:ext cx="95250" cy="112713"/>
            </a:xfrm>
            <a:custGeom>
              <a:avLst/>
              <a:gdLst/>
              <a:ahLst/>
              <a:cxnLst>
                <a:cxn ang="0">
                  <a:pos x="29" y="15"/>
                </a:cxn>
                <a:cxn ang="0">
                  <a:pos x="28" y="11"/>
                </a:cxn>
                <a:cxn ang="0">
                  <a:pos x="27" y="6"/>
                </a:cxn>
                <a:cxn ang="0">
                  <a:pos x="28" y="0"/>
                </a:cxn>
                <a:cxn ang="0">
                  <a:pos x="28" y="1"/>
                </a:cxn>
                <a:cxn ang="0">
                  <a:pos x="25" y="1"/>
                </a:cxn>
                <a:cxn ang="0">
                  <a:pos x="21" y="0"/>
                </a:cxn>
                <a:cxn ang="0">
                  <a:pos x="19" y="0"/>
                </a:cxn>
                <a:cxn ang="0">
                  <a:pos x="17" y="4"/>
                </a:cxn>
                <a:cxn ang="0">
                  <a:pos x="14" y="7"/>
                </a:cxn>
                <a:cxn ang="0">
                  <a:pos x="11" y="9"/>
                </a:cxn>
                <a:cxn ang="0">
                  <a:pos x="9" y="17"/>
                </a:cxn>
                <a:cxn ang="0">
                  <a:pos x="6" y="18"/>
                </a:cxn>
                <a:cxn ang="0">
                  <a:pos x="4" y="21"/>
                </a:cxn>
                <a:cxn ang="0">
                  <a:pos x="3" y="23"/>
                </a:cxn>
                <a:cxn ang="0">
                  <a:pos x="3" y="26"/>
                </a:cxn>
                <a:cxn ang="0">
                  <a:pos x="3" y="29"/>
                </a:cxn>
                <a:cxn ang="0">
                  <a:pos x="3" y="31"/>
                </a:cxn>
                <a:cxn ang="0">
                  <a:pos x="3" y="39"/>
                </a:cxn>
                <a:cxn ang="0">
                  <a:pos x="8" y="41"/>
                </a:cxn>
                <a:cxn ang="0">
                  <a:pos x="11" y="42"/>
                </a:cxn>
                <a:cxn ang="0">
                  <a:pos x="11" y="48"/>
                </a:cxn>
                <a:cxn ang="0">
                  <a:pos x="9" y="52"/>
                </a:cxn>
                <a:cxn ang="0">
                  <a:pos x="14" y="54"/>
                </a:cxn>
                <a:cxn ang="0">
                  <a:pos x="26" y="57"/>
                </a:cxn>
                <a:cxn ang="0">
                  <a:pos x="35" y="58"/>
                </a:cxn>
                <a:cxn ang="0">
                  <a:pos x="35" y="58"/>
                </a:cxn>
                <a:cxn ang="0">
                  <a:pos x="35" y="58"/>
                </a:cxn>
                <a:cxn ang="0">
                  <a:pos x="39" y="46"/>
                </a:cxn>
                <a:cxn ang="0">
                  <a:pos x="42" y="42"/>
                </a:cxn>
                <a:cxn ang="0">
                  <a:pos x="44" y="38"/>
                </a:cxn>
                <a:cxn ang="0">
                  <a:pos x="51" y="35"/>
                </a:cxn>
                <a:cxn ang="0">
                  <a:pos x="48" y="33"/>
                </a:cxn>
                <a:cxn ang="0">
                  <a:pos x="43" y="32"/>
                </a:cxn>
                <a:cxn ang="0">
                  <a:pos x="39" y="28"/>
                </a:cxn>
                <a:cxn ang="0">
                  <a:pos x="37" y="25"/>
                </a:cxn>
                <a:cxn ang="0">
                  <a:pos x="34" y="24"/>
                </a:cxn>
                <a:cxn ang="0">
                  <a:pos x="32" y="20"/>
                </a:cxn>
                <a:cxn ang="0">
                  <a:pos x="29" y="15"/>
                </a:cxn>
              </a:cxnLst>
              <a:rect l="0" t="0" r="r" b="b"/>
              <a:pathLst>
                <a:path w="51" h="60">
                  <a:moveTo>
                    <a:pt x="29" y="15"/>
                  </a:moveTo>
                  <a:cubicBezTo>
                    <a:pt x="28" y="14"/>
                    <a:pt x="29" y="12"/>
                    <a:pt x="28" y="11"/>
                  </a:cubicBezTo>
                  <a:cubicBezTo>
                    <a:pt x="28" y="9"/>
                    <a:pt x="27" y="8"/>
                    <a:pt x="27" y="6"/>
                  </a:cubicBezTo>
                  <a:cubicBezTo>
                    <a:pt x="27" y="4"/>
                    <a:pt x="27" y="2"/>
                    <a:pt x="28" y="0"/>
                  </a:cubicBezTo>
                  <a:cubicBezTo>
                    <a:pt x="28" y="0"/>
                    <a:pt x="28" y="1"/>
                    <a:pt x="28" y="1"/>
                  </a:cubicBezTo>
                  <a:cubicBezTo>
                    <a:pt x="27" y="1"/>
                    <a:pt x="26" y="1"/>
                    <a:pt x="25" y="1"/>
                  </a:cubicBezTo>
                  <a:cubicBezTo>
                    <a:pt x="24" y="1"/>
                    <a:pt x="23" y="0"/>
                    <a:pt x="21" y="0"/>
                  </a:cubicBezTo>
                  <a:cubicBezTo>
                    <a:pt x="21" y="0"/>
                    <a:pt x="19" y="0"/>
                    <a:pt x="19" y="0"/>
                  </a:cubicBezTo>
                  <a:cubicBezTo>
                    <a:pt x="18" y="1"/>
                    <a:pt x="17" y="4"/>
                    <a:pt x="17" y="4"/>
                  </a:cubicBezTo>
                  <a:cubicBezTo>
                    <a:pt x="16" y="5"/>
                    <a:pt x="15" y="6"/>
                    <a:pt x="14" y="7"/>
                  </a:cubicBezTo>
                  <a:cubicBezTo>
                    <a:pt x="13" y="8"/>
                    <a:pt x="12" y="8"/>
                    <a:pt x="11" y="9"/>
                  </a:cubicBezTo>
                  <a:cubicBezTo>
                    <a:pt x="10" y="12"/>
                    <a:pt x="12" y="15"/>
                    <a:pt x="9" y="17"/>
                  </a:cubicBezTo>
                  <a:cubicBezTo>
                    <a:pt x="8" y="18"/>
                    <a:pt x="7" y="18"/>
                    <a:pt x="6" y="18"/>
                  </a:cubicBezTo>
                  <a:cubicBezTo>
                    <a:pt x="4" y="19"/>
                    <a:pt x="5" y="19"/>
                    <a:pt x="4" y="21"/>
                  </a:cubicBezTo>
                  <a:cubicBezTo>
                    <a:pt x="4" y="22"/>
                    <a:pt x="3" y="23"/>
                    <a:pt x="3" y="23"/>
                  </a:cubicBezTo>
                  <a:cubicBezTo>
                    <a:pt x="2" y="24"/>
                    <a:pt x="3" y="25"/>
                    <a:pt x="3" y="26"/>
                  </a:cubicBezTo>
                  <a:cubicBezTo>
                    <a:pt x="3" y="27"/>
                    <a:pt x="3" y="28"/>
                    <a:pt x="3" y="29"/>
                  </a:cubicBezTo>
                  <a:cubicBezTo>
                    <a:pt x="3" y="29"/>
                    <a:pt x="4" y="30"/>
                    <a:pt x="3" y="31"/>
                  </a:cubicBezTo>
                  <a:cubicBezTo>
                    <a:pt x="3" y="34"/>
                    <a:pt x="0" y="36"/>
                    <a:pt x="3" y="39"/>
                  </a:cubicBezTo>
                  <a:cubicBezTo>
                    <a:pt x="5" y="41"/>
                    <a:pt x="6" y="41"/>
                    <a:pt x="8" y="41"/>
                  </a:cubicBezTo>
                  <a:cubicBezTo>
                    <a:pt x="10" y="41"/>
                    <a:pt x="10" y="41"/>
                    <a:pt x="11" y="42"/>
                  </a:cubicBezTo>
                  <a:cubicBezTo>
                    <a:pt x="12" y="44"/>
                    <a:pt x="11" y="46"/>
                    <a:pt x="11" y="48"/>
                  </a:cubicBezTo>
                  <a:cubicBezTo>
                    <a:pt x="10" y="49"/>
                    <a:pt x="10" y="51"/>
                    <a:pt x="9" y="52"/>
                  </a:cubicBezTo>
                  <a:cubicBezTo>
                    <a:pt x="11" y="52"/>
                    <a:pt x="12" y="53"/>
                    <a:pt x="14" y="54"/>
                  </a:cubicBezTo>
                  <a:cubicBezTo>
                    <a:pt x="19" y="57"/>
                    <a:pt x="20" y="60"/>
                    <a:pt x="26" y="57"/>
                  </a:cubicBezTo>
                  <a:cubicBezTo>
                    <a:pt x="30" y="54"/>
                    <a:pt x="31" y="56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6" y="53"/>
                    <a:pt x="37" y="49"/>
                    <a:pt x="39" y="46"/>
                  </a:cubicBezTo>
                  <a:cubicBezTo>
                    <a:pt x="40" y="44"/>
                    <a:pt x="41" y="43"/>
                    <a:pt x="42" y="42"/>
                  </a:cubicBezTo>
                  <a:cubicBezTo>
                    <a:pt x="42" y="40"/>
                    <a:pt x="43" y="39"/>
                    <a:pt x="44" y="38"/>
                  </a:cubicBezTo>
                  <a:cubicBezTo>
                    <a:pt x="46" y="37"/>
                    <a:pt x="49" y="35"/>
                    <a:pt x="51" y="35"/>
                  </a:cubicBezTo>
                  <a:cubicBezTo>
                    <a:pt x="51" y="33"/>
                    <a:pt x="49" y="33"/>
                    <a:pt x="48" y="33"/>
                  </a:cubicBezTo>
                  <a:cubicBezTo>
                    <a:pt x="46" y="33"/>
                    <a:pt x="45" y="33"/>
                    <a:pt x="43" y="32"/>
                  </a:cubicBezTo>
                  <a:cubicBezTo>
                    <a:pt x="42" y="31"/>
                    <a:pt x="40" y="30"/>
                    <a:pt x="39" y="28"/>
                  </a:cubicBezTo>
                  <a:cubicBezTo>
                    <a:pt x="38" y="27"/>
                    <a:pt x="37" y="26"/>
                    <a:pt x="37" y="25"/>
                  </a:cubicBezTo>
                  <a:cubicBezTo>
                    <a:pt x="36" y="24"/>
                    <a:pt x="35" y="24"/>
                    <a:pt x="34" y="24"/>
                  </a:cubicBezTo>
                  <a:cubicBezTo>
                    <a:pt x="32" y="23"/>
                    <a:pt x="32" y="21"/>
                    <a:pt x="32" y="20"/>
                  </a:cubicBezTo>
                  <a:cubicBezTo>
                    <a:pt x="31" y="18"/>
                    <a:pt x="30" y="17"/>
                    <a:pt x="29" y="1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1" name="Freeform 11"/>
            <p:cNvSpPr>
              <a:spLocks/>
            </p:cNvSpPr>
            <p:nvPr/>
          </p:nvSpPr>
          <p:spPr bwMode="auto">
            <a:xfrm>
              <a:off x="4064000" y="4889500"/>
              <a:ext cx="452438" cy="293688"/>
            </a:xfrm>
            <a:custGeom>
              <a:avLst/>
              <a:gdLst/>
              <a:ahLst/>
              <a:cxnLst>
                <a:cxn ang="0">
                  <a:pos x="231" y="65"/>
                </a:cxn>
                <a:cxn ang="0">
                  <a:pos x="214" y="71"/>
                </a:cxn>
                <a:cxn ang="0">
                  <a:pos x="204" y="60"/>
                </a:cxn>
                <a:cxn ang="0">
                  <a:pos x="194" y="60"/>
                </a:cxn>
                <a:cxn ang="0">
                  <a:pos x="186" y="51"/>
                </a:cxn>
                <a:cxn ang="0">
                  <a:pos x="183" y="47"/>
                </a:cxn>
                <a:cxn ang="0">
                  <a:pos x="186" y="39"/>
                </a:cxn>
                <a:cxn ang="0">
                  <a:pos x="192" y="36"/>
                </a:cxn>
                <a:cxn ang="0">
                  <a:pos x="195" y="30"/>
                </a:cxn>
                <a:cxn ang="0">
                  <a:pos x="197" y="18"/>
                </a:cxn>
                <a:cxn ang="0">
                  <a:pos x="188" y="17"/>
                </a:cxn>
                <a:cxn ang="0">
                  <a:pos x="174" y="10"/>
                </a:cxn>
                <a:cxn ang="0">
                  <a:pos x="161" y="9"/>
                </a:cxn>
                <a:cxn ang="0">
                  <a:pos x="145" y="1"/>
                </a:cxn>
                <a:cxn ang="0">
                  <a:pos x="133" y="1"/>
                </a:cxn>
                <a:cxn ang="0">
                  <a:pos x="121" y="8"/>
                </a:cxn>
                <a:cxn ang="0">
                  <a:pos x="110" y="18"/>
                </a:cxn>
                <a:cxn ang="0">
                  <a:pos x="94" y="17"/>
                </a:cxn>
                <a:cxn ang="0">
                  <a:pos x="90" y="21"/>
                </a:cxn>
                <a:cxn ang="0">
                  <a:pos x="51" y="27"/>
                </a:cxn>
                <a:cxn ang="0">
                  <a:pos x="39" y="56"/>
                </a:cxn>
                <a:cxn ang="0">
                  <a:pos x="8" y="90"/>
                </a:cxn>
                <a:cxn ang="0">
                  <a:pos x="5" y="118"/>
                </a:cxn>
                <a:cxn ang="0">
                  <a:pos x="41" y="118"/>
                </a:cxn>
                <a:cxn ang="0">
                  <a:pos x="46" y="130"/>
                </a:cxn>
                <a:cxn ang="0">
                  <a:pos x="52" y="144"/>
                </a:cxn>
                <a:cxn ang="0">
                  <a:pos x="57" y="153"/>
                </a:cxn>
                <a:cxn ang="0">
                  <a:pos x="68" y="151"/>
                </a:cxn>
                <a:cxn ang="0">
                  <a:pos x="88" y="145"/>
                </a:cxn>
                <a:cxn ang="0">
                  <a:pos x="108" y="135"/>
                </a:cxn>
                <a:cxn ang="0">
                  <a:pos x="113" y="129"/>
                </a:cxn>
                <a:cxn ang="0">
                  <a:pos x="119" y="114"/>
                </a:cxn>
                <a:cxn ang="0">
                  <a:pos x="127" y="120"/>
                </a:cxn>
                <a:cxn ang="0">
                  <a:pos x="138" y="133"/>
                </a:cxn>
                <a:cxn ang="0">
                  <a:pos x="148" y="137"/>
                </a:cxn>
                <a:cxn ang="0">
                  <a:pos x="147" y="143"/>
                </a:cxn>
                <a:cxn ang="0">
                  <a:pos x="158" y="156"/>
                </a:cxn>
                <a:cxn ang="0">
                  <a:pos x="157" y="147"/>
                </a:cxn>
                <a:cxn ang="0">
                  <a:pos x="163" y="134"/>
                </a:cxn>
                <a:cxn ang="0">
                  <a:pos x="174" y="121"/>
                </a:cxn>
                <a:cxn ang="0">
                  <a:pos x="173" y="106"/>
                </a:cxn>
                <a:cxn ang="0">
                  <a:pos x="185" y="111"/>
                </a:cxn>
                <a:cxn ang="0">
                  <a:pos x="196" y="118"/>
                </a:cxn>
                <a:cxn ang="0">
                  <a:pos x="209" y="115"/>
                </a:cxn>
                <a:cxn ang="0">
                  <a:pos x="223" y="123"/>
                </a:cxn>
                <a:cxn ang="0">
                  <a:pos x="222" y="109"/>
                </a:cxn>
                <a:cxn ang="0">
                  <a:pos x="220" y="97"/>
                </a:cxn>
                <a:cxn ang="0">
                  <a:pos x="236" y="98"/>
                </a:cxn>
                <a:cxn ang="0">
                  <a:pos x="238" y="91"/>
                </a:cxn>
                <a:cxn ang="0">
                  <a:pos x="240" y="71"/>
                </a:cxn>
              </a:cxnLst>
              <a:rect l="0" t="0" r="r" b="b"/>
              <a:pathLst>
                <a:path w="242" h="157">
                  <a:moveTo>
                    <a:pt x="240" y="71"/>
                  </a:moveTo>
                  <a:cubicBezTo>
                    <a:pt x="240" y="69"/>
                    <a:pt x="240" y="67"/>
                    <a:pt x="238" y="65"/>
                  </a:cubicBezTo>
                  <a:cubicBezTo>
                    <a:pt x="237" y="64"/>
                    <a:pt x="234" y="62"/>
                    <a:pt x="233" y="62"/>
                  </a:cubicBezTo>
                  <a:cubicBezTo>
                    <a:pt x="232" y="63"/>
                    <a:pt x="232" y="64"/>
                    <a:pt x="231" y="65"/>
                  </a:cubicBezTo>
                  <a:cubicBezTo>
                    <a:pt x="230" y="65"/>
                    <a:pt x="229" y="65"/>
                    <a:pt x="228" y="66"/>
                  </a:cubicBezTo>
                  <a:cubicBezTo>
                    <a:pt x="226" y="67"/>
                    <a:pt x="227" y="69"/>
                    <a:pt x="226" y="70"/>
                  </a:cubicBezTo>
                  <a:cubicBezTo>
                    <a:pt x="225" y="72"/>
                    <a:pt x="225" y="73"/>
                    <a:pt x="222" y="73"/>
                  </a:cubicBezTo>
                  <a:cubicBezTo>
                    <a:pt x="219" y="73"/>
                    <a:pt x="217" y="72"/>
                    <a:pt x="214" y="71"/>
                  </a:cubicBezTo>
                  <a:cubicBezTo>
                    <a:pt x="213" y="71"/>
                    <a:pt x="212" y="70"/>
                    <a:pt x="212" y="69"/>
                  </a:cubicBezTo>
                  <a:cubicBezTo>
                    <a:pt x="211" y="69"/>
                    <a:pt x="210" y="69"/>
                    <a:pt x="210" y="68"/>
                  </a:cubicBezTo>
                  <a:cubicBezTo>
                    <a:pt x="208" y="67"/>
                    <a:pt x="208" y="66"/>
                    <a:pt x="208" y="64"/>
                  </a:cubicBezTo>
                  <a:cubicBezTo>
                    <a:pt x="208" y="61"/>
                    <a:pt x="206" y="61"/>
                    <a:pt x="204" y="60"/>
                  </a:cubicBezTo>
                  <a:cubicBezTo>
                    <a:pt x="204" y="60"/>
                    <a:pt x="204" y="60"/>
                    <a:pt x="203" y="59"/>
                  </a:cubicBezTo>
                  <a:cubicBezTo>
                    <a:pt x="203" y="59"/>
                    <a:pt x="202" y="59"/>
                    <a:pt x="201" y="59"/>
                  </a:cubicBezTo>
                  <a:cubicBezTo>
                    <a:pt x="200" y="60"/>
                    <a:pt x="200" y="60"/>
                    <a:pt x="198" y="60"/>
                  </a:cubicBezTo>
                  <a:cubicBezTo>
                    <a:pt x="197" y="60"/>
                    <a:pt x="195" y="60"/>
                    <a:pt x="194" y="60"/>
                  </a:cubicBezTo>
                  <a:cubicBezTo>
                    <a:pt x="193" y="60"/>
                    <a:pt x="192" y="60"/>
                    <a:pt x="191" y="60"/>
                  </a:cubicBezTo>
                  <a:cubicBezTo>
                    <a:pt x="190" y="60"/>
                    <a:pt x="189" y="60"/>
                    <a:pt x="188" y="60"/>
                  </a:cubicBezTo>
                  <a:cubicBezTo>
                    <a:pt x="185" y="59"/>
                    <a:pt x="183" y="60"/>
                    <a:pt x="183" y="57"/>
                  </a:cubicBezTo>
                  <a:cubicBezTo>
                    <a:pt x="182" y="53"/>
                    <a:pt x="184" y="53"/>
                    <a:pt x="186" y="51"/>
                  </a:cubicBezTo>
                  <a:cubicBezTo>
                    <a:pt x="186" y="51"/>
                    <a:pt x="187" y="51"/>
                    <a:pt x="187" y="50"/>
                  </a:cubicBezTo>
                  <a:cubicBezTo>
                    <a:pt x="187" y="50"/>
                    <a:pt x="186" y="50"/>
                    <a:pt x="186" y="50"/>
                  </a:cubicBezTo>
                  <a:cubicBezTo>
                    <a:pt x="185" y="50"/>
                    <a:pt x="185" y="50"/>
                    <a:pt x="184" y="49"/>
                  </a:cubicBezTo>
                  <a:cubicBezTo>
                    <a:pt x="183" y="49"/>
                    <a:pt x="183" y="48"/>
                    <a:pt x="183" y="47"/>
                  </a:cubicBezTo>
                  <a:cubicBezTo>
                    <a:pt x="183" y="47"/>
                    <a:pt x="183" y="46"/>
                    <a:pt x="183" y="45"/>
                  </a:cubicBezTo>
                  <a:cubicBezTo>
                    <a:pt x="183" y="44"/>
                    <a:pt x="184" y="44"/>
                    <a:pt x="184" y="43"/>
                  </a:cubicBezTo>
                  <a:cubicBezTo>
                    <a:pt x="184" y="42"/>
                    <a:pt x="185" y="42"/>
                    <a:pt x="185" y="41"/>
                  </a:cubicBezTo>
                  <a:cubicBezTo>
                    <a:pt x="186" y="40"/>
                    <a:pt x="186" y="40"/>
                    <a:pt x="186" y="39"/>
                  </a:cubicBezTo>
                  <a:cubicBezTo>
                    <a:pt x="187" y="38"/>
                    <a:pt x="187" y="38"/>
                    <a:pt x="188" y="38"/>
                  </a:cubicBezTo>
                  <a:cubicBezTo>
                    <a:pt x="188" y="37"/>
                    <a:pt x="189" y="37"/>
                    <a:pt x="189" y="36"/>
                  </a:cubicBezTo>
                  <a:cubicBezTo>
                    <a:pt x="189" y="36"/>
                    <a:pt x="192" y="35"/>
                    <a:pt x="192" y="35"/>
                  </a:cubicBezTo>
                  <a:cubicBezTo>
                    <a:pt x="192" y="36"/>
                    <a:pt x="192" y="36"/>
                    <a:pt x="192" y="36"/>
                  </a:cubicBezTo>
                  <a:cubicBezTo>
                    <a:pt x="192" y="37"/>
                    <a:pt x="192" y="37"/>
                    <a:pt x="192" y="37"/>
                  </a:cubicBezTo>
                  <a:cubicBezTo>
                    <a:pt x="194" y="36"/>
                    <a:pt x="196" y="36"/>
                    <a:pt x="196" y="35"/>
                  </a:cubicBezTo>
                  <a:cubicBezTo>
                    <a:pt x="197" y="34"/>
                    <a:pt x="196" y="33"/>
                    <a:pt x="196" y="33"/>
                  </a:cubicBezTo>
                  <a:cubicBezTo>
                    <a:pt x="195" y="32"/>
                    <a:pt x="195" y="31"/>
                    <a:pt x="195" y="30"/>
                  </a:cubicBezTo>
                  <a:cubicBezTo>
                    <a:pt x="195" y="28"/>
                    <a:pt x="195" y="26"/>
                    <a:pt x="195" y="24"/>
                  </a:cubicBezTo>
                  <a:cubicBezTo>
                    <a:pt x="195" y="23"/>
                    <a:pt x="196" y="22"/>
                    <a:pt x="196" y="20"/>
                  </a:cubicBezTo>
                  <a:cubicBezTo>
                    <a:pt x="197" y="19"/>
                    <a:pt x="198" y="19"/>
                    <a:pt x="198" y="18"/>
                  </a:cubicBezTo>
                  <a:cubicBezTo>
                    <a:pt x="198" y="18"/>
                    <a:pt x="197" y="18"/>
                    <a:pt x="197" y="18"/>
                  </a:cubicBezTo>
                  <a:cubicBezTo>
                    <a:pt x="196" y="18"/>
                    <a:pt x="195" y="18"/>
                    <a:pt x="195" y="18"/>
                  </a:cubicBezTo>
                  <a:cubicBezTo>
                    <a:pt x="195" y="18"/>
                    <a:pt x="195" y="17"/>
                    <a:pt x="194" y="17"/>
                  </a:cubicBezTo>
                  <a:cubicBezTo>
                    <a:pt x="193" y="17"/>
                    <a:pt x="191" y="17"/>
                    <a:pt x="190" y="17"/>
                  </a:cubicBezTo>
                  <a:cubicBezTo>
                    <a:pt x="189" y="17"/>
                    <a:pt x="189" y="17"/>
                    <a:pt x="188" y="17"/>
                  </a:cubicBezTo>
                  <a:cubicBezTo>
                    <a:pt x="186" y="16"/>
                    <a:pt x="184" y="16"/>
                    <a:pt x="182" y="15"/>
                  </a:cubicBezTo>
                  <a:cubicBezTo>
                    <a:pt x="181" y="15"/>
                    <a:pt x="180" y="15"/>
                    <a:pt x="179" y="13"/>
                  </a:cubicBezTo>
                  <a:cubicBezTo>
                    <a:pt x="178" y="13"/>
                    <a:pt x="178" y="13"/>
                    <a:pt x="178" y="12"/>
                  </a:cubicBezTo>
                  <a:cubicBezTo>
                    <a:pt x="177" y="12"/>
                    <a:pt x="175" y="11"/>
                    <a:pt x="174" y="10"/>
                  </a:cubicBezTo>
                  <a:cubicBezTo>
                    <a:pt x="173" y="10"/>
                    <a:pt x="172" y="9"/>
                    <a:pt x="171" y="8"/>
                  </a:cubicBezTo>
                  <a:cubicBezTo>
                    <a:pt x="170" y="7"/>
                    <a:pt x="171" y="7"/>
                    <a:pt x="169" y="7"/>
                  </a:cubicBezTo>
                  <a:cubicBezTo>
                    <a:pt x="168" y="7"/>
                    <a:pt x="167" y="7"/>
                    <a:pt x="166" y="8"/>
                  </a:cubicBezTo>
                  <a:cubicBezTo>
                    <a:pt x="164" y="8"/>
                    <a:pt x="163" y="9"/>
                    <a:pt x="161" y="9"/>
                  </a:cubicBezTo>
                  <a:cubicBezTo>
                    <a:pt x="159" y="9"/>
                    <a:pt x="157" y="8"/>
                    <a:pt x="155" y="7"/>
                  </a:cubicBezTo>
                  <a:cubicBezTo>
                    <a:pt x="154" y="6"/>
                    <a:pt x="154" y="5"/>
                    <a:pt x="153" y="5"/>
                  </a:cubicBezTo>
                  <a:cubicBezTo>
                    <a:pt x="152" y="4"/>
                    <a:pt x="149" y="3"/>
                    <a:pt x="147" y="2"/>
                  </a:cubicBezTo>
                  <a:cubicBezTo>
                    <a:pt x="147" y="1"/>
                    <a:pt x="146" y="1"/>
                    <a:pt x="145" y="1"/>
                  </a:cubicBezTo>
                  <a:cubicBezTo>
                    <a:pt x="145" y="1"/>
                    <a:pt x="144" y="1"/>
                    <a:pt x="143" y="1"/>
                  </a:cubicBezTo>
                  <a:cubicBezTo>
                    <a:pt x="143" y="1"/>
                    <a:pt x="142" y="0"/>
                    <a:pt x="141" y="0"/>
                  </a:cubicBezTo>
                  <a:cubicBezTo>
                    <a:pt x="141" y="0"/>
                    <a:pt x="140" y="0"/>
                    <a:pt x="139" y="0"/>
                  </a:cubicBezTo>
                  <a:cubicBezTo>
                    <a:pt x="137" y="0"/>
                    <a:pt x="134" y="0"/>
                    <a:pt x="133" y="1"/>
                  </a:cubicBezTo>
                  <a:cubicBezTo>
                    <a:pt x="131" y="3"/>
                    <a:pt x="129" y="6"/>
                    <a:pt x="129" y="8"/>
                  </a:cubicBezTo>
                  <a:cubicBezTo>
                    <a:pt x="129" y="11"/>
                    <a:pt x="129" y="14"/>
                    <a:pt x="126" y="14"/>
                  </a:cubicBezTo>
                  <a:cubicBezTo>
                    <a:pt x="124" y="14"/>
                    <a:pt x="124" y="13"/>
                    <a:pt x="123" y="12"/>
                  </a:cubicBezTo>
                  <a:cubicBezTo>
                    <a:pt x="122" y="11"/>
                    <a:pt x="123" y="9"/>
                    <a:pt x="121" y="8"/>
                  </a:cubicBezTo>
                  <a:cubicBezTo>
                    <a:pt x="120" y="8"/>
                    <a:pt x="119" y="10"/>
                    <a:pt x="118" y="11"/>
                  </a:cubicBezTo>
                  <a:cubicBezTo>
                    <a:pt x="118" y="12"/>
                    <a:pt x="118" y="12"/>
                    <a:pt x="118" y="13"/>
                  </a:cubicBezTo>
                  <a:cubicBezTo>
                    <a:pt x="118" y="15"/>
                    <a:pt x="117" y="15"/>
                    <a:pt x="116" y="15"/>
                  </a:cubicBezTo>
                  <a:cubicBezTo>
                    <a:pt x="114" y="16"/>
                    <a:pt x="113" y="18"/>
                    <a:pt x="110" y="18"/>
                  </a:cubicBezTo>
                  <a:cubicBezTo>
                    <a:pt x="110" y="18"/>
                    <a:pt x="109" y="17"/>
                    <a:pt x="108" y="17"/>
                  </a:cubicBezTo>
                  <a:cubicBezTo>
                    <a:pt x="107" y="17"/>
                    <a:pt x="105" y="17"/>
                    <a:pt x="104" y="18"/>
                  </a:cubicBezTo>
                  <a:cubicBezTo>
                    <a:pt x="102" y="19"/>
                    <a:pt x="100" y="19"/>
                    <a:pt x="97" y="18"/>
                  </a:cubicBezTo>
                  <a:cubicBezTo>
                    <a:pt x="96" y="18"/>
                    <a:pt x="95" y="18"/>
                    <a:pt x="94" y="17"/>
                  </a:cubicBezTo>
                  <a:cubicBezTo>
                    <a:pt x="94" y="17"/>
                    <a:pt x="94" y="17"/>
                    <a:pt x="93" y="17"/>
                  </a:cubicBezTo>
                  <a:cubicBezTo>
                    <a:pt x="93" y="16"/>
                    <a:pt x="93" y="16"/>
                    <a:pt x="92" y="15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2" y="17"/>
                    <a:pt x="93" y="19"/>
                    <a:pt x="90" y="21"/>
                  </a:cubicBezTo>
                  <a:cubicBezTo>
                    <a:pt x="87" y="23"/>
                    <a:pt x="83" y="25"/>
                    <a:pt x="80" y="26"/>
                  </a:cubicBezTo>
                  <a:cubicBezTo>
                    <a:pt x="78" y="27"/>
                    <a:pt x="77" y="27"/>
                    <a:pt x="75" y="27"/>
                  </a:cubicBezTo>
                  <a:cubicBezTo>
                    <a:pt x="69" y="27"/>
                    <a:pt x="64" y="30"/>
                    <a:pt x="58" y="29"/>
                  </a:cubicBezTo>
                  <a:cubicBezTo>
                    <a:pt x="56" y="28"/>
                    <a:pt x="54" y="27"/>
                    <a:pt x="51" y="27"/>
                  </a:cubicBezTo>
                  <a:cubicBezTo>
                    <a:pt x="40" y="28"/>
                    <a:pt x="58" y="37"/>
                    <a:pt x="52" y="42"/>
                  </a:cubicBezTo>
                  <a:cubicBezTo>
                    <a:pt x="50" y="44"/>
                    <a:pt x="49" y="43"/>
                    <a:pt x="47" y="44"/>
                  </a:cubicBezTo>
                  <a:cubicBezTo>
                    <a:pt x="47" y="45"/>
                    <a:pt x="46" y="47"/>
                    <a:pt x="46" y="47"/>
                  </a:cubicBezTo>
                  <a:cubicBezTo>
                    <a:pt x="44" y="51"/>
                    <a:pt x="42" y="53"/>
                    <a:pt x="39" y="56"/>
                  </a:cubicBezTo>
                  <a:cubicBezTo>
                    <a:pt x="34" y="62"/>
                    <a:pt x="30" y="69"/>
                    <a:pt x="23" y="74"/>
                  </a:cubicBezTo>
                  <a:cubicBezTo>
                    <a:pt x="22" y="75"/>
                    <a:pt x="20" y="76"/>
                    <a:pt x="19" y="78"/>
                  </a:cubicBezTo>
                  <a:cubicBezTo>
                    <a:pt x="17" y="80"/>
                    <a:pt x="17" y="82"/>
                    <a:pt x="15" y="83"/>
                  </a:cubicBezTo>
                  <a:cubicBezTo>
                    <a:pt x="13" y="86"/>
                    <a:pt x="11" y="88"/>
                    <a:pt x="8" y="90"/>
                  </a:cubicBezTo>
                  <a:cubicBezTo>
                    <a:pt x="6" y="93"/>
                    <a:pt x="6" y="95"/>
                    <a:pt x="6" y="98"/>
                  </a:cubicBezTo>
                  <a:cubicBezTo>
                    <a:pt x="6" y="100"/>
                    <a:pt x="7" y="104"/>
                    <a:pt x="6" y="105"/>
                  </a:cubicBezTo>
                  <a:cubicBezTo>
                    <a:pt x="5" y="107"/>
                    <a:pt x="3" y="106"/>
                    <a:pt x="2" y="108"/>
                  </a:cubicBezTo>
                  <a:cubicBezTo>
                    <a:pt x="0" y="111"/>
                    <a:pt x="3" y="117"/>
                    <a:pt x="5" y="118"/>
                  </a:cubicBezTo>
                  <a:cubicBezTo>
                    <a:pt x="8" y="119"/>
                    <a:pt x="11" y="118"/>
                    <a:pt x="13" y="117"/>
                  </a:cubicBezTo>
                  <a:cubicBezTo>
                    <a:pt x="18" y="115"/>
                    <a:pt x="22" y="112"/>
                    <a:pt x="27" y="112"/>
                  </a:cubicBezTo>
                  <a:cubicBezTo>
                    <a:pt x="31" y="112"/>
                    <a:pt x="35" y="115"/>
                    <a:pt x="38" y="117"/>
                  </a:cubicBezTo>
                  <a:cubicBezTo>
                    <a:pt x="38" y="117"/>
                    <a:pt x="40" y="118"/>
                    <a:pt x="41" y="118"/>
                  </a:cubicBezTo>
                  <a:cubicBezTo>
                    <a:pt x="42" y="118"/>
                    <a:pt x="43" y="119"/>
                    <a:pt x="44" y="119"/>
                  </a:cubicBezTo>
                  <a:cubicBezTo>
                    <a:pt x="45" y="121"/>
                    <a:pt x="44" y="123"/>
                    <a:pt x="45" y="125"/>
                  </a:cubicBezTo>
                  <a:cubicBezTo>
                    <a:pt x="45" y="125"/>
                    <a:pt x="46" y="126"/>
                    <a:pt x="46" y="126"/>
                  </a:cubicBezTo>
                  <a:cubicBezTo>
                    <a:pt x="46" y="127"/>
                    <a:pt x="46" y="129"/>
                    <a:pt x="46" y="130"/>
                  </a:cubicBezTo>
                  <a:cubicBezTo>
                    <a:pt x="46" y="132"/>
                    <a:pt x="46" y="134"/>
                    <a:pt x="47" y="136"/>
                  </a:cubicBezTo>
                  <a:cubicBezTo>
                    <a:pt x="47" y="137"/>
                    <a:pt x="48" y="138"/>
                    <a:pt x="49" y="139"/>
                  </a:cubicBezTo>
                  <a:cubicBezTo>
                    <a:pt x="49" y="140"/>
                    <a:pt x="50" y="141"/>
                    <a:pt x="50" y="141"/>
                  </a:cubicBezTo>
                  <a:cubicBezTo>
                    <a:pt x="51" y="143"/>
                    <a:pt x="51" y="143"/>
                    <a:pt x="52" y="144"/>
                  </a:cubicBezTo>
                  <a:cubicBezTo>
                    <a:pt x="52" y="145"/>
                    <a:pt x="53" y="145"/>
                    <a:pt x="53" y="147"/>
                  </a:cubicBezTo>
                  <a:cubicBezTo>
                    <a:pt x="53" y="147"/>
                    <a:pt x="53" y="149"/>
                    <a:pt x="53" y="150"/>
                  </a:cubicBezTo>
                  <a:cubicBezTo>
                    <a:pt x="53" y="151"/>
                    <a:pt x="51" y="152"/>
                    <a:pt x="51" y="153"/>
                  </a:cubicBezTo>
                  <a:cubicBezTo>
                    <a:pt x="53" y="154"/>
                    <a:pt x="55" y="153"/>
                    <a:pt x="57" y="153"/>
                  </a:cubicBezTo>
                  <a:cubicBezTo>
                    <a:pt x="58" y="153"/>
                    <a:pt x="59" y="154"/>
                    <a:pt x="60" y="154"/>
                  </a:cubicBezTo>
                  <a:cubicBezTo>
                    <a:pt x="61" y="154"/>
                    <a:pt x="62" y="154"/>
                    <a:pt x="63" y="153"/>
                  </a:cubicBezTo>
                  <a:cubicBezTo>
                    <a:pt x="63" y="153"/>
                    <a:pt x="65" y="153"/>
                    <a:pt x="66" y="153"/>
                  </a:cubicBezTo>
                  <a:cubicBezTo>
                    <a:pt x="67" y="152"/>
                    <a:pt x="67" y="151"/>
                    <a:pt x="68" y="151"/>
                  </a:cubicBezTo>
                  <a:cubicBezTo>
                    <a:pt x="71" y="150"/>
                    <a:pt x="74" y="150"/>
                    <a:pt x="77" y="149"/>
                  </a:cubicBezTo>
                  <a:cubicBezTo>
                    <a:pt x="79" y="149"/>
                    <a:pt x="80" y="148"/>
                    <a:pt x="81" y="147"/>
                  </a:cubicBezTo>
                  <a:cubicBezTo>
                    <a:pt x="82" y="145"/>
                    <a:pt x="82" y="144"/>
                    <a:pt x="84" y="143"/>
                  </a:cubicBezTo>
                  <a:cubicBezTo>
                    <a:pt x="85" y="143"/>
                    <a:pt x="86" y="144"/>
                    <a:pt x="88" y="145"/>
                  </a:cubicBezTo>
                  <a:cubicBezTo>
                    <a:pt x="91" y="146"/>
                    <a:pt x="95" y="149"/>
                    <a:pt x="99" y="147"/>
                  </a:cubicBezTo>
                  <a:cubicBezTo>
                    <a:pt x="100" y="146"/>
                    <a:pt x="100" y="145"/>
                    <a:pt x="102" y="144"/>
                  </a:cubicBezTo>
                  <a:cubicBezTo>
                    <a:pt x="103" y="143"/>
                    <a:pt x="105" y="142"/>
                    <a:pt x="105" y="140"/>
                  </a:cubicBezTo>
                  <a:cubicBezTo>
                    <a:pt x="106" y="139"/>
                    <a:pt x="106" y="136"/>
                    <a:pt x="108" y="135"/>
                  </a:cubicBezTo>
                  <a:cubicBezTo>
                    <a:pt x="109" y="135"/>
                    <a:pt x="110" y="135"/>
                    <a:pt x="110" y="135"/>
                  </a:cubicBezTo>
                  <a:cubicBezTo>
                    <a:pt x="110" y="135"/>
                    <a:pt x="111" y="134"/>
                    <a:pt x="111" y="134"/>
                  </a:cubicBezTo>
                  <a:cubicBezTo>
                    <a:pt x="113" y="133"/>
                    <a:pt x="113" y="133"/>
                    <a:pt x="113" y="132"/>
                  </a:cubicBezTo>
                  <a:cubicBezTo>
                    <a:pt x="113" y="131"/>
                    <a:pt x="113" y="130"/>
                    <a:pt x="113" y="129"/>
                  </a:cubicBezTo>
                  <a:cubicBezTo>
                    <a:pt x="112" y="127"/>
                    <a:pt x="111" y="128"/>
                    <a:pt x="110" y="127"/>
                  </a:cubicBezTo>
                  <a:cubicBezTo>
                    <a:pt x="109" y="125"/>
                    <a:pt x="109" y="123"/>
                    <a:pt x="111" y="122"/>
                  </a:cubicBezTo>
                  <a:cubicBezTo>
                    <a:pt x="113" y="120"/>
                    <a:pt x="115" y="120"/>
                    <a:pt x="117" y="119"/>
                  </a:cubicBezTo>
                  <a:cubicBezTo>
                    <a:pt x="118" y="118"/>
                    <a:pt x="119" y="116"/>
                    <a:pt x="119" y="114"/>
                  </a:cubicBezTo>
                  <a:cubicBezTo>
                    <a:pt x="120" y="112"/>
                    <a:pt x="120" y="109"/>
                    <a:pt x="123" y="110"/>
                  </a:cubicBezTo>
                  <a:cubicBezTo>
                    <a:pt x="125" y="111"/>
                    <a:pt x="127" y="113"/>
                    <a:pt x="127" y="115"/>
                  </a:cubicBezTo>
                  <a:cubicBezTo>
                    <a:pt x="127" y="116"/>
                    <a:pt x="127" y="117"/>
                    <a:pt x="127" y="118"/>
                  </a:cubicBezTo>
                  <a:cubicBezTo>
                    <a:pt x="127" y="118"/>
                    <a:pt x="127" y="120"/>
                    <a:pt x="127" y="120"/>
                  </a:cubicBezTo>
                  <a:cubicBezTo>
                    <a:pt x="127" y="121"/>
                    <a:pt x="128" y="121"/>
                    <a:pt x="128" y="122"/>
                  </a:cubicBezTo>
                  <a:cubicBezTo>
                    <a:pt x="129" y="123"/>
                    <a:pt x="130" y="124"/>
                    <a:pt x="131" y="125"/>
                  </a:cubicBezTo>
                  <a:cubicBezTo>
                    <a:pt x="132" y="126"/>
                    <a:pt x="133" y="128"/>
                    <a:pt x="134" y="130"/>
                  </a:cubicBezTo>
                  <a:cubicBezTo>
                    <a:pt x="135" y="132"/>
                    <a:pt x="136" y="133"/>
                    <a:pt x="138" y="133"/>
                  </a:cubicBezTo>
                  <a:cubicBezTo>
                    <a:pt x="139" y="134"/>
                    <a:pt x="140" y="134"/>
                    <a:pt x="141" y="134"/>
                  </a:cubicBezTo>
                  <a:cubicBezTo>
                    <a:pt x="142" y="134"/>
                    <a:pt x="142" y="135"/>
                    <a:pt x="142" y="135"/>
                  </a:cubicBezTo>
                  <a:cubicBezTo>
                    <a:pt x="143" y="135"/>
                    <a:pt x="144" y="135"/>
                    <a:pt x="144" y="135"/>
                  </a:cubicBezTo>
                  <a:cubicBezTo>
                    <a:pt x="146" y="135"/>
                    <a:pt x="147" y="136"/>
                    <a:pt x="148" y="137"/>
                  </a:cubicBezTo>
                  <a:cubicBezTo>
                    <a:pt x="149" y="137"/>
                    <a:pt x="149" y="137"/>
                    <a:pt x="150" y="138"/>
                  </a:cubicBezTo>
                  <a:cubicBezTo>
                    <a:pt x="150" y="139"/>
                    <a:pt x="148" y="140"/>
                    <a:pt x="148" y="141"/>
                  </a:cubicBezTo>
                  <a:cubicBezTo>
                    <a:pt x="148" y="141"/>
                    <a:pt x="148" y="142"/>
                    <a:pt x="148" y="142"/>
                  </a:cubicBezTo>
                  <a:cubicBezTo>
                    <a:pt x="148" y="142"/>
                    <a:pt x="147" y="143"/>
                    <a:pt x="147" y="143"/>
                  </a:cubicBezTo>
                  <a:cubicBezTo>
                    <a:pt x="147" y="143"/>
                    <a:pt x="147" y="144"/>
                    <a:pt x="147" y="145"/>
                  </a:cubicBezTo>
                  <a:cubicBezTo>
                    <a:pt x="149" y="145"/>
                    <a:pt x="151" y="145"/>
                    <a:pt x="152" y="147"/>
                  </a:cubicBezTo>
                  <a:cubicBezTo>
                    <a:pt x="153" y="149"/>
                    <a:pt x="153" y="152"/>
                    <a:pt x="153" y="154"/>
                  </a:cubicBezTo>
                  <a:cubicBezTo>
                    <a:pt x="154" y="156"/>
                    <a:pt x="157" y="156"/>
                    <a:pt x="158" y="156"/>
                  </a:cubicBezTo>
                  <a:cubicBezTo>
                    <a:pt x="161" y="157"/>
                    <a:pt x="162" y="156"/>
                    <a:pt x="163" y="153"/>
                  </a:cubicBezTo>
                  <a:cubicBezTo>
                    <a:pt x="163" y="152"/>
                    <a:pt x="164" y="151"/>
                    <a:pt x="162" y="150"/>
                  </a:cubicBezTo>
                  <a:cubicBezTo>
                    <a:pt x="162" y="149"/>
                    <a:pt x="161" y="149"/>
                    <a:pt x="160" y="148"/>
                  </a:cubicBezTo>
                  <a:cubicBezTo>
                    <a:pt x="160" y="148"/>
                    <a:pt x="158" y="148"/>
                    <a:pt x="157" y="147"/>
                  </a:cubicBezTo>
                  <a:cubicBezTo>
                    <a:pt x="157" y="147"/>
                    <a:pt x="157" y="144"/>
                    <a:pt x="157" y="143"/>
                  </a:cubicBezTo>
                  <a:cubicBezTo>
                    <a:pt x="158" y="143"/>
                    <a:pt x="159" y="142"/>
                    <a:pt x="159" y="141"/>
                  </a:cubicBezTo>
                  <a:cubicBezTo>
                    <a:pt x="160" y="140"/>
                    <a:pt x="160" y="140"/>
                    <a:pt x="160" y="139"/>
                  </a:cubicBezTo>
                  <a:cubicBezTo>
                    <a:pt x="161" y="137"/>
                    <a:pt x="163" y="136"/>
                    <a:pt x="163" y="134"/>
                  </a:cubicBezTo>
                  <a:cubicBezTo>
                    <a:pt x="164" y="132"/>
                    <a:pt x="164" y="130"/>
                    <a:pt x="166" y="129"/>
                  </a:cubicBezTo>
                  <a:cubicBezTo>
                    <a:pt x="168" y="128"/>
                    <a:pt x="169" y="127"/>
                    <a:pt x="171" y="126"/>
                  </a:cubicBezTo>
                  <a:cubicBezTo>
                    <a:pt x="171" y="125"/>
                    <a:pt x="171" y="125"/>
                    <a:pt x="172" y="124"/>
                  </a:cubicBezTo>
                  <a:cubicBezTo>
                    <a:pt x="173" y="123"/>
                    <a:pt x="174" y="122"/>
                    <a:pt x="174" y="121"/>
                  </a:cubicBezTo>
                  <a:cubicBezTo>
                    <a:pt x="175" y="120"/>
                    <a:pt x="175" y="118"/>
                    <a:pt x="175" y="117"/>
                  </a:cubicBezTo>
                  <a:cubicBezTo>
                    <a:pt x="174" y="116"/>
                    <a:pt x="174" y="115"/>
                    <a:pt x="173" y="114"/>
                  </a:cubicBezTo>
                  <a:cubicBezTo>
                    <a:pt x="172" y="113"/>
                    <a:pt x="171" y="110"/>
                    <a:pt x="172" y="108"/>
                  </a:cubicBezTo>
                  <a:cubicBezTo>
                    <a:pt x="172" y="108"/>
                    <a:pt x="173" y="107"/>
                    <a:pt x="173" y="106"/>
                  </a:cubicBezTo>
                  <a:cubicBezTo>
                    <a:pt x="174" y="106"/>
                    <a:pt x="175" y="105"/>
                    <a:pt x="175" y="105"/>
                  </a:cubicBezTo>
                  <a:cubicBezTo>
                    <a:pt x="176" y="104"/>
                    <a:pt x="180" y="104"/>
                    <a:pt x="181" y="105"/>
                  </a:cubicBezTo>
                  <a:cubicBezTo>
                    <a:pt x="181" y="105"/>
                    <a:pt x="183" y="107"/>
                    <a:pt x="183" y="107"/>
                  </a:cubicBezTo>
                  <a:cubicBezTo>
                    <a:pt x="184" y="109"/>
                    <a:pt x="184" y="110"/>
                    <a:pt x="185" y="111"/>
                  </a:cubicBezTo>
                  <a:cubicBezTo>
                    <a:pt x="185" y="112"/>
                    <a:pt x="185" y="114"/>
                    <a:pt x="185" y="115"/>
                  </a:cubicBezTo>
                  <a:cubicBezTo>
                    <a:pt x="186" y="117"/>
                    <a:pt x="187" y="117"/>
                    <a:pt x="189" y="117"/>
                  </a:cubicBezTo>
                  <a:cubicBezTo>
                    <a:pt x="190" y="118"/>
                    <a:pt x="192" y="119"/>
                    <a:pt x="194" y="119"/>
                  </a:cubicBezTo>
                  <a:cubicBezTo>
                    <a:pt x="195" y="118"/>
                    <a:pt x="195" y="118"/>
                    <a:pt x="196" y="118"/>
                  </a:cubicBezTo>
                  <a:cubicBezTo>
                    <a:pt x="197" y="118"/>
                    <a:pt x="198" y="118"/>
                    <a:pt x="198" y="118"/>
                  </a:cubicBezTo>
                  <a:cubicBezTo>
                    <a:pt x="199" y="117"/>
                    <a:pt x="199" y="116"/>
                    <a:pt x="200" y="116"/>
                  </a:cubicBezTo>
                  <a:cubicBezTo>
                    <a:pt x="201" y="115"/>
                    <a:pt x="202" y="115"/>
                    <a:pt x="203" y="115"/>
                  </a:cubicBezTo>
                  <a:cubicBezTo>
                    <a:pt x="205" y="115"/>
                    <a:pt x="207" y="115"/>
                    <a:pt x="209" y="115"/>
                  </a:cubicBezTo>
                  <a:cubicBezTo>
                    <a:pt x="210" y="115"/>
                    <a:pt x="212" y="114"/>
                    <a:pt x="213" y="115"/>
                  </a:cubicBezTo>
                  <a:cubicBezTo>
                    <a:pt x="214" y="115"/>
                    <a:pt x="214" y="118"/>
                    <a:pt x="214" y="118"/>
                  </a:cubicBezTo>
                  <a:cubicBezTo>
                    <a:pt x="215" y="119"/>
                    <a:pt x="215" y="120"/>
                    <a:pt x="216" y="121"/>
                  </a:cubicBezTo>
                  <a:cubicBezTo>
                    <a:pt x="218" y="122"/>
                    <a:pt x="220" y="123"/>
                    <a:pt x="223" y="123"/>
                  </a:cubicBezTo>
                  <a:cubicBezTo>
                    <a:pt x="223" y="121"/>
                    <a:pt x="222" y="120"/>
                    <a:pt x="221" y="118"/>
                  </a:cubicBezTo>
                  <a:cubicBezTo>
                    <a:pt x="221" y="117"/>
                    <a:pt x="220" y="117"/>
                    <a:pt x="220" y="116"/>
                  </a:cubicBezTo>
                  <a:cubicBezTo>
                    <a:pt x="221" y="115"/>
                    <a:pt x="221" y="115"/>
                    <a:pt x="222" y="114"/>
                  </a:cubicBezTo>
                  <a:cubicBezTo>
                    <a:pt x="222" y="113"/>
                    <a:pt x="224" y="110"/>
                    <a:pt x="222" y="109"/>
                  </a:cubicBezTo>
                  <a:cubicBezTo>
                    <a:pt x="221" y="108"/>
                    <a:pt x="219" y="109"/>
                    <a:pt x="217" y="109"/>
                  </a:cubicBezTo>
                  <a:cubicBezTo>
                    <a:pt x="217" y="107"/>
                    <a:pt x="217" y="105"/>
                    <a:pt x="217" y="104"/>
                  </a:cubicBezTo>
                  <a:cubicBezTo>
                    <a:pt x="217" y="102"/>
                    <a:pt x="217" y="101"/>
                    <a:pt x="218" y="99"/>
                  </a:cubicBezTo>
                  <a:cubicBezTo>
                    <a:pt x="218" y="98"/>
                    <a:pt x="219" y="97"/>
                    <a:pt x="220" y="97"/>
                  </a:cubicBezTo>
                  <a:cubicBezTo>
                    <a:pt x="222" y="96"/>
                    <a:pt x="223" y="96"/>
                    <a:pt x="224" y="95"/>
                  </a:cubicBezTo>
                  <a:cubicBezTo>
                    <a:pt x="225" y="95"/>
                    <a:pt x="225" y="94"/>
                    <a:pt x="226" y="94"/>
                  </a:cubicBezTo>
                  <a:cubicBezTo>
                    <a:pt x="229" y="94"/>
                    <a:pt x="229" y="97"/>
                    <a:pt x="231" y="98"/>
                  </a:cubicBezTo>
                  <a:cubicBezTo>
                    <a:pt x="232" y="99"/>
                    <a:pt x="234" y="99"/>
                    <a:pt x="236" y="98"/>
                  </a:cubicBezTo>
                  <a:cubicBezTo>
                    <a:pt x="237" y="98"/>
                    <a:pt x="239" y="97"/>
                    <a:pt x="240" y="97"/>
                  </a:cubicBezTo>
                  <a:cubicBezTo>
                    <a:pt x="240" y="96"/>
                    <a:pt x="241" y="93"/>
                    <a:pt x="241" y="93"/>
                  </a:cubicBezTo>
                  <a:cubicBezTo>
                    <a:pt x="240" y="92"/>
                    <a:pt x="239" y="92"/>
                    <a:pt x="239" y="92"/>
                  </a:cubicBezTo>
                  <a:cubicBezTo>
                    <a:pt x="238" y="92"/>
                    <a:pt x="238" y="91"/>
                    <a:pt x="238" y="91"/>
                  </a:cubicBezTo>
                  <a:cubicBezTo>
                    <a:pt x="237" y="90"/>
                    <a:pt x="236" y="90"/>
                    <a:pt x="236" y="89"/>
                  </a:cubicBezTo>
                  <a:cubicBezTo>
                    <a:pt x="235" y="85"/>
                    <a:pt x="237" y="84"/>
                    <a:pt x="239" y="82"/>
                  </a:cubicBezTo>
                  <a:cubicBezTo>
                    <a:pt x="240" y="80"/>
                    <a:pt x="240" y="78"/>
                    <a:pt x="241" y="77"/>
                  </a:cubicBezTo>
                  <a:cubicBezTo>
                    <a:pt x="242" y="74"/>
                    <a:pt x="241" y="73"/>
                    <a:pt x="240" y="7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2" name="Line 12"/>
            <p:cNvSpPr>
              <a:spLocks noChangeShapeType="1"/>
            </p:cNvSpPr>
            <p:nvPr/>
          </p:nvSpPr>
          <p:spPr bwMode="auto">
            <a:xfrm>
              <a:off x="4122738" y="4822825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3" name="Line 13"/>
            <p:cNvSpPr>
              <a:spLocks noChangeShapeType="1"/>
            </p:cNvSpPr>
            <p:nvPr/>
          </p:nvSpPr>
          <p:spPr bwMode="auto">
            <a:xfrm>
              <a:off x="4122738" y="4822825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4" name="Freeform 14"/>
            <p:cNvSpPr>
              <a:spLocks/>
            </p:cNvSpPr>
            <p:nvPr/>
          </p:nvSpPr>
          <p:spPr bwMode="auto">
            <a:xfrm>
              <a:off x="4403725" y="4695825"/>
              <a:ext cx="779463" cy="398463"/>
            </a:xfrm>
            <a:custGeom>
              <a:avLst/>
              <a:gdLst/>
              <a:ahLst/>
              <a:cxnLst>
                <a:cxn ang="0">
                  <a:pos x="412" y="70"/>
                </a:cxn>
                <a:cxn ang="0">
                  <a:pos x="405" y="46"/>
                </a:cxn>
                <a:cxn ang="0">
                  <a:pos x="411" y="26"/>
                </a:cxn>
                <a:cxn ang="0">
                  <a:pos x="395" y="20"/>
                </a:cxn>
                <a:cxn ang="0">
                  <a:pos x="370" y="21"/>
                </a:cxn>
                <a:cxn ang="0">
                  <a:pos x="347" y="12"/>
                </a:cxn>
                <a:cxn ang="0">
                  <a:pos x="321" y="1"/>
                </a:cxn>
                <a:cxn ang="0">
                  <a:pos x="305" y="8"/>
                </a:cxn>
                <a:cxn ang="0">
                  <a:pos x="294" y="24"/>
                </a:cxn>
                <a:cxn ang="0">
                  <a:pos x="282" y="33"/>
                </a:cxn>
                <a:cxn ang="0">
                  <a:pos x="266" y="35"/>
                </a:cxn>
                <a:cxn ang="0">
                  <a:pos x="254" y="26"/>
                </a:cxn>
                <a:cxn ang="0">
                  <a:pos x="245" y="21"/>
                </a:cxn>
                <a:cxn ang="0">
                  <a:pos x="241" y="37"/>
                </a:cxn>
                <a:cxn ang="0">
                  <a:pos x="224" y="43"/>
                </a:cxn>
                <a:cxn ang="0">
                  <a:pos x="222" y="53"/>
                </a:cxn>
                <a:cxn ang="0">
                  <a:pos x="191" y="65"/>
                </a:cxn>
                <a:cxn ang="0">
                  <a:pos x="187" y="83"/>
                </a:cxn>
                <a:cxn ang="0">
                  <a:pos x="196" y="93"/>
                </a:cxn>
                <a:cxn ang="0">
                  <a:pos x="193" y="108"/>
                </a:cxn>
                <a:cxn ang="0">
                  <a:pos x="192" y="124"/>
                </a:cxn>
                <a:cxn ang="0">
                  <a:pos x="179" y="112"/>
                </a:cxn>
                <a:cxn ang="0">
                  <a:pos x="151" y="111"/>
                </a:cxn>
                <a:cxn ang="0">
                  <a:pos x="129" y="118"/>
                </a:cxn>
                <a:cxn ang="0">
                  <a:pos x="108" y="132"/>
                </a:cxn>
                <a:cxn ang="0">
                  <a:pos x="79" y="128"/>
                </a:cxn>
                <a:cxn ang="0">
                  <a:pos x="56" y="138"/>
                </a:cxn>
                <a:cxn ang="0">
                  <a:pos x="38" y="130"/>
                </a:cxn>
                <a:cxn ang="0">
                  <a:pos x="14" y="124"/>
                </a:cxn>
                <a:cxn ang="0">
                  <a:pos x="12" y="141"/>
                </a:cxn>
                <a:cxn ang="0">
                  <a:pos x="5" y="154"/>
                </a:cxn>
                <a:cxn ang="0">
                  <a:pos x="16" y="164"/>
                </a:cxn>
                <a:cxn ang="0">
                  <a:pos x="30" y="173"/>
                </a:cxn>
                <a:cxn ang="0">
                  <a:pos x="51" y="166"/>
                </a:cxn>
                <a:cxn ang="0">
                  <a:pos x="70" y="178"/>
                </a:cxn>
                <a:cxn ang="0">
                  <a:pos x="82" y="185"/>
                </a:cxn>
                <a:cxn ang="0">
                  <a:pos x="95" y="168"/>
                </a:cxn>
                <a:cxn ang="0">
                  <a:pos x="127" y="167"/>
                </a:cxn>
                <a:cxn ang="0">
                  <a:pos x="147" y="165"/>
                </a:cxn>
                <a:cxn ang="0">
                  <a:pos x="160" y="186"/>
                </a:cxn>
                <a:cxn ang="0">
                  <a:pos x="197" y="198"/>
                </a:cxn>
                <a:cxn ang="0">
                  <a:pos x="236" y="203"/>
                </a:cxn>
                <a:cxn ang="0">
                  <a:pos x="254" y="208"/>
                </a:cxn>
                <a:cxn ang="0">
                  <a:pos x="276" y="213"/>
                </a:cxn>
                <a:cxn ang="0">
                  <a:pos x="289" y="200"/>
                </a:cxn>
                <a:cxn ang="0">
                  <a:pos x="312" y="193"/>
                </a:cxn>
                <a:cxn ang="0">
                  <a:pos x="330" y="187"/>
                </a:cxn>
                <a:cxn ang="0">
                  <a:pos x="352" y="187"/>
                </a:cxn>
                <a:cxn ang="0">
                  <a:pos x="368" y="166"/>
                </a:cxn>
                <a:cxn ang="0">
                  <a:pos x="380" y="154"/>
                </a:cxn>
                <a:cxn ang="0">
                  <a:pos x="381" y="141"/>
                </a:cxn>
                <a:cxn ang="0">
                  <a:pos x="388" y="124"/>
                </a:cxn>
                <a:cxn ang="0">
                  <a:pos x="383" y="112"/>
                </a:cxn>
                <a:cxn ang="0">
                  <a:pos x="395" y="108"/>
                </a:cxn>
                <a:cxn ang="0">
                  <a:pos x="410" y="96"/>
                </a:cxn>
              </a:cxnLst>
              <a:rect l="0" t="0" r="r" b="b"/>
              <a:pathLst>
                <a:path w="417" h="213">
                  <a:moveTo>
                    <a:pt x="416" y="79"/>
                  </a:moveTo>
                  <a:cubicBezTo>
                    <a:pt x="415" y="77"/>
                    <a:pt x="415" y="76"/>
                    <a:pt x="415" y="75"/>
                  </a:cubicBezTo>
                  <a:cubicBezTo>
                    <a:pt x="415" y="75"/>
                    <a:pt x="414" y="75"/>
                    <a:pt x="414" y="74"/>
                  </a:cubicBezTo>
                  <a:cubicBezTo>
                    <a:pt x="414" y="74"/>
                    <a:pt x="414" y="74"/>
                    <a:pt x="414" y="73"/>
                  </a:cubicBezTo>
                  <a:cubicBezTo>
                    <a:pt x="414" y="73"/>
                    <a:pt x="414" y="72"/>
                    <a:pt x="413" y="71"/>
                  </a:cubicBezTo>
                  <a:cubicBezTo>
                    <a:pt x="413" y="71"/>
                    <a:pt x="412" y="71"/>
                    <a:pt x="412" y="70"/>
                  </a:cubicBezTo>
                  <a:cubicBezTo>
                    <a:pt x="411" y="69"/>
                    <a:pt x="410" y="67"/>
                    <a:pt x="410" y="66"/>
                  </a:cubicBezTo>
                  <a:cubicBezTo>
                    <a:pt x="409" y="63"/>
                    <a:pt x="410" y="60"/>
                    <a:pt x="409" y="57"/>
                  </a:cubicBezTo>
                  <a:cubicBezTo>
                    <a:pt x="409" y="56"/>
                    <a:pt x="409" y="55"/>
                    <a:pt x="408" y="54"/>
                  </a:cubicBezTo>
                  <a:cubicBezTo>
                    <a:pt x="408" y="54"/>
                    <a:pt x="407" y="53"/>
                    <a:pt x="406" y="53"/>
                  </a:cubicBezTo>
                  <a:cubicBezTo>
                    <a:pt x="406" y="52"/>
                    <a:pt x="405" y="50"/>
                    <a:pt x="405" y="49"/>
                  </a:cubicBezTo>
                  <a:cubicBezTo>
                    <a:pt x="404" y="48"/>
                    <a:pt x="405" y="47"/>
                    <a:pt x="405" y="46"/>
                  </a:cubicBezTo>
                  <a:cubicBezTo>
                    <a:pt x="406" y="44"/>
                    <a:pt x="407" y="42"/>
                    <a:pt x="408" y="41"/>
                  </a:cubicBezTo>
                  <a:cubicBezTo>
                    <a:pt x="409" y="40"/>
                    <a:pt x="410" y="39"/>
                    <a:pt x="410" y="38"/>
                  </a:cubicBezTo>
                  <a:cubicBezTo>
                    <a:pt x="411" y="37"/>
                    <a:pt x="412" y="35"/>
                    <a:pt x="412" y="33"/>
                  </a:cubicBezTo>
                  <a:cubicBezTo>
                    <a:pt x="412" y="32"/>
                    <a:pt x="412" y="30"/>
                    <a:pt x="412" y="29"/>
                  </a:cubicBezTo>
                  <a:cubicBezTo>
                    <a:pt x="412" y="28"/>
                    <a:pt x="411" y="27"/>
                    <a:pt x="411" y="26"/>
                  </a:cubicBezTo>
                  <a:cubicBezTo>
                    <a:pt x="411" y="26"/>
                    <a:pt x="411" y="26"/>
                    <a:pt x="411" y="26"/>
                  </a:cubicBezTo>
                  <a:cubicBezTo>
                    <a:pt x="411" y="26"/>
                    <a:pt x="411" y="26"/>
                    <a:pt x="410" y="26"/>
                  </a:cubicBezTo>
                  <a:cubicBezTo>
                    <a:pt x="410" y="26"/>
                    <a:pt x="410" y="25"/>
                    <a:pt x="409" y="25"/>
                  </a:cubicBezTo>
                  <a:cubicBezTo>
                    <a:pt x="409" y="25"/>
                    <a:pt x="409" y="24"/>
                    <a:pt x="408" y="24"/>
                  </a:cubicBezTo>
                  <a:cubicBezTo>
                    <a:pt x="407" y="23"/>
                    <a:pt x="405" y="23"/>
                    <a:pt x="404" y="23"/>
                  </a:cubicBezTo>
                  <a:cubicBezTo>
                    <a:pt x="402" y="23"/>
                    <a:pt x="396" y="25"/>
                    <a:pt x="395" y="22"/>
                  </a:cubicBezTo>
                  <a:cubicBezTo>
                    <a:pt x="395" y="22"/>
                    <a:pt x="395" y="21"/>
                    <a:pt x="395" y="20"/>
                  </a:cubicBezTo>
                  <a:cubicBezTo>
                    <a:pt x="394" y="19"/>
                    <a:pt x="394" y="19"/>
                    <a:pt x="393" y="18"/>
                  </a:cubicBezTo>
                  <a:cubicBezTo>
                    <a:pt x="392" y="17"/>
                    <a:pt x="390" y="18"/>
                    <a:pt x="389" y="16"/>
                  </a:cubicBezTo>
                  <a:cubicBezTo>
                    <a:pt x="388" y="15"/>
                    <a:pt x="387" y="14"/>
                    <a:pt x="385" y="15"/>
                  </a:cubicBezTo>
                  <a:cubicBezTo>
                    <a:pt x="383" y="15"/>
                    <a:pt x="384" y="17"/>
                    <a:pt x="383" y="19"/>
                  </a:cubicBezTo>
                  <a:cubicBezTo>
                    <a:pt x="382" y="20"/>
                    <a:pt x="380" y="21"/>
                    <a:pt x="379" y="21"/>
                  </a:cubicBezTo>
                  <a:cubicBezTo>
                    <a:pt x="376" y="22"/>
                    <a:pt x="373" y="21"/>
                    <a:pt x="370" y="21"/>
                  </a:cubicBezTo>
                  <a:cubicBezTo>
                    <a:pt x="368" y="21"/>
                    <a:pt x="367" y="21"/>
                    <a:pt x="365" y="20"/>
                  </a:cubicBezTo>
                  <a:cubicBezTo>
                    <a:pt x="362" y="19"/>
                    <a:pt x="359" y="18"/>
                    <a:pt x="357" y="17"/>
                  </a:cubicBezTo>
                  <a:cubicBezTo>
                    <a:pt x="355" y="16"/>
                    <a:pt x="356" y="14"/>
                    <a:pt x="355" y="13"/>
                  </a:cubicBezTo>
                  <a:cubicBezTo>
                    <a:pt x="354" y="11"/>
                    <a:pt x="353" y="10"/>
                    <a:pt x="351" y="11"/>
                  </a:cubicBezTo>
                  <a:cubicBezTo>
                    <a:pt x="350" y="11"/>
                    <a:pt x="350" y="11"/>
                    <a:pt x="349" y="12"/>
                  </a:cubicBezTo>
                  <a:cubicBezTo>
                    <a:pt x="348" y="12"/>
                    <a:pt x="347" y="12"/>
                    <a:pt x="347" y="12"/>
                  </a:cubicBezTo>
                  <a:cubicBezTo>
                    <a:pt x="345" y="12"/>
                    <a:pt x="343" y="12"/>
                    <a:pt x="342" y="12"/>
                  </a:cubicBezTo>
                  <a:cubicBezTo>
                    <a:pt x="341" y="11"/>
                    <a:pt x="341" y="10"/>
                    <a:pt x="340" y="9"/>
                  </a:cubicBezTo>
                  <a:cubicBezTo>
                    <a:pt x="338" y="7"/>
                    <a:pt x="334" y="6"/>
                    <a:pt x="332" y="5"/>
                  </a:cubicBezTo>
                  <a:cubicBezTo>
                    <a:pt x="330" y="4"/>
                    <a:pt x="329" y="4"/>
                    <a:pt x="327" y="3"/>
                  </a:cubicBezTo>
                  <a:cubicBezTo>
                    <a:pt x="327" y="3"/>
                    <a:pt x="326" y="2"/>
                    <a:pt x="326" y="2"/>
                  </a:cubicBezTo>
                  <a:cubicBezTo>
                    <a:pt x="326" y="0"/>
                    <a:pt x="322" y="0"/>
                    <a:pt x="321" y="1"/>
                  </a:cubicBezTo>
                  <a:cubicBezTo>
                    <a:pt x="321" y="2"/>
                    <a:pt x="322" y="4"/>
                    <a:pt x="320" y="4"/>
                  </a:cubicBezTo>
                  <a:cubicBezTo>
                    <a:pt x="318" y="5"/>
                    <a:pt x="316" y="5"/>
                    <a:pt x="314" y="3"/>
                  </a:cubicBezTo>
                  <a:cubicBezTo>
                    <a:pt x="313" y="2"/>
                    <a:pt x="314" y="0"/>
                    <a:pt x="312" y="0"/>
                  </a:cubicBezTo>
                  <a:cubicBezTo>
                    <a:pt x="311" y="0"/>
                    <a:pt x="310" y="0"/>
                    <a:pt x="309" y="0"/>
                  </a:cubicBezTo>
                  <a:cubicBezTo>
                    <a:pt x="308" y="0"/>
                    <a:pt x="308" y="0"/>
                    <a:pt x="308" y="1"/>
                  </a:cubicBezTo>
                  <a:cubicBezTo>
                    <a:pt x="307" y="3"/>
                    <a:pt x="305" y="5"/>
                    <a:pt x="305" y="8"/>
                  </a:cubicBezTo>
                  <a:cubicBezTo>
                    <a:pt x="305" y="9"/>
                    <a:pt x="304" y="11"/>
                    <a:pt x="305" y="13"/>
                  </a:cubicBezTo>
                  <a:cubicBezTo>
                    <a:pt x="305" y="15"/>
                    <a:pt x="306" y="16"/>
                    <a:pt x="306" y="17"/>
                  </a:cubicBezTo>
                  <a:cubicBezTo>
                    <a:pt x="305" y="19"/>
                    <a:pt x="303" y="19"/>
                    <a:pt x="302" y="18"/>
                  </a:cubicBezTo>
                  <a:cubicBezTo>
                    <a:pt x="300" y="17"/>
                    <a:pt x="298" y="17"/>
                    <a:pt x="297" y="18"/>
                  </a:cubicBezTo>
                  <a:cubicBezTo>
                    <a:pt x="297" y="18"/>
                    <a:pt x="297" y="20"/>
                    <a:pt x="296" y="20"/>
                  </a:cubicBezTo>
                  <a:cubicBezTo>
                    <a:pt x="296" y="22"/>
                    <a:pt x="294" y="22"/>
                    <a:pt x="294" y="24"/>
                  </a:cubicBezTo>
                  <a:cubicBezTo>
                    <a:pt x="293" y="27"/>
                    <a:pt x="293" y="30"/>
                    <a:pt x="291" y="32"/>
                  </a:cubicBezTo>
                  <a:cubicBezTo>
                    <a:pt x="290" y="33"/>
                    <a:pt x="289" y="34"/>
                    <a:pt x="288" y="34"/>
                  </a:cubicBezTo>
                  <a:cubicBezTo>
                    <a:pt x="287" y="34"/>
                    <a:pt x="286" y="34"/>
                    <a:pt x="286" y="34"/>
                  </a:cubicBezTo>
                  <a:cubicBezTo>
                    <a:pt x="285" y="34"/>
                    <a:pt x="284" y="35"/>
                    <a:pt x="284" y="34"/>
                  </a:cubicBezTo>
                  <a:cubicBezTo>
                    <a:pt x="283" y="34"/>
                    <a:pt x="283" y="34"/>
                    <a:pt x="283" y="34"/>
                  </a:cubicBezTo>
                  <a:cubicBezTo>
                    <a:pt x="283" y="33"/>
                    <a:pt x="282" y="33"/>
                    <a:pt x="282" y="33"/>
                  </a:cubicBezTo>
                  <a:cubicBezTo>
                    <a:pt x="281" y="32"/>
                    <a:pt x="281" y="32"/>
                    <a:pt x="281" y="31"/>
                  </a:cubicBezTo>
                  <a:cubicBezTo>
                    <a:pt x="280" y="30"/>
                    <a:pt x="279" y="29"/>
                    <a:pt x="278" y="29"/>
                  </a:cubicBezTo>
                  <a:cubicBezTo>
                    <a:pt x="275" y="29"/>
                    <a:pt x="275" y="33"/>
                    <a:pt x="274" y="34"/>
                  </a:cubicBezTo>
                  <a:cubicBezTo>
                    <a:pt x="274" y="34"/>
                    <a:pt x="273" y="34"/>
                    <a:pt x="272" y="34"/>
                  </a:cubicBezTo>
                  <a:cubicBezTo>
                    <a:pt x="271" y="34"/>
                    <a:pt x="270" y="35"/>
                    <a:pt x="269" y="35"/>
                  </a:cubicBezTo>
                  <a:cubicBezTo>
                    <a:pt x="268" y="35"/>
                    <a:pt x="267" y="35"/>
                    <a:pt x="266" y="35"/>
                  </a:cubicBezTo>
                  <a:cubicBezTo>
                    <a:pt x="265" y="35"/>
                    <a:pt x="264" y="35"/>
                    <a:pt x="263" y="35"/>
                  </a:cubicBezTo>
                  <a:cubicBezTo>
                    <a:pt x="263" y="35"/>
                    <a:pt x="263" y="35"/>
                    <a:pt x="262" y="35"/>
                  </a:cubicBezTo>
                  <a:cubicBezTo>
                    <a:pt x="261" y="34"/>
                    <a:pt x="260" y="35"/>
                    <a:pt x="259" y="34"/>
                  </a:cubicBezTo>
                  <a:cubicBezTo>
                    <a:pt x="259" y="34"/>
                    <a:pt x="257" y="33"/>
                    <a:pt x="257" y="32"/>
                  </a:cubicBezTo>
                  <a:cubicBezTo>
                    <a:pt x="256" y="31"/>
                    <a:pt x="256" y="30"/>
                    <a:pt x="256" y="29"/>
                  </a:cubicBezTo>
                  <a:cubicBezTo>
                    <a:pt x="256" y="28"/>
                    <a:pt x="256" y="26"/>
                    <a:pt x="254" y="26"/>
                  </a:cubicBezTo>
                  <a:cubicBezTo>
                    <a:pt x="254" y="25"/>
                    <a:pt x="253" y="24"/>
                    <a:pt x="252" y="23"/>
                  </a:cubicBezTo>
                  <a:cubicBezTo>
                    <a:pt x="252" y="23"/>
                    <a:pt x="251" y="22"/>
                    <a:pt x="250" y="21"/>
                  </a:cubicBezTo>
                  <a:cubicBezTo>
                    <a:pt x="249" y="20"/>
                    <a:pt x="247" y="20"/>
                    <a:pt x="246" y="19"/>
                  </a:cubicBezTo>
                  <a:cubicBezTo>
                    <a:pt x="245" y="19"/>
                    <a:pt x="245" y="18"/>
                    <a:pt x="244" y="18"/>
                  </a:cubicBezTo>
                  <a:cubicBezTo>
                    <a:pt x="244" y="19"/>
                    <a:pt x="244" y="19"/>
                    <a:pt x="244" y="19"/>
                  </a:cubicBezTo>
                  <a:cubicBezTo>
                    <a:pt x="244" y="20"/>
                    <a:pt x="245" y="21"/>
                    <a:pt x="245" y="21"/>
                  </a:cubicBezTo>
                  <a:cubicBezTo>
                    <a:pt x="245" y="21"/>
                    <a:pt x="244" y="21"/>
                    <a:pt x="244" y="22"/>
                  </a:cubicBezTo>
                  <a:cubicBezTo>
                    <a:pt x="244" y="22"/>
                    <a:pt x="244" y="23"/>
                    <a:pt x="244" y="24"/>
                  </a:cubicBezTo>
                  <a:cubicBezTo>
                    <a:pt x="244" y="25"/>
                    <a:pt x="243" y="25"/>
                    <a:pt x="243" y="26"/>
                  </a:cubicBezTo>
                  <a:cubicBezTo>
                    <a:pt x="243" y="27"/>
                    <a:pt x="243" y="29"/>
                    <a:pt x="243" y="30"/>
                  </a:cubicBezTo>
                  <a:cubicBezTo>
                    <a:pt x="243" y="32"/>
                    <a:pt x="242" y="33"/>
                    <a:pt x="242" y="34"/>
                  </a:cubicBezTo>
                  <a:cubicBezTo>
                    <a:pt x="242" y="35"/>
                    <a:pt x="242" y="36"/>
                    <a:pt x="241" y="37"/>
                  </a:cubicBezTo>
                  <a:cubicBezTo>
                    <a:pt x="241" y="38"/>
                    <a:pt x="240" y="40"/>
                    <a:pt x="239" y="41"/>
                  </a:cubicBezTo>
                  <a:cubicBezTo>
                    <a:pt x="238" y="42"/>
                    <a:pt x="232" y="41"/>
                    <a:pt x="231" y="40"/>
                  </a:cubicBezTo>
                  <a:cubicBezTo>
                    <a:pt x="230" y="39"/>
                    <a:pt x="230" y="38"/>
                    <a:pt x="229" y="38"/>
                  </a:cubicBezTo>
                  <a:cubicBezTo>
                    <a:pt x="228" y="38"/>
                    <a:pt x="227" y="38"/>
                    <a:pt x="226" y="38"/>
                  </a:cubicBezTo>
                  <a:cubicBezTo>
                    <a:pt x="226" y="38"/>
                    <a:pt x="225" y="40"/>
                    <a:pt x="225" y="41"/>
                  </a:cubicBezTo>
                  <a:cubicBezTo>
                    <a:pt x="224" y="41"/>
                    <a:pt x="224" y="42"/>
                    <a:pt x="224" y="43"/>
                  </a:cubicBezTo>
                  <a:cubicBezTo>
                    <a:pt x="223" y="44"/>
                    <a:pt x="224" y="45"/>
                    <a:pt x="224" y="46"/>
                  </a:cubicBezTo>
                  <a:cubicBezTo>
                    <a:pt x="223" y="46"/>
                    <a:pt x="223" y="47"/>
                    <a:pt x="223" y="48"/>
                  </a:cubicBezTo>
                  <a:cubicBezTo>
                    <a:pt x="223" y="48"/>
                    <a:pt x="223" y="48"/>
                    <a:pt x="223" y="47"/>
                  </a:cubicBezTo>
                  <a:cubicBezTo>
                    <a:pt x="223" y="48"/>
                    <a:pt x="223" y="49"/>
                    <a:pt x="223" y="50"/>
                  </a:cubicBezTo>
                  <a:cubicBezTo>
                    <a:pt x="222" y="50"/>
                    <a:pt x="222" y="51"/>
                    <a:pt x="222" y="52"/>
                  </a:cubicBezTo>
                  <a:cubicBezTo>
                    <a:pt x="222" y="52"/>
                    <a:pt x="222" y="53"/>
                    <a:pt x="222" y="53"/>
                  </a:cubicBezTo>
                  <a:cubicBezTo>
                    <a:pt x="222" y="54"/>
                    <a:pt x="222" y="54"/>
                    <a:pt x="221" y="55"/>
                  </a:cubicBezTo>
                  <a:cubicBezTo>
                    <a:pt x="221" y="56"/>
                    <a:pt x="220" y="56"/>
                    <a:pt x="219" y="57"/>
                  </a:cubicBezTo>
                  <a:cubicBezTo>
                    <a:pt x="216" y="59"/>
                    <a:pt x="212" y="59"/>
                    <a:pt x="208" y="59"/>
                  </a:cubicBezTo>
                  <a:cubicBezTo>
                    <a:pt x="206" y="59"/>
                    <a:pt x="204" y="60"/>
                    <a:pt x="202" y="61"/>
                  </a:cubicBezTo>
                  <a:cubicBezTo>
                    <a:pt x="200" y="62"/>
                    <a:pt x="198" y="63"/>
                    <a:pt x="196" y="63"/>
                  </a:cubicBezTo>
                  <a:cubicBezTo>
                    <a:pt x="194" y="63"/>
                    <a:pt x="192" y="64"/>
                    <a:pt x="191" y="65"/>
                  </a:cubicBezTo>
                  <a:cubicBezTo>
                    <a:pt x="190" y="66"/>
                    <a:pt x="189" y="67"/>
                    <a:pt x="189" y="67"/>
                  </a:cubicBezTo>
                  <a:cubicBezTo>
                    <a:pt x="188" y="68"/>
                    <a:pt x="187" y="68"/>
                    <a:pt x="186" y="68"/>
                  </a:cubicBezTo>
                  <a:cubicBezTo>
                    <a:pt x="185" y="69"/>
                    <a:pt x="186" y="70"/>
                    <a:pt x="186" y="71"/>
                  </a:cubicBezTo>
                  <a:cubicBezTo>
                    <a:pt x="186" y="72"/>
                    <a:pt x="186" y="73"/>
                    <a:pt x="186" y="74"/>
                  </a:cubicBezTo>
                  <a:cubicBezTo>
                    <a:pt x="186" y="74"/>
                    <a:pt x="186" y="74"/>
                    <a:pt x="187" y="75"/>
                  </a:cubicBezTo>
                  <a:cubicBezTo>
                    <a:pt x="187" y="77"/>
                    <a:pt x="187" y="80"/>
                    <a:pt x="187" y="83"/>
                  </a:cubicBezTo>
                  <a:cubicBezTo>
                    <a:pt x="187" y="84"/>
                    <a:pt x="188" y="85"/>
                    <a:pt x="188" y="85"/>
                  </a:cubicBezTo>
                  <a:cubicBezTo>
                    <a:pt x="189" y="86"/>
                    <a:pt x="189" y="86"/>
                    <a:pt x="189" y="86"/>
                  </a:cubicBezTo>
                  <a:cubicBezTo>
                    <a:pt x="190" y="87"/>
                    <a:pt x="190" y="88"/>
                    <a:pt x="190" y="88"/>
                  </a:cubicBezTo>
                  <a:cubicBezTo>
                    <a:pt x="190" y="88"/>
                    <a:pt x="191" y="88"/>
                    <a:pt x="192" y="89"/>
                  </a:cubicBezTo>
                  <a:cubicBezTo>
                    <a:pt x="192" y="89"/>
                    <a:pt x="193" y="90"/>
                    <a:pt x="193" y="90"/>
                  </a:cubicBezTo>
                  <a:cubicBezTo>
                    <a:pt x="194" y="91"/>
                    <a:pt x="195" y="92"/>
                    <a:pt x="196" y="93"/>
                  </a:cubicBezTo>
                  <a:cubicBezTo>
                    <a:pt x="197" y="94"/>
                    <a:pt x="196" y="96"/>
                    <a:pt x="196" y="98"/>
                  </a:cubicBezTo>
                  <a:cubicBezTo>
                    <a:pt x="195" y="99"/>
                    <a:pt x="195" y="100"/>
                    <a:pt x="194" y="100"/>
                  </a:cubicBezTo>
                  <a:cubicBezTo>
                    <a:pt x="193" y="101"/>
                    <a:pt x="192" y="101"/>
                    <a:pt x="192" y="102"/>
                  </a:cubicBezTo>
                  <a:cubicBezTo>
                    <a:pt x="192" y="103"/>
                    <a:pt x="191" y="104"/>
                    <a:pt x="191" y="105"/>
                  </a:cubicBezTo>
                  <a:cubicBezTo>
                    <a:pt x="191" y="105"/>
                    <a:pt x="192" y="105"/>
                    <a:pt x="192" y="106"/>
                  </a:cubicBezTo>
                  <a:cubicBezTo>
                    <a:pt x="192" y="107"/>
                    <a:pt x="192" y="107"/>
                    <a:pt x="193" y="108"/>
                  </a:cubicBezTo>
                  <a:cubicBezTo>
                    <a:pt x="195" y="110"/>
                    <a:pt x="197" y="110"/>
                    <a:pt x="199" y="111"/>
                  </a:cubicBezTo>
                  <a:cubicBezTo>
                    <a:pt x="202" y="112"/>
                    <a:pt x="200" y="115"/>
                    <a:pt x="199" y="116"/>
                  </a:cubicBezTo>
                  <a:cubicBezTo>
                    <a:pt x="199" y="117"/>
                    <a:pt x="199" y="118"/>
                    <a:pt x="199" y="119"/>
                  </a:cubicBezTo>
                  <a:cubicBezTo>
                    <a:pt x="199" y="120"/>
                    <a:pt x="199" y="121"/>
                    <a:pt x="198" y="122"/>
                  </a:cubicBezTo>
                  <a:cubicBezTo>
                    <a:pt x="197" y="123"/>
                    <a:pt x="197" y="123"/>
                    <a:pt x="196" y="124"/>
                  </a:cubicBezTo>
                  <a:cubicBezTo>
                    <a:pt x="195" y="124"/>
                    <a:pt x="193" y="124"/>
                    <a:pt x="192" y="124"/>
                  </a:cubicBezTo>
                  <a:cubicBezTo>
                    <a:pt x="191" y="124"/>
                    <a:pt x="191" y="123"/>
                    <a:pt x="190" y="123"/>
                  </a:cubicBezTo>
                  <a:cubicBezTo>
                    <a:pt x="189" y="123"/>
                    <a:pt x="187" y="124"/>
                    <a:pt x="186" y="122"/>
                  </a:cubicBezTo>
                  <a:cubicBezTo>
                    <a:pt x="186" y="122"/>
                    <a:pt x="186" y="121"/>
                    <a:pt x="186" y="121"/>
                  </a:cubicBezTo>
                  <a:cubicBezTo>
                    <a:pt x="186" y="120"/>
                    <a:pt x="185" y="118"/>
                    <a:pt x="184" y="117"/>
                  </a:cubicBezTo>
                  <a:cubicBezTo>
                    <a:pt x="183" y="116"/>
                    <a:pt x="182" y="114"/>
                    <a:pt x="181" y="113"/>
                  </a:cubicBezTo>
                  <a:cubicBezTo>
                    <a:pt x="180" y="113"/>
                    <a:pt x="181" y="113"/>
                    <a:pt x="179" y="112"/>
                  </a:cubicBezTo>
                  <a:cubicBezTo>
                    <a:pt x="177" y="112"/>
                    <a:pt x="175" y="114"/>
                    <a:pt x="172" y="114"/>
                  </a:cubicBezTo>
                  <a:cubicBezTo>
                    <a:pt x="171" y="114"/>
                    <a:pt x="168" y="115"/>
                    <a:pt x="167" y="114"/>
                  </a:cubicBezTo>
                  <a:cubicBezTo>
                    <a:pt x="166" y="113"/>
                    <a:pt x="166" y="112"/>
                    <a:pt x="165" y="111"/>
                  </a:cubicBezTo>
                  <a:cubicBezTo>
                    <a:pt x="164" y="111"/>
                    <a:pt x="161" y="110"/>
                    <a:pt x="160" y="110"/>
                  </a:cubicBezTo>
                  <a:cubicBezTo>
                    <a:pt x="158" y="110"/>
                    <a:pt x="156" y="110"/>
                    <a:pt x="154" y="110"/>
                  </a:cubicBezTo>
                  <a:cubicBezTo>
                    <a:pt x="153" y="110"/>
                    <a:pt x="151" y="110"/>
                    <a:pt x="151" y="111"/>
                  </a:cubicBezTo>
                  <a:cubicBezTo>
                    <a:pt x="150" y="114"/>
                    <a:pt x="156" y="116"/>
                    <a:pt x="153" y="118"/>
                  </a:cubicBezTo>
                  <a:cubicBezTo>
                    <a:pt x="152" y="118"/>
                    <a:pt x="152" y="118"/>
                    <a:pt x="151" y="118"/>
                  </a:cubicBezTo>
                  <a:cubicBezTo>
                    <a:pt x="150" y="118"/>
                    <a:pt x="149" y="118"/>
                    <a:pt x="149" y="119"/>
                  </a:cubicBezTo>
                  <a:cubicBezTo>
                    <a:pt x="148" y="119"/>
                    <a:pt x="148" y="119"/>
                    <a:pt x="147" y="119"/>
                  </a:cubicBezTo>
                  <a:cubicBezTo>
                    <a:pt x="144" y="119"/>
                    <a:pt x="142" y="119"/>
                    <a:pt x="140" y="119"/>
                  </a:cubicBezTo>
                  <a:cubicBezTo>
                    <a:pt x="136" y="118"/>
                    <a:pt x="132" y="118"/>
                    <a:pt x="129" y="118"/>
                  </a:cubicBezTo>
                  <a:cubicBezTo>
                    <a:pt x="127" y="118"/>
                    <a:pt x="126" y="118"/>
                    <a:pt x="126" y="119"/>
                  </a:cubicBezTo>
                  <a:cubicBezTo>
                    <a:pt x="125" y="121"/>
                    <a:pt x="126" y="122"/>
                    <a:pt x="126" y="123"/>
                  </a:cubicBezTo>
                  <a:cubicBezTo>
                    <a:pt x="125" y="125"/>
                    <a:pt x="123" y="124"/>
                    <a:pt x="122" y="124"/>
                  </a:cubicBezTo>
                  <a:cubicBezTo>
                    <a:pt x="119" y="124"/>
                    <a:pt x="115" y="123"/>
                    <a:pt x="113" y="125"/>
                  </a:cubicBezTo>
                  <a:cubicBezTo>
                    <a:pt x="112" y="126"/>
                    <a:pt x="112" y="127"/>
                    <a:pt x="111" y="128"/>
                  </a:cubicBezTo>
                  <a:cubicBezTo>
                    <a:pt x="110" y="129"/>
                    <a:pt x="109" y="131"/>
                    <a:pt x="108" y="132"/>
                  </a:cubicBezTo>
                  <a:cubicBezTo>
                    <a:pt x="106" y="132"/>
                    <a:pt x="105" y="130"/>
                    <a:pt x="103" y="131"/>
                  </a:cubicBezTo>
                  <a:cubicBezTo>
                    <a:pt x="102" y="131"/>
                    <a:pt x="101" y="132"/>
                    <a:pt x="99" y="133"/>
                  </a:cubicBezTo>
                  <a:cubicBezTo>
                    <a:pt x="97" y="133"/>
                    <a:pt x="94" y="133"/>
                    <a:pt x="91" y="133"/>
                  </a:cubicBezTo>
                  <a:cubicBezTo>
                    <a:pt x="92" y="133"/>
                    <a:pt x="88" y="133"/>
                    <a:pt x="87" y="132"/>
                  </a:cubicBezTo>
                  <a:cubicBezTo>
                    <a:pt x="87" y="130"/>
                    <a:pt x="81" y="128"/>
                    <a:pt x="79" y="128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77" y="128"/>
                    <a:pt x="77" y="126"/>
                    <a:pt x="76" y="125"/>
                  </a:cubicBezTo>
                  <a:cubicBezTo>
                    <a:pt x="74" y="122"/>
                    <a:pt x="71" y="123"/>
                    <a:pt x="68" y="123"/>
                  </a:cubicBezTo>
                  <a:cubicBezTo>
                    <a:pt x="64" y="124"/>
                    <a:pt x="60" y="122"/>
                    <a:pt x="56" y="123"/>
                  </a:cubicBezTo>
                  <a:cubicBezTo>
                    <a:pt x="53" y="124"/>
                    <a:pt x="53" y="125"/>
                    <a:pt x="53" y="128"/>
                  </a:cubicBezTo>
                  <a:cubicBezTo>
                    <a:pt x="54" y="131"/>
                    <a:pt x="58" y="133"/>
                    <a:pt x="57" y="137"/>
                  </a:cubicBezTo>
                  <a:cubicBezTo>
                    <a:pt x="57" y="137"/>
                    <a:pt x="57" y="138"/>
                    <a:pt x="56" y="138"/>
                  </a:cubicBezTo>
                  <a:cubicBezTo>
                    <a:pt x="56" y="139"/>
                    <a:pt x="55" y="141"/>
                    <a:pt x="54" y="141"/>
                  </a:cubicBezTo>
                  <a:cubicBezTo>
                    <a:pt x="50" y="143"/>
                    <a:pt x="49" y="141"/>
                    <a:pt x="46" y="139"/>
                  </a:cubicBezTo>
                  <a:cubicBezTo>
                    <a:pt x="44" y="138"/>
                    <a:pt x="41" y="137"/>
                    <a:pt x="40" y="135"/>
                  </a:cubicBezTo>
                  <a:cubicBezTo>
                    <a:pt x="39" y="134"/>
                    <a:pt x="39" y="135"/>
                    <a:pt x="39" y="134"/>
                  </a:cubicBezTo>
                  <a:cubicBezTo>
                    <a:pt x="39" y="133"/>
                    <a:pt x="39" y="132"/>
                    <a:pt x="39" y="131"/>
                  </a:cubicBezTo>
                  <a:cubicBezTo>
                    <a:pt x="38" y="131"/>
                    <a:pt x="38" y="131"/>
                    <a:pt x="38" y="130"/>
                  </a:cubicBezTo>
                  <a:cubicBezTo>
                    <a:pt x="37" y="129"/>
                    <a:pt x="35" y="130"/>
                    <a:pt x="34" y="130"/>
                  </a:cubicBezTo>
                  <a:cubicBezTo>
                    <a:pt x="32" y="129"/>
                    <a:pt x="32" y="129"/>
                    <a:pt x="31" y="128"/>
                  </a:cubicBezTo>
                  <a:cubicBezTo>
                    <a:pt x="30" y="126"/>
                    <a:pt x="30" y="124"/>
                    <a:pt x="28" y="122"/>
                  </a:cubicBezTo>
                  <a:cubicBezTo>
                    <a:pt x="27" y="121"/>
                    <a:pt x="25" y="122"/>
                    <a:pt x="24" y="122"/>
                  </a:cubicBezTo>
                  <a:cubicBezTo>
                    <a:pt x="21" y="122"/>
                    <a:pt x="19" y="122"/>
                    <a:pt x="16" y="122"/>
                  </a:cubicBezTo>
                  <a:cubicBezTo>
                    <a:pt x="16" y="123"/>
                    <a:pt x="15" y="123"/>
                    <a:pt x="14" y="124"/>
                  </a:cubicBezTo>
                  <a:cubicBezTo>
                    <a:pt x="14" y="126"/>
                    <a:pt x="13" y="127"/>
                    <a:pt x="13" y="128"/>
                  </a:cubicBezTo>
                  <a:cubicBezTo>
                    <a:pt x="13" y="130"/>
                    <a:pt x="13" y="132"/>
                    <a:pt x="13" y="134"/>
                  </a:cubicBezTo>
                  <a:cubicBezTo>
                    <a:pt x="13" y="135"/>
                    <a:pt x="13" y="136"/>
                    <a:pt x="14" y="137"/>
                  </a:cubicBezTo>
                  <a:cubicBezTo>
                    <a:pt x="14" y="137"/>
                    <a:pt x="15" y="138"/>
                    <a:pt x="14" y="139"/>
                  </a:cubicBezTo>
                  <a:cubicBezTo>
                    <a:pt x="14" y="140"/>
                    <a:pt x="12" y="140"/>
                    <a:pt x="10" y="141"/>
                  </a:cubicBezTo>
                  <a:cubicBezTo>
                    <a:pt x="12" y="141"/>
                    <a:pt x="12" y="141"/>
                    <a:pt x="12" y="141"/>
                  </a:cubicBezTo>
                  <a:cubicBezTo>
                    <a:pt x="12" y="142"/>
                    <a:pt x="12" y="143"/>
                    <a:pt x="13" y="143"/>
                  </a:cubicBezTo>
                  <a:cubicBezTo>
                    <a:pt x="13" y="144"/>
                    <a:pt x="13" y="144"/>
                    <a:pt x="13" y="145"/>
                  </a:cubicBezTo>
                  <a:cubicBezTo>
                    <a:pt x="14" y="146"/>
                    <a:pt x="13" y="148"/>
                    <a:pt x="13" y="150"/>
                  </a:cubicBezTo>
                  <a:cubicBezTo>
                    <a:pt x="12" y="151"/>
                    <a:pt x="12" y="153"/>
                    <a:pt x="10" y="154"/>
                  </a:cubicBezTo>
                  <a:cubicBezTo>
                    <a:pt x="10" y="155"/>
                    <a:pt x="9" y="155"/>
                    <a:pt x="8" y="155"/>
                  </a:cubicBezTo>
                  <a:cubicBezTo>
                    <a:pt x="7" y="155"/>
                    <a:pt x="6" y="155"/>
                    <a:pt x="5" y="154"/>
                  </a:cubicBezTo>
                  <a:cubicBezTo>
                    <a:pt x="5" y="155"/>
                    <a:pt x="4" y="155"/>
                    <a:pt x="4" y="155"/>
                  </a:cubicBezTo>
                  <a:cubicBezTo>
                    <a:pt x="2" y="157"/>
                    <a:pt x="0" y="157"/>
                    <a:pt x="1" y="161"/>
                  </a:cubicBezTo>
                  <a:cubicBezTo>
                    <a:pt x="1" y="164"/>
                    <a:pt x="3" y="163"/>
                    <a:pt x="6" y="164"/>
                  </a:cubicBezTo>
                  <a:cubicBezTo>
                    <a:pt x="7" y="164"/>
                    <a:pt x="8" y="164"/>
                    <a:pt x="9" y="164"/>
                  </a:cubicBezTo>
                  <a:cubicBezTo>
                    <a:pt x="10" y="164"/>
                    <a:pt x="11" y="164"/>
                    <a:pt x="12" y="164"/>
                  </a:cubicBezTo>
                  <a:cubicBezTo>
                    <a:pt x="13" y="164"/>
                    <a:pt x="15" y="164"/>
                    <a:pt x="16" y="164"/>
                  </a:cubicBezTo>
                  <a:cubicBezTo>
                    <a:pt x="18" y="164"/>
                    <a:pt x="18" y="164"/>
                    <a:pt x="19" y="163"/>
                  </a:cubicBezTo>
                  <a:cubicBezTo>
                    <a:pt x="20" y="163"/>
                    <a:pt x="21" y="163"/>
                    <a:pt x="21" y="163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24" y="165"/>
                    <a:pt x="26" y="165"/>
                    <a:pt x="26" y="168"/>
                  </a:cubicBezTo>
                  <a:cubicBezTo>
                    <a:pt x="26" y="170"/>
                    <a:pt x="26" y="171"/>
                    <a:pt x="28" y="172"/>
                  </a:cubicBezTo>
                  <a:cubicBezTo>
                    <a:pt x="28" y="173"/>
                    <a:pt x="29" y="173"/>
                    <a:pt x="30" y="173"/>
                  </a:cubicBezTo>
                  <a:cubicBezTo>
                    <a:pt x="30" y="174"/>
                    <a:pt x="31" y="175"/>
                    <a:pt x="32" y="175"/>
                  </a:cubicBezTo>
                  <a:cubicBezTo>
                    <a:pt x="35" y="176"/>
                    <a:pt x="37" y="177"/>
                    <a:pt x="40" y="177"/>
                  </a:cubicBezTo>
                  <a:cubicBezTo>
                    <a:pt x="43" y="177"/>
                    <a:pt x="43" y="176"/>
                    <a:pt x="44" y="174"/>
                  </a:cubicBezTo>
                  <a:cubicBezTo>
                    <a:pt x="45" y="173"/>
                    <a:pt x="44" y="171"/>
                    <a:pt x="46" y="170"/>
                  </a:cubicBezTo>
                  <a:cubicBezTo>
                    <a:pt x="47" y="169"/>
                    <a:pt x="48" y="169"/>
                    <a:pt x="49" y="169"/>
                  </a:cubicBezTo>
                  <a:cubicBezTo>
                    <a:pt x="50" y="168"/>
                    <a:pt x="50" y="167"/>
                    <a:pt x="51" y="166"/>
                  </a:cubicBezTo>
                  <a:cubicBezTo>
                    <a:pt x="52" y="166"/>
                    <a:pt x="55" y="168"/>
                    <a:pt x="56" y="169"/>
                  </a:cubicBezTo>
                  <a:cubicBezTo>
                    <a:pt x="58" y="171"/>
                    <a:pt x="58" y="173"/>
                    <a:pt x="58" y="175"/>
                  </a:cubicBezTo>
                  <a:cubicBezTo>
                    <a:pt x="59" y="176"/>
                    <a:pt x="59" y="176"/>
                    <a:pt x="59" y="177"/>
                  </a:cubicBezTo>
                  <a:cubicBezTo>
                    <a:pt x="61" y="177"/>
                    <a:pt x="62" y="177"/>
                    <a:pt x="63" y="177"/>
                  </a:cubicBezTo>
                  <a:cubicBezTo>
                    <a:pt x="64" y="177"/>
                    <a:pt x="65" y="177"/>
                    <a:pt x="66" y="177"/>
                  </a:cubicBezTo>
                  <a:cubicBezTo>
                    <a:pt x="67" y="177"/>
                    <a:pt x="69" y="178"/>
                    <a:pt x="70" y="178"/>
                  </a:cubicBezTo>
                  <a:cubicBezTo>
                    <a:pt x="71" y="178"/>
                    <a:pt x="72" y="178"/>
                    <a:pt x="72" y="179"/>
                  </a:cubicBezTo>
                  <a:cubicBezTo>
                    <a:pt x="73" y="180"/>
                    <a:pt x="72" y="181"/>
                    <a:pt x="73" y="182"/>
                  </a:cubicBezTo>
                  <a:cubicBezTo>
                    <a:pt x="73" y="183"/>
                    <a:pt x="75" y="183"/>
                    <a:pt x="76" y="183"/>
                  </a:cubicBezTo>
                  <a:cubicBezTo>
                    <a:pt x="76" y="183"/>
                    <a:pt x="78" y="183"/>
                    <a:pt x="78" y="183"/>
                  </a:cubicBezTo>
                  <a:cubicBezTo>
                    <a:pt x="79" y="184"/>
                    <a:pt x="79" y="184"/>
                    <a:pt x="80" y="184"/>
                  </a:cubicBezTo>
                  <a:cubicBezTo>
                    <a:pt x="80" y="185"/>
                    <a:pt x="81" y="185"/>
                    <a:pt x="82" y="185"/>
                  </a:cubicBezTo>
                  <a:cubicBezTo>
                    <a:pt x="83" y="185"/>
                    <a:pt x="85" y="185"/>
                    <a:pt x="87" y="185"/>
                  </a:cubicBezTo>
                  <a:cubicBezTo>
                    <a:pt x="89" y="184"/>
                    <a:pt x="89" y="182"/>
                    <a:pt x="89" y="180"/>
                  </a:cubicBezTo>
                  <a:cubicBezTo>
                    <a:pt x="90" y="179"/>
                    <a:pt x="91" y="178"/>
                    <a:pt x="92" y="176"/>
                  </a:cubicBezTo>
                  <a:cubicBezTo>
                    <a:pt x="92" y="175"/>
                    <a:pt x="92" y="174"/>
                    <a:pt x="92" y="173"/>
                  </a:cubicBezTo>
                  <a:cubicBezTo>
                    <a:pt x="92" y="171"/>
                    <a:pt x="92" y="171"/>
                    <a:pt x="93" y="170"/>
                  </a:cubicBezTo>
                  <a:cubicBezTo>
                    <a:pt x="93" y="169"/>
                    <a:pt x="93" y="169"/>
                    <a:pt x="95" y="168"/>
                  </a:cubicBezTo>
                  <a:cubicBezTo>
                    <a:pt x="96" y="168"/>
                    <a:pt x="97" y="167"/>
                    <a:pt x="99" y="167"/>
                  </a:cubicBezTo>
                  <a:cubicBezTo>
                    <a:pt x="100" y="167"/>
                    <a:pt x="101" y="167"/>
                    <a:pt x="102" y="167"/>
                  </a:cubicBezTo>
                  <a:cubicBezTo>
                    <a:pt x="107" y="167"/>
                    <a:pt x="112" y="168"/>
                    <a:pt x="117" y="168"/>
                  </a:cubicBezTo>
                  <a:cubicBezTo>
                    <a:pt x="118" y="168"/>
                    <a:pt x="119" y="168"/>
                    <a:pt x="120" y="168"/>
                  </a:cubicBezTo>
                  <a:cubicBezTo>
                    <a:pt x="121" y="167"/>
                    <a:pt x="122" y="166"/>
                    <a:pt x="123" y="166"/>
                  </a:cubicBezTo>
                  <a:cubicBezTo>
                    <a:pt x="125" y="165"/>
                    <a:pt x="126" y="166"/>
                    <a:pt x="127" y="167"/>
                  </a:cubicBezTo>
                  <a:cubicBezTo>
                    <a:pt x="129" y="169"/>
                    <a:pt x="132" y="166"/>
                    <a:pt x="134" y="165"/>
                  </a:cubicBezTo>
                  <a:cubicBezTo>
                    <a:pt x="136" y="163"/>
                    <a:pt x="139" y="162"/>
                    <a:pt x="142" y="161"/>
                  </a:cubicBezTo>
                  <a:cubicBezTo>
                    <a:pt x="143" y="160"/>
                    <a:pt x="145" y="159"/>
                    <a:pt x="147" y="159"/>
                  </a:cubicBezTo>
                  <a:cubicBezTo>
                    <a:pt x="149" y="159"/>
                    <a:pt x="152" y="159"/>
                    <a:pt x="152" y="162"/>
                  </a:cubicBezTo>
                  <a:cubicBezTo>
                    <a:pt x="152" y="163"/>
                    <a:pt x="150" y="164"/>
                    <a:pt x="149" y="165"/>
                  </a:cubicBezTo>
                  <a:cubicBezTo>
                    <a:pt x="149" y="165"/>
                    <a:pt x="147" y="165"/>
                    <a:pt x="147" y="165"/>
                  </a:cubicBezTo>
                  <a:cubicBezTo>
                    <a:pt x="146" y="166"/>
                    <a:pt x="146" y="167"/>
                    <a:pt x="146" y="168"/>
                  </a:cubicBezTo>
                  <a:cubicBezTo>
                    <a:pt x="146" y="169"/>
                    <a:pt x="145" y="169"/>
                    <a:pt x="147" y="171"/>
                  </a:cubicBezTo>
                  <a:cubicBezTo>
                    <a:pt x="147" y="171"/>
                    <a:pt x="148" y="172"/>
                    <a:pt x="149" y="173"/>
                  </a:cubicBezTo>
                  <a:cubicBezTo>
                    <a:pt x="150" y="174"/>
                    <a:pt x="151" y="175"/>
                    <a:pt x="152" y="176"/>
                  </a:cubicBezTo>
                  <a:cubicBezTo>
                    <a:pt x="154" y="177"/>
                    <a:pt x="154" y="179"/>
                    <a:pt x="155" y="181"/>
                  </a:cubicBezTo>
                  <a:cubicBezTo>
                    <a:pt x="156" y="183"/>
                    <a:pt x="158" y="185"/>
                    <a:pt x="160" y="186"/>
                  </a:cubicBezTo>
                  <a:cubicBezTo>
                    <a:pt x="163" y="189"/>
                    <a:pt x="168" y="192"/>
                    <a:pt x="172" y="194"/>
                  </a:cubicBezTo>
                  <a:cubicBezTo>
                    <a:pt x="173" y="194"/>
                    <a:pt x="174" y="194"/>
                    <a:pt x="175" y="194"/>
                  </a:cubicBezTo>
                  <a:cubicBezTo>
                    <a:pt x="178" y="194"/>
                    <a:pt x="180" y="194"/>
                    <a:pt x="183" y="195"/>
                  </a:cubicBezTo>
                  <a:cubicBezTo>
                    <a:pt x="185" y="195"/>
                    <a:pt x="187" y="195"/>
                    <a:pt x="189" y="196"/>
                  </a:cubicBezTo>
                  <a:cubicBezTo>
                    <a:pt x="190" y="196"/>
                    <a:pt x="192" y="196"/>
                    <a:pt x="193" y="196"/>
                  </a:cubicBezTo>
                  <a:cubicBezTo>
                    <a:pt x="195" y="197"/>
                    <a:pt x="196" y="198"/>
                    <a:pt x="197" y="198"/>
                  </a:cubicBezTo>
                  <a:cubicBezTo>
                    <a:pt x="201" y="200"/>
                    <a:pt x="205" y="200"/>
                    <a:pt x="209" y="201"/>
                  </a:cubicBezTo>
                  <a:cubicBezTo>
                    <a:pt x="212" y="201"/>
                    <a:pt x="214" y="201"/>
                    <a:pt x="217" y="201"/>
                  </a:cubicBezTo>
                  <a:cubicBezTo>
                    <a:pt x="220" y="201"/>
                    <a:pt x="224" y="201"/>
                    <a:pt x="227" y="201"/>
                  </a:cubicBezTo>
                  <a:cubicBezTo>
                    <a:pt x="229" y="201"/>
                    <a:pt x="230" y="202"/>
                    <a:pt x="232" y="202"/>
                  </a:cubicBezTo>
                  <a:cubicBezTo>
                    <a:pt x="233" y="202"/>
                    <a:pt x="234" y="202"/>
                    <a:pt x="235" y="203"/>
                  </a:cubicBezTo>
                  <a:cubicBezTo>
                    <a:pt x="235" y="203"/>
                    <a:pt x="236" y="202"/>
                    <a:pt x="236" y="203"/>
                  </a:cubicBezTo>
                  <a:cubicBezTo>
                    <a:pt x="238" y="203"/>
                    <a:pt x="239" y="204"/>
                    <a:pt x="240" y="204"/>
                  </a:cubicBezTo>
                  <a:cubicBezTo>
                    <a:pt x="245" y="206"/>
                    <a:pt x="250" y="205"/>
                    <a:pt x="255" y="206"/>
                  </a:cubicBezTo>
                  <a:cubicBezTo>
                    <a:pt x="255" y="206"/>
                    <a:pt x="255" y="206"/>
                    <a:pt x="255" y="206"/>
                  </a:cubicBezTo>
                  <a:cubicBezTo>
                    <a:pt x="256" y="207"/>
                    <a:pt x="256" y="207"/>
                    <a:pt x="256" y="207"/>
                  </a:cubicBezTo>
                  <a:cubicBezTo>
                    <a:pt x="256" y="207"/>
                    <a:pt x="256" y="207"/>
                    <a:pt x="256" y="207"/>
                  </a:cubicBezTo>
                  <a:cubicBezTo>
                    <a:pt x="255" y="207"/>
                    <a:pt x="255" y="208"/>
                    <a:pt x="254" y="208"/>
                  </a:cubicBezTo>
                  <a:cubicBezTo>
                    <a:pt x="255" y="208"/>
                    <a:pt x="256" y="208"/>
                    <a:pt x="257" y="208"/>
                  </a:cubicBezTo>
                  <a:cubicBezTo>
                    <a:pt x="259" y="209"/>
                    <a:pt x="262" y="209"/>
                    <a:pt x="264" y="209"/>
                  </a:cubicBezTo>
                  <a:cubicBezTo>
                    <a:pt x="264" y="210"/>
                    <a:pt x="266" y="209"/>
                    <a:pt x="267" y="210"/>
                  </a:cubicBezTo>
                  <a:cubicBezTo>
                    <a:pt x="267" y="210"/>
                    <a:pt x="267" y="210"/>
                    <a:pt x="267" y="210"/>
                  </a:cubicBezTo>
                  <a:cubicBezTo>
                    <a:pt x="268" y="211"/>
                    <a:pt x="269" y="211"/>
                    <a:pt x="270" y="211"/>
                  </a:cubicBezTo>
                  <a:cubicBezTo>
                    <a:pt x="272" y="212"/>
                    <a:pt x="274" y="213"/>
                    <a:pt x="276" y="213"/>
                  </a:cubicBezTo>
                  <a:cubicBezTo>
                    <a:pt x="279" y="212"/>
                    <a:pt x="278" y="209"/>
                    <a:pt x="279" y="207"/>
                  </a:cubicBezTo>
                  <a:cubicBezTo>
                    <a:pt x="280" y="207"/>
                    <a:pt x="280" y="206"/>
                    <a:pt x="281" y="205"/>
                  </a:cubicBezTo>
                  <a:cubicBezTo>
                    <a:pt x="281" y="205"/>
                    <a:pt x="282" y="204"/>
                    <a:pt x="283" y="204"/>
                  </a:cubicBezTo>
                  <a:cubicBezTo>
                    <a:pt x="283" y="203"/>
                    <a:pt x="284" y="204"/>
                    <a:pt x="285" y="204"/>
                  </a:cubicBezTo>
                  <a:cubicBezTo>
                    <a:pt x="286" y="204"/>
                    <a:pt x="287" y="203"/>
                    <a:pt x="288" y="202"/>
                  </a:cubicBezTo>
                  <a:cubicBezTo>
                    <a:pt x="288" y="201"/>
                    <a:pt x="288" y="201"/>
                    <a:pt x="289" y="200"/>
                  </a:cubicBezTo>
                  <a:cubicBezTo>
                    <a:pt x="289" y="200"/>
                    <a:pt x="290" y="200"/>
                    <a:pt x="290" y="199"/>
                  </a:cubicBezTo>
                  <a:cubicBezTo>
                    <a:pt x="290" y="199"/>
                    <a:pt x="291" y="198"/>
                    <a:pt x="291" y="197"/>
                  </a:cubicBezTo>
                  <a:cubicBezTo>
                    <a:pt x="292" y="195"/>
                    <a:pt x="295" y="195"/>
                    <a:pt x="297" y="195"/>
                  </a:cubicBezTo>
                  <a:cubicBezTo>
                    <a:pt x="300" y="194"/>
                    <a:pt x="302" y="194"/>
                    <a:pt x="304" y="193"/>
                  </a:cubicBezTo>
                  <a:cubicBezTo>
                    <a:pt x="306" y="192"/>
                    <a:pt x="307" y="191"/>
                    <a:pt x="309" y="192"/>
                  </a:cubicBezTo>
                  <a:cubicBezTo>
                    <a:pt x="310" y="192"/>
                    <a:pt x="311" y="193"/>
                    <a:pt x="312" y="193"/>
                  </a:cubicBezTo>
                  <a:cubicBezTo>
                    <a:pt x="314" y="193"/>
                    <a:pt x="316" y="193"/>
                    <a:pt x="318" y="193"/>
                  </a:cubicBezTo>
                  <a:cubicBezTo>
                    <a:pt x="318" y="194"/>
                    <a:pt x="318" y="194"/>
                    <a:pt x="319" y="194"/>
                  </a:cubicBezTo>
                  <a:cubicBezTo>
                    <a:pt x="320" y="194"/>
                    <a:pt x="322" y="193"/>
                    <a:pt x="323" y="194"/>
                  </a:cubicBezTo>
                  <a:cubicBezTo>
                    <a:pt x="325" y="194"/>
                    <a:pt x="325" y="195"/>
                    <a:pt x="326" y="195"/>
                  </a:cubicBezTo>
                  <a:cubicBezTo>
                    <a:pt x="326" y="192"/>
                    <a:pt x="328" y="190"/>
                    <a:pt x="329" y="188"/>
                  </a:cubicBezTo>
                  <a:cubicBezTo>
                    <a:pt x="329" y="187"/>
                    <a:pt x="329" y="187"/>
                    <a:pt x="330" y="187"/>
                  </a:cubicBezTo>
                  <a:cubicBezTo>
                    <a:pt x="330" y="187"/>
                    <a:pt x="331" y="187"/>
                    <a:pt x="331" y="187"/>
                  </a:cubicBezTo>
                  <a:cubicBezTo>
                    <a:pt x="332" y="186"/>
                    <a:pt x="331" y="187"/>
                    <a:pt x="332" y="186"/>
                  </a:cubicBezTo>
                  <a:cubicBezTo>
                    <a:pt x="333" y="185"/>
                    <a:pt x="335" y="182"/>
                    <a:pt x="336" y="183"/>
                  </a:cubicBezTo>
                  <a:cubicBezTo>
                    <a:pt x="338" y="184"/>
                    <a:pt x="336" y="187"/>
                    <a:pt x="338" y="189"/>
                  </a:cubicBezTo>
                  <a:cubicBezTo>
                    <a:pt x="340" y="190"/>
                    <a:pt x="343" y="189"/>
                    <a:pt x="345" y="190"/>
                  </a:cubicBezTo>
                  <a:cubicBezTo>
                    <a:pt x="348" y="190"/>
                    <a:pt x="351" y="190"/>
                    <a:pt x="352" y="187"/>
                  </a:cubicBezTo>
                  <a:cubicBezTo>
                    <a:pt x="353" y="185"/>
                    <a:pt x="353" y="183"/>
                    <a:pt x="353" y="181"/>
                  </a:cubicBezTo>
                  <a:cubicBezTo>
                    <a:pt x="353" y="178"/>
                    <a:pt x="354" y="176"/>
                    <a:pt x="356" y="175"/>
                  </a:cubicBezTo>
                  <a:cubicBezTo>
                    <a:pt x="357" y="174"/>
                    <a:pt x="359" y="175"/>
                    <a:pt x="360" y="173"/>
                  </a:cubicBezTo>
                  <a:cubicBezTo>
                    <a:pt x="361" y="173"/>
                    <a:pt x="361" y="172"/>
                    <a:pt x="362" y="172"/>
                  </a:cubicBezTo>
                  <a:cubicBezTo>
                    <a:pt x="363" y="171"/>
                    <a:pt x="363" y="171"/>
                    <a:pt x="364" y="170"/>
                  </a:cubicBezTo>
                  <a:cubicBezTo>
                    <a:pt x="365" y="167"/>
                    <a:pt x="366" y="167"/>
                    <a:pt x="368" y="166"/>
                  </a:cubicBezTo>
                  <a:cubicBezTo>
                    <a:pt x="370" y="165"/>
                    <a:pt x="370" y="164"/>
                    <a:pt x="372" y="164"/>
                  </a:cubicBezTo>
                  <a:cubicBezTo>
                    <a:pt x="374" y="164"/>
                    <a:pt x="375" y="163"/>
                    <a:pt x="376" y="163"/>
                  </a:cubicBezTo>
                  <a:cubicBezTo>
                    <a:pt x="378" y="163"/>
                    <a:pt x="379" y="163"/>
                    <a:pt x="379" y="161"/>
                  </a:cubicBezTo>
                  <a:cubicBezTo>
                    <a:pt x="379" y="160"/>
                    <a:pt x="379" y="160"/>
                    <a:pt x="379" y="159"/>
                  </a:cubicBezTo>
                  <a:cubicBezTo>
                    <a:pt x="379" y="158"/>
                    <a:pt x="380" y="157"/>
                    <a:pt x="380" y="156"/>
                  </a:cubicBezTo>
                  <a:cubicBezTo>
                    <a:pt x="380" y="156"/>
                    <a:pt x="380" y="155"/>
                    <a:pt x="380" y="154"/>
                  </a:cubicBezTo>
                  <a:cubicBezTo>
                    <a:pt x="380" y="152"/>
                    <a:pt x="380" y="152"/>
                    <a:pt x="379" y="152"/>
                  </a:cubicBezTo>
                  <a:cubicBezTo>
                    <a:pt x="377" y="151"/>
                    <a:pt x="377" y="151"/>
                    <a:pt x="376" y="149"/>
                  </a:cubicBezTo>
                  <a:cubicBezTo>
                    <a:pt x="376" y="149"/>
                    <a:pt x="376" y="148"/>
                    <a:pt x="376" y="147"/>
                  </a:cubicBezTo>
                  <a:cubicBezTo>
                    <a:pt x="376" y="147"/>
                    <a:pt x="375" y="146"/>
                    <a:pt x="376" y="145"/>
                  </a:cubicBezTo>
                  <a:cubicBezTo>
                    <a:pt x="376" y="144"/>
                    <a:pt x="378" y="142"/>
                    <a:pt x="379" y="142"/>
                  </a:cubicBezTo>
                  <a:cubicBezTo>
                    <a:pt x="379" y="142"/>
                    <a:pt x="381" y="141"/>
                    <a:pt x="381" y="141"/>
                  </a:cubicBezTo>
                  <a:cubicBezTo>
                    <a:pt x="382" y="138"/>
                    <a:pt x="378" y="139"/>
                    <a:pt x="378" y="138"/>
                  </a:cubicBezTo>
                  <a:cubicBezTo>
                    <a:pt x="376" y="136"/>
                    <a:pt x="377" y="131"/>
                    <a:pt x="379" y="130"/>
                  </a:cubicBezTo>
                  <a:cubicBezTo>
                    <a:pt x="379" y="130"/>
                    <a:pt x="380" y="129"/>
                    <a:pt x="381" y="129"/>
                  </a:cubicBezTo>
                  <a:cubicBezTo>
                    <a:pt x="382" y="129"/>
                    <a:pt x="383" y="130"/>
                    <a:pt x="384" y="130"/>
                  </a:cubicBezTo>
                  <a:cubicBezTo>
                    <a:pt x="385" y="129"/>
                    <a:pt x="385" y="129"/>
                    <a:pt x="386" y="128"/>
                  </a:cubicBezTo>
                  <a:cubicBezTo>
                    <a:pt x="386" y="127"/>
                    <a:pt x="387" y="125"/>
                    <a:pt x="388" y="124"/>
                  </a:cubicBezTo>
                  <a:cubicBezTo>
                    <a:pt x="389" y="123"/>
                    <a:pt x="390" y="122"/>
                    <a:pt x="390" y="121"/>
                  </a:cubicBezTo>
                  <a:cubicBezTo>
                    <a:pt x="390" y="121"/>
                    <a:pt x="390" y="119"/>
                    <a:pt x="390" y="118"/>
                  </a:cubicBezTo>
                  <a:cubicBezTo>
                    <a:pt x="390" y="117"/>
                    <a:pt x="390" y="117"/>
                    <a:pt x="389" y="116"/>
                  </a:cubicBezTo>
                  <a:cubicBezTo>
                    <a:pt x="389" y="115"/>
                    <a:pt x="389" y="115"/>
                    <a:pt x="389" y="114"/>
                  </a:cubicBezTo>
                  <a:cubicBezTo>
                    <a:pt x="388" y="114"/>
                    <a:pt x="388" y="113"/>
                    <a:pt x="388" y="113"/>
                  </a:cubicBezTo>
                  <a:cubicBezTo>
                    <a:pt x="386" y="112"/>
                    <a:pt x="384" y="113"/>
                    <a:pt x="383" y="112"/>
                  </a:cubicBezTo>
                  <a:cubicBezTo>
                    <a:pt x="381" y="111"/>
                    <a:pt x="380" y="110"/>
                    <a:pt x="379" y="109"/>
                  </a:cubicBezTo>
                  <a:cubicBezTo>
                    <a:pt x="379" y="109"/>
                    <a:pt x="378" y="108"/>
                    <a:pt x="379" y="107"/>
                  </a:cubicBezTo>
                  <a:cubicBezTo>
                    <a:pt x="379" y="106"/>
                    <a:pt x="382" y="107"/>
                    <a:pt x="383" y="107"/>
                  </a:cubicBezTo>
                  <a:cubicBezTo>
                    <a:pt x="386" y="107"/>
                    <a:pt x="385" y="105"/>
                    <a:pt x="387" y="103"/>
                  </a:cubicBezTo>
                  <a:cubicBezTo>
                    <a:pt x="388" y="102"/>
                    <a:pt x="392" y="103"/>
                    <a:pt x="393" y="105"/>
                  </a:cubicBezTo>
                  <a:cubicBezTo>
                    <a:pt x="394" y="106"/>
                    <a:pt x="394" y="108"/>
                    <a:pt x="395" y="108"/>
                  </a:cubicBezTo>
                  <a:cubicBezTo>
                    <a:pt x="396" y="109"/>
                    <a:pt x="397" y="108"/>
                    <a:pt x="398" y="108"/>
                  </a:cubicBezTo>
                  <a:cubicBezTo>
                    <a:pt x="400" y="108"/>
                    <a:pt x="401" y="106"/>
                    <a:pt x="404" y="106"/>
                  </a:cubicBezTo>
                  <a:cubicBezTo>
                    <a:pt x="405" y="106"/>
                    <a:pt x="405" y="106"/>
                    <a:pt x="406" y="105"/>
                  </a:cubicBezTo>
                  <a:cubicBezTo>
                    <a:pt x="407" y="105"/>
                    <a:pt x="408" y="105"/>
                    <a:pt x="409" y="104"/>
                  </a:cubicBezTo>
                  <a:cubicBezTo>
                    <a:pt x="410" y="103"/>
                    <a:pt x="413" y="102"/>
                    <a:pt x="414" y="100"/>
                  </a:cubicBezTo>
                  <a:cubicBezTo>
                    <a:pt x="415" y="97"/>
                    <a:pt x="412" y="98"/>
                    <a:pt x="410" y="96"/>
                  </a:cubicBezTo>
                  <a:cubicBezTo>
                    <a:pt x="408" y="94"/>
                    <a:pt x="411" y="91"/>
                    <a:pt x="413" y="88"/>
                  </a:cubicBezTo>
                  <a:cubicBezTo>
                    <a:pt x="414" y="87"/>
                    <a:pt x="415" y="86"/>
                    <a:pt x="416" y="85"/>
                  </a:cubicBezTo>
                  <a:cubicBezTo>
                    <a:pt x="416" y="85"/>
                    <a:pt x="416" y="85"/>
                    <a:pt x="416" y="84"/>
                  </a:cubicBezTo>
                  <a:cubicBezTo>
                    <a:pt x="416" y="84"/>
                    <a:pt x="417" y="83"/>
                    <a:pt x="417" y="83"/>
                  </a:cubicBezTo>
                  <a:cubicBezTo>
                    <a:pt x="417" y="82"/>
                    <a:pt x="417" y="80"/>
                    <a:pt x="416" y="79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5" name="Freeform 15"/>
            <p:cNvSpPr>
              <a:spLocks/>
            </p:cNvSpPr>
            <p:nvPr/>
          </p:nvSpPr>
          <p:spPr bwMode="auto">
            <a:xfrm>
              <a:off x="4405313" y="4954588"/>
              <a:ext cx="25400" cy="30163"/>
            </a:xfrm>
            <a:custGeom>
              <a:avLst/>
              <a:gdLst/>
              <a:ahLst/>
              <a:cxnLst>
                <a:cxn ang="0">
                  <a:pos x="11" y="2"/>
                </a:cxn>
                <a:cxn ang="0">
                  <a:pos x="9" y="1"/>
                </a:cxn>
                <a:cxn ang="0">
                  <a:pos x="9" y="0"/>
                </a:cxn>
                <a:cxn ang="0">
                  <a:pos x="6" y="1"/>
                </a:cxn>
                <a:cxn ang="0">
                  <a:pos x="5" y="3"/>
                </a:cxn>
                <a:cxn ang="0">
                  <a:pos x="3" y="4"/>
                </a:cxn>
                <a:cxn ang="0">
                  <a:pos x="2" y="6"/>
                </a:cxn>
                <a:cxn ang="0">
                  <a:pos x="1" y="8"/>
                </a:cxn>
                <a:cxn ang="0">
                  <a:pos x="0" y="10"/>
                </a:cxn>
                <a:cxn ang="0">
                  <a:pos x="0" y="12"/>
                </a:cxn>
                <a:cxn ang="0">
                  <a:pos x="1" y="14"/>
                </a:cxn>
                <a:cxn ang="0">
                  <a:pos x="3" y="15"/>
                </a:cxn>
                <a:cxn ang="0">
                  <a:pos x="7" y="16"/>
                </a:cxn>
                <a:cxn ang="0">
                  <a:pos x="9" y="15"/>
                </a:cxn>
                <a:cxn ang="0">
                  <a:pos x="12" y="11"/>
                </a:cxn>
                <a:cxn ang="0">
                  <a:pos x="12" y="6"/>
                </a:cxn>
                <a:cxn ang="0">
                  <a:pos x="12" y="4"/>
                </a:cxn>
                <a:cxn ang="0">
                  <a:pos x="11" y="2"/>
                </a:cxn>
              </a:cxnLst>
              <a:rect l="0" t="0" r="r" b="b"/>
              <a:pathLst>
                <a:path w="13" h="16">
                  <a:moveTo>
                    <a:pt x="11" y="2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0"/>
                  </a:cubicBezTo>
                  <a:cubicBezTo>
                    <a:pt x="9" y="0"/>
                    <a:pt x="6" y="1"/>
                    <a:pt x="6" y="1"/>
                  </a:cubicBezTo>
                  <a:cubicBezTo>
                    <a:pt x="6" y="2"/>
                    <a:pt x="5" y="2"/>
                    <a:pt x="5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5"/>
                    <a:pt x="3" y="5"/>
                    <a:pt x="2" y="6"/>
                  </a:cubicBezTo>
                  <a:cubicBezTo>
                    <a:pt x="2" y="7"/>
                    <a:pt x="1" y="7"/>
                    <a:pt x="1" y="8"/>
                  </a:cubicBezTo>
                  <a:cubicBezTo>
                    <a:pt x="1" y="9"/>
                    <a:pt x="0" y="9"/>
                    <a:pt x="0" y="10"/>
                  </a:cubicBezTo>
                  <a:cubicBezTo>
                    <a:pt x="0" y="11"/>
                    <a:pt x="0" y="12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5" y="15"/>
                    <a:pt x="6" y="16"/>
                    <a:pt x="7" y="16"/>
                  </a:cubicBezTo>
                  <a:cubicBezTo>
                    <a:pt x="8" y="16"/>
                    <a:pt x="9" y="16"/>
                    <a:pt x="9" y="15"/>
                  </a:cubicBezTo>
                  <a:cubicBezTo>
                    <a:pt x="11" y="14"/>
                    <a:pt x="11" y="12"/>
                    <a:pt x="12" y="11"/>
                  </a:cubicBezTo>
                  <a:cubicBezTo>
                    <a:pt x="12" y="9"/>
                    <a:pt x="13" y="7"/>
                    <a:pt x="12" y="6"/>
                  </a:cubicBezTo>
                  <a:cubicBezTo>
                    <a:pt x="12" y="5"/>
                    <a:pt x="12" y="5"/>
                    <a:pt x="12" y="4"/>
                  </a:cubicBezTo>
                  <a:cubicBezTo>
                    <a:pt x="11" y="4"/>
                    <a:pt x="11" y="3"/>
                    <a:pt x="11" y="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6" name="Freeform 16"/>
            <p:cNvSpPr>
              <a:spLocks noEditPoints="1"/>
            </p:cNvSpPr>
            <p:nvPr/>
          </p:nvSpPr>
          <p:spPr bwMode="auto">
            <a:xfrm>
              <a:off x="2919413" y="4360863"/>
              <a:ext cx="1379538" cy="1341438"/>
            </a:xfrm>
            <a:custGeom>
              <a:avLst/>
              <a:gdLst/>
              <a:ahLst/>
              <a:cxnLst>
                <a:cxn ang="0">
                  <a:pos x="737" y="191"/>
                </a:cxn>
                <a:cxn ang="0">
                  <a:pos x="702" y="174"/>
                </a:cxn>
                <a:cxn ang="0">
                  <a:pos x="633" y="143"/>
                </a:cxn>
                <a:cxn ang="0">
                  <a:pos x="577" y="126"/>
                </a:cxn>
                <a:cxn ang="0">
                  <a:pos x="539" y="101"/>
                </a:cxn>
                <a:cxn ang="0">
                  <a:pos x="509" y="70"/>
                </a:cxn>
                <a:cxn ang="0">
                  <a:pos x="472" y="38"/>
                </a:cxn>
                <a:cxn ang="0">
                  <a:pos x="432" y="4"/>
                </a:cxn>
                <a:cxn ang="0">
                  <a:pos x="374" y="39"/>
                </a:cxn>
                <a:cxn ang="0">
                  <a:pos x="323" y="113"/>
                </a:cxn>
                <a:cxn ang="0">
                  <a:pos x="290" y="145"/>
                </a:cxn>
                <a:cxn ang="0">
                  <a:pos x="210" y="138"/>
                </a:cxn>
                <a:cxn ang="0">
                  <a:pos x="190" y="179"/>
                </a:cxn>
                <a:cxn ang="0">
                  <a:pos x="171" y="211"/>
                </a:cxn>
                <a:cxn ang="0">
                  <a:pos x="129" y="219"/>
                </a:cxn>
                <a:cxn ang="0">
                  <a:pos x="81" y="208"/>
                </a:cxn>
                <a:cxn ang="0">
                  <a:pos x="38" y="213"/>
                </a:cxn>
                <a:cxn ang="0">
                  <a:pos x="10" y="238"/>
                </a:cxn>
                <a:cxn ang="0">
                  <a:pos x="32" y="250"/>
                </a:cxn>
                <a:cxn ang="0">
                  <a:pos x="17" y="266"/>
                </a:cxn>
                <a:cxn ang="0">
                  <a:pos x="52" y="283"/>
                </a:cxn>
                <a:cxn ang="0">
                  <a:pos x="90" y="299"/>
                </a:cxn>
                <a:cxn ang="0">
                  <a:pos x="133" y="320"/>
                </a:cxn>
                <a:cxn ang="0">
                  <a:pos x="153" y="355"/>
                </a:cxn>
                <a:cxn ang="0">
                  <a:pos x="172" y="389"/>
                </a:cxn>
                <a:cxn ang="0">
                  <a:pos x="214" y="405"/>
                </a:cxn>
                <a:cxn ang="0">
                  <a:pos x="211" y="434"/>
                </a:cxn>
                <a:cxn ang="0">
                  <a:pos x="198" y="438"/>
                </a:cxn>
                <a:cxn ang="0">
                  <a:pos x="233" y="507"/>
                </a:cxn>
                <a:cxn ang="0">
                  <a:pos x="203" y="491"/>
                </a:cxn>
                <a:cxn ang="0">
                  <a:pos x="189" y="565"/>
                </a:cxn>
                <a:cxn ang="0">
                  <a:pos x="166" y="637"/>
                </a:cxn>
                <a:cxn ang="0">
                  <a:pos x="197" y="661"/>
                </a:cxn>
                <a:cxn ang="0">
                  <a:pos x="265" y="684"/>
                </a:cxn>
                <a:cxn ang="0">
                  <a:pos x="324" y="681"/>
                </a:cxn>
                <a:cxn ang="0">
                  <a:pos x="346" y="687"/>
                </a:cxn>
                <a:cxn ang="0">
                  <a:pos x="372" y="700"/>
                </a:cxn>
                <a:cxn ang="0">
                  <a:pos x="382" y="707"/>
                </a:cxn>
                <a:cxn ang="0">
                  <a:pos x="431" y="685"/>
                </a:cxn>
                <a:cxn ang="0">
                  <a:pos x="464" y="634"/>
                </a:cxn>
                <a:cxn ang="0">
                  <a:pos x="511" y="626"/>
                </a:cxn>
                <a:cxn ang="0">
                  <a:pos x="536" y="632"/>
                </a:cxn>
                <a:cxn ang="0">
                  <a:pos x="566" y="642"/>
                </a:cxn>
                <a:cxn ang="0">
                  <a:pos x="621" y="658"/>
                </a:cxn>
                <a:cxn ang="0">
                  <a:pos x="650" y="627"/>
                </a:cxn>
                <a:cxn ang="0">
                  <a:pos x="687" y="597"/>
                </a:cxn>
                <a:cxn ang="0">
                  <a:pos x="660" y="562"/>
                </a:cxn>
                <a:cxn ang="0">
                  <a:pos x="652" y="515"/>
                </a:cxn>
                <a:cxn ang="0">
                  <a:pos x="667" y="480"/>
                </a:cxn>
                <a:cxn ang="0">
                  <a:pos x="663" y="436"/>
                </a:cxn>
                <a:cxn ang="0">
                  <a:pos x="658" y="409"/>
                </a:cxn>
                <a:cxn ang="0">
                  <a:pos x="614" y="391"/>
                </a:cxn>
                <a:cxn ang="0">
                  <a:pos x="658" y="330"/>
                </a:cxn>
                <a:cxn ang="0">
                  <a:pos x="703" y="303"/>
                </a:cxn>
                <a:cxn ang="0">
                  <a:pos x="704" y="300"/>
                </a:cxn>
                <a:cxn ang="0">
                  <a:pos x="716" y="221"/>
                </a:cxn>
              </a:cxnLst>
              <a:rect l="0" t="0" r="r" b="b"/>
              <a:pathLst>
                <a:path w="738" h="718">
                  <a:moveTo>
                    <a:pt x="437" y="718"/>
                  </a:moveTo>
                  <a:cubicBezTo>
                    <a:pt x="439" y="716"/>
                    <a:pt x="441" y="714"/>
                    <a:pt x="442" y="710"/>
                  </a:cubicBezTo>
                  <a:cubicBezTo>
                    <a:pt x="442" y="710"/>
                    <a:pt x="442" y="710"/>
                    <a:pt x="442" y="710"/>
                  </a:cubicBezTo>
                  <a:cubicBezTo>
                    <a:pt x="440" y="711"/>
                    <a:pt x="438" y="715"/>
                    <a:pt x="437" y="718"/>
                  </a:cubicBezTo>
                  <a:moveTo>
                    <a:pt x="350" y="705"/>
                  </a:moveTo>
                  <a:cubicBezTo>
                    <a:pt x="350" y="705"/>
                    <a:pt x="349" y="705"/>
                    <a:pt x="349" y="705"/>
                  </a:cubicBezTo>
                  <a:cubicBezTo>
                    <a:pt x="349" y="705"/>
                    <a:pt x="350" y="705"/>
                    <a:pt x="350" y="705"/>
                  </a:cubicBezTo>
                  <a:moveTo>
                    <a:pt x="737" y="191"/>
                  </a:moveTo>
                  <a:cubicBezTo>
                    <a:pt x="738" y="189"/>
                    <a:pt x="738" y="186"/>
                    <a:pt x="737" y="184"/>
                  </a:cubicBezTo>
                  <a:cubicBezTo>
                    <a:pt x="735" y="181"/>
                    <a:pt x="733" y="182"/>
                    <a:pt x="731" y="181"/>
                  </a:cubicBezTo>
                  <a:cubicBezTo>
                    <a:pt x="730" y="181"/>
                    <a:pt x="729" y="180"/>
                    <a:pt x="728" y="179"/>
                  </a:cubicBezTo>
                  <a:cubicBezTo>
                    <a:pt x="729" y="179"/>
                    <a:pt x="725" y="177"/>
                    <a:pt x="726" y="177"/>
                  </a:cubicBezTo>
                  <a:cubicBezTo>
                    <a:pt x="723" y="176"/>
                    <a:pt x="720" y="176"/>
                    <a:pt x="717" y="176"/>
                  </a:cubicBezTo>
                  <a:cubicBezTo>
                    <a:pt x="714" y="176"/>
                    <a:pt x="708" y="177"/>
                    <a:pt x="705" y="176"/>
                  </a:cubicBezTo>
                  <a:cubicBezTo>
                    <a:pt x="704" y="176"/>
                    <a:pt x="705" y="175"/>
                    <a:pt x="704" y="175"/>
                  </a:cubicBezTo>
                  <a:cubicBezTo>
                    <a:pt x="703" y="174"/>
                    <a:pt x="702" y="174"/>
                    <a:pt x="702" y="174"/>
                  </a:cubicBezTo>
                  <a:cubicBezTo>
                    <a:pt x="699" y="171"/>
                    <a:pt x="699" y="168"/>
                    <a:pt x="697" y="166"/>
                  </a:cubicBezTo>
                  <a:cubicBezTo>
                    <a:pt x="691" y="162"/>
                    <a:pt x="685" y="162"/>
                    <a:pt x="678" y="162"/>
                  </a:cubicBezTo>
                  <a:cubicBezTo>
                    <a:pt x="674" y="162"/>
                    <a:pt x="671" y="162"/>
                    <a:pt x="668" y="163"/>
                  </a:cubicBezTo>
                  <a:cubicBezTo>
                    <a:pt x="664" y="164"/>
                    <a:pt x="662" y="167"/>
                    <a:pt x="658" y="167"/>
                  </a:cubicBezTo>
                  <a:cubicBezTo>
                    <a:pt x="654" y="166"/>
                    <a:pt x="654" y="164"/>
                    <a:pt x="652" y="161"/>
                  </a:cubicBezTo>
                  <a:cubicBezTo>
                    <a:pt x="652" y="159"/>
                    <a:pt x="652" y="159"/>
                    <a:pt x="651" y="157"/>
                  </a:cubicBezTo>
                  <a:cubicBezTo>
                    <a:pt x="651" y="156"/>
                    <a:pt x="649" y="155"/>
                    <a:pt x="648" y="154"/>
                  </a:cubicBezTo>
                  <a:cubicBezTo>
                    <a:pt x="643" y="148"/>
                    <a:pt x="639" y="146"/>
                    <a:pt x="633" y="143"/>
                  </a:cubicBezTo>
                  <a:cubicBezTo>
                    <a:pt x="629" y="141"/>
                    <a:pt x="628" y="139"/>
                    <a:pt x="624" y="142"/>
                  </a:cubicBezTo>
                  <a:cubicBezTo>
                    <a:pt x="618" y="145"/>
                    <a:pt x="617" y="142"/>
                    <a:pt x="612" y="139"/>
                  </a:cubicBezTo>
                  <a:cubicBezTo>
                    <a:pt x="609" y="137"/>
                    <a:pt x="606" y="136"/>
                    <a:pt x="601" y="136"/>
                  </a:cubicBezTo>
                  <a:cubicBezTo>
                    <a:pt x="600" y="136"/>
                    <a:pt x="598" y="136"/>
                    <a:pt x="597" y="137"/>
                  </a:cubicBezTo>
                  <a:cubicBezTo>
                    <a:pt x="595" y="137"/>
                    <a:pt x="594" y="139"/>
                    <a:pt x="593" y="140"/>
                  </a:cubicBezTo>
                  <a:cubicBezTo>
                    <a:pt x="589" y="142"/>
                    <a:pt x="584" y="134"/>
                    <a:pt x="583" y="132"/>
                  </a:cubicBezTo>
                  <a:cubicBezTo>
                    <a:pt x="583" y="131"/>
                    <a:pt x="583" y="129"/>
                    <a:pt x="582" y="128"/>
                  </a:cubicBezTo>
                  <a:cubicBezTo>
                    <a:pt x="581" y="126"/>
                    <a:pt x="579" y="127"/>
                    <a:pt x="577" y="126"/>
                  </a:cubicBezTo>
                  <a:cubicBezTo>
                    <a:pt x="569" y="123"/>
                    <a:pt x="564" y="116"/>
                    <a:pt x="555" y="116"/>
                  </a:cubicBezTo>
                  <a:cubicBezTo>
                    <a:pt x="554" y="111"/>
                    <a:pt x="553" y="107"/>
                    <a:pt x="553" y="102"/>
                  </a:cubicBezTo>
                  <a:cubicBezTo>
                    <a:pt x="553" y="101"/>
                    <a:pt x="552" y="99"/>
                    <a:pt x="553" y="97"/>
                  </a:cubicBezTo>
                  <a:cubicBezTo>
                    <a:pt x="554" y="94"/>
                    <a:pt x="557" y="92"/>
                    <a:pt x="554" y="89"/>
                  </a:cubicBezTo>
                  <a:cubicBezTo>
                    <a:pt x="552" y="88"/>
                    <a:pt x="551" y="87"/>
                    <a:pt x="549" y="87"/>
                  </a:cubicBezTo>
                  <a:cubicBezTo>
                    <a:pt x="547" y="88"/>
                    <a:pt x="545" y="90"/>
                    <a:pt x="544" y="91"/>
                  </a:cubicBezTo>
                  <a:cubicBezTo>
                    <a:pt x="544" y="93"/>
                    <a:pt x="545" y="96"/>
                    <a:pt x="544" y="98"/>
                  </a:cubicBezTo>
                  <a:cubicBezTo>
                    <a:pt x="543" y="99"/>
                    <a:pt x="540" y="100"/>
                    <a:pt x="539" y="101"/>
                  </a:cubicBezTo>
                  <a:cubicBezTo>
                    <a:pt x="536" y="103"/>
                    <a:pt x="532" y="106"/>
                    <a:pt x="529" y="105"/>
                  </a:cubicBezTo>
                  <a:cubicBezTo>
                    <a:pt x="526" y="104"/>
                    <a:pt x="527" y="104"/>
                    <a:pt x="525" y="102"/>
                  </a:cubicBezTo>
                  <a:cubicBezTo>
                    <a:pt x="522" y="100"/>
                    <a:pt x="522" y="101"/>
                    <a:pt x="521" y="97"/>
                  </a:cubicBezTo>
                  <a:cubicBezTo>
                    <a:pt x="520" y="95"/>
                    <a:pt x="520" y="88"/>
                    <a:pt x="518" y="86"/>
                  </a:cubicBezTo>
                  <a:cubicBezTo>
                    <a:pt x="516" y="85"/>
                    <a:pt x="514" y="87"/>
                    <a:pt x="513" y="85"/>
                  </a:cubicBezTo>
                  <a:cubicBezTo>
                    <a:pt x="512" y="85"/>
                    <a:pt x="512" y="80"/>
                    <a:pt x="513" y="80"/>
                  </a:cubicBezTo>
                  <a:cubicBezTo>
                    <a:pt x="514" y="77"/>
                    <a:pt x="517" y="80"/>
                    <a:pt x="517" y="76"/>
                  </a:cubicBezTo>
                  <a:cubicBezTo>
                    <a:pt x="518" y="72"/>
                    <a:pt x="512" y="71"/>
                    <a:pt x="509" y="70"/>
                  </a:cubicBezTo>
                  <a:cubicBezTo>
                    <a:pt x="508" y="69"/>
                    <a:pt x="506" y="68"/>
                    <a:pt x="505" y="67"/>
                  </a:cubicBezTo>
                  <a:cubicBezTo>
                    <a:pt x="502" y="67"/>
                    <a:pt x="500" y="69"/>
                    <a:pt x="498" y="69"/>
                  </a:cubicBezTo>
                  <a:cubicBezTo>
                    <a:pt x="494" y="69"/>
                    <a:pt x="491" y="67"/>
                    <a:pt x="491" y="64"/>
                  </a:cubicBezTo>
                  <a:cubicBezTo>
                    <a:pt x="490" y="62"/>
                    <a:pt x="491" y="60"/>
                    <a:pt x="490" y="59"/>
                  </a:cubicBezTo>
                  <a:cubicBezTo>
                    <a:pt x="488" y="55"/>
                    <a:pt x="483" y="57"/>
                    <a:pt x="480" y="56"/>
                  </a:cubicBezTo>
                  <a:cubicBezTo>
                    <a:pt x="476" y="56"/>
                    <a:pt x="469" y="50"/>
                    <a:pt x="469" y="46"/>
                  </a:cubicBezTo>
                  <a:cubicBezTo>
                    <a:pt x="470" y="44"/>
                    <a:pt x="473" y="43"/>
                    <a:pt x="473" y="41"/>
                  </a:cubicBezTo>
                  <a:cubicBezTo>
                    <a:pt x="473" y="40"/>
                    <a:pt x="472" y="39"/>
                    <a:pt x="472" y="38"/>
                  </a:cubicBezTo>
                  <a:cubicBezTo>
                    <a:pt x="470" y="34"/>
                    <a:pt x="466" y="30"/>
                    <a:pt x="461" y="31"/>
                  </a:cubicBezTo>
                  <a:cubicBezTo>
                    <a:pt x="457" y="31"/>
                    <a:pt x="453" y="35"/>
                    <a:pt x="449" y="35"/>
                  </a:cubicBezTo>
                  <a:cubicBezTo>
                    <a:pt x="444" y="36"/>
                    <a:pt x="442" y="32"/>
                    <a:pt x="438" y="29"/>
                  </a:cubicBezTo>
                  <a:cubicBezTo>
                    <a:pt x="435" y="26"/>
                    <a:pt x="434" y="24"/>
                    <a:pt x="433" y="20"/>
                  </a:cubicBezTo>
                  <a:cubicBezTo>
                    <a:pt x="433" y="17"/>
                    <a:pt x="433" y="13"/>
                    <a:pt x="433" y="10"/>
                  </a:cubicBezTo>
                  <a:cubicBezTo>
                    <a:pt x="434" y="8"/>
                    <a:pt x="434" y="8"/>
                    <a:pt x="434" y="8"/>
                  </a:cubicBezTo>
                  <a:cubicBezTo>
                    <a:pt x="434" y="7"/>
                    <a:pt x="434" y="8"/>
                    <a:pt x="433" y="7"/>
                  </a:cubicBezTo>
                  <a:cubicBezTo>
                    <a:pt x="433" y="7"/>
                    <a:pt x="432" y="4"/>
                    <a:pt x="432" y="4"/>
                  </a:cubicBezTo>
                  <a:cubicBezTo>
                    <a:pt x="431" y="3"/>
                    <a:pt x="429" y="2"/>
                    <a:pt x="427" y="1"/>
                  </a:cubicBezTo>
                  <a:cubicBezTo>
                    <a:pt x="422" y="0"/>
                    <a:pt x="418" y="1"/>
                    <a:pt x="416" y="5"/>
                  </a:cubicBezTo>
                  <a:cubicBezTo>
                    <a:pt x="415" y="6"/>
                    <a:pt x="415" y="7"/>
                    <a:pt x="415" y="8"/>
                  </a:cubicBezTo>
                  <a:cubicBezTo>
                    <a:pt x="414" y="8"/>
                    <a:pt x="412" y="9"/>
                    <a:pt x="411" y="10"/>
                  </a:cubicBezTo>
                  <a:cubicBezTo>
                    <a:pt x="410" y="11"/>
                    <a:pt x="410" y="14"/>
                    <a:pt x="408" y="15"/>
                  </a:cubicBezTo>
                  <a:cubicBezTo>
                    <a:pt x="406" y="18"/>
                    <a:pt x="403" y="20"/>
                    <a:pt x="401" y="23"/>
                  </a:cubicBezTo>
                  <a:cubicBezTo>
                    <a:pt x="396" y="31"/>
                    <a:pt x="387" y="29"/>
                    <a:pt x="380" y="33"/>
                  </a:cubicBezTo>
                  <a:cubicBezTo>
                    <a:pt x="378" y="35"/>
                    <a:pt x="375" y="37"/>
                    <a:pt x="374" y="39"/>
                  </a:cubicBezTo>
                  <a:cubicBezTo>
                    <a:pt x="372" y="41"/>
                    <a:pt x="373" y="43"/>
                    <a:pt x="373" y="45"/>
                  </a:cubicBezTo>
                  <a:cubicBezTo>
                    <a:pt x="372" y="51"/>
                    <a:pt x="370" y="55"/>
                    <a:pt x="368" y="61"/>
                  </a:cubicBezTo>
                  <a:cubicBezTo>
                    <a:pt x="367" y="65"/>
                    <a:pt x="369" y="70"/>
                    <a:pt x="368" y="74"/>
                  </a:cubicBezTo>
                  <a:cubicBezTo>
                    <a:pt x="367" y="79"/>
                    <a:pt x="365" y="86"/>
                    <a:pt x="361" y="90"/>
                  </a:cubicBezTo>
                  <a:cubicBezTo>
                    <a:pt x="358" y="94"/>
                    <a:pt x="352" y="95"/>
                    <a:pt x="348" y="97"/>
                  </a:cubicBezTo>
                  <a:cubicBezTo>
                    <a:pt x="345" y="99"/>
                    <a:pt x="341" y="102"/>
                    <a:pt x="338" y="105"/>
                  </a:cubicBezTo>
                  <a:cubicBezTo>
                    <a:pt x="335" y="106"/>
                    <a:pt x="334" y="107"/>
                    <a:pt x="331" y="108"/>
                  </a:cubicBezTo>
                  <a:cubicBezTo>
                    <a:pt x="328" y="109"/>
                    <a:pt x="326" y="112"/>
                    <a:pt x="323" y="113"/>
                  </a:cubicBezTo>
                  <a:cubicBezTo>
                    <a:pt x="321" y="115"/>
                    <a:pt x="317" y="114"/>
                    <a:pt x="314" y="115"/>
                  </a:cubicBezTo>
                  <a:cubicBezTo>
                    <a:pt x="311" y="116"/>
                    <a:pt x="310" y="118"/>
                    <a:pt x="307" y="119"/>
                  </a:cubicBezTo>
                  <a:cubicBezTo>
                    <a:pt x="304" y="122"/>
                    <a:pt x="298" y="120"/>
                    <a:pt x="295" y="122"/>
                  </a:cubicBezTo>
                  <a:cubicBezTo>
                    <a:pt x="293" y="123"/>
                    <a:pt x="293" y="125"/>
                    <a:pt x="292" y="126"/>
                  </a:cubicBezTo>
                  <a:cubicBezTo>
                    <a:pt x="290" y="128"/>
                    <a:pt x="287" y="128"/>
                    <a:pt x="284" y="128"/>
                  </a:cubicBezTo>
                  <a:cubicBezTo>
                    <a:pt x="282" y="128"/>
                    <a:pt x="280" y="127"/>
                    <a:pt x="279" y="129"/>
                  </a:cubicBezTo>
                  <a:cubicBezTo>
                    <a:pt x="278" y="131"/>
                    <a:pt x="280" y="134"/>
                    <a:pt x="280" y="136"/>
                  </a:cubicBezTo>
                  <a:cubicBezTo>
                    <a:pt x="282" y="141"/>
                    <a:pt x="285" y="144"/>
                    <a:pt x="290" y="145"/>
                  </a:cubicBezTo>
                  <a:cubicBezTo>
                    <a:pt x="292" y="151"/>
                    <a:pt x="286" y="152"/>
                    <a:pt x="282" y="154"/>
                  </a:cubicBezTo>
                  <a:cubicBezTo>
                    <a:pt x="278" y="156"/>
                    <a:pt x="275" y="158"/>
                    <a:pt x="271" y="157"/>
                  </a:cubicBezTo>
                  <a:cubicBezTo>
                    <a:pt x="269" y="156"/>
                    <a:pt x="268" y="155"/>
                    <a:pt x="266" y="155"/>
                  </a:cubicBezTo>
                  <a:cubicBezTo>
                    <a:pt x="263" y="155"/>
                    <a:pt x="262" y="156"/>
                    <a:pt x="259" y="157"/>
                  </a:cubicBezTo>
                  <a:cubicBezTo>
                    <a:pt x="255" y="159"/>
                    <a:pt x="249" y="159"/>
                    <a:pt x="245" y="157"/>
                  </a:cubicBezTo>
                  <a:cubicBezTo>
                    <a:pt x="237" y="152"/>
                    <a:pt x="224" y="155"/>
                    <a:pt x="219" y="148"/>
                  </a:cubicBezTo>
                  <a:cubicBezTo>
                    <a:pt x="218" y="147"/>
                    <a:pt x="217" y="145"/>
                    <a:pt x="216" y="143"/>
                  </a:cubicBezTo>
                  <a:cubicBezTo>
                    <a:pt x="214" y="142"/>
                    <a:pt x="211" y="141"/>
                    <a:pt x="210" y="138"/>
                  </a:cubicBezTo>
                  <a:cubicBezTo>
                    <a:pt x="210" y="136"/>
                    <a:pt x="210" y="133"/>
                    <a:pt x="210" y="131"/>
                  </a:cubicBezTo>
                  <a:cubicBezTo>
                    <a:pt x="210" y="129"/>
                    <a:pt x="209" y="127"/>
                    <a:pt x="209" y="124"/>
                  </a:cubicBezTo>
                  <a:cubicBezTo>
                    <a:pt x="205" y="122"/>
                    <a:pt x="192" y="122"/>
                    <a:pt x="188" y="126"/>
                  </a:cubicBezTo>
                  <a:cubicBezTo>
                    <a:pt x="185" y="128"/>
                    <a:pt x="182" y="130"/>
                    <a:pt x="179" y="132"/>
                  </a:cubicBezTo>
                  <a:cubicBezTo>
                    <a:pt x="177" y="136"/>
                    <a:pt x="177" y="142"/>
                    <a:pt x="179" y="146"/>
                  </a:cubicBezTo>
                  <a:cubicBezTo>
                    <a:pt x="181" y="150"/>
                    <a:pt x="180" y="154"/>
                    <a:pt x="182" y="158"/>
                  </a:cubicBezTo>
                  <a:cubicBezTo>
                    <a:pt x="183" y="160"/>
                    <a:pt x="184" y="161"/>
                    <a:pt x="185" y="163"/>
                  </a:cubicBezTo>
                  <a:cubicBezTo>
                    <a:pt x="188" y="168"/>
                    <a:pt x="190" y="174"/>
                    <a:pt x="190" y="179"/>
                  </a:cubicBezTo>
                  <a:cubicBezTo>
                    <a:pt x="191" y="186"/>
                    <a:pt x="192" y="194"/>
                    <a:pt x="193" y="202"/>
                  </a:cubicBezTo>
                  <a:cubicBezTo>
                    <a:pt x="193" y="205"/>
                    <a:pt x="193" y="207"/>
                    <a:pt x="192" y="208"/>
                  </a:cubicBezTo>
                  <a:cubicBezTo>
                    <a:pt x="192" y="207"/>
                    <a:pt x="188" y="210"/>
                    <a:pt x="189" y="210"/>
                  </a:cubicBezTo>
                  <a:cubicBezTo>
                    <a:pt x="188" y="210"/>
                    <a:pt x="187" y="211"/>
                    <a:pt x="186" y="211"/>
                  </a:cubicBezTo>
                  <a:cubicBezTo>
                    <a:pt x="184" y="211"/>
                    <a:pt x="183" y="211"/>
                    <a:pt x="182" y="211"/>
                  </a:cubicBezTo>
                  <a:cubicBezTo>
                    <a:pt x="182" y="211"/>
                    <a:pt x="179" y="213"/>
                    <a:pt x="180" y="213"/>
                  </a:cubicBezTo>
                  <a:cubicBezTo>
                    <a:pt x="177" y="213"/>
                    <a:pt x="179" y="212"/>
                    <a:pt x="176" y="211"/>
                  </a:cubicBezTo>
                  <a:cubicBezTo>
                    <a:pt x="175" y="211"/>
                    <a:pt x="171" y="211"/>
                    <a:pt x="171" y="211"/>
                  </a:cubicBezTo>
                  <a:cubicBezTo>
                    <a:pt x="169" y="211"/>
                    <a:pt x="169" y="213"/>
                    <a:pt x="168" y="213"/>
                  </a:cubicBezTo>
                  <a:cubicBezTo>
                    <a:pt x="167" y="214"/>
                    <a:pt x="166" y="213"/>
                    <a:pt x="165" y="214"/>
                  </a:cubicBezTo>
                  <a:cubicBezTo>
                    <a:pt x="164" y="214"/>
                    <a:pt x="164" y="215"/>
                    <a:pt x="164" y="215"/>
                  </a:cubicBezTo>
                  <a:cubicBezTo>
                    <a:pt x="162" y="216"/>
                    <a:pt x="161" y="216"/>
                    <a:pt x="160" y="216"/>
                  </a:cubicBezTo>
                  <a:cubicBezTo>
                    <a:pt x="158" y="216"/>
                    <a:pt x="155" y="216"/>
                    <a:pt x="153" y="216"/>
                  </a:cubicBezTo>
                  <a:cubicBezTo>
                    <a:pt x="149" y="215"/>
                    <a:pt x="144" y="210"/>
                    <a:pt x="141" y="214"/>
                  </a:cubicBezTo>
                  <a:cubicBezTo>
                    <a:pt x="138" y="217"/>
                    <a:pt x="140" y="218"/>
                    <a:pt x="137" y="219"/>
                  </a:cubicBezTo>
                  <a:cubicBezTo>
                    <a:pt x="135" y="220"/>
                    <a:pt x="131" y="219"/>
                    <a:pt x="129" y="219"/>
                  </a:cubicBezTo>
                  <a:cubicBezTo>
                    <a:pt x="122" y="219"/>
                    <a:pt x="120" y="217"/>
                    <a:pt x="118" y="210"/>
                  </a:cubicBezTo>
                  <a:cubicBezTo>
                    <a:pt x="117" y="205"/>
                    <a:pt x="115" y="203"/>
                    <a:pt x="110" y="201"/>
                  </a:cubicBezTo>
                  <a:cubicBezTo>
                    <a:pt x="107" y="199"/>
                    <a:pt x="101" y="201"/>
                    <a:pt x="100" y="198"/>
                  </a:cubicBezTo>
                  <a:cubicBezTo>
                    <a:pt x="98" y="200"/>
                    <a:pt x="98" y="202"/>
                    <a:pt x="95" y="203"/>
                  </a:cubicBezTo>
                  <a:cubicBezTo>
                    <a:pt x="94" y="203"/>
                    <a:pt x="92" y="202"/>
                    <a:pt x="91" y="203"/>
                  </a:cubicBezTo>
                  <a:cubicBezTo>
                    <a:pt x="89" y="203"/>
                    <a:pt x="88" y="205"/>
                    <a:pt x="86" y="206"/>
                  </a:cubicBezTo>
                  <a:cubicBezTo>
                    <a:pt x="85" y="206"/>
                    <a:pt x="84" y="206"/>
                    <a:pt x="83" y="206"/>
                  </a:cubicBezTo>
                  <a:cubicBezTo>
                    <a:pt x="82" y="206"/>
                    <a:pt x="82" y="207"/>
                    <a:pt x="81" y="208"/>
                  </a:cubicBezTo>
                  <a:cubicBezTo>
                    <a:pt x="80" y="209"/>
                    <a:pt x="80" y="210"/>
                    <a:pt x="78" y="210"/>
                  </a:cubicBezTo>
                  <a:cubicBezTo>
                    <a:pt x="76" y="212"/>
                    <a:pt x="74" y="211"/>
                    <a:pt x="71" y="210"/>
                  </a:cubicBezTo>
                  <a:cubicBezTo>
                    <a:pt x="69" y="210"/>
                    <a:pt x="64" y="209"/>
                    <a:pt x="62" y="210"/>
                  </a:cubicBezTo>
                  <a:cubicBezTo>
                    <a:pt x="59" y="211"/>
                    <a:pt x="60" y="215"/>
                    <a:pt x="56" y="213"/>
                  </a:cubicBezTo>
                  <a:cubicBezTo>
                    <a:pt x="53" y="212"/>
                    <a:pt x="54" y="209"/>
                    <a:pt x="50" y="208"/>
                  </a:cubicBezTo>
                  <a:cubicBezTo>
                    <a:pt x="46" y="208"/>
                    <a:pt x="44" y="209"/>
                    <a:pt x="41" y="211"/>
                  </a:cubicBezTo>
                  <a:cubicBezTo>
                    <a:pt x="41" y="211"/>
                    <a:pt x="40" y="211"/>
                    <a:pt x="39" y="211"/>
                  </a:cubicBezTo>
                  <a:cubicBezTo>
                    <a:pt x="39" y="211"/>
                    <a:pt x="38" y="212"/>
                    <a:pt x="38" y="213"/>
                  </a:cubicBezTo>
                  <a:cubicBezTo>
                    <a:pt x="36" y="213"/>
                    <a:pt x="35" y="213"/>
                    <a:pt x="33" y="213"/>
                  </a:cubicBezTo>
                  <a:cubicBezTo>
                    <a:pt x="31" y="213"/>
                    <a:pt x="27" y="213"/>
                    <a:pt x="26" y="214"/>
                  </a:cubicBezTo>
                  <a:cubicBezTo>
                    <a:pt x="23" y="215"/>
                    <a:pt x="21" y="218"/>
                    <a:pt x="20" y="220"/>
                  </a:cubicBezTo>
                  <a:cubicBezTo>
                    <a:pt x="20" y="221"/>
                    <a:pt x="19" y="221"/>
                    <a:pt x="18" y="222"/>
                  </a:cubicBezTo>
                  <a:cubicBezTo>
                    <a:pt x="18" y="222"/>
                    <a:pt x="17" y="222"/>
                    <a:pt x="17" y="222"/>
                  </a:cubicBezTo>
                  <a:cubicBezTo>
                    <a:pt x="16" y="223"/>
                    <a:pt x="14" y="224"/>
                    <a:pt x="13" y="224"/>
                  </a:cubicBezTo>
                  <a:cubicBezTo>
                    <a:pt x="11" y="225"/>
                    <a:pt x="9" y="232"/>
                    <a:pt x="8" y="234"/>
                  </a:cubicBezTo>
                  <a:cubicBezTo>
                    <a:pt x="8" y="237"/>
                    <a:pt x="8" y="237"/>
                    <a:pt x="10" y="238"/>
                  </a:cubicBezTo>
                  <a:cubicBezTo>
                    <a:pt x="10" y="238"/>
                    <a:pt x="11" y="237"/>
                    <a:pt x="12" y="237"/>
                  </a:cubicBezTo>
                  <a:cubicBezTo>
                    <a:pt x="14" y="238"/>
                    <a:pt x="14" y="240"/>
                    <a:pt x="16" y="240"/>
                  </a:cubicBezTo>
                  <a:cubicBezTo>
                    <a:pt x="17" y="240"/>
                    <a:pt x="18" y="240"/>
                    <a:pt x="19" y="240"/>
                  </a:cubicBezTo>
                  <a:cubicBezTo>
                    <a:pt x="21" y="241"/>
                    <a:pt x="23" y="241"/>
                    <a:pt x="24" y="242"/>
                  </a:cubicBezTo>
                  <a:cubicBezTo>
                    <a:pt x="28" y="243"/>
                    <a:pt x="27" y="241"/>
                    <a:pt x="31" y="240"/>
                  </a:cubicBezTo>
                  <a:cubicBezTo>
                    <a:pt x="34" y="239"/>
                    <a:pt x="38" y="242"/>
                    <a:pt x="36" y="246"/>
                  </a:cubicBezTo>
                  <a:cubicBezTo>
                    <a:pt x="32" y="247"/>
                    <a:pt x="28" y="244"/>
                    <a:pt x="23" y="245"/>
                  </a:cubicBezTo>
                  <a:cubicBezTo>
                    <a:pt x="21" y="249"/>
                    <a:pt x="30" y="249"/>
                    <a:pt x="32" y="250"/>
                  </a:cubicBezTo>
                  <a:cubicBezTo>
                    <a:pt x="34" y="251"/>
                    <a:pt x="35" y="252"/>
                    <a:pt x="35" y="254"/>
                  </a:cubicBezTo>
                  <a:cubicBezTo>
                    <a:pt x="34" y="256"/>
                    <a:pt x="33" y="255"/>
                    <a:pt x="31" y="255"/>
                  </a:cubicBezTo>
                  <a:cubicBezTo>
                    <a:pt x="28" y="256"/>
                    <a:pt x="26" y="255"/>
                    <a:pt x="23" y="255"/>
                  </a:cubicBezTo>
                  <a:cubicBezTo>
                    <a:pt x="19" y="256"/>
                    <a:pt x="16" y="254"/>
                    <a:pt x="11" y="254"/>
                  </a:cubicBezTo>
                  <a:cubicBezTo>
                    <a:pt x="9" y="254"/>
                    <a:pt x="4" y="253"/>
                    <a:pt x="2" y="254"/>
                  </a:cubicBezTo>
                  <a:cubicBezTo>
                    <a:pt x="1" y="254"/>
                    <a:pt x="0" y="254"/>
                    <a:pt x="0" y="257"/>
                  </a:cubicBezTo>
                  <a:cubicBezTo>
                    <a:pt x="1" y="260"/>
                    <a:pt x="7" y="260"/>
                    <a:pt x="10" y="262"/>
                  </a:cubicBezTo>
                  <a:cubicBezTo>
                    <a:pt x="12" y="264"/>
                    <a:pt x="14" y="266"/>
                    <a:pt x="17" y="266"/>
                  </a:cubicBezTo>
                  <a:cubicBezTo>
                    <a:pt x="22" y="268"/>
                    <a:pt x="27" y="271"/>
                    <a:pt x="33" y="272"/>
                  </a:cubicBezTo>
                  <a:cubicBezTo>
                    <a:pt x="33" y="273"/>
                    <a:pt x="33" y="276"/>
                    <a:pt x="33" y="277"/>
                  </a:cubicBezTo>
                  <a:cubicBezTo>
                    <a:pt x="32" y="279"/>
                    <a:pt x="31" y="279"/>
                    <a:pt x="30" y="281"/>
                  </a:cubicBezTo>
                  <a:cubicBezTo>
                    <a:pt x="28" y="286"/>
                    <a:pt x="33" y="287"/>
                    <a:pt x="36" y="288"/>
                  </a:cubicBezTo>
                  <a:cubicBezTo>
                    <a:pt x="37" y="288"/>
                    <a:pt x="39" y="288"/>
                    <a:pt x="40" y="288"/>
                  </a:cubicBezTo>
                  <a:cubicBezTo>
                    <a:pt x="43" y="287"/>
                    <a:pt x="41" y="285"/>
                    <a:pt x="43" y="283"/>
                  </a:cubicBezTo>
                  <a:cubicBezTo>
                    <a:pt x="45" y="281"/>
                    <a:pt x="47" y="283"/>
                    <a:pt x="49" y="285"/>
                  </a:cubicBezTo>
                  <a:cubicBezTo>
                    <a:pt x="49" y="284"/>
                    <a:pt x="51" y="283"/>
                    <a:pt x="52" y="283"/>
                  </a:cubicBezTo>
                  <a:cubicBezTo>
                    <a:pt x="52" y="280"/>
                    <a:pt x="57" y="279"/>
                    <a:pt x="58" y="281"/>
                  </a:cubicBezTo>
                  <a:cubicBezTo>
                    <a:pt x="60" y="282"/>
                    <a:pt x="58" y="284"/>
                    <a:pt x="60" y="286"/>
                  </a:cubicBezTo>
                  <a:cubicBezTo>
                    <a:pt x="62" y="286"/>
                    <a:pt x="63" y="286"/>
                    <a:pt x="65" y="286"/>
                  </a:cubicBezTo>
                  <a:cubicBezTo>
                    <a:pt x="67" y="287"/>
                    <a:pt x="68" y="288"/>
                    <a:pt x="71" y="289"/>
                  </a:cubicBezTo>
                  <a:cubicBezTo>
                    <a:pt x="73" y="289"/>
                    <a:pt x="75" y="289"/>
                    <a:pt x="77" y="289"/>
                  </a:cubicBezTo>
                  <a:cubicBezTo>
                    <a:pt x="83" y="288"/>
                    <a:pt x="81" y="290"/>
                    <a:pt x="84" y="294"/>
                  </a:cubicBezTo>
                  <a:cubicBezTo>
                    <a:pt x="85" y="297"/>
                    <a:pt x="84" y="295"/>
                    <a:pt x="87" y="296"/>
                  </a:cubicBezTo>
                  <a:cubicBezTo>
                    <a:pt x="89" y="297"/>
                    <a:pt x="88" y="297"/>
                    <a:pt x="90" y="299"/>
                  </a:cubicBezTo>
                  <a:cubicBezTo>
                    <a:pt x="93" y="301"/>
                    <a:pt x="93" y="301"/>
                    <a:pt x="96" y="302"/>
                  </a:cubicBezTo>
                  <a:cubicBezTo>
                    <a:pt x="100" y="302"/>
                    <a:pt x="98" y="302"/>
                    <a:pt x="101" y="305"/>
                  </a:cubicBezTo>
                  <a:cubicBezTo>
                    <a:pt x="104" y="308"/>
                    <a:pt x="108" y="306"/>
                    <a:pt x="112" y="305"/>
                  </a:cubicBezTo>
                  <a:cubicBezTo>
                    <a:pt x="114" y="303"/>
                    <a:pt x="118" y="303"/>
                    <a:pt x="120" y="304"/>
                  </a:cubicBezTo>
                  <a:cubicBezTo>
                    <a:pt x="123" y="309"/>
                    <a:pt x="113" y="305"/>
                    <a:pt x="114" y="310"/>
                  </a:cubicBezTo>
                  <a:cubicBezTo>
                    <a:pt x="114" y="313"/>
                    <a:pt x="126" y="312"/>
                    <a:pt x="129" y="312"/>
                  </a:cubicBezTo>
                  <a:cubicBezTo>
                    <a:pt x="132" y="312"/>
                    <a:pt x="136" y="311"/>
                    <a:pt x="136" y="315"/>
                  </a:cubicBezTo>
                  <a:cubicBezTo>
                    <a:pt x="136" y="317"/>
                    <a:pt x="134" y="319"/>
                    <a:pt x="133" y="320"/>
                  </a:cubicBezTo>
                  <a:cubicBezTo>
                    <a:pt x="132" y="321"/>
                    <a:pt x="131" y="325"/>
                    <a:pt x="132" y="326"/>
                  </a:cubicBezTo>
                  <a:cubicBezTo>
                    <a:pt x="132" y="331"/>
                    <a:pt x="139" y="327"/>
                    <a:pt x="142" y="328"/>
                  </a:cubicBezTo>
                  <a:cubicBezTo>
                    <a:pt x="145" y="329"/>
                    <a:pt x="147" y="333"/>
                    <a:pt x="148" y="335"/>
                  </a:cubicBezTo>
                  <a:cubicBezTo>
                    <a:pt x="148" y="337"/>
                    <a:pt x="147" y="340"/>
                    <a:pt x="147" y="341"/>
                  </a:cubicBezTo>
                  <a:cubicBezTo>
                    <a:pt x="148" y="343"/>
                    <a:pt x="151" y="343"/>
                    <a:pt x="153" y="344"/>
                  </a:cubicBezTo>
                  <a:cubicBezTo>
                    <a:pt x="155" y="346"/>
                    <a:pt x="155" y="346"/>
                    <a:pt x="156" y="349"/>
                  </a:cubicBezTo>
                  <a:cubicBezTo>
                    <a:pt x="157" y="350"/>
                    <a:pt x="158" y="354"/>
                    <a:pt x="157" y="355"/>
                  </a:cubicBezTo>
                  <a:cubicBezTo>
                    <a:pt x="156" y="355"/>
                    <a:pt x="154" y="356"/>
                    <a:pt x="153" y="355"/>
                  </a:cubicBezTo>
                  <a:cubicBezTo>
                    <a:pt x="152" y="355"/>
                    <a:pt x="150" y="351"/>
                    <a:pt x="149" y="350"/>
                  </a:cubicBezTo>
                  <a:cubicBezTo>
                    <a:pt x="148" y="349"/>
                    <a:pt x="148" y="347"/>
                    <a:pt x="145" y="347"/>
                  </a:cubicBezTo>
                  <a:cubicBezTo>
                    <a:pt x="142" y="347"/>
                    <a:pt x="141" y="351"/>
                    <a:pt x="142" y="353"/>
                  </a:cubicBezTo>
                  <a:cubicBezTo>
                    <a:pt x="143" y="355"/>
                    <a:pt x="146" y="356"/>
                    <a:pt x="147" y="358"/>
                  </a:cubicBezTo>
                  <a:cubicBezTo>
                    <a:pt x="149" y="360"/>
                    <a:pt x="150" y="362"/>
                    <a:pt x="152" y="364"/>
                  </a:cubicBezTo>
                  <a:cubicBezTo>
                    <a:pt x="156" y="368"/>
                    <a:pt x="161" y="373"/>
                    <a:pt x="161" y="379"/>
                  </a:cubicBezTo>
                  <a:cubicBezTo>
                    <a:pt x="165" y="379"/>
                    <a:pt x="165" y="385"/>
                    <a:pt x="167" y="387"/>
                  </a:cubicBezTo>
                  <a:cubicBezTo>
                    <a:pt x="169" y="388"/>
                    <a:pt x="171" y="388"/>
                    <a:pt x="172" y="389"/>
                  </a:cubicBezTo>
                  <a:cubicBezTo>
                    <a:pt x="174" y="390"/>
                    <a:pt x="174" y="393"/>
                    <a:pt x="175" y="395"/>
                  </a:cubicBezTo>
                  <a:cubicBezTo>
                    <a:pt x="176" y="396"/>
                    <a:pt x="179" y="400"/>
                    <a:pt x="180" y="400"/>
                  </a:cubicBezTo>
                  <a:cubicBezTo>
                    <a:pt x="182" y="401"/>
                    <a:pt x="184" y="401"/>
                    <a:pt x="187" y="401"/>
                  </a:cubicBezTo>
                  <a:cubicBezTo>
                    <a:pt x="191" y="401"/>
                    <a:pt x="192" y="403"/>
                    <a:pt x="196" y="403"/>
                  </a:cubicBezTo>
                  <a:cubicBezTo>
                    <a:pt x="199" y="403"/>
                    <a:pt x="199" y="403"/>
                    <a:pt x="201" y="404"/>
                  </a:cubicBezTo>
                  <a:cubicBezTo>
                    <a:pt x="202" y="405"/>
                    <a:pt x="203" y="407"/>
                    <a:pt x="205" y="408"/>
                  </a:cubicBezTo>
                  <a:cubicBezTo>
                    <a:pt x="207" y="408"/>
                    <a:pt x="207" y="407"/>
                    <a:pt x="208" y="406"/>
                  </a:cubicBezTo>
                  <a:cubicBezTo>
                    <a:pt x="210" y="406"/>
                    <a:pt x="212" y="405"/>
                    <a:pt x="214" y="405"/>
                  </a:cubicBezTo>
                  <a:cubicBezTo>
                    <a:pt x="218" y="405"/>
                    <a:pt x="222" y="405"/>
                    <a:pt x="226" y="405"/>
                  </a:cubicBezTo>
                  <a:cubicBezTo>
                    <a:pt x="228" y="405"/>
                    <a:pt x="231" y="404"/>
                    <a:pt x="231" y="406"/>
                  </a:cubicBezTo>
                  <a:cubicBezTo>
                    <a:pt x="232" y="409"/>
                    <a:pt x="226" y="409"/>
                    <a:pt x="224" y="409"/>
                  </a:cubicBezTo>
                  <a:cubicBezTo>
                    <a:pt x="221" y="409"/>
                    <a:pt x="218" y="409"/>
                    <a:pt x="215" y="409"/>
                  </a:cubicBezTo>
                  <a:cubicBezTo>
                    <a:pt x="211" y="409"/>
                    <a:pt x="208" y="407"/>
                    <a:pt x="208" y="412"/>
                  </a:cubicBezTo>
                  <a:cubicBezTo>
                    <a:pt x="208" y="414"/>
                    <a:pt x="208" y="417"/>
                    <a:pt x="209" y="419"/>
                  </a:cubicBezTo>
                  <a:cubicBezTo>
                    <a:pt x="210" y="420"/>
                    <a:pt x="211" y="421"/>
                    <a:pt x="212" y="422"/>
                  </a:cubicBezTo>
                  <a:cubicBezTo>
                    <a:pt x="214" y="426"/>
                    <a:pt x="212" y="431"/>
                    <a:pt x="211" y="434"/>
                  </a:cubicBezTo>
                  <a:cubicBezTo>
                    <a:pt x="211" y="436"/>
                    <a:pt x="211" y="443"/>
                    <a:pt x="208" y="443"/>
                  </a:cubicBezTo>
                  <a:cubicBezTo>
                    <a:pt x="208" y="442"/>
                    <a:pt x="204" y="438"/>
                    <a:pt x="204" y="438"/>
                  </a:cubicBezTo>
                  <a:cubicBezTo>
                    <a:pt x="203" y="437"/>
                    <a:pt x="202" y="436"/>
                    <a:pt x="202" y="434"/>
                  </a:cubicBezTo>
                  <a:cubicBezTo>
                    <a:pt x="199" y="430"/>
                    <a:pt x="198" y="432"/>
                    <a:pt x="194" y="430"/>
                  </a:cubicBezTo>
                  <a:cubicBezTo>
                    <a:pt x="189" y="428"/>
                    <a:pt x="193" y="424"/>
                    <a:pt x="189" y="422"/>
                  </a:cubicBezTo>
                  <a:cubicBezTo>
                    <a:pt x="186" y="424"/>
                    <a:pt x="190" y="429"/>
                    <a:pt x="192" y="431"/>
                  </a:cubicBezTo>
                  <a:cubicBezTo>
                    <a:pt x="193" y="433"/>
                    <a:pt x="193" y="434"/>
                    <a:pt x="194" y="435"/>
                  </a:cubicBezTo>
                  <a:cubicBezTo>
                    <a:pt x="196" y="437"/>
                    <a:pt x="196" y="437"/>
                    <a:pt x="198" y="438"/>
                  </a:cubicBezTo>
                  <a:cubicBezTo>
                    <a:pt x="202" y="441"/>
                    <a:pt x="201" y="446"/>
                    <a:pt x="203" y="450"/>
                  </a:cubicBezTo>
                  <a:cubicBezTo>
                    <a:pt x="205" y="454"/>
                    <a:pt x="206" y="458"/>
                    <a:pt x="210" y="460"/>
                  </a:cubicBezTo>
                  <a:cubicBezTo>
                    <a:pt x="212" y="461"/>
                    <a:pt x="214" y="463"/>
                    <a:pt x="216" y="464"/>
                  </a:cubicBezTo>
                  <a:cubicBezTo>
                    <a:pt x="217" y="465"/>
                    <a:pt x="220" y="467"/>
                    <a:pt x="221" y="468"/>
                  </a:cubicBezTo>
                  <a:cubicBezTo>
                    <a:pt x="223" y="470"/>
                    <a:pt x="222" y="473"/>
                    <a:pt x="223" y="475"/>
                  </a:cubicBezTo>
                  <a:cubicBezTo>
                    <a:pt x="225" y="480"/>
                    <a:pt x="227" y="485"/>
                    <a:pt x="229" y="490"/>
                  </a:cubicBezTo>
                  <a:cubicBezTo>
                    <a:pt x="231" y="494"/>
                    <a:pt x="230" y="499"/>
                    <a:pt x="231" y="503"/>
                  </a:cubicBezTo>
                  <a:cubicBezTo>
                    <a:pt x="232" y="505"/>
                    <a:pt x="233" y="506"/>
                    <a:pt x="233" y="507"/>
                  </a:cubicBezTo>
                  <a:cubicBezTo>
                    <a:pt x="234" y="509"/>
                    <a:pt x="234" y="511"/>
                    <a:pt x="234" y="514"/>
                  </a:cubicBezTo>
                  <a:cubicBezTo>
                    <a:pt x="234" y="510"/>
                    <a:pt x="232" y="505"/>
                    <a:pt x="229" y="502"/>
                  </a:cubicBezTo>
                  <a:cubicBezTo>
                    <a:pt x="227" y="498"/>
                    <a:pt x="225" y="494"/>
                    <a:pt x="223" y="491"/>
                  </a:cubicBezTo>
                  <a:cubicBezTo>
                    <a:pt x="221" y="487"/>
                    <a:pt x="221" y="482"/>
                    <a:pt x="219" y="479"/>
                  </a:cubicBezTo>
                  <a:cubicBezTo>
                    <a:pt x="216" y="476"/>
                    <a:pt x="213" y="472"/>
                    <a:pt x="210" y="470"/>
                  </a:cubicBezTo>
                  <a:cubicBezTo>
                    <a:pt x="210" y="470"/>
                    <a:pt x="206" y="467"/>
                    <a:pt x="206" y="467"/>
                  </a:cubicBezTo>
                  <a:cubicBezTo>
                    <a:pt x="204" y="467"/>
                    <a:pt x="203" y="472"/>
                    <a:pt x="203" y="474"/>
                  </a:cubicBezTo>
                  <a:cubicBezTo>
                    <a:pt x="202" y="479"/>
                    <a:pt x="203" y="485"/>
                    <a:pt x="203" y="491"/>
                  </a:cubicBezTo>
                  <a:cubicBezTo>
                    <a:pt x="203" y="494"/>
                    <a:pt x="203" y="497"/>
                    <a:pt x="203" y="500"/>
                  </a:cubicBezTo>
                  <a:cubicBezTo>
                    <a:pt x="202" y="502"/>
                    <a:pt x="201" y="503"/>
                    <a:pt x="200" y="505"/>
                  </a:cubicBezTo>
                  <a:cubicBezTo>
                    <a:pt x="199" y="508"/>
                    <a:pt x="200" y="512"/>
                    <a:pt x="199" y="516"/>
                  </a:cubicBezTo>
                  <a:cubicBezTo>
                    <a:pt x="198" y="519"/>
                    <a:pt x="197" y="521"/>
                    <a:pt x="196" y="524"/>
                  </a:cubicBezTo>
                  <a:cubicBezTo>
                    <a:pt x="196" y="528"/>
                    <a:pt x="195" y="532"/>
                    <a:pt x="194" y="535"/>
                  </a:cubicBezTo>
                  <a:cubicBezTo>
                    <a:pt x="194" y="538"/>
                    <a:pt x="194" y="541"/>
                    <a:pt x="194" y="543"/>
                  </a:cubicBezTo>
                  <a:cubicBezTo>
                    <a:pt x="193" y="546"/>
                    <a:pt x="192" y="548"/>
                    <a:pt x="191" y="551"/>
                  </a:cubicBezTo>
                  <a:cubicBezTo>
                    <a:pt x="191" y="556"/>
                    <a:pt x="190" y="560"/>
                    <a:pt x="189" y="565"/>
                  </a:cubicBezTo>
                  <a:cubicBezTo>
                    <a:pt x="189" y="567"/>
                    <a:pt x="188" y="570"/>
                    <a:pt x="188" y="573"/>
                  </a:cubicBezTo>
                  <a:cubicBezTo>
                    <a:pt x="187" y="577"/>
                    <a:pt x="186" y="576"/>
                    <a:pt x="184" y="579"/>
                  </a:cubicBezTo>
                  <a:cubicBezTo>
                    <a:pt x="181" y="583"/>
                    <a:pt x="182" y="589"/>
                    <a:pt x="182" y="594"/>
                  </a:cubicBezTo>
                  <a:cubicBezTo>
                    <a:pt x="182" y="600"/>
                    <a:pt x="182" y="606"/>
                    <a:pt x="181" y="610"/>
                  </a:cubicBezTo>
                  <a:cubicBezTo>
                    <a:pt x="179" y="617"/>
                    <a:pt x="176" y="619"/>
                    <a:pt x="170" y="623"/>
                  </a:cubicBezTo>
                  <a:cubicBezTo>
                    <a:pt x="168" y="624"/>
                    <a:pt x="166" y="626"/>
                    <a:pt x="165" y="627"/>
                  </a:cubicBezTo>
                  <a:cubicBezTo>
                    <a:pt x="164" y="629"/>
                    <a:pt x="164" y="633"/>
                    <a:pt x="164" y="635"/>
                  </a:cubicBezTo>
                  <a:cubicBezTo>
                    <a:pt x="165" y="636"/>
                    <a:pt x="166" y="637"/>
                    <a:pt x="166" y="637"/>
                  </a:cubicBezTo>
                  <a:cubicBezTo>
                    <a:pt x="168" y="637"/>
                    <a:pt x="169" y="638"/>
                    <a:pt x="169" y="638"/>
                  </a:cubicBezTo>
                  <a:cubicBezTo>
                    <a:pt x="170" y="639"/>
                    <a:pt x="171" y="639"/>
                    <a:pt x="172" y="640"/>
                  </a:cubicBezTo>
                  <a:cubicBezTo>
                    <a:pt x="173" y="640"/>
                    <a:pt x="174" y="640"/>
                    <a:pt x="175" y="640"/>
                  </a:cubicBezTo>
                  <a:cubicBezTo>
                    <a:pt x="176" y="641"/>
                    <a:pt x="178" y="640"/>
                    <a:pt x="179" y="642"/>
                  </a:cubicBezTo>
                  <a:cubicBezTo>
                    <a:pt x="182" y="646"/>
                    <a:pt x="176" y="649"/>
                    <a:pt x="177" y="653"/>
                  </a:cubicBezTo>
                  <a:cubicBezTo>
                    <a:pt x="178" y="657"/>
                    <a:pt x="180" y="658"/>
                    <a:pt x="182" y="656"/>
                  </a:cubicBezTo>
                  <a:cubicBezTo>
                    <a:pt x="184" y="655"/>
                    <a:pt x="185" y="652"/>
                    <a:pt x="188" y="653"/>
                  </a:cubicBezTo>
                  <a:cubicBezTo>
                    <a:pt x="188" y="657"/>
                    <a:pt x="194" y="659"/>
                    <a:pt x="197" y="661"/>
                  </a:cubicBezTo>
                  <a:cubicBezTo>
                    <a:pt x="199" y="663"/>
                    <a:pt x="201" y="664"/>
                    <a:pt x="203" y="665"/>
                  </a:cubicBezTo>
                  <a:cubicBezTo>
                    <a:pt x="210" y="668"/>
                    <a:pt x="217" y="665"/>
                    <a:pt x="219" y="674"/>
                  </a:cubicBezTo>
                  <a:cubicBezTo>
                    <a:pt x="225" y="675"/>
                    <a:pt x="230" y="677"/>
                    <a:pt x="235" y="677"/>
                  </a:cubicBezTo>
                  <a:cubicBezTo>
                    <a:pt x="238" y="678"/>
                    <a:pt x="242" y="676"/>
                    <a:pt x="244" y="677"/>
                  </a:cubicBezTo>
                  <a:cubicBezTo>
                    <a:pt x="245" y="677"/>
                    <a:pt x="247" y="679"/>
                    <a:pt x="247" y="680"/>
                  </a:cubicBezTo>
                  <a:cubicBezTo>
                    <a:pt x="249" y="681"/>
                    <a:pt x="251" y="682"/>
                    <a:pt x="253" y="683"/>
                  </a:cubicBezTo>
                  <a:cubicBezTo>
                    <a:pt x="254" y="684"/>
                    <a:pt x="256" y="685"/>
                    <a:pt x="258" y="685"/>
                  </a:cubicBezTo>
                  <a:cubicBezTo>
                    <a:pt x="260" y="685"/>
                    <a:pt x="262" y="684"/>
                    <a:pt x="265" y="684"/>
                  </a:cubicBezTo>
                  <a:cubicBezTo>
                    <a:pt x="273" y="684"/>
                    <a:pt x="282" y="685"/>
                    <a:pt x="290" y="684"/>
                  </a:cubicBezTo>
                  <a:cubicBezTo>
                    <a:pt x="292" y="684"/>
                    <a:pt x="293" y="685"/>
                    <a:pt x="294" y="683"/>
                  </a:cubicBezTo>
                  <a:cubicBezTo>
                    <a:pt x="295" y="682"/>
                    <a:pt x="294" y="681"/>
                    <a:pt x="295" y="680"/>
                  </a:cubicBezTo>
                  <a:cubicBezTo>
                    <a:pt x="295" y="678"/>
                    <a:pt x="296" y="678"/>
                    <a:pt x="296" y="677"/>
                  </a:cubicBezTo>
                  <a:cubicBezTo>
                    <a:pt x="297" y="676"/>
                    <a:pt x="297" y="674"/>
                    <a:pt x="297" y="672"/>
                  </a:cubicBezTo>
                  <a:cubicBezTo>
                    <a:pt x="300" y="673"/>
                    <a:pt x="302" y="675"/>
                    <a:pt x="305" y="675"/>
                  </a:cubicBezTo>
                  <a:cubicBezTo>
                    <a:pt x="309" y="676"/>
                    <a:pt x="313" y="679"/>
                    <a:pt x="318" y="680"/>
                  </a:cubicBezTo>
                  <a:cubicBezTo>
                    <a:pt x="320" y="680"/>
                    <a:pt x="322" y="680"/>
                    <a:pt x="324" y="681"/>
                  </a:cubicBezTo>
                  <a:cubicBezTo>
                    <a:pt x="327" y="682"/>
                    <a:pt x="328" y="683"/>
                    <a:pt x="330" y="684"/>
                  </a:cubicBezTo>
                  <a:cubicBezTo>
                    <a:pt x="333" y="685"/>
                    <a:pt x="336" y="687"/>
                    <a:pt x="337" y="690"/>
                  </a:cubicBezTo>
                  <a:cubicBezTo>
                    <a:pt x="337" y="690"/>
                    <a:pt x="337" y="690"/>
                    <a:pt x="337" y="690"/>
                  </a:cubicBezTo>
                  <a:cubicBezTo>
                    <a:pt x="338" y="690"/>
                    <a:pt x="338" y="689"/>
                    <a:pt x="338" y="689"/>
                  </a:cubicBezTo>
                  <a:cubicBezTo>
                    <a:pt x="339" y="689"/>
                    <a:pt x="339" y="688"/>
                    <a:pt x="339" y="688"/>
                  </a:cubicBezTo>
                  <a:cubicBezTo>
                    <a:pt x="340" y="686"/>
                    <a:pt x="340" y="685"/>
                    <a:pt x="342" y="684"/>
                  </a:cubicBezTo>
                  <a:cubicBezTo>
                    <a:pt x="342" y="684"/>
                    <a:pt x="343" y="685"/>
                    <a:pt x="344" y="685"/>
                  </a:cubicBezTo>
                  <a:cubicBezTo>
                    <a:pt x="345" y="686"/>
                    <a:pt x="346" y="686"/>
                    <a:pt x="346" y="687"/>
                  </a:cubicBezTo>
                  <a:cubicBezTo>
                    <a:pt x="348" y="688"/>
                    <a:pt x="349" y="687"/>
                    <a:pt x="349" y="687"/>
                  </a:cubicBezTo>
                  <a:cubicBezTo>
                    <a:pt x="350" y="688"/>
                    <a:pt x="351" y="688"/>
                    <a:pt x="352" y="688"/>
                  </a:cubicBezTo>
                  <a:cubicBezTo>
                    <a:pt x="353" y="689"/>
                    <a:pt x="355" y="689"/>
                    <a:pt x="356" y="689"/>
                  </a:cubicBezTo>
                  <a:cubicBezTo>
                    <a:pt x="358" y="690"/>
                    <a:pt x="360" y="692"/>
                    <a:pt x="362" y="693"/>
                  </a:cubicBezTo>
                  <a:cubicBezTo>
                    <a:pt x="363" y="693"/>
                    <a:pt x="363" y="693"/>
                    <a:pt x="364" y="693"/>
                  </a:cubicBezTo>
                  <a:cubicBezTo>
                    <a:pt x="365" y="693"/>
                    <a:pt x="366" y="694"/>
                    <a:pt x="367" y="694"/>
                  </a:cubicBezTo>
                  <a:cubicBezTo>
                    <a:pt x="368" y="695"/>
                    <a:pt x="370" y="695"/>
                    <a:pt x="371" y="697"/>
                  </a:cubicBezTo>
                  <a:cubicBezTo>
                    <a:pt x="372" y="698"/>
                    <a:pt x="372" y="699"/>
                    <a:pt x="372" y="700"/>
                  </a:cubicBezTo>
                  <a:cubicBezTo>
                    <a:pt x="372" y="701"/>
                    <a:pt x="372" y="702"/>
                    <a:pt x="373" y="703"/>
                  </a:cubicBezTo>
                  <a:cubicBezTo>
                    <a:pt x="373" y="705"/>
                    <a:pt x="374" y="707"/>
                    <a:pt x="373" y="709"/>
                  </a:cubicBezTo>
                  <a:cubicBezTo>
                    <a:pt x="373" y="710"/>
                    <a:pt x="373" y="710"/>
                    <a:pt x="372" y="710"/>
                  </a:cubicBezTo>
                  <a:cubicBezTo>
                    <a:pt x="372" y="710"/>
                    <a:pt x="372" y="710"/>
                    <a:pt x="372" y="710"/>
                  </a:cubicBezTo>
                  <a:cubicBezTo>
                    <a:pt x="374" y="711"/>
                    <a:pt x="374" y="712"/>
                    <a:pt x="376" y="711"/>
                  </a:cubicBezTo>
                  <a:cubicBezTo>
                    <a:pt x="378" y="711"/>
                    <a:pt x="378" y="710"/>
                    <a:pt x="380" y="709"/>
                  </a:cubicBezTo>
                  <a:cubicBezTo>
                    <a:pt x="380" y="709"/>
                    <a:pt x="381" y="709"/>
                    <a:pt x="381" y="709"/>
                  </a:cubicBezTo>
                  <a:cubicBezTo>
                    <a:pt x="382" y="708"/>
                    <a:pt x="382" y="708"/>
                    <a:pt x="382" y="707"/>
                  </a:cubicBezTo>
                  <a:cubicBezTo>
                    <a:pt x="383" y="707"/>
                    <a:pt x="384" y="706"/>
                    <a:pt x="385" y="706"/>
                  </a:cubicBezTo>
                  <a:cubicBezTo>
                    <a:pt x="390" y="705"/>
                    <a:pt x="397" y="708"/>
                    <a:pt x="402" y="709"/>
                  </a:cubicBezTo>
                  <a:cubicBezTo>
                    <a:pt x="407" y="710"/>
                    <a:pt x="408" y="707"/>
                    <a:pt x="412" y="705"/>
                  </a:cubicBezTo>
                  <a:cubicBezTo>
                    <a:pt x="416" y="704"/>
                    <a:pt x="418" y="703"/>
                    <a:pt x="422" y="703"/>
                  </a:cubicBezTo>
                  <a:cubicBezTo>
                    <a:pt x="427" y="703"/>
                    <a:pt x="432" y="703"/>
                    <a:pt x="437" y="704"/>
                  </a:cubicBezTo>
                  <a:cubicBezTo>
                    <a:pt x="439" y="704"/>
                    <a:pt x="440" y="705"/>
                    <a:pt x="442" y="706"/>
                  </a:cubicBezTo>
                  <a:cubicBezTo>
                    <a:pt x="441" y="703"/>
                    <a:pt x="439" y="702"/>
                    <a:pt x="436" y="699"/>
                  </a:cubicBezTo>
                  <a:cubicBezTo>
                    <a:pt x="431" y="695"/>
                    <a:pt x="431" y="690"/>
                    <a:pt x="431" y="685"/>
                  </a:cubicBezTo>
                  <a:cubicBezTo>
                    <a:pt x="431" y="682"/>
                    <a:pt x="431" y="679"/>
                    <a:pt x="432" y="677"/>
                  </a:cubicBezTo>
                  <a:cubicBezTo>
                    <a:pt x="432" y="675"/>
                    <a:pt x="432" y="675"/>
                    <a:pt x="433" y="674"/>
                  </a:cubicBezTo>
                  <a:cubicBezTo>
                    <a:pt x="434" y="672"/>
                    <a:pt x="434" y="672"/>
                    <a:pt x="435" y="671"/>
                  </a:cubicBezTo>
                  <a:cubicBezTo>
                    <a:pt x="438" y="667"/>
                    <a:pt x="438" y="664"/>
                    <a:pt x="440" y="659"/>
                  </a:cubicBezTo>
                  <a:cubicBezTo>
                    <a:pt x="442" y="655"/>
                    <a:pt x="445" y="654"/>
                    <a:pt x="448" y="651"/>
                  </a:cubicBezTo>
                  <a:cubicBezTo>
                    <a:pt x="450" y="649"/>
                    <a:pt x="451" y="648"/>
                    <a:pt x="452" y="646"/>
                  </a:cubicBezTo>
                  <a:cubicBezTo>
                    <a:pt x="453" y="644"/>
                    <a:pt x="453" y="641"/>
                    <a:pt x="455" y="639"/>
                  </a:cubicBezTo>
                  <a:cubicBezTo>
                    <a:pt x="458" y="636"/>
                    <a:pt x="460" y="635"/>
                    <a:pt x="464" y="634"/>
                  </a:cubicBezTo>
                  <a:cubicBezTo>
                    <a:pt x="469" y="634"/>
                    <a:pt x="471" y="630"/>
                    <a:pt x="474" y="627"/>
                  </a:cubicBezTo>
                  <a:cubicBezTo>
                    <a:pt x="478" y="623"/>
                    <a:pt x="481" y="621"/>
                    <a:pt x="487" y="621"/>
                  </a:cubicBezTo>
                  <a:cubicBezTo>
                    <a:pt x="489" y="621"/>
                    <a:pt x="489" y="622"/>
                    <a:pt x="491" y="622"/>
                  </a:cubicBezTo>
                  <a:cubicBezTo>
                    <a:pt x="492" y="623"/>
                    <a:pt x="493" y="624"/>
                    <a:pt x="494" y="624"/>
                  </a:cubicBezTo>
                  <a:cubicBezTo>
                    <a:pt x="495" y="624"/>
                    <a:pt x="496" y="624"/>
                    <a:pt x="497" y="624"/>
                  </a:cubicBezTo>
                  <a:cubicBezTo>
                    <a:pt x="500" y="624"/>
                    <a:pt x="503" y="624"/>
                    <a:pt x="505" y="624"/>
                  </a:cubicBezTo>
                  <a:cubicBezTo>
                    <a:pt x="506" y="625"/>
                    <a:pt x="506" y="626"/>
                    <a:pt x="507" y="626"/>
                  </a:cubicBezTo>
                  <a:cubicBezTo>
                    <a:pt x="508" y="626"/>
                    <a:pt x="510" y="626"/>
                    <a:pt x="511" y="626"/>
                  </a:cubicBezTo>
                  <a:cubicBezTo>
                    <a:pt x="513" y="626"/>
                    <a:pt x="515" y="626"/>
                    <a:pt x="517" y="626"/>
                  </a:cubicBezTo>
                  <a:cubicBezTo>
                    <a:pt x="518" y="626"/>
                    <a:pt x="519" y="626"/>
                    <a:pt x="520" y="626"/>
                  </a:cubicBezTo>
                  <a:cubicBezTo>
                    <a:pt x="521" y="626"/>
                    <a:pt x="522" y="625"/>
                    <a:pt x="523" y="625"/>
                  </a:cubicBezTo>
                  <a:cubicBezTo>
                    <a:pt x="524" y="625"/>
                    <a:pt x="524" y="624"/>
                    <a:pt x="526" y="624"/>
                  </a:cubicBezTo>
                  <a:cubicBezTo>
                    <a:pt x="526" y="626"/>
                    <a:pt x="525" y="631"/>
                    <a:pt x="526" y="633"/>
                  </a:cubicBezTo>
                  <a:cubicBezTo>
                    <a:pt x="527" y="635"/>
                    <a:pt x="529" y="634"/>
                    <a:pt x="532" y="634"/>
                  </a:cubicBezTo>
                  <a:cubicBezTo>
                    <a:pt x="532" y="634"/>
                    <a:pt x="534" y="635"/>
                    <a:pt x="534" y="634"/>
                  </a:cubicBezTo>
                  <a:cubicBezTo>
                    <a:pt x="536" y="634"/>
                    <a:pt x="535" y="634"/>
                    <a:pt x="536" y="632"/>
                  </a:cubicBezTo>
                  <a:cubicBezTo>
                    <a:pt x="537" y="631"/>
                    <a:pt x="537" y="630"/>
                    <a:pt x="538" y="629"/>
                  </a:cubicBezTo>
                  <a:cubicBezTo>
                    <a:pt x="539" y="628"/>
                    <a:pt x="541" y="630"/>
                    <a:pt x="541" y="627"/>
                  </a:cubicBezTo>
                  <a:cubicBezTo>
                    <a:pt x="546" y="630"/>
                    <a:pt x="542" y="632"/>
                    <a:pt x="543" y="635"/>
                  </a:cubicBezTo>
                  <a:cubicBezTo>
                    <a:pt x="545" y="635"/>
                    <a:pt x="545" y="637"/>
                    <a:pt x="547" y="637"/>
                  </a:cubicBezTo>
                  <a:cubicBezTo>
                    <a:pt x="549" y="638"/>
                    <a:pt x="549" y="636"/>
                    <a:pt x="551" y="635"/>
                  </a:cubicBezTo>
                  <a:cubicBezTo>
                    <a:pt x="552" y="635"/>
                    <a:pt x="557" y="635"/>
                    <a:pt x="558" y="635"/>
                  </a:cubicBezTo>
                  <a:cubicBezTo>
                    <a:pt x="560" y="636"/>
                    <a:pt x="560" y="636"/>
                    <a:pt x="560" y="639"/>
                  </a:cubicBezTo>
                  <a:cubicBezTo>
                    <a:pt x="562" y="640"/>
                    <a:pt x="565" y="640"/>
                    <a:pt x="566" y="642"/>
                  </a:cubicBezTo>
                  <a:cubicBezTo>
                    <a:pt x="567" y="644"/>
                    <a:pt x="566" y="647"/>
                    <a:pt x="568" y="648"/>
                  </a:cubicBezTo>
                  <a:cubicBezTo>
                    <a:pt x="569" y="650"/>
                    <a:pt x="572" y="651"/>
                    <a:pt x="574" y="652"/>
                  </a:cubicBezTo>
                  <a:cubicBezTo>
                    <a:pt x="576" y="653"/>
                    <a:pt x="577" y="653"/>
                    <a:pt x="580" y="653"/>
                  </a:cubicBezTo>
                  <a:cubicBezTo>
                    <a:pt x="582" y="653"/>
                    <a:pt x="584" y="654"/>
                    <a:pt x="585" y="654"/>
                  </a:cubicBezTo>
                  <a:cubicBezTo>
                    <a:pt x="588" y="654"/>
                    <a:pt x="592" y="653"/>
                    <a:pt x="594" y="654"/>
                  </a:cubicBezTo>
                  <a:cubicBezTo>
                    <a:pt x="596" y="656"/>
                    <a:pt x="596" y="657"/>
                    <a:pt x="599" y="658"/>
                  </a:cubicBezTo>
                  <a:cubicBezTo>
                    <a:pt x="602" y="659"/>
                    <a:pt x="605" y="658"/>
                    <a:pt x="608" y="658"/>
                  </a:cubicBezTo>
                  <a:cubicBezTo>
                    <a:pt x="612" y="658"/>
                    <a:pt x="616" y="658"/>
                    <a:pt x="621" y="658"/>
                  </a:cubicBezTo>
                  <a:cubicBezTo>
                    <a:pt x="628" y="658"/>
                    <a:pt x="634" y="656"/>
                    <a:pt x="639" y="650"/>
                  </a:cubicBezTo>
                  <a:cubicBezTo>
                    <a:pt x="640" y="651"/>
                    <a:pt x="641" y="651"/>
                    <a:pt x="641" y="650"/>
                  </a:cubicBezTo>
                  <a:cubicBezTo>
                    <a:pt x="642" y="649"/>
                    <a:pt x="641" y="646"/>
                    <a:pt x="641" y="645"/>
                  </a:cubicBezTo>
                  <a:cubicBezTo>
                    <a:pt x="640" y="643"/>
                    <a:pt x="636" y="641"/>
                    <a:pt x="638" y="638"/>
                  </a:cubicBezTo>
                  <a:cubicBezTo>
                    <a:pt x="639" y="638"/>
                    <a:pt x="643" y="637"/>
                    <a:pt x="644" y="637"/>
                  </a:cubicBezTo>
                  <a:cubicBezTo>
                    <a:pt x="645" y="637"/>
                    <a:pt x="646" y="637"/>
                    <a:pt x="647" y="637"/>
                  </a:cubicBezTo>
                  <a:cubicBezTo>
                    <a:pt x="648" y="636"/>
                    <a:pt x="648" y="635"/>
                    <a:pt x="650" y="635"/>
                  </a:cubicBezTo>
                  <a:cubicBezTo>
                    <a:pt x="650" y="633"/>
                    <a:pt x="649" y="630"/>
                    <a:pt x="650" y="627"/>
                  </a:cubicBezTo>
                  <a:cubicBezTo>
                    <a:pt x="651" y="624"/>
                    <a:pt x="654" y="624"/>
                    <a:pt x="657" y="622"/>
                  </a:cubicBezTo>
                  <a:cubicBezTo>
                    <a:pt x="658" y="620"/>
                    <a:pt x="659" y="618"/>
                    <a:pt x="659" y="616"/>
                  </a:cubicBezTo>
                  <a:cubicBezTo>
                    <a:pt x="661" y="612"/>
                    <a:pt x="659" y="613"/>
                    <a:pt x="664" y="612"/>
                  </a:cubicBezTo>
                  <a:cubicBezTo>
                    <a:pt x="667" y="612"/>
                    <a:pt x="670" y="611"/>
                    <a:pt x="673" y="610"/>
                  </a:cubicBezTo>
                  <a:cubicBezTo>
                    <a:pt x="676" y="610"/>
                    <a:pt x="678" y="610"/>
                    <a:pt x="681" y="608"/>
                  </a:cubicBezTo>
                  <a:cubicBezTo>
                    <a:pt x="683" y="606"/>
                    <a:pt x="684" y="605"/>
                    <a:pt x="685" y="602"/>
                  </a:cubicBezTo>
                  <a:cubicBezTo>
                    <a:pt x="685" y="602"/>
                    <a:pt x="686" y="602"/>
                    <a:pt x="687" y="601"/>
                  </a:cubicBezTo>
                  <a:cubicBezTo>
                    <a:pt x="687" y="600"/>
                    <a:pt x="687" y="598"/>
                    <a:pt x="687" y="597"/>
                  </a:cubicBezTo>
                  <a:cubicBezTo>
                    <a:pt x="687" y="595"/>
                    <a:pt x="687" y="592"/>
                    <a:pt x="688" y="589"/>
                  </a:cubicBezTo>
                  <a:cubicBezTo>
                    <a:pt x="690" y="589"/>
                    <a:pt x="691" y="585"/>
                    <a:pt x="693" y="583"/>
                  </a:cubicBezTo>
                  <a:cubicBezTo>
                    <a:pt x="694" y="582"/>
                    <a:pt x="697" y="581"/>
                    <a:pt x="698" y="578"/>
                  </a:cubicBezTo>
                  <a:cubicBezTo>
                    <a:pt x="699" y="577"/>
                    <a:pt x="699" y="568"/>
                    <a:pt x="697" y="567"/>
                  </a:cubicBezTo>
                  <a:cubicBezTo>
                    <a:pt x="695" y="566"/>
                    <a:pt x="690" y="568"/>
                    <a:pt x="688" y="569"/>
                  </a:cubicBezTo>
                  <a:cubicBezTo>
                    <a:pt x="685" y="570"/>
                    <a:pt x="679" y="573"/>
                    <a:pt x="675" y="571"/>
                  </a:cubicBezTo>
                  <a:cubicBezTo>
                    <a:pt x="673" y="570"/>
                    <a:pt x="673" y="567"/>
                    <a:pt x="671" y="566"/>
                  </a:cubicBezTo>
                  <a:cubicBezTo>
                    <a:pt x="668" y="563"/>
                    <a:pt x="663" y="564"/>
                    <a:pt x="660" y="562"/>
                  </a:cubicBezTo>
                  <a:cubicBezTo>
                    <a:pt x="658" y="561"/>
                    <a:pt x="651" y="554"/>
                    <a:pt x="652" y="552"/>
                  </a:cubicBezTo>
                  <a:cubicBezTo>
                    <a:pt x="653" y="550"/>
                    <a:pt x="655" y="553"/>
                    <a:pt x="656" y="550"/>
                  </a:cubicBezTo>
                  <a:cubicBezTo>
                    <a:pt x="657" y="548"/>
                    <a:pt x="653" y="545"/>
                    <a:pt x="652" y="543"/>
                  </a:cubicBezTo>
                  <a:cubicBezTo>
                    <a:pt x="649" y="538"/>
                    <a:pt x="653" y="536"/>
                    <a:pt x="658" y="534"/>
                  </a:cubicBezTo>
                  <a:cubicBezTo>
                    <a:pt x="663" y="532"/>
                    <a:pt x="663" y="527"/>
                    <a:pt x="662" y="522"/>
                  </a:cubicBezTo>
                  <a:cubicBezTo>
                    <a:pt x="659" y="522"/>
                    <a:pt x="659" y="519"/>
                    <a:pt x="658" y="517"/>
                  </a:cubicBezTo>
                  <a:cubicBezTo>
                    <a:pt x="658" y="517"/>
                    <a:pt x="655" y="516"/>
                    <a:pt x="655" y="516"/>
                  </a:cubicBezTo>
                  <a:cubicBezTo>
                    <a:pt x="654" y="515"/>
                    <a:pt x="652" y="515"/>
                    <a:pt x="652" y="515"/>
                  </a:cubicBezTo>
                  <a:cubicBezTo>
                    <a:pt x="647" y="511"/>
                    <a:pt x="648" y="504"/>
                    <a:pt x="641" y="502"/>
                  </a:cubicBezTo>
                  <a:cubicBezTo>
                    <a:pt x="640" y="499"/>
                    <a:pt x="642" y="500"/>
                    <a:pt x="644" y="499"/>
                  </a:cubicBezTo>
                  <a:cubicBezTo>
                    <a:pt x="645" y="499"/>
                    <a:pt x="647" y="500"/>
                    <a:pt x="649" y="499"/>
                  </a:cubicBezTo>
                  <a:cubicBezTo>
                    <a:pt x="651" y="498"/>
                    <a:pt x="649" y="499"/>
                    <a:pt x="651" y="497"/>
                  </a:cubicBezTo>
                  <a:cubicBezTo>
                    <a:pt x="654" y="495"/>
                    <a:pt x="657" y="494"/>
                    <a:pt x="660" y="491"/>
                  </a:cubicBezTo>
                  <a:cubicBezTo>
                    <a:pt x="660" y="491"/>
                    <a:pt x="661" y="490"/>
                    <a:pt x="662" y="490"/>
                  </a:cubicBezTo>
                  <a:cubicBezTo>
                    <a:pt x="663" y="489"/>
                    <a:pt x="665" y="489"/>
                    <a:pt x="666" y="488"/>
                  </a:cubicBezTo>
                  <a:cubicBezTo>
                    <a:pt x="668" y="486"/>
                    <a:pt x="666" y="482"/>
                    <a:pt x="667" y="480"/>
                  </a:cubicBezTo>
                  <a:cubicBezTo>
                    <a:pt x="668" y="477"/>
                    <a:pt x="671" y="476"/>
                    <a:pt x="669" y="473"/>
                  </a:cubicBezTo>
                  <a:cubicBezTo>
                    <a:pt x="668" y="471"/>
                    <a:pt x="666" y="471"/>
                    <a:pt x="665" y="470"/>
                  </a:cubicBezTo>
                  <a:cubicBezTo>
                    <a:pt x="663" y="468"/>
                    <a:pt x="662" y="465"/>
                    <a:pt x="662" y="463"/>
                  </a:cubicBezTo>
                  <a:cubicBezTo>
                    <a:pt x="661" y="461"/>
                    <a:pt x="661" y="459"/>
                    <a:pt x="661" y="457"/>
                  </a:cubicBezTo>
                  <a:cubicBezTo>
                    <a:pt x="660" y="455"/>
                    <a:pt x="657" y="454"/>
                    <a:pt x="656" y="453"/>
                  </a:cubicBezTo>
                  <a:cubicBezTo>
                    <a:pt x="653" y="450"/>
                    <a:pt x="657" y="450"/>
                    <a:pt x="655" y="446"/>
                  </a:cubicBezTo>
                  <a:cubicBezTo>
                    <a:pt x="654" y="444"/>
                    <a:pt x="657" y="443"/>
                    <a:pt x="659" y="438"/>
                  </a:cubicBezTo>
                  <a:cubicBezTo>
                    <a:pt x="661" y="437"/>
                    <a:pt x="662" y="436"/>
                    <a:pt x="663" y="436"/>
                  </a:cubicBezTo>
                  <a:cubicBezTo>
                    <a:pt x="663" y="435"/>
                    <a:pt x="665" y="434"/>
                    <a:pt x="665" y="433"/>
                  </a:cubicBezTo>
                  <a:cubicBezTo>
                    <a:pt x="665" y="432"/>
                    <a:pt x="665" y="430"/>
                    <a:pt x="665" y="430"/>
                  </a:cubicBezTo>
                  <a:cubicBezTo>
                    <a:pt x="665" y="428"/>
                    <a:pt x="664" y="428"/>
                    <a:pt x="664" y="427"/>
                  </a:cubicBezTo>
                  <a:cubicBezTo>
                    <a:pt x="663" y="426"/>
                    <a:pt x="663" y="426"/>
                    <a:pt x="662" y="424"/>
                  </a:cubicBezTo>
                  <a:cubicBezTo>
                    <a:pt x="662" y="424"/>
                    <a:pt x="661" y="423"/>
                    <a:pt x="661" y="422"/>
                  </a:cubicBezTo>
                  <a:cubicBezTo>
                    <a:pt x="660" y="421"/>
                    <a:pt x="659" y="420"/>
                    <a:pt x="659" y="419"/>
                  </a:cubicBezTo>
                  <a:cubicBezTo>
                    <a:pt x="658" y="417"/>
                    <a:pt x="658" y="415"/>
                    <a:pt x="658" y="413"/>
                  </a:cubicBezTo>
                  <a:cubicBezTo>
                    <a:pt x="658" y="412"/>
                    <a:pt x="658" y="410"/>
                    <a:pt x="658" y="409"/>
                  </a:cubicBezTo>
                  <a:cubicBezTo>
                    <a:pt x="658" y="409"/>
                    <a:pt x="657" y="408"/>
                    <a:pt x="657" y="408"/>
                  </a:cubicBezTo>
                  <a:cubicBezTo>
                    <a:pt x="656" y="406"/>
                    <a:pt x="657" y="404"/>
                    <a:pt x="656" y="402"/>
                  </a:cubicBezTo>
                  <a:cubicBezTo>
                    <a:pt x="655" y="402"/>
                    <a:pt x="654" y="401"/>
                    <a:pt x="653" y="401"/>
                  </a:cubicBezTo>
                  <a:cubicBezTo>
                    <a:pt x="652" y="401"/>
                    <a:pt x="650" y="400"/>
                    <a:pt x="650" y="400"/>
                  </a:cubicBezTo>
                  <a:cubicBezTo>
                    <a:pt x="647" y="398"/>
                    <a:pt x="643" y="395"/>
                    <a:pt x="639" y="395"/>
                  </a:cubicBezTo>
                  <a:cubicBezTo>
                    <a:pt x="634" y="395"/>
                    <a:pt x="630" y="398"/>
                    <a:pt x="625" y="400"/>
                  </a:cubicBezTo>
                  <a:cubicBezTo>
                    <a:pt x="623" y="401"/>
                    <a:pt x="620" y="402"/>
                    <a:pt x="617" y="401"/>
                  </a:cubicBezTo>
                  <a:cubicBezTo>
                    <a:pt x="615" y="400"/>
                    <a:pt x="612" y="394"/>
                    <a:pt x="614" y="391"/>
                  </a:cubicBezTo>
                  <a:cubicBezTo>
                    <a:pt x="615" y="389"/>
                    <a:pt x="617" y="390"/>
                    <a:pt x="618" y="388"/>
                  </a:cubicBezTo>
                  <a:cubicBezTo>
                    <a:pt x="619" y="387"/>
                    <a:pt x="618" y="383"/>
                    <a:pt x="618" y="381"/>
                  </a:cubicBezTo>
                  <a:cubicBezTo>
                    <a:pt x="618" y="378"/>
                    <a:pt x="618" y="376"/>
                    <a:pt x="620" y="373"/>
                  </a:cubicBezTo>
                  <a:cubicBezTo>
                    <a:pt x="623" y="371"/>
                    <a:pt x="625" y="369"/>
                    <a:pt x="627" y="366"/>
                  </a:cubicBezTo>
                  <a:cubicBezTo>
                    <a:pt x="629" y="365"/>
                    <a:pt x="629" y="363"/>
                    <a:pt x="631" y="361"/>
                  </a:cubicBezTo>
                  <a:cubicBezTo>
                    <a:pt x="632" y="359"/>
                    <a:pt x="634" y="358"/>
                    <a:pt x="635" y="357"/>
                  </a:cubicBezTo>
                  <a:cubicBezTo>
                    <a:pt x="642" y="352"/>
                    <a:pt x="646" y="345"/>
                    <a:pt x="651" y="339"/>
                  </a:cubicBezTo>
                  <a:cubicBezTo>
                    <a:pt x="654" y="336"/>
                    <a:pt x="656" y="334"/>
                    <a:pt x="658" y="330"/>
                  </a:cubicBezTo>
                  <a:cubicBezTo>
                    <a:pt x="658" y="330"/>
                    <a:pt x="659" y="328"/>
                    <a:pt x="659" y="327"/>
                  </a:cubicBezTo>
                  <a:cubicBezTo>
                    <a:pt x="661" y="326"/>
                    <a:pt x="662" y="327"/>
                    <a:pt x="664" y="325"/>
                  </a:cubicBezTo>
                  <a:cubicBezTo>
                    <a:pt x="670" y="320"/>
                    <a:pt x="652" y="311"/>
                    <a:pt x="663" y="310"/>
                  </a:cubicBezTo>
                  <a:cubicBezTo>
                    <a:pt x="666" y="310"/>
                    <a:pt x="668" y="311"/>
                    <a:pt x="670" y="312"/>
                  </a:cubicBezTo>
                  <a:cubicBezTo>
                    <a:pt x="676" y="313"/>
                    <a:pt x="681" y="310"/>
                    <a:pt x="687" y="310"/>
                  </a:cubicBezTo>
                  <a:cubicBezTo>
                    <a:pt x="689" y="310"/>
                    <a:pt x="690" y="310"/>
                    <a:pt x="692" y="309"/>
                  </a:cubicBezTo>
                  <a:cubicBezTo>
                    <a:pt x="695" y="308"/>
                    <a:pt x="699" y="306"/>
                    <a:pt x="702" y="304"/>
                  </a:cubicBezTo>
                  <a:cubicBezTo>
                    <a:pt x="702" y="304"/>
                    <a:pt x="703" y="303"/>
                    <a:pt x="703" y="303"/>
                  </a:cubicBezTo>
                  <a:cubicBezTo>
                    <a:pt x="703" y="303"/>
                    <a:pt x="703" y="303"/>
                    <a:pt x="703" y="303"/>
                  </a:cubicBezTo>
                  <a:cubicBezTo>
                    <a:pt x="703" y="303"/>
                    <a:pt x="703" y="303"/>
                    <a:pt x="703" y="303"/>
                  </a:cubicBezTo>
                  <a:cubicBezTo>
                    <a:pt x="703" y="302"/>
                    <a:pt x="704" y="302"/>
                    <a:pt x="704" y="302"/>
                  </a:cubicBezTo>
                  <a:cubicBezTo>
                    <a:pt x="704" y="302"/>
                    <a:pt x="704" y="302"/>
                    <a:pt x="704" y="302"/>
                  </a:cubicBezTo>
                  <a:cubicBezTo>
                    <a:pt x="704" y="302"/>
                    <a:pt x="704" y="302"/>
                    <a:pt x="704" y="302"/>
                  </a:cubicBezTo>
                  <a:cubicBezTo>
                    <a:pt x="704" y="301"/>
                    <a:pt x="704" y="301"/>
                    <a:pt x="704" y="301"/>
                  </a:cubicBezTo>
                  <a:cubicBezTo>
                    <a:pt x="704" y="301"/>
                    <a:pt x="704" y="301"/>
                    <a:pt x="704" y="301"/>
                  </a:cubicBezTo>
                  <a:cubicBezTo>
                    <a:pt x="704" y="301"/>
                    <a:pt x="704" y="301"/>
                    <a:pt x="704" y="300"/>
                  </a:cubicBezTo>
                  <a:cubicBezTo>
                    <a:pt x="704" y="300"/>
                    <a:pt x="704" y="300"/>
                    <a:pt x="704" y="300"/>
                  </a:cubicBezTo>
                  <a:cubicBezTo>
                    <a:pt x="704" y="300"/>
                    <a:pt x="704" y="299"/>
                    <a:pt x="704" y="298"/>
                  </a:cubicBezTo>
                  <a:cubicBezTo>
                    <a:pt x="703" y="297"/>
                    <a:pt x="702" y="295"/>
                    <a:pt x="702" y="293"/>
                  </a:cubicBezTo>
                  <a:cubicBezTo>
                    <a:pt x="702" y="285"/>
                    <a:pt x="702" y="278"/>
                    <a:pt x="702" y="270"/>
                  </a:cubicBezTo>
                  <a:cubicBezTo>
                    <a:pt x="702" y="264"/>
                    <a:pt x="701" y="259"/>
                    <a:pt x="705" y="254"/>
                  </a:cubicBezTo>
                  <a:cubicBezTo>
                    <a:pt x="710" y="249"/>
                    <a:pt x="708" y="244"/>
                    <a:pt x="710" y="238"/>
                  </a:cubicBezTo>
                  <a:cubicBezTo>
                    <a:pt x="711" y="233"/>
                    <a:pt x="710" y="228"/>
                    <a:pt x="713" y="224"/>
                  </a:cubicBezTo>
                  <a:cubicBezTo>
                    <a:pt x="714" y="222"/>
                    <a:pt x="715" y="222"/>
                    <a:pt x="716" y="221"/>
                  </a:cubicBezTo>
                  <a:cubicBezTo>
                    <a:pt x="719" y="219"/>
                    <a:pt x="719" y="218"/>
                    <a:pt x="720" y="216"/>
                  </a:cubicBezTo>
                  <a:cubicBezTo>
                    <a:pt x="722" y="210"/>
                    <a:pt x="724" y="207"/>
                    <a:pt x="729" y="203"/>
                  </a:cubicBezTo>
                  <a:cubicBezTo>
                    <a:pt x="733" y="200"/>
                    <a:pt x="736" y="196"/>
                    <a:pt x="737" y="19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7" name="Freeform 17"/>
            <p:cNvSpPr>
              <a:spLocks/>
            </p:cNvSpPr>
            <p:nvPr/>
          </p:nvSpPr>
          <p:spPr bwMode="auto">
            <a:xfrm>
              <a:off x="4270375" y="5575300"/>
              <a:ext cx="120650" cy="241300"/>
            </a:xfrm>
            <a:custGeom>
              <a:avLst/>
              <a:gdLst/>
              <a:ahLst/>
              <a:cxnLst>
                <a:cxn ang="0">
                  <a:pos x="61" y="5"/>
                </a:cxn>
                <a:cxn ang="0">
                  <a:pos x="60" y="2"/>
                </a:cxn>
                <a:cxn ang="0">
                  <a:pos x="53" y="3"/>
                </a:cxn>
                <a:cxn ang="0">
                  <a:pos x="51" y="18"/>
                </a:cxn>
                <a:cxn ang="0">
                  <a:pos x="51" y="23"/>
                </a:cxn>
                <a:cxn ang="0">
                  <a:pos x="49" y="27"/>
                </a:cxn>
                <a:cxn ang="0">
                  <a:pos x="41" y="25"/>
                </a:cxn>
                <a:cxn ang="0">
                  <a:pos x="35" y="30"/>
                </a:cxn>
                <a:cxn ang="0">
                  <a:pos x="29" y="32"/>
                </a:cxn>
                <a:cxn ang="0">
                  <a:pos x="22" y="34"/>
                </a:cxn>
                <a:cxn ang="0">
                  <a:pos x="15" y="39"/>
                </a:cxn>
                <a:cxn ang="0">
                  <a:pos x="13" y="47"/>
                </a:cxn>
                <a:cxn ang="0">
                  <a:pos x="12" y="51"/>
                </a:cxn>
                <a:cxn ang="0">
                  <a:pos x="17" y="58"/>
                </a:cxn>
                <a:cxn ang="0">
                  <a:pos x="10" y="62"/>
                </a:cxn>
                <a:cxn ang="0">
                  <a:pos x="5" y="64"/>
                </a:cxn>
                <a:cxn ang="0">
                  <a:pos x="0" y="74"/>
                </a:cxn>
                <a:cxn ang="0">
                  <a:pos x="4" y="77"/>
                </a:cxn>
                <a:cxn ang="0">
                  <a:pos x="8" y="80"/>
                </a:cxn>
                <a:cxn ang="0">
                  <a:pos x="13" y="82"/>
                </a:cxn>
                <a:cxn ang="0">
                  <a:pos x="17" y="83"/>
                </a:cxn>
                <a:cxn ang="0">
                  <a:pos x="16" y="95"/>
                </a:cxn>
                <a:cxn ang="0">
                  <a:pos x="14" y="100"/>
                </a:cxn>
                <a:cxn ang="0">
                  <a:pos x="18" y="101"/>
                </a:cxn>
                <a:cxn ang="0">
                  <a:pos x="21" y="102"/>
                </a:cxn>
                <a:cxn ang="0">
                  <a:pos x="22" y="106"/>
                </a:cxn>
                <a:cxn ang="0">
                  <a:pos x="19" y="108"/>
                </a:cxn>
                <a:cxn ang="0">
                  <a:pos x="21" y="115"/>
                </a:cxn>
                <a:cxn ang="0">
                  <a:pos x="29" y="122"/>
                </a:cxn>
                <a:cxn ang="0">
                  <a:pos x="33" y="126"/>
                </a:cxn>
                <a:cxn ang="0">
                  <a:pos x="39" y="129"/>
                </a:cxn>
                <a:cxn ang="0">
                  <a:pos x="41" y="121"/>
                </a:cxn>
                <a:cxn ang="0">
                  <a:pos x="44" y="116"/>
                </a:cxn>
                <a:cxn ang="0">
                  <a:pos x="45" y="113"/>
                </a:cxn>
                <a:cxn ang="0">
                  <a:pos x="49" y="109"/>
                </a:cxn>
                <a:cxn ang="0">
                  <a:pos x="52" y="99"/>
                </a:cxn>
                <a:cxn ang="0">
                  <a:pos x="53" y="87"/>
                </a:cxn>
                <a:cxn ang="0">
                  <a:pos x="54" y="82"/>
                </a:cxn>
                <a:cxn ang="0">
                  <a:pos x="59" y="76"/>
                </a:cxn>
                <a:cxn ang="0">
                  <a:pos x="60" y="74"/>
                </a:cxn>
                <a:cxn ang="0">
                  <a:pos x="63" y="52"/>
                </a:cxn>
                <a:cxn ang="0">
                  <a:pos x="63" y="40"/>
                </a:cxn>
                <a:cxn ang="0">
                  <a:pos x="60" y="32"/>
                </a:cxn>
                <a:cxn ang="0">
                  <a:pos x="59" y="23"/>
                </a:cxn>
                <a:cxn ang="0">
                  <a:pos x="60" y="22"/>
                </a:cxn>
                <a:cxn ang="0">
                  <a:pos x="63" y="18"/>
                </a:cxn>
                <a:cxn ang="0">
                  <a:pos x="63" y="13"/>
                </a:cxn>
                <a:cxn ang="0">
                  <a:pos x="61" y="20"/>
                </a:cxn>
              </a:cxnLst>
              <a:rect l="0" t="0" r="r" b="b"/>
              <a:pathLst>
                <a:path w="64" h="129">
                  <a:moveTo>
                    <a:pt x="61" y="20"/>
                  </a:moveTo>
                  <a:cubicBezTo>
                    <a:pt x="61" y="15"/>
                    <a:pt x="61" y="10"/>
                    <a:pt x="61" y="5"/>
                  </a:cubicBezTo>
                  <a:cubicBezTo>
                    <a:pt x="61" y="4"/>
                    <a:pt x="62" y="3"/>
                    <a:pt x="61" y="2"/>
                  </a:cubicBezTo>
                  <a:cubicBezTo>
                    <a:pt x="61" y="2"/>
                    <a:pt x="60" y="2"/>
                    <a:pt x="60" y="2"/>
                  </a:cubicBezTo>
                  <a:cubicBezTo>
                    <a:pt x="60" y="2"/>
                    <a:pt x="59" y="1"/>
                    <a:pt x="59" y="1"/>
                  </a:cubicBezTo>
                  <a:cubicBezTo>
                    <a:pt x="57" y="0"/>
                    <a:pt x="54" y="1"/>
                    <a:pt x="53" y="3"/>
                  </a:cubicBezTo>
                  <a:cubicBezTo>
                    <a:pt x="51" y="6"/>
                    <a:pt x="52" y="10"/>
                    <a:pt x="51" y="13"/>
                  </a:cubicBezTo>
                  <a:cubicBezTo>
                    <a:pt x="51" y="15"/>
                    <a:pt x="51" y="16"/>
                    <a:pt x="51" y="18"/>
                  </a:cubicBezTo>
                  <a:cubicBezTo>
                    <a:pt x="51" y="19"/>
                    <a:pt x="51" y="20"/>
                    <a:pt x="51" y="20"/>
                  </a:cubicBezTo>
                  <a:cubicBezTo>
                    <a:pt x="51" y="21"/>
                    <a:pt x="51" y="22"/>
                    <a:pt x="51" y="23"/>
                  </a:cubicBezTo>
                  <a:cubicBezTo>
                    <a:pt x="52" y="25"/>
                    <a:pt x="52" y="26"/>
                    <a:pt x="51" y="27"/>
                  </a:cubicBezTo>
                  <a:cubicBezTo>
                    <a:pt x="50" y="28"/>
                    <a:pt x="50" y="28"/>
                    <a:pt x="49" y="27"/>
                  </a:cubicBezTo>
                  <a:cubicBezTo>
                    <a:pt x="47" y="26"/>
                    <a:pt x="47" y="25"/>
                    <a:pt x="46" y="25"/>
                  </a:cubicBezTo>
                  <a:cubicBezTo>
                    <a:pt x="45" y="24"/>
                    <a:pt x="42" y="24"/>
                    <a:pt x="41" y="25"/>
                  </a:cubicBezTo>
                  <a:cubicBezTo>
                    <a:pt x="40" y="25"/>
                    <a:pt x="39" y="27"/>
                    <a:pt x="38" y="28"/>
                  </a:cubicBezTo>
                  <a:cubicBezTo>
                    <a:pt x="37" y="29"/>
                    <a:pt x="36" y="30"/>
                    <a:pt x="35" y="30"/>
                  </a:cubicBezTo>
                  <a:cubicBezTo>
                    <a:pt x="34" y="31"/>
                    <a:pt x="32" y="30"/>
                    <a:pt x="31" y="30"/>
                  </a:cubicBezTo>
                  <a:cubicBezTo>
                    <a:pt x="30" y="31"/>
                    <a:pt x="30" y="31"/>
                    <a:pt x="29" y="32"/>
                  </a:cubicBezTo>
                  <a:cubicBezTo>
                    <a:pt x="28" y="32"/>
                    <a:pt x="27" y="33"/>
                    <a:pt x="26" y="33"/>
                  </a:cubicBezTo>
                  <a:cubicBezTo>
                    <a:pt x="24" y="34"/>
                    <a:pt x="23" y="33"/>
                    <a:pt x="22" y="34"/>
                  </a:cubicBezTo>
                  <a:cubicBezTo>
                    <a:pt x="20" y="35"/>
                    <a:pt x="20" y="36"/>
                    <a:pt x="19" y="37"/>
                  </a:cubicBezTo>
                  <a:cubicBezTo>
                    <a:pt x="18" y="38"/>
                    <a:pt x="17" y="39"/>
                    <a:pt x="15" y="39"/>
                  </a:cubicBezTo>
                  <a:cubicBezTo>
                    <a:pt x="12" y="41"/>
                    <a:pt x="16" y="41"/>
                    <a:pt x="16" y="43"/>
                  </a:cubicBezTo>
                  <a:cubicBezTo>
                    <a:pt x="13" y="43"/>
                    <a:pt x="13" y="45"/>
                    <a:pt x="13" y="47"/>
                  </a:cubicBezTo>
                  <a:cubicBezTo>
                    <a:pt x="13" y="47"/>
                    <a:pt x="13" y="48"/>
                    <a:pt x="13" y="49"/>
                  </a:cubicBezTo>
                  <a:cubicBezTo>
                    <a:pt x="13" y="49"/>
                    <a:pt x="12" y="49"/>
                    <a:pt x="12" y="51"/>
                  </a:cubicBezTo>
                  <a:cubicBezTo>
                    <a:pt x="12" y="52"/>
                    <a:pt x="13" y="54"/>
                    <a:pt x="14" y="54"/>
                  </a:cubicBezTo>
                  <a:cubicBezTo>
                    <a:pt x="15" y="55"/>
                    <a:pt x="17" y="57"/>
                    <a:pt x="17" y="58"/>
                  </a:cubicBezTo>
                  <a:cubicBezTo>
                    <a:pt x="15" y="59"/>
                    <a:pt x="13" y="58"/>
                    <a:pt x="11" y="58"/>
                  </a:cubicBezTo>
                  <a:cubicBezTo>
                    <a:pt x="10" y="59"/>
                    <a:pt x="10" y="61"/>
                    <a:pt x="10" y="62"/>
                  </a:cubicBezTo>
                  <a:cubicBezTo>
                    <a:pt x="10" y="64"/>
                    <a:pt x="10" y="64"/>
                    <a:pt x="8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5"/>
                    <a:pt x="4" y="67"/>
                    <a:pt x="3" y="68"/>
                  </a:cubicBezTo>
                  <a:cubicBezTo>
                    <a:pt x="3" y="69"/>
                    <a:pt x="0" y="73"/>
                    <a:pt x="0" y="74"/>
                  </a:cubicBezTo>
                  <a:cubicBezTo>
                    <a:pt x="1" y="75"/>
                    <a:pt x="2" y="74"/>
                    <a:pt x="3" y="75"/>
                  </a:cubicBezTo>
                  <a:cubicBezTo>
                    <a:pt x="3" y="76"/>
                    <a:pt x="3" y="76"/>
                    <a:pt x="4" y="77"/>
                  </a:cubicBezTo>
                  <a:cubicBezTo>
                    <a:pt x="4" y="77"/>
                    <a:pt x="5" y="76"/>
                    <a:pt x="6" y="77"/>
                  </a:cubicBezTo>
                  <a:cubicBezTo>
                    <a:pt x="7" y="77"/>
                    <a:pt x="7" y="79"/>
                    <a:pt x="8" y="80"/>
                  </a:cubicBezTo>
                  <a:cubicBezTo>
                    <a:pt x="9" y="80"/>
                    <a:pt x="10" y="81"/>
                    <a:pt x="10" y="81"/>
                  </a:cubicBezTo>
                  <a:cubicBezTo>
                    <a:pt x="11" y="81"/>
                    <a:pt x="12" y="82"/>
                    <a:pt x="13" y="82"/>
                  </a:cubicBezTo>
                  <a:cubicBezTo>
                    <a:pt x="13" y="82"/>
                    <a:pt x="13" y="82"/>
                    <a:pt x="13" y="83"/>
                  </a:cubicBezTo>
                  <a:cubicBezTo>
                    <a:pt x="14" y="83"/>
                    <a:pt x="16" y="83"/>
                    <a:pt x="17" y="83"/>
                  </a:cubicBezTo>
                  <a:cubicBezTo>
                    <a:pt x="18" y="84"/>
                    <a:pt x="17" y="87"/>
                    <a:pt x="17" y="88"/>
                  </a:cubicBezTo>
                  <a:cubicBezTo>
                    <a:pt x="17" y="90"/>
                    <a:pt x="18" y="93"/>
                    <a:pt x="16" y="95"/>
                  </a:cubicBezTo>
                  <a:cubicBezTo>
                    <a:pt x="15" y="95"/>
                    <a:pt x="15" y="95"/>
                    <a:pt x="14" y="97"/>
                  </a:cubicBezTo>
                  <a:cubicBezTo>
                    <a:pt x="14" y="98"/>
                    <a:pt x="14" y="99"/>
                    <a:pt x="14" y="100"/>
                  </a:cubicBezTo>
                  <a:cubicBezTo>
                    <a:pt x="14" y="100"/>
                    <a:pt x="15" y="101"/>
                    <a:pt x="15" y="101"/>
                  </a:cubicBezTo>
                  <a:cubicBezTo>
                    <a:pt x="16" y="101"/>
                    <a:pt x="17" y="101"/>
                    <a:pt x="18" y="101"/>
                  </a:cubicBezTo>
                  <a:cubicBezTo>
                    <a:pt x="18" y="101"/>
                    <a:pt x="18" y="102"/>
                    <a:pt x="19" y="102"/>
                  </a:cubicBezTo>
                  <a:cubicBezTo>
                    <a:pt x="20" y="102"/>
                    <a:pt x="21" y="102"/>
                    <a:pt x="21" y="102"/>
                  </a:cubicBezTo>
                  <a:cubicBezTo>
                    <a:pt x="22" y="102"/>
                    <a:pt x="23" y="102"/>
                    <a:pt x="24" y="102"/>
                  </a:cubicBezTo>
                  <a:cubicBezTo>
                    <a:pt x="25" y="104"/>
                    <a:pt x="23" y="105"/>
                    <a:pt x="22" y="106"/>
                  </a:cubicBezTo>
                  <a:cubicBezTo>
                    <a:pt x="22" y="107"/>
                    <a:pt x="21" y="107"/>
                    <a:pt x="21" y="107"/>
                  </a:cubicBezTo>
                  <a:cubicBezTo>
                    <a:pt x="20" y="107"/>
                    <a:pt x="20" y="107"/>
                    <a:pt x="19" y="108"/>
                  </a:cubicBezTo>
                  <a:cubicBezTo>
                    <a:pt x="19" y="108"/>
                    <a:pt x="19" y="109"/>
                    <a:pt x="19" y="110"/>
                  </a:cubicBezTo>
                  <a:cubicBezTo>
                    <a:pt x="18" y="113"/>
                    <a:pt x="19" y="113"/>
                    <a:pt x="21" y="115"/>
                  </a:cubicBezTo>
                  <a:cubicBezTo>
                    <a:pt x="22" y="116"/>
                    <a:pt x="22" y="118"/>
                    <a:pt x="24" y="120"/>
                  </a:cubicBezTo>
                  <a:cubicBezTo>
                    <a:pt x="25" y="121"/>
                    <a:pt x="27" y="122"/>
                    <a:pt x="29" y="122"/>
                  </a:cubicBezTo>
                  <a:cubicBezTo>
                    <a:pt x="30" y="122"/>
                    <a:pt x="34" y="121"/>
                    <a:pt x="34" y="123"/>
                  </a:cubicBezTo>
                  <a:cubicBezTo>
                    <a:pt x="34" y="124"/>
                    <a:pt x="33" y="125"/>
                    <a:pt x="33" y="126"/>
                  </a:cubicBezTo>
                  <a:cubicBezTo>
                    <a:pt x="33" y="127"/>
                    <a:pt x="35" y="128"/>
                    <a:pt x="36" y="128"/>
                  </a:cubicBezTo>
                  <a:cubicBezTo>
                    <a:pt x="37" y="129"/>
                    <a:pt x="38" y="129"/>
                    <a:pt x="39" y="129"/>
                  </a:cubicBezTo>
                  <a:cubicBezTo>
                    <a:pt x="40" y="129"/>
                    <a:pt x="41" y="129"/>
                    <a:pt x="41" y="127"/>
                  </a:cubicBezTo>
                  <a:cubicBezTo>
                    <a:pt x="41" y="125"/>
                    <a:pt x="40" y="122"/>
                    <a:pt x="41" y="121"/>
                  </a:cubicBezTo>
                  <a:cubicBezTo>
                    <a:pt x="42" y="120"/>
                    <a:pt x="42" y="120"/>
                    <a:pt x="43" y="119"/>
                  </a:cubicBezTo>
                  <a:cubicBezTo>
                    <a:pt x="43" y="118"/>
                    <a:pt x="43" y="117"/>
                    <a:pt x="44" y="116"/>
                  </a:cubicBezTo>
                  <a:cubicBezTo>
                    <a:pt x="44" y="115"/>
                    <a:pt x="44" y="114"/>
                    <a:pt x="45" y="114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5" y="112"/>
                    <a:pt x="46" y="112"/>
                    <a:pt x="47" y="112"/>
                  </a:cubicBezTo>
                  <a:cubicBezTo>
                    <a:pt x="49" y="111"/>
                    <a:pt x="48" y="110"/>
                    <a:pt x="49" y="109"/>
                  </a:cubicBezTo>
                  <a:cubicBezTo>
                    <a:pt x="49" y="107"/>
                    <a:pt x="50" y="106"/>
                    <a:pt x="51" y="104"/>
                  </a:cubicBezTo>
                  <a:cubicBezTo>
                    <a:pt x="51" y="102"/>
                    <a:pt x="52" y="101"/>
                    <a:pt x="52" y="99"/>
                  </a:cubicBezTo>
                  <a:cubicBezTo>
                    <a:pt x="52" y="98"/>
                    <a:pt x="52" y="97"/>
                    <a:pt x="52" y="96"/>
                  </a:cubicBezTo>
                  <a:cubicBezTo>
                    <a:pt x="52" y="93"/>
                    <a:pt x="53" y="90"/>
                    <a:pt x="53" y="87"/>
                  </a:cubicBezTo>
                  <a:cubicBezTo>
                    <a:pt x="53" y="86"/>
                    <a:pt x="52" y="85"/>
                    <a:pt x="53" y="84"/>
                  </a:cubicBezTo>
                  <a:cubicBezTo>
                    <a:pt x="53" y="83"/>
                    <a:pt x="54" y="83"/>
                    <a:pt x="54" y="82"/>
                  </a:cubicBezTo>
                  <a:cubicBezTo>
                    <a:pt x="54" y="82"/>
                    <a:pt x="54" y="81"/>
                    <a:pt x="54" y="81"/>
                  </a:cubicBezTo>
                  <a:cubicBezTo>
                    <a:pt x="54" y="78"/>
                    <a:pt x="58" y="78"/>
                    <a:pt x="59" y="76"/>
                  </a:cubicBezTo>
                  <a:cubicBezTo>
                    <a:pt x="59" y="76"/>
                    <a:pt x="59" y="75"/>
                    <a:pt x="59" y="75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1" y="73"/>
                    <a:pt x="61" y="72"/>
                    <a:pt x="61" y="71"/>
                  </a:cubicBezTo>
                  <a:cubicBezTo>
                    <a:pt x="61" y="64"/>
                    <a:pt x="63" y="58"/>
                    <a:pt x="63" y="52"/>
                  </a:cubicBezTo>
                  <a:cubicBezTo>
                    <a:pt x="63" y="49"/>
                    <a:pt x="63" y="47"/>
                    <a:pt x="63" y="44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39"/>
                    <a:pt x="64" y="37"/>
                    <a:pt x="63" y="36"/>
                  </a:cubicBezTo>
                  <a:cubicBezTo>
                    <a:pt x="62" y="34"/>
                    <a:pt x="60" y="34"/>
                    <a:pt x="60" y="32"/>
                  </a:cubicBezTo>
                  <a:cubicBezTo>
                    <a:pt x="59" y="30"/>
                    <a:pt x="59" y="29"/>
                    <a:pt x="59" y="27"/>
                  </a:cubicBezTo>
                  <a:cubicBezTo>
                    <a:pt x="59" y="26"/>
                    <a:pt x="59" y="24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2"/>
                    <a:pt x="60" y="22"/>
                    <a:pt x="60" y="22"/>
                  </a:cubicBezTo>
                  <a:cubicBezTo>
                    <a:pt x="60" y="21"/>
                    <a:pt x="61" y="20"/>
                    <a:pt x="61" y="20"/>
                  </a:cubicBezTo>
                  <a:cubicBezTo>
                    <a:pt x="62" y="19"/>
                    <a:pt x="63" y="19"/>
                    <a:pt x="63" y="18"/>
                  </a:cubicBezTo>
                  <a:cubicBezTo>
                    <a:pt x="63" y="17"/>
                    <a:pt x="63" y="16"/>
                    <a:pt x="63" y="15"/>
                  </a:cubicBezTo>
                  <a:cubicBezTo>
                    <a:pt x="63" y="14"/>
                    <a:pt x="62" y="14"/>
                    <a:pt x="63" y="13"/>
                  </a:cubicBezTo>
                  <a:cubicBezTo>
                    <a:pt x="61" y="12"/>
                    <a:pt x="61" y="11"/>
                    <a:pt x="61" y="9"/>
                  </a:cubicBezTo>
                  <a:lnTo>
                    <a:pt x="61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8" name="Freeform 18"/>
            <p:cNvSpPr>
              <a:spLocks noEditPoints="1"/>
            </p:cNvSpPr>
            <p:nvPr/>
          </p:nvSpPr>
          <p:spPr bwMode="auto">
            <a:xfrm>
              <a:off x="4116388" y="4992688"/>
              <a:ext cx="1143000" cy="1347788"/>
            </a:xfrm>
            <a:custGeom>
              <a:avLst/>
              <a:gdLst/>
              <a:ahLst/>
              <a:cxnLst>
                <a:cxn ang="0">
                  <a:pos x="600" y="532"/>
                </a:cxn>
                <a:cxn ang="0">
                  <a:pos x="571" y="505"/>
                </a:cxn>
                <a:cxn ang="0">
                  <a:pos x="530" y="474"/>
                </a:cxn>
                <a:cxn ang="0">
                  <a:pos x="479" y="433"/>
                </a:cxn>
                <a:cxn ang="0">
                  <a:pos x="489" y="411"/>
                </a:cxn>
                <a:cxn ang="0">
                  <a:pos x="432" y="405"/>
                </a:cxn>
                <a:cxn ang="0">
                  <a:pos x="398" y="374"/>
                </a:cxn>
                <a:cxn ang="0">
                  <a:pos x="378" y="341"/>
                </a:cxn>
                <a:cxn ang="0">
                  <a:pos x="358" y="280"/>
                </a:cxn>
                <a:cxn ang="0">
                  <a:pos x="319" y="243"/>
                </a:cxn>
                <a:cxn ang="0">
                  <a:pos x="296" y="196"/>
                </a:cxn>
                <a:cxn ang="0">
                  <a:pos x="314" y="171"/>
                </a:cxn>
                <a:cxn ang="0">
                  <a:pos x="320" y="143"/>
                </a:cxn>
                <a:cxn ang="0">
                  <a:pos x="329" y="129"/>
                </a:cxn>
                <a:cxn ang="0">
                  <a:pos x="354" y="109"/>
                </a:cxn>
                <a:cxn ang="0">
                  <a:pos x="375" y="120"/>
                </a:cxn>
                <a:cxn ang="0">
                  <a:pos x="373" y="95"/>
                </a:cxn>
                <a:cxn ang="0">
                  <a:pos x="361" y="68"/>
                </a:cxn>
                <a:cxn ang="0">
                  <a:pos x="347" y="37"/>
                </a:cxn>
                <a:cxn ang="0">
                  <a:pos x="303" y="6"/>
                </a:cxn>
                <a:cxn ang="0">
                  <a:pos x="247" y="11"/>
                </a:cxn>
                <a:cxn ang="0">
                  <a:pos x="220" y="18"/>
                </a:cxn>
                <a:cxn ang="0">
                  <a:pos x="198" y="39"/>
                </a:cxn>
                <a:cxn ang="0">
                  <a:pos x="186" y="63"/>
                </a:cxn>
                <a:cxn ang="0">
                  <a:pos x="153" y="50"/>
                </a:cxn>
                <a:cxn ang="0">
                  <a:pos x="131" y="86"/>
                </a:cxn>
                <a:cxn ang="0">
                  <a:pos x="120" y="86"/>
                </a:cxn>
                <a:cxn ang="0">
                  <a:pos x="99" y="60"/>
                </a:cxn>
                <a:cxn ang="0">
                  <a:pos x="74" y="89"/>
                </a:cxn>
                <a:cxn ang="0">
                  <a:pos x="23" y="98"/>
                </a:cxn>
                <a:cxn ang="0">
                  <a:pos x="11" y="159"/>
                </a:cxn>
                <a:cxn ang="0">
                  <a:pos x="20" y="224"/>
                </a:cxn>
                <a:cxn ang="0">
                  <a:pos x="55" y="262"/>
                </a:cxn>
                <a:cxn ang="0">
                  <a:pos x="85" y="238"/>
                </a:cxn>
                <a:cxn ang="0">
                  <a:pos x="140" y="218"/>
                </a:cxn>
                <a:cxn ang="0">
                  <a:pos x="168" y="236"/>
                </a:cxn>
                <a:cxn ang="0">
                  <a:pos x="190" y="257"/>
                </a:cxn>
                <a:cxn ang="0">
                  <a:pos x="199" y="303"/>
                </a:cxn>
                <a:cxn ang="0">
                  <a:pos x="213" y="336"/>
                </a:cxn>
                <a:cxn ang="0">
                  <a:pos x="237" y="363"/>
                </a:cxn>
                <a:cxn ang="0">
                  <a:pos x="264" y="398"/>
                </a:cxn>
                <a:cxn ang="0">
                  <a:pos x="292" y="428"/>
                </a:cxn>
                <a:cxn ang="0">
                  <a:pos x="319" y="461"/>
                </a:cxn>
                <a:cxn ang="0">
                  <a:pos x="365" y="477"/>
                </a:cxn>
                <a:cxn ang="0">
                  <a:pos x="391" y="505"/>
                </a:cxn>
                <a:cxn ang="0">
                  <a:pos x="408" y="513"/>
                </a:cxn>
                <a:cxn ang="0">
                  <a:pos x="427" y="547"/>
                </a:cxn>
                <a:cxn ang="0">
                  <a:pos x="462" y="570"/>
                </a:cxn>
                <a:cxn ang="0">
                  <a:pos x="475" y="628"/>
                </a:cxn>
                <a:cxn ang="0">
                  <a:pos x="458" y="691"/>
                </a:cxn>
                <a:cxn ang="0">
                  <a:pos x="445" y="719"/>
                </a:cxn>
                <a:cxn ang="0">
                  <a:pos x="478" y="708"/>
                </a:cxn>
                <a:cxn ang="0">
                  <a:pos x="510" y="649"/>
                </a:cxn>
                <a:cxn ang="0">
                  <a:pos x="533" y="631"/>
                </a:cxn>
                <a:cxn ang="0">
                  <a:pos x="511" y="590"/>
                </a:cxn>
                <a:cxn ang="0">
                  <a:pos x="518" y="543"/>
                </a:cxn>
                <a:cxn ang="0">
                  <a:pos x="548" y="534"/>
                </a:cxn>
                <a:cxn ang="0">
                  <a:pos x="581" y="549"/>
                </a:cxn>
                <a:cxn ang="0">
                  <a:pos x="612" y="557"/>
                </a:cxn>
              </a:cxnLst>
              <a:rect l="0" t="0" r="r" b="b"/>
              <a:pathLst>
                <a:path w="612" h="721">
                  <a:moveTo>
                    <a:pt x="532" y="476"/>
                  </a:moveTo>
                  <a:cubicBezTo>
                    <a:pt x="533" y="475"/>
                    <a:pt x="533" y="475"/>
                    <a:pt x="533" y="475"/>
                  </a:cubicBezTo>
                  <a:cubicBezTo>
                    <a:pt x="533" y="475"/>
                    <a:pt x="532" y="475"/>
                    <a:pt x="532" y="476"/>
                  </a:cubicBezTo>
                  <a:moveTo>
                    <a:pt x="612" y="551"/>
                  </a:moveTo>
                  <a:cubicBezTo>
                    <a:pt x="612" y="550"/>
                    <a:pt x="611" y="550"/>
                    <a:pt x="611" y="550"/>
                  </a:cubicBezTo>
                  <a:cubicBezTo>
                    <a:pt x="611" y="549"/>
                    <a:pt x="611" y="548"/>
                    <a:pt x="611" y="548"/>
                  </a:cubicBezTo>
                  <a:cubicBezTo>
                    <a:pt x="610" y="547"/>
                    <a:pt x="610" y="547"/>
                    <a:pt x="609" y="546"/>
                  </a:cubicBezTo>
                  <a:cubicBezTo>
                    <a:pt x="609" y="545"/>
                    <a:pt x="609" y="544"/>
                    <a:pt x="609" y="543"/>
                  </a:cubicBezTo>
                  <a:cubicBezTo>
                    <a:pt x="608" y="542"/>
                    <a:pt x="608" y="542"/>
                    <a:pt x="607" y="541"/>
                  </a:cubicBezTo>
                  <a:cubicBezTo>
                    <a:pt x="606" y="540"/>
                    <a:pt x="606" y="538"/>
                    <a:pt x="605" y="537"/>
                  </a:cubicBezTo>
                  <a:cubicBezTo>
                    <a:pt x="604" y="536"/>
                    <a:pt x="603" y="535"/>
                    <a:pt x="602" y="534"/>
                  </a:cubicBezTo>
                  <a:cubicBezTo>
                    <a:pt x="601" y="533"/>
                    <a:pt x="601" y="533"/>
                    <a:pt x="600" y="532"/>
                  </a:cubicBezTo>
                  <a:cubicBezTo>
                    <a:pt x="600" y="532"/>
                    <a:pt x="599" y="531"/>
                    <a:pt x="599" y="531"/>
                  </a:cubicBezTo>
                  <a:cubicBezTo>
                    <a:pt x="598" y="530"/>
                    <a:pt x="598" y="529"/>
                    <a:pt x="597" y="528"/>
                  </a:cubicBezTo>
                  <a:cubicBezTo>
                    <a:pt x="596" y="527"/>
                    <a:pt x="596" y="527"/>
                    <a:pt x="595" y="526"/>
                  </a:cubicBezTo>
                  <a:cubicBezTo>
                    <a:pt x="594" y="525"/>
                    <a:pt x="594" y="524"/>
                    <a:pt x="593" y="523"/>
                  </a:cubicBezTo>
                  <a:cubicBezTo>
                    <a:pt x="592" y="522"/>
                    <a:pt x="591" y="522"/>
                    <a:pt x="591" y="522"/>
                  </a:cubicBezTo>
                  <a:cubicBezTo>
                    <a:pt x="589" y="520"/>
                    <a:pt x="588" y="518"/>
                    <a:pt x="587" y="517"/>
                  </a:cubicBezTo>
                  <a:cubicBezTo>
                    <a:pt x="587" y="516"/>
                    <a:pt x="585" y="515"/>
                    <a:pt x="584" y="514"/>
                  </a:cubicBezTo>
                  <a:cubicBezTo>
                    <a:pt x="582" y="512"/>
                    <a:pt x="580" y="510"/>
                    <a:pt x="578" y="509"/>
                  </a:cubicBezTo>
                  <a:cubicBezTo>
                    <a:pt x="577" y="509"/>
                    <a:pt x="576" y="508"/>
                    <a:pt x="575" y="507"/>
                  </a:cubicBezTo>
                  <a:cubicBezTo>
                    <a:pt x="575" y="507"/>
                    <a:pt x="575" y="507"/>
                    <a:pt x="575" y="507"/>
                  </a:cubicBezTo>
                  <a:cubicBezTo>
                    <a:pt x="575" y="507"/>
                    <a:pt x="574" y="507"/>
                    <a:pt x="574" y="507"/>
                  </a:cubicBezTo>
                  <a:cubicBezTo>
                    <a:pt x="573" y="506"/>
                    <a:pt x="572" y="505"/>
                    <a:pt x="571" y="505"/>
                  </a:cubicBezTo>
                  <a:cubicBezTo>
                    <a:pt x="570" y="504"/>
                    <a:pt x="569" y="504"/>
                    <a:pt x="568" y="503"/>
                  </a:cubicBezTo>
                  <a:cubicBezTo>
                    <a:pt x="566" y="502"/>
                    <a:pt x="565" y="501"/>
                    <a:pt x="563" y="500"/>
                  </a:cubicBezTo>
                  <a:cubicBezTo>
                    <a:pt x="562" y="499"/>
                    <a:pt x="560" y="499"/>
                    <a:pt x="559" y="498"/>
                  </a:cubicBezTo>
                  <a:cubicBezTo>
                    <a:pt x="558" y="497"/>
                    <a:pt x="557" y="497"/>
                    <a:pt x="556" y="496"/>
                  </a:cubicBezTo>
                  <a:cubicBezTo>
                    <a:pt x="555" y="495"/>
                    <a:pt x="554" y="494"/>
                    <a:pt x="552" y="494"/>
                  </a:cubicBezTo>
                  <a:cubicBezTo>
                    <a:pt x="552" y="493"/>
                    <a:pt x="551" y="493"/>
                    <a:pt x="550" y="492"/>
                  </a:cubicBezTo>
                  <a:cubicBezTo>
                    <a:pt x="549" y="491"/>
                    <a:pt x="548" y="490"/>
                    <a:pt x="547" y="489"/>
                  </a:cubicBezTo>
                  <a:cubicBezTo>
                    <a:pt x="546" y="488"/>
                    <a:pt x="545" y="487"/>
                    <a:pt x="544" y="486"/>
                  </a:cubicBezTo>
                  <a:cubicBezTo>
                    <a:pt x="544" y="485"/>
                    <a:pt x="543" y="484"/>
                    <a:pt x="543" y="483"/>
                  </a:cubicBezTo>
                  <a:cubicBezTo>
                    <a:pt x="542" y="481"/>
                    <a:pt x="540" y="481"/>
                    <a:pt x="538" y="479"/>
                  </a:cubicBezTo>
                  <a:cubicBezTo>
                    <a:pt x="537" y="479"/>
                    <a:pt x="532" y="477"/>
                    <a:pt x="532" y="476"/>
                  </a:cubicBezTo>
                  <a:cubicBezTo>
                    <a:pt x="532" y="476"/>
                    <a:pt x="530" y="475"/>
                    <a:pt x="530" y="474"/>
                  </a:cubicBezTo>
                  <a:cubicBezTo>
                    <a:pt x="528" y="473"/>
                    <a:pt x="526" y="471"/>
                    <a:pt x="523" y="471"/>
                  </a:cubicBezTo>
                  <a:cubicBezTo>
                    <a:pt x="521" y="470"/>
                    <a:pt x="519" y="470"/>
                    <a:pt x="517" y="469"/>
                  </a:cubicBezTo>
                  <a:cubicBezTo>
                    <a:pt x="512" y="469"/>
                    <a:pt x="509" y="466"/>
                    <a:pt x="506" y="463"/>
                  </a:cubicBezTo>
                  <a:cubicBezTo>
                    <a:pt x="504" y="462"/>
                    <a:pt x="503" y="460"/>
                    <a:pt x="501" y="460"/>
                  </a:cubicBezTo>
                  <a:cubicBezTo>
                    <a:pt x="499" y="459"/>
                    <a:pt x="497" y="459"/>
                    <a:pt x="495" y="459"/>
                  </a:cubicBezTo>
                  <a:cubicBezTo>
                    <a:pt x="493" y="458"/>
                    <a:pt x="491" y="457"/>
                    <a:pt x="490" y="457"/>
                  </a:cubicBezTo>
                  <a:cubicBezTo>
                    <a:pt x="489" y="455"/>
                    <a:pt x="488" y="454"/>
                    <a:pt x="487" y="452"/>
                  </a:cubicBezTo>
                  <a:cubicBezTo>
                    <a:pt x="486" y="450"/>
                    <a:pt x="485" y="449"/>
                    <a:pt x="483" y="448"/>
                  </a:cubicBezTo>
                  <a:cubicBezTo>
                    <a:pt x="482" y="447"/>
                    <a:pt x="481" y="447"/>
                    <a:pt x="480" y="446"/>
                  </a:cubicBezTo>
                  <a:cubicBezTo>
                    <a:pt x="478" y="445"/>
                    <a:pt x="477" y="444"/>
                    <a:pt x="477" y="443"/>
                  </a:cubicBezTo>
                  <a:cubicBezTo>
                    <a:pt x="476" y="442"/>
                    <a:pt x="477" y="440"/>
                    <a:pt x="477" y="439"/>
                  </a:cubicBezTo>
                  <a:cubicBezTo>
                    <a:pt x="477" y="437"/>
                    <a:pt x="478" y="435"/>
                    <a:pt x="479" y="433"/>
                  </a:cubicBezTo>
                  <a:cubicBezTo>
                    <a:pt x="480" y="432"/>
                    <a:pt x="481" y="431"/>
                    <a:pt x="482" y="430"/>
                  </a:cubicBezTo>
                  <a:cubicBezTo>
                    <a:pt x="482" y="429"/>
                    <a:pt x="483" y="428"/>
                    <a:pt x="484" y="427"/>
                  </a:cubicBezTo>
                  <a:cubicBezTo>
                    <a:pt x="485" y="427"/>
                    <a:pt x="486" y="426"/>
                    <a:pt x="486" y="426"/>
                  </a:cubicBezTo>
                  <a:cubicBezTo>
                    <a:pt x="487" y="426"/>
                    <a:pt x="487" y="426"/>
                    <a:pt x="488" y="426"/>
                  </a:cubicBezTo>
                  <a:cubicBezTo>
                    <a:pt x="488" y="426"/>
                    <a:pt x="488" y="425"/>
                    <a:pt x="489" y="425"/>
                  </a:cubicBezTo>
                  <a:cubicBezTo>
                    <a:pt x="489" y="424"/>
                    <a:pt x="490" y="425"/>
                    <a:pt x="490" y="424"/>
                  </a:cubicBezTo>
                  <a:cubicBezTo>
                    <a:pt x="491" y="424"/>
                    <a:pt x="491" y="424"/>
                    <a:pt x="491" y="423"/>
                  </a:cubicBezTo>
                  <a:cubicBezTo>
                    <a:pt x="492" y="422"/>
                    <a:pt x="493" y="422"/>
                    <a:pt x="494" y="421"/>
                  </a:cubicBezTo>
                  <a:cubicBezTo>
                    <a:pt x="495" y="420"/>
                    <a:pt x="495" y="418"/>
                    <a:pt x="495" y="417"/>
                  </a:cubicBezTo>
                  <a:cubicBezTo>
                    <a:pt x="495" y="417"/>
                    <a:pt x="494" y="416"/>
                    <a:pt x="494" y="416"/>
                  </a:cubicBezTo>
                  <a:cubicBezTo>
                    <a:pt x="494" y="415"/>
                    <a:pt x="493" y="415"/>
                    <a:pt x="493" y="414"/>
                  </a:cubicBezTo>
                  <a:cubicBezTo>
                    <a:pt x="492" y="412"/>
                    <a:pt x="490" y="412"/>
                    <a:pt x="489" y="411"/>
                  </a:cubicBezTo>
                  <a:cubicBezTo>
                    <a:pt x="487" y="409"/>
                    <a:pt x="486" y="408"/>
                    <a:pt x="483" y="408"/>
                  </a:cubicBezTo>
                  <a:cubicBezTo>
                    <a:pt x="482" y="408"/>
                    <a:pt x="481" y="409"/>
                    <a:pt x="479" y="409"/>
                  </a:cubicBezTo>
                  <a:cubicBezTo>
                    <a:pt x="477" y="410"/>
                    <a:pt x="474" y="410"/>
                    <a:pt x="473" y="409"/>
                  </a:cubicBezTo>
                  <a:cubicBezTo>
                    <a:pt x="471" y="408"/>
                    <a:pt x="470" y="408"/>
                    <a:pt x="467" y="409"/>
                  </a:cubicBezTo>
                  <a:cubicBezTo>
                    <a:pt x="466" y="409"/>
                    <a:pt x="464" y="409"/>
                    <a:pt x="463" y="409"/>
                  </a:cubicBezTo>
                  <a:cubicBezTo>
                    <a:pt x="462" y="409"/>
                    <a:pt x="461" y="410"/>
                    <a:pt x="460" y="410"/>
                  </a:cubicBezTo>
                  <a:cubicBezTo>
                    <a:pt x="459" y="410"/>
                    <a:pt x="458" y="410"/>
                    <a:pt x="458" y="410"/>
                  </a:cubicBezTo>
                  <a:cubicBezTo>
                    <a:pt x="456" y="410"/>
                    <a:pt x="454" y="411"/>
                    <a:pt x="452" y="411"/>
                  </a:cubicBezTo>
                  <a:cubicBezTo>
                    <a:pt x="451" y="411"/>
                    <a:pt x="449" y="411"/>
                    <a:pt x="448" y="411"/>
                  </a:cubicBezTo>
                  <a:cubicBezTo>
                    <a:pt x="444" y="411"/>
                    <a:pt x="439" y="411"/>
                    <a:pt x="436" y="408"/>
                  </a:cubicBezTo>
                  <a:cubicBezTo>
                    <a:pt x="435" y="407"/>
                    <a:pt x="435" y="406"/>
                    <a:pt x="434" y="406"/>
                  </a:cubicBezTo>
                  <a:cubicBezTo>
                    <a:pt x="433" y="405"/>
                    <a:pt x="433" y="405"/>
                    <a:pt x="432" y="405"/>
                  </a:cubicBezTo>
                  <a:cubicBezTo>
                    <a:pt x="431" y="403"/>
                    <a:pt x="430" y="403"/>
                    <a:pt x="428" y="402"/>
                  </a:cubicBezTo>
                  <a:cubicBezTo>
                    <a:pt x="427" y="401"/>
                    <a:pt x="426" y="401"/>
                    <a:pt x="425" y="400"/>
                  </a:cubicBezTo>
                  <a:cubicBezTo>
                    <a:pt x="424" y="399"/>
                    <a:pt x="424" y="398"/>
                    <a:pt x="423" y="398"/>
                  </a:cubicBezTo>
                  <a:cubicBezTo>
                    <a:pt x="422" y="397"/>
                    <a:pt x="420" y="398"/>
                    <a:pt x="419" y="398"/>
                  </a:cubicBezTo>
                  <a:cubicBezTo>
                    <a:pt x="418" y="397"/>
                    <a:pt x="418" y="396"/>
                    <a:pt x="416" y="396"/>
                  </a:cubicBezTo>
                  <a:cubicBezTo>
                    <a:pt x="416" y="395"/>
                    <a:pt x="415" y="393"/>
                    <a:pt x="414" y="391"/>
                  </a:cubicBezTo>
                  <a:cubicBezTo>
                    <a:pt x="414" y="390"/>
                    <a:pt x="414" y="388"/>
                    <a:pt x="413" y="387"/>
                  </a:cubicBezTo>
                  <a:cubicBezTo>
                    <a:pt x="413" y="386"/>
                    <a:pt x="412" y="386"/>
                    <a:pt x="411" y="385"/>
                  </a:cubicBezTo>
                  <a:cubicBezTo>
                    <a:pt x="410" y="385"/>
                    <a:pt x="411" y="385"/>
                    <a:pt x="410" y="384"/>
                  </a:cubicBezTo>
                  <a:cubicBezTo>
                    <a:pt x="408" y="383"/>
                    <a:pt x="407" y="382"/>
                    <a:pt x="405" y="381"/>
                  </a:cubicBezTo>
                  <a:cubicBezTo>
                    <a:pt x="403" y="379"/>
                    <a:pt x="401" y="378"/>
                    <a:pt x="399" y="375"/>
                  </a:cubicBezTo>
                  <a:cubicBezTo>
                    <a:pt x="399" y="375"/>
                    <a:pt x="398" y="374"/>
                    <a:pt x="398" y="374"/>
                  </a:cubicBezTo>
                  <a:cubicBezTo>
                    <a:pt x="397" y="372"/>
                    <a:pt x="397" y="371"/>
                    <a:pt x="395" y="370"/>
                  </a:cubicBezTo>
                  <a:cubicBezTo>
                    <a:pt x="395" y="370"/>
                    <a:pt x="391" y="367"/>
                    <a:pt x="391" y="366"/>
                  </a:cubicBezTo>
                  <a:cubicBezTo>
                    <a:pt x="391" y="366"/>
                    <a:pt x="391" y="366"/>
                    <a:pt x="391" y="366"/>
                  </a:cubicBezTo>
                  <a:cubicBezTo>
                    <a:pt x="391" y="366"/>
                    <a:pt x="390" y="366"/>
                    <a:pt x="390" y="366"/>
                  </a:cubicBezTo>
                  <a:cubicBezTo>
                    <a:pt x="390" y="366"/>
                    <a:pt x="390" y="365"/>
                    <a:pt x="390" y="365"/>
                  </a:cubicBezTo>
                  <a:cubicBezTo>
                    <a:pt x="389" y="365"/>
                    <a:pt x="389" y="364"/>
                    <a:pt x="389" y="364"/>
                  </a:cubicBezTo>
                  <a:cubicBezTo>
                    <a:pt x="388" y="363"/>
                    <a:pt x="388" y="363"/>
                    <a:pt x="387" y="363"/>
                  </a:cubicBezTo>
                  <a:cubicBezTo>
                    <a:pt x="387" y="362"/>
                    <a:pt x="387" y="361"/>
                    <a:pt x="386" y="361"/>
                  </a:cubicBezTo>
                  <a:cubicBezTo>
                    <a:pt x="386" y="360"/>
                    <a:pt x="385" y="359"/>
                    <a:pt x="385" y="358"/>
                  </a:cubicBezTo>
                  <a:cubicBezTo>
                    <a:pt x="384" y="357"/>
                    <a:pt x="383" y="356"/>
                    <a:pt x="383" y="355"/>
                  </a:cubicBezTo>
                  <a:cubicBezTo>
                    <a:pt x="382" y="354"/>
                    <a:pt x="382" y="352"/>
                    <a:pt x="381" y="352"/>
                  </a:cubicBezTo>
                  <a:cubicBezTo>
                    <a:pt x="381" y="348"/>
                    <a:pt x="379" y="345"/>
                    <a:pt x="378" y="341"/>
                  </a:cubicBezTo>
                  <a:cubicBezTo>
                    <a:pt x="377" y="338"/>
                    <a:pt x="376" y="335"/>
                    <a:pt x="376" y="332"/>
                  </a:cubicBezTo>
                  <a:cubicBezTo>
                    <a:pt x="375" y="329"/>
                    <a:pt x="375" y="325"/>
                    <a:pt x="374" y="323"/>
                  </a:cubicBezTo>
                  <a:cubicBezTo>
                    <a:pt x="373" y="321"/>
                    <a:pt x="373" y="320"/>
                    <a:pt x="372" y="319"/>
                  </a:cubicBezTo>
                  <a:cubicBezTo>
                    <a:pt x="372" y="318"/>
                    <a:pt x="372" y="317"/>
                    <a:pt x="372" y="316"/>
                  </a:cubicBezTo>
                  <a:cubicBezTo>
                    <a:pt x="372" y="316"/>
                    <a:pt x="371" y="315"/>
                    <a:pt x="371" y="315"/>
                  </a:cubicBezTo>
                  <a:cubicBezTo>
                    <a:pt x="370" y="311"/>
                    <a:pt x="370" y="307"/>
                    <a:pt x="369" y="303"/>
                  </a:cubicBezTo>
                  <a:cubicBezTo>
                    <a:pt x="368" y="301"/>
                    <a:pt x="366" y="299"/>
                    <a:pt x="365" y="297"/>
                  </a:cubicBezTo>
                  <a:cubicBezTo>
                    <a:pt x="364" y="296"/>
                    <a:pt x="364" y="295"/>
                    <a:pt x="364" y="294"/>
                  </a:cubicBezTo>
                  <a:cubicBezTo>
                    <a:pt x="364" y="293"/>
                    <a:pt x="363" y="291"/>
                    <a:pt x="362" y="290"/>
                  </a:cubicBezTo>
                  <a:cubicBezTo>
                    <a:pt x="361" y="288"/>
                    <a:pt x="360" y="287"/>
                    <a:pt x="360" y="285"/>
                  </a:cubicBezTo>
                  <a:cubicBezTo>
                    <a:pt x="360" y="285"/>
                    <a:pt x="359" y="284"/>
                    <a:pt x="359" y="283"/>
                  </a:cubicBezTo>
                  <a:cubicBezTo>
                    <a:pt x="358" y="282"/>
                    <a:pt x="358" y="282"/>
                    <a:pt x="358" y="280"/>
                  </a:cubicBezTo>
                  <a:cubicBezTo>
                    <a:pt x="358" y="279"/>
                    <a:pt x="358" y="279"/>
                    <a:pt x="357" y="279"/>
                  </a:cubicBezTo>
                  <a:cubicBezTo>
                    <a:pt x="355" y="278"/>
                    <a:pt x="354" y="280"/>
                    <a:pt x="352" y="277"/>
                  </a:cubicBezTo>
                  <a:cubicBezTo>
                    <a:pt x="350" y="275"/>
                    <a:pt x="351" y="271"/>
                    <a:pt x="349" y="269"/>
                  </a:cubicBezTo>
                  <a:cubicBezTo>
                    <a:pt x="347" y="268"/>
                    <a:pt x="346" y="267"/>
                    <a:pt x="345" y="266"/>
                  </a:cubicBezTo>
                  <a:cubicBezTo>
                    <a:pt x="344" y="265"/>
                    <a:pt x="343" y="265"/>
                    <a:pt x="342" y="265"/>
                  </a:cubicBezTo>
                  <a:cubicBezTo>
                    <a:pt x="342" y="264"/>
                    <a:pt x="342" y="264"/>
                    <a:pt x="341" y="264"/>
                  </a:cubicBezTo>
                  <a:cubicBezTo>
                    <a:pt x="341" y="264"/>
                    <a:pt x="340" y="263"/>
                    <a:pt x="340" y="263"/>
                  </a:cubicBezTo>
                  <a:cubicBezTo>
                    <a:pt x="338" y="262"/>
                    <a:pt x="337" y="260"/>
                    <a:pt x="336" y="259"/>
                  </a:cubicBezTo>
                  <a:cubicBezTo>
                    <a:pt x="335" y="257"/>
                    <a:pt x="333" y="256"/>
                    <a:pt x="331" y="254"/>
                  </a:cubicBezTo>
                  <a:cubicBezTo>
                    <a:pt x="330" y="253"/>
                    <a:pt x="328" y="251"/>
                    <a:pt x="327" y="250"/>
                  </a:cubicBezTo>
                  <a:cubicBezTo>
                    <a:pt x="326" y="248"/>
                    <a:pt x="324" y="248"/>
                    <a:pt x="323" y="247"/>
                  </a:cubicBezTo>
                  <a:cubicBezTo>
                    <a:pt x="321" y="246"/>
                    <a:pt x="320" y="244"/>
                    <a:pt x="319" y="243"/>
                  </a:cubicBezTo>
                  <a:cubicBezTo>
                    <a:pt x="318" y="242"/>
                    <a:pt x="317" y="241"/>
                    <a:pt x="316" y="241"/>
                  </a:cubicBezTo>
                  <a:cubicBezTo>
                    <a:pt x="315" y="241"/>
                    <a:pt x="315" y="241"/>
                    <a:pt x="314" y="241"/>
                  </a:cubicBezTo>
                  <a:cubicBezTo>
                    <a:pt x="314" y="240"/>
                    <a:pt x="314" y="240"/>
                    <a:pt x="313" y="240"/>
                  </a:cubicBezTo>
                  <a:cubicBezTo>
                    <a:pt x="313" y="239"/>
                    <a:pt x="312" y="239"/>
                    <a:pt x="311" y="238"/>
                  </a:cubicBezTo>
                  <a:cubicBezTo>
                    <a:pt x="309" y="237"/>
                    <a:pt x="308" y="236"/>
                    <a:pt x="307" y="234"/>
                  </a:cubicBezTo>
                  <a:cubicBezTo>
                    <a:pt x="305" y="231"/>
                    <a:pt x="304" y="228"/>
                    <a:pt x="302" y="225"/>
                  </a:cubicBezTo>
                  <a:cubicBezTo>
                    <a:pt x="302" y="224"/>
                    <a:pt x="302" y="224"/>
                    <a:pt x="302" y="224"/>
                  </a:cubicBezTo>
                  <a:cubicBezTo>
                    <a:pt x="302" y="223"/>
                    <a:pt x="301" y="223"/>
                    <a:pt x="301" y="223"/>
                  </a:cubicBezTo>
                  <a:cubicBezTo>
                    <a:pt x="300" y="221"/>
                    <a:pt x="299" y="219"/>
                    <a:pt x="299" y="218"/>
                  </a:cubicBezTo>
                  <a:cubicBezTo>
                    <a:pt x="299" y="214"/>
                    <a:pt x="300" y="210"/>
                    <a:pt x="299" y="206"/>
                  </a:cubicBezTo>
                  <a:cubicBezTo>
                    <a:pt x="298" y="203"/>
                    <a:pt x="296" y="201"/>
                    <a:pt x="296" y="198"/>
                  </a:cubicBezTo>
                  <a:cubicBezTo>
                    <a:pt x="296" y="198"/>
                    <a:pt x="296" y="197"/>
                    <a:pt x="296" y="196"/>
                  </a:cubicBezTo>
                  <a:cubicBezTo>
                    <a:pt x="296" y="196"/>
                    <a:pt x="297" y="196"/>
                    <a:pt x="297" y="195"/>
                  </a:cubicBezTo>
                  <a:cubicBezTo>
                    <a:pt x="297" y="194"/>
                    <a:pt x="297" y="192"/>
                    <a:pt x="297" y="191"/>
                  </a:cubicBezTo>
                  <a:cubicBezTo>
                    <a:pt x="297" y="190"/>
                    <a:pt x="296" y="190"/>
                    <a:pt x="296" y="189"/>
                  </a:cubicBezTo>
                  <a:cubicBezTo>
                    <a:pt x="296" y="189"/>
                    <a:pt x="296" y="188"/>
                    <a:pt x="296" y="187"/>
                  </a:cubicBezTo>
                  <a:cubicBezTo>
                    <a:pt x="296" y="186"/>
                    <a:pt x="296" y="186"/>
                    <a:pt x="297" y="185"/>
                  </a:cubicBezTo>
                  <a:cubicBezTo>
                    <a:pt x="297" y="184"/>
                    <a:pt x="297" y="183"/>
                    <a:pt x="298" y="182"/>
                  </a:cubicBezTo>
                  <a:cubicBezTo>
                    <a:pt x="298" y="181"/>
                    <a:pt x="298" y="181"/>
                    <a:pt x="299" y="181"/>
                  </a:cubicBezTo>
                  <a:cubicBezTo>
                    <a:pt x="299" y="181"/>
                    <a:pt x="299" y="181"/>
                    <a:pt x="300" y="181"/>
                  </a:cubicBezTo>
                  <a:cubicBezTo>
                    <a:pt x="300" y="180"/>
                    <a:pt x="301" y="180"/>
                    <a:pt x="302" y="180"/>
                  </a:cubicBezTo>
                  <a:cubicBezTo>
                    <a:pt x="305" y="179"/>
                    <a:pt x="305" y="176"/>
                    <a:pt x="306" y="173"/>
                  </a:cubicBezTo>
                  <a:cubicBezTo>
                    <a:pt x="307" y="172"/>
                    <a:pt x="307" y="172"/>
                    <a:pt x="308" y="171"/>
                  </a:cubicBezTo>
                  <a:cubicBezTo>
                    <a:pt x="310" y="171"/>
                    <a:pt x="312" y="171"/>
                    <a:pt x="314" y="171"/>
                  </a:cubicBezTo>
                  <a:cubicBezTo>
                    <a:pt x="316" y="171"/>
                    <a:pt x="318" y="170"/>
                    <a:pt x="321" y="171"/>
                  </a:cubicBezTo>
                  <a:cubicBezTo>
                    <a:pt x="321" y="171"/>
                    <a:pt x="322" y="171"/>
                    <a:pt x="323" y="170"/>
                  </a:cubicBezTo>
                  <a:cubicBezTo>
                    <a:pt x="324" y="170"/>
                    <a:pt x="324" y="169"/>
                    <a:pt x="324" y="168"/>
                  </a:cubicBezTo>
                  <a:cubicBezTo>
                    <a:pt x="324" y="166"/>
                    <a:pt x="322" y="165"/>
                    <a:pt x="320" y="164"/>
                  </a:cubicBezTo>
                  <a:cubicBezTo>
                    <a:pt x="318" y="163"/>
                    <a:pt x="317" y="163"/>
                    <a:pt x="316" y="161"/>
                  </a:cubicBezTo>
                  <a:cubicBezTo>
                    <a:pt x="316" y="159"/>
                    <a:pt x="315" y="158"/>
                    <a:pt x="315" y="156"/>
                  </a:cubicBezTo>
                  <a:cubicBezTo>
                    <a:pt x="315" y="154"/>
                    <a:pt x="315" y="155"/>
                    <a:pt x="317" y="154"/>
                  </a:cubicBezTo>
                  <a:cubicBezTo>
                    <a:pt x="318" y="154"/>
                    <a:pt x="319" y="153"/>
                    <a:pt x="319" y="152"/>
                  </a:cubicBezTo>
                  <a:cubicBezTo>
                    <a:pt x="321" y="151"/>
                    <a:pt x="322" y="149"/>
                    <a:pt x="323" y="148"/>
                  </a:cubicBezTo>
                  <a:cubicBezTo>
                    <a:pt x="324" y="147"/>
                    <a:pt x="326" y="147"/>
                    <a:pt x="327" y="146"/>
                  </a:cubicBezTo>
                  <a:cubicBezTo>
                    <a:pt x="328" y="145"/>
                    <a:pt x="328" y="145"/>
                    <a:pt x="328" y="144"/>
                  </a:cubicBezTo>
                  <a:cubicBezTo>
                    <a:pt x="325" y="143"/>
                    <a:pt x="323" y="144"/>
                    <a:pt x="320" y="143"/>
                  </a:cubicBezTo>
                  <a:cubicBezTo>
                    <a:pt x="317" y="141"/>
                    <a:pt x="312" y="142"/>
                    <a:pt x="308" y="142"/>
                  </a:cubicBezTo>
                  <a:cubicBezTo>
                    <a:pt x="308" y="140"/>
                    <a:pt x="310" y="138"/>
                    <a:pt x="310" y="137"/>
                  </a:cubicBezTo>
                  <a:cubicBezTo>
                    <a:pt x="311" y="136"/>
                    <a:pt x="311" y="136"/>
                    <a:pt x="311" y="135"/>
                  </a:cubicBezTo>
                  <a:cubicBezTo>
                    <a:pt x="312" y="135"/>
                    <a:pt x="312" y="135"/>
                    <a:pt x="313" y="134"/>
                  </a:cubicBezTo>
                  <a:cubicBezTo>
                    <a:pt x="315" y="133"/>
                    <a:pt x="314" y="132"/>
                    <a:pt x="314" y="130"/>
                  </a:cubicBezTo>
                  <a:cubicBezTo>
                    <a:pt x="315" y="128"/>
                    <a:pt x="316" y="128"/>
                    <a:pt x="317" y="130"/>
                  </a:cubicBezTo>
                  <a:cubicBezTo>
                    <a:pt x="318" y="131"/>
                    <a:pt x="316" y="133"/>
                    <a:pt x="318" y="134"/>
                  </a:cubicBezTo>
                  <a:cubicBezTo>
                    <a:pt x="319" y="134"/>
                    <a:pt x="320" y="134"/>
                    <a:pt x="321" y="134"/>
                  </a:cubicBezTo>
                  <a:cubicBezTo>
                    <a:pt x="321" y="134"/>
                    <a:pt x="321" y="134"/>
                    <a:pt x="322" y="134"/>
                  </a:cubicBezTo>
                  <a:cubicBezTo>
                    <a:pt x="322" y="134"/>
                    <a:pt x="322" y="134"/>
                    <a:pt x="322" y="133"/>
                  </a:cubicBezTo>
                  <a:cubicBezTo>
                    <a:pt x="324" y="133"/>
                    <a:pt x="325" y="132"/>
                    <a:pt x="326" y="131"/>
                  </a:cubicBezTo>
                  <a:cubicBezTo>
                    <a:pt x="327" y="130"/>
                    <a:pt x="329" y="130"/>
                    <a:pt x="329" y="129"/>
                  </a:cubicBezTo>
                  <a:cubicBezTo>
                    <a:pt x="330" y="128"/>
                    <a:pt x="330" y="128"/>
                    <a:pt x="331" y="127"/>
                  </a:cubicBezTo>
                  <a:cubicBezTo>
                    <a:pt x="331" y="127"/>
                    <a:pt x="332" y="127"/>
                    <a:pt x="333" y="127"/>
                  </a:cubicBezTo>
                  <a:cubicBezTo>
                    <a:pt x="334" y="126"/>
                    <a:pt x="336" y="127"/>
                    <a:pt x="338" y="126"/>
                  </a:cubicBezTo>
                  <a:cubicBezTo>
                    <a:pt x="339" y="126"/>
                    <a:pt x="340" y="124"/>
                    <a:pt x="341" y="124"/>
                  </a:cubicBezTo>
                  <a:cubicBezTo>
                    <a:pt x="342" y="123"/>
                    <a:pt x="343" y="123"/>
                    <a:pt x="345" y="123"/>
                  </a:cubicBezTo>
                  <a:cubicBezTo>
                    <a:pt x="346" y="122"/>
                    <a:pt x="347" y="121"/>
                    <a:pt x="347" y="120"/>
                  </a:cubicBezTo>
                  <a:cubicBezTo>
                    <a:pt x="348" y="119"/>
                    <a:pt x="348" y="118"/>
                    <a:pt x="349" y="118"/>
                  </a:cubicBezTo>
                  <a:cubicBezTo>
                    <a:pt x="350" y="118"/>
                    <a:pt x="351" y="118"/>
                    <a:pt x="351" y="118"/>
                  </a:cubicBezTo>
                  <a:cubicBezTo>
                    <a:pt x="352" y="118"/>
                    <a:pt x="355" y="118"/>
                    <a:pt x="355" y="117"/>
                  </a:cubicBezTo>
                  <a:cubicBezTo>
                    <a:pt x="357" y="115"/>
                    <a:pt x="354" y="114"/>
                    <a:pt x="354" y="112"/>
                  </a:cubicBezTo>
                  <a:cubicBezTo>
                    <a:pt x="353" y="112"/>
                    <a:pt x="353" y="112"/>
                    <a:pt x="353" y="112"/>
                  </a:cubicBezTo>
                  <a:cubicBezTo>
                    <a:pt x="352" y="110"/>
                    <a:pt x="353" y="111"/>
                    <a:pt x="354" y="109"/>
                  </a:cubicBezTo>
                  <a:cubicBezTo>
                    <a:pt x="354" y="108"/>
                    <a:pt x="354" y="107"/>
                    <a:pt x="355" y="106"/>
                  </a:cubicBezTo>
                  <a:cubicBezTo>
                    <a:pt x="355" y="105"/>
                    <a:pt x="356" y="104"/>
                    <a:pt x="358" y="104"/>
                  </a:cubicBezTo>
                  <a:cubicBezTo>
                    <a:pt x="359" y="105"/>
                    <a:pt x="359" y="106"/>
                    <a:pt x="359" y="107"/>
                  </a:cubicBezTo>
                  <a:cubicBezTo>
                    <a:pt x="360" y="108"/>
                    <a:pt x="361" y="108"/>
                    <a:pt x="362" y="109"/>
                  </a:cubicBezTo>
                  <a:cubicBezTo>
                    <a:pt x="363" y="109"/>
                    <a:pt x="364" y="109"/>
                    <a:pt x="365" y="109"/>
                  </a:cubicBezTo>
                  <a:cubicBezTo>
                    <a:pt x="366" y="108"/>
                    <a:pt x="366" y="108"/>
                    <a:pt x="367" y="108"/>
                  </a:cubicBezTo>
                  <a:cubicBezTo>
                    <a:pt x="368" y="107"/>
                    <a:pt x="370" y="104"/>
                    <a:pt x="371" y="105"/>
                  </a:cubicBezTo>
                  <a:cubicBezTo>
                    <a:pt x="372" y="105"/>
                    <a:pt x="372" y="107"/>
                    <a:pt x="372" y="108"/>
                  </a:cubicBezTo>
                  <a:cubicBezTo>
                    <a:pt x="373" y="108"/>
                    <a:pt x="373" y="110"/>
                    <a:pt x="373" y="110"/>
                  </a:cubicBezTo>
                  <a:cubicBezTo>
                    <a:pt x="375" y="111"/>
                    <a:pt x="378" y="111"/>
                    <a:pt x="377" y="114"/>
                  </a:cubicBezTo>
                  <a:cubicBezTo>
                    <a:pt x="376" y="115"/>
                    <a:pt x="375" y="115"/>
                    <a:pt x="375" y="116"/>
                  </a:cubicBezTo>
                  <a:cubicBezTo>
                    <a:pt x="374" y="117"/>
                    <a:pt x="374" y="119"/>
                    <a:pt x="375" y="120"/>
                  </a:cubicBezTo>
                  <a:cubicBezTo>
                    <a:pt x="375" y="120"/>
                    <a:pt x="380" y="120"/>
                    <a:pt x="381" y="120"/>
                  </a:cubicBezTo>
                  <a:cubicBezTo>
                    <a:pt x="383" y="119"/>
                    <a:pt x="384" y="118"/>
                    <a:pt x="385" y="117"/>
                  </a:cubicBezTo>
                  <a:cubicBezTo>
                    <a:pt x="386" y="116"/>
                    <a:pt x="386" y="116"/>
                    <a:pt x="387" y="115"/>
                  </a:cubicBezTo>
                  <a:cubicBezTo>
                    <a:pt x="387" y="115"/>
                    <a:pt x="387" y="115"/>
                    <a:pt x="388" y="114"/>
                  </a:cubicBezTo>
                  <a:cubicBezTo>
                    <a:pt x="389" y="112"/>
                    <a:pt x="389" y="111"/>
                    <a:pt x="389" y="108"/>
                  </a:cubicBezTo>
                  <a:cubicBezTo>
                    <a:pt x="389" y="107"/>
                    <a:pt x="389" y="107"/>
                    <a:pt x="389" y="105"/>
                  </a:cubicBezTo>
                  <a:cubicBezTo>
                    <a:pt x="388" y="105"/>
                    <a:pt x="389" y="105"/>
                    <a:pt x="388" y="104"/>
                  </a:cubicBezTo>
                  <a:cubicBezTo>
                    <a:pt x="388" y="103"/>
                    <a:pt x="386" y="103"/>
                    <a:pt x="385" y="102"/>
                  </a:cubicBezTo>
                  <a:cubicBezTo>
                    <a:pt x="384" y="101"/>
                    <a:pt x="384" y="100"/>
                    <a:pt x="383" y="100"/>
                  </a:cubicBezTo>
                  <a:cubicBezTo>
                    <a:pt x="382" y="100"/>
                    <a:pt x="381" y="100"/>
                    <a:pt x="380" y="100"/>
                  </a:cubicBezTo>
                  <a:cubicBezTo>
                    <a:pt x="379" y="100"/>
                    <a:pt x="377" y="100"/>
                    <a:pt x="376" y="99"/>
                  </a:cubicBezTo>
                  <a:cubicBezTo>
                    <a:pt x="374" y="98"/>
                    <a:pt x="374" y="97"/>
                    <a:pt x="373" y="95"/>
                  </a:cubicBezTo>
                  <a:cubicBezTo>
                    <a:pt x="372" y="94"/>
                    <a:pt x="371" y="92"/>
                    <a:pt x="370" y="91"/>
                  </a:cubicBezTo>
                  <a:cubicBezTo>
                    <a:pt x="370" y="91"/>
                    <a:pt x="370" y="91"/>
                    <a:pt x="370" y="90"/>
                  </a:cubicBezTo>
                  <a:cubicBezTo>
                    <a:pt x="370" y="89"/>
                    <a:pt x="371" y="89"/>
                    <a:pt x="371" y="89"/>
                  </a:cubicBezTo>
                  <a:cubicBezTo>
                    <a:pt x="372" y="88"/>
                    <a:pt x="372" y="89"/>
                    <a:pt x="372" y="87"/>
                  </a:cubicBezTo>
                  <a:cubicBezTo>
                    <a:pt x="372" y="87"/>
                    <a:pt x="372" y="86"/>
                    <a:pt x="372" y="86"/>
                  </a:cubicBezTo>
                  <a:cubicBezTo>
                    <a:pt x="369" y="85"/>
                    <a:pt x="364" y="86"/>
                    <a:pt x="367" y="82"/>
                  </a:cubicBezTo>
                  <a:cubicBezTo>
                    <a:pt x="368" y="81"/>
                    <a:pt x="368" y="80"/>
                    <a:pt x="370" y="79"/>
                  </a:cubicBezTo>
                  <a:cubicBezTo>
                    <a:pt x="371" y="78"/>
                    <a:pt x="372" y="76"/>
                    <a:pt x="374" y="75"/>
                  </a:cubicBezTo>
                  <a:cubicBezTo>
                    <a:pt x="375" y="75"/>
                    <a:pt x="378" y="75"/>
                    <a:pt x="377" y="73"/>
                  </a:cubicBezTo>
                  <a:cubicBezTo>
                    <a:pt x="376" y="72"/>
                    <a:pt x="373" y="71"/>
                    <a:pt x="372" y="70"/>
                  </a:cubicBezTo>
                  <a:cubicBezTo>
                    <a:pt x="370" y="70"/>
                    <a:pt x="369" y="69"/>
                    <a:pt x="368" y="69"/>
                  </a:cubicBezTo>
                  <a:cubicBezTo>
                    <a:pt x="365" y="69"/>
                    <a:pt x="363" y="68"/>
                    <a:pt x="361" y="68"/>
                  </a:cubicBezTo>
                  <a:cubicBezTo>
                    <a:pt x="361" y="67"/>
                    <a:pt x="361" y="66"/>
                    <a:pt x="362" y="65"/>
                  </a:cubicBezTo>
                  <a:cubicBezTo>
                    <a:pt x="362" y="64"/>
                    <a:pt x="363" y="64"/>
                    <a:pt x="364" y="63"/>
                  </a:cubicBezTo>
                  <a:cubicBezTo>
                    <a:pt x="366" y="62"/>
                    <a:pt x="366" y="62"/>
                    <a:pt x="366" y="61"/>
                  </a:cubicBezTo>
                  <a:cubicBezTo>
                    <a:pt x="366" y="59"/>
                    <a:pt x="366" y="58"/>
                    <a:pt x="367" y="57"/>
                  </a:cubicBezTo>
                  <a:cubicBezTo>
                    <a:pt x="369" y="55"/>
                    <a:pt x="371" y="54"/>
                    <a:pt x="374" y="54"/>
                  </a:cubicBezTo>
                  <a:cubicBezTo>
                    <a:pt x="376" y="54"/>
                    <a:pt x="378" y="54"/>
                    <a:pt x="380" y="53"/>
                  </a:cubicBezTo>
                  <a:cubicBezTo>
                    <a:pt x="382" y="42"/>
                    <a:pt x="382" y="42"/>
                    <a:pt x="382" y="42"/>
                  </a:cubicBezTo>
                  <a:cubicBezTo>
                    <a:pt x="382" y="42"/>
                    <a:pt x="382" y="42"/>
                    <a:pt x="381" y="42"/>
                  </a:cubicBezTo>
                  <a:cubicBezTo>
                    <a:pt x="378" y="42"/>
                    <a:pt x="374" y="42"/>
                    <a:pt x="371" y="42"/>
                  </a:cubicBezTo>
                  <a:cubicBezTo>
                    <a:pt x="368" y="42"/>
                    <a:pt x="366" y="42"/>
                    <a:pt x="363" y="42"/>
                  </a:cubicBezTo>
                  <a:cubicBezTo>
                    <a:pt x="359" y="41"/>
                    <a:pt x="355" y="41"/>
                    <a:pt x="351" y="39"/>
                  </a:cubicBezTo>
                  <a:cubicBezTo>
                    <a:pt x="350" y="39"/>
                    <a:pt x="349" y="38"/>
                    <a:pt x="347" y="37"/>
                  </a:cubicBezTo>
                  <a:cubicBezTo>
                    <a:pt x="346" y="37"/>
                    <a:pt x="344" y="37"/>
                    <a:pt x="343" y="37"/>
                  </a:cubicBezTo>
                  <a:cubicBezTo>
                    <a:pt x="341" y="36"/>
                    <a:pt x="339" y="36"/>
                    <a:pt x="337" y="36"/>
                  </a:cubicBezTo>
                  <a:cubicBezTo>
                    <a:pt x="334" y="35"/>
                    <a:pt x="332" y="35"/>
                    <a:pt x="329" y="35"/>
                  </a:cubicBezTo>
                  <a:cubicBezTo>
                    <a:pt x="328" y="35"/>
                    <a:pt x="327" y="35"/>
                    <a:pt x="326" y="35"/>
                  </a:cubicBezTo>
                  <a:cubicBezTo>
                    <a:pt x="322" y="33"/>
                    <a:pt x="317" y="30"/>
                    <a:pt x="314" y="27"/>
                  </a:cubicBezTo>
                  <a:cubicBezTo>
                    <a:pt x="312" y="26"/>
                    <a:pt x="310" y="24"/>
                    <a:pt x="309" y="22"/>
                  </a:cubicBezTo>
                  <a:cubicBezTo>
                    <a:pt x="308" y="20"/>
                    <a:pt x="308" y="18"/>
                    <a:pt x="306" y="17"/>
                  </a:cubicBezTo>
                  <a:cubicBezTo>
                    <a:pt x="305" y="16"/>
                    <a:pt x="304" y="15"/>
                    <a:pt x="303" y="14"/>
                  </a:cubicBezTo>
                  <a:cubicBezTo>
                    <a:pt x="302" y="13"/>
                    <a:pt x="301" y="12"/>
                    <a:pt x="301" y="12"/>
                  </a:cubicBezTo>
                  <a:cubicBezTo>
                    <a:pt x="299" y="10"/>
                    <a:pt x="300" y="10"/>
                    <a:pt x="300" y="9"/>
                  </a:cubicBezTo>
                  <a:cubicBezTo>
                    <a:pt x="300" y="8"/>
                    <a:pt x="300" y="7"/>
                    <a:pt x="301" y="6"/>
                  </a:cubicBezTo>
                  <a:cubicBezTo>
                    <a:pt x="301" y="6"/>
                    <a:pt x="303" y="6"/>
                    <a:pt x="303" y="6"/>
                  </a:cubicBezTo>
                  <a:cubicBezTo>
                    <a:pt x="304" y="5"/>
                    <a:pt x="306" y="4"/>
                    <a:pt x="306" y="3"/>
                  </a:cubicBezTo>
                  <a:cubicBezTo>
                    <a:pt x="306" y="0"/>
                    <a:pt x="303" y="0"/>
                    <a:pt x="301" y="0"/>
                  </a:cubicBezTo>
                  <a:cubicBezTo>
                    <a:pt x="299" y="0"/>
                    <a:pt x="297" y="1"/>
                    <a:pt x="296" y="2"/>
                  </a:cubicBezTo>
                  <a:cubicBezTo>
                    <a:pt x="293" y="3"/>
                    <a:pt x="290" y="4"/>
                    <a:pt x="288" y="6"/>
                  </a:cubicBezTo>
                  <a:cubicBezTo>
                    <a:pt x="286" y="7"/>
                    <a:pt x="283" y="10"/>
                    <a:pt x="281" y="8"/>
                  </a:cubicBezTo>
                  <a:cubicBezTo>
                    <a:pt x="280" y="7"/>
                    <a:pt x="279" y="6"/>
                    <a:pt x="277" y="7"/>
                  </a:cubicBezTo>
                  <a:cubicBezTo>
                    <a:pt x="276" y="7"/>
                    <a:pt x="275" y="8"/>
                    <a:pt x="274" y="9"/>
                  </a:cubicBezTo>
                  <a:cubicBezTo>
                    <a:pt x="273" y="9"/>
                    <a:pt x="272" y="9"/>
                    <a:pt x="271" y="9"/>
                  </a:cubicBezTo>
                  <a:cubicBezTo>
                    <a:pt x="266" y="9"/>
                    <a:pt x="261" y="8"/>
                    <a:pt x="256" y="8"/>
                  </a:cubicBezTo>
                  <a:cubicBezTo>
                    <a:pt x="255" y="8"/>
                    <a:pt x="254" y="8"/>
                    <a:pt x="253" y="8"/>
                  </a:cubicBezTo>
                  <a:cubicBezTo>
                    <a:pt x="251" y="8"/>
                    <a:pt x="250" y="9"/>
                    <a:pt x="249" y="9"/>
                  </a:cubicBezTo>
                  <a:cubicBezTo>
                    <a:pt x="247" y="10"/>
                    <a:pt x="247" y="10"/>
                    <a:pt x="247" y="11"/>
                  </a:cubicBezTo>
                  <a:cubicBezTo>
                    <a:pt x="246" y="12"/>
                    <a:pt x="246" y="12"/>
                    <a:pt x="246" y="14"/>
                  </a:cubicBezTo>
                  <a:cubicBezTo>
                    <a:pt x="246" y="15"/>
                    <a:pt x="246" y="16"/>
                    <a:pt x="246" y="17"/>
                  </a:cubicBezTo>
                  <a:cubicBezTo>
                    <a:pt x="245" y="19"/>
                    <a:pt x="244" y="20"/>
                    <a:pt x="243" y="21"/>
                  </a:cubicBezTo>
                  <a:cubicBezTo>
                    <a:pt x="243" y="23"/>
                    <a:pt x="243" y="25"/>
                    <a:pt x="241" y="26"/>
                  </a:cubicBezTo>
                  <a:cubicBezTo>
                    <a:pt x="239" y="26"/>
                    <a:pt x="237" y="26"/>
                    <a:pt x="236" y="26"/>
                  </a:cubicBezTo>
                  <a:cubicBezTo>
                    <a:pt x="235" y="26"/>
                    <a:pt x="234" y="26"/>
                    <a:pt x="234" y="25"/>
                  </a:cubicBezTo>
                  <a:cubicBezTo>
                    <a:pt x="233" y="25"/>
                    <a:pt x="233" y="25"/>
                    <a:pt x="232" y="24"/>
                  </a:cubicBezTo>
                  <a:cubicBezTo>
                    <a:pt x="232" y="24"/>
                    <a:pt x="230" y="24"/>
                    <a:pt x="230" y="24"/>
                  </a:cubicBezTo>
                  <a:cubicBezTo>
                    <a:pt x="229" y="24"/>
                    <a:pt x="227" y="24"/>
                    <a:pt x="227" y="23"/>
                  </a:cubicBezTo>
                  <a:cubicBezTo>
                    <a:pt x="226" y="22"/>
                    <a:pt x="227" y="21"/>
                    <a:pt x="226" y="20"/>
                  </a:cubicBezTo>
                  <a:cubicBezTo>
                    <a:pt x="226" y="19"/>
                    <a:pt x="225" y="19"/>
                    <a:pt x="224" y="19"/>
                  </a:cubicBezTo>
                  <a:cubicBezTo>
                    <a:pt x="223" y="19"/>
                    <a:pt x="221" y="18"/>
                    <a:pt x="220" y="18"/>
                  </a:cubicBezTo>
                  <a:cubicBezTo>
                    <a:pt x="219" y="18"/>
                    <a:pt x="218" y="18"/>
                    <a:pt x="217" y="18"/>
                  </a:cubicBezTo>
                  <a:cubicBezTo>
                    <a:pt x="216" y="18"/>
                    <a:pt x="215" y="18"/>
                    <a:pt x="213" y="18"/>
                  </a:cubicBezTo>
                  <a:cubicBezTo>
                    <a:pt x="213" y="19"/>
                    <a:pt x="213" y="20"/>
                    <a:pt x="213" y="22"/>
                  </a:cubicBezTo>
                  <a:cubicBezTo>
                    <a:pt x="212" y="23"/>
                    <a:pt x="212" y="25"/>
                    <a:pt x="211" y="27"/>
                  </a:cubicBezTo>
                  <a:cubicBezTo>
                    <a:pt x="209" y="29"/>
                    <a:pt x="207" y="30"/>
                    <a:pt x="208" y="34"/>
                  </a:cubicBezTo>
                  <a:cubicBezTo>
                    <a:pt x="208" y="35"/>
                    <a:pt x="209" y="35"/>
                    <a:pt x="210" y="36"/>
                  </a:cubicBezTo>
                  <a:cubicBezTo>
                    <a:pt x="210" y="36"/>
                    <a:pt x="210" y="37"/>
                    <a:pt x="211" y="37"/>
                  </a:cubicBezTo>
                  <a:cubicBezTo>
                    <a:pt x="211" y="37"/>
                    <a:pt x="212" y="37"/>
                    <a:pt x="213" y="38"/>
                  </a:cubicBezTo>
                  <a:cubicBezTo>
                    <a:pt x="213" y="38"/>
                    <a:pt x="212" y="41"/>
                    <a:pt x="212" y="42"/>
                  </a:cubicBezTo>
                  <a:cubicBezTo>
                    <a:pt x="211" y="42"/>
                    <a:pt x="209" y="43"/>
                    <a:pt x="208" y="43"/>
                  </a:cubicBezTo>
                  <a:cubicBezTo>
                    <a:pt x="206" y="44"/>
                    <a:pt x="204" y="44"/>
                    <a:pt x="203" y="43"/>
                  </a:cubicBezTo>
                  <a:cubicBezTo>
                    <a:pt x="201" y="42"/>
                    <a:pt x="201" y="39"/>
                    <a:pt x="198" y="39"/>
                  </a:cubicBezTo>
                  <a:cubicBezTo>
                    <a:pt x="197" y="39"/>
                    <a:pt x="197" y="40"/>
                    <a:pt x="196" y="40"/>
                  </a:cubicBezTo>
                  <a:cubicBezTo>
                    <a:pt x="195" y="41"/>
                    <a:pt x="194" y="41"/>
                    <a:pt x="192" y="42"/>
                  </a:cubicBezTo>
                  <a:cubicBezTo>
                    <a:pt x="191" y="42"/>
                    <a:pt x="190" y="43"/>
                    <a:pt x="190" y="44"/>
                  </a:cubicBezTo>
                  <a:cubicBezTo>
                    <a:pt x="189" y="46"/>
                    <a:pt x="189" y="47"/>
                    <a:pt x="189" y="49"/>
                  </a:cubicBezTo>
                  <a:cubicBezTo>
                    <a:pt x="189" y="50"/>
                    <a:pt x="189" y="52"/>
                    <a:pt x="189" y="54"/>
                  </a:cubicBezTo>
                  <a:cubicBezTo>
                    <a:pt x="191" y="54"/>
                    <a:pt x="193" y="53"/>
                    <a:pt x="194" y="54"/>
                  </a:cubicBezTo>
                  <a:cubicBezTo>
                    <a:pt x="196" y="55"/>
                    <a:pt x="194" y="58"/>
                    <a:pt x="194" y="59"/>
                  </a:cubicBezTo>
                  <a:cubicBezTo>
                    <a:pt x="193" y="60"/>
                    <a:pt x="193" y="60"/>
                    <a:pt x="192" y="61"/>
                  </a:cubicBezTo>
                  <a:cubicBezTo>
                    <a:pt x="192" y="62"/>
                    <a:pt x="193" y="62"/>
                    <a:pt x="193" y="63"/>
                  </a:cubicBezTo>
                  <a:cubicBezTo>
                    <a:pt x="194" y="65"/>
                    <a:pt x="195" y="66"/>
                    <a:pt x="195" y="68"/>
                  </a:cubicBezTo>
                  <a:cubicBezTo>
                    <a:pt x="192" y="68"/>
                    <a:pt x="190" y="67"/>
                    <a:pt x="188" y="66"/>
                  </a:cubicBezTo>
                  <a:cubicBezTo>
                    <a:pt x="187" y="65"/>
                    <a:pt x="187" y="64"/>
                    <a:pt x="186" y="63"/>
                  </a:cubicBezTo>
                  <a:cubicBezTo>
                    <a:pt x="186" y="63"/>
                    <a:pt x="186" y="60"/>
                    <a:pt x="185" y="60"/>
                  </a:cubicBezTo>
                  <a:cubicBezTo>
                    <a:pt x="184" y="59"/>
                    <a:pt x="182" y="60"/>
                    <a:pt x="181" y="60"/>
                  </a:cubicBezTo>
                  <a:cubicBezTo>
                    <a:pt x="179" y="60"/>
                    <a:pt x="177" y="60"/>
                    <a:pt x="175" y="60"/>
                  </a:cubicBezTo>
                  <a:cubicBezTo>
                    <a:pt x="174" y="60"/>
                    <a:pt x="173" y="60"/>
                    <a:pt x="172" y="61"/>
                  </a:cubicBezTo>
                  <a:cubicBezTo>
                    <a:pt x="171" y="61"/>
                    <a:pt x="171" y="62"/>
                    <a:pt x="170" y="63"/>
                  </a:cubicBezTo>
                  <a:cubicBezTo>
                    <a:pt x="170" y="63"/>
                    <a:pt x="169" y="63"/>
                    <a:pt x="168" y="63"/>
                  </a:cubicBezTo>
                  <a:cubicBezTo>
                    <a:pt x="167" y="63"/>
                    <a:pt x="167" y="63"/>
                    <a:pt x="166" y="64"/>
                  </a:cubicBezTo>
                  <a:cubicBezTo>
                    <a:pt x="164" y="64"/>
                    <a:pt x="162" y="63"/>
                    <a:pt x="161" y="62"/>
                  </a:cubicBezTo>
                  <a:cubicBezTo>
                    <a:pt x="159" y="62"/>
                    <a:pt x="158" y="62"/>
                    <a:pt x="157" y="60"/>
                  </a:cubicBezTo>
                  <a:cubicBezTo>
                    <a:pt x="157" y="59"/>
                    <a:pt x="157" y="57"/>
                    <a:pt x="157" y="56"/>
                  </a:cubicBezTo>
                  <a:cubicBezTo>
                    <a:pt x="156" y="55"/>
                    <a:pt x="156" y="54"/>
                    <a:pt x="155" y="52"/>
                  </a:cubicBezTo>
                  <a:cubicBezTo>
                    <a:pt x="155" y="52"/>
                    <a:pt x="153" y="50"/>
                    <a:pt x="153" y="50"/>
                  </a:cubicBezTo>
                  <a:cubicBezTo>
                    <a:pt x="152" y="49"/>
                    <a:pt x="148" y="49"/>
                    <a:pt x="147" y="50"/>
                  </a:cubicBezTo>
                  <a:cubicBezTo>
                    <a:pt x="147" y="50"/>
                    <a:pt x="146" y="51"/>
                    <a:pt x="145" y="51"/>
                  </a:cubicBezTo>
                  <a:cubicBezTo>
                    <a:pt x="145" y="52"/>
                    <a:pt x="144" y="53"/>
                    <a:pt x="144" y="53"/>
                  </a:cubicBezTo>
                  <a:cubicBezTo>
                    <a:pt x="143" y="55"/>
                    <a:pt x="144" y="58"/>
                    <a:pt x="145" y="59"/>
                  </a:cubicBezTo>
                  <a:cubicBezTo>
                    <a:pt x="146" y="60"/>
                    <a:pt x="146" y="61"/>
                    <a:pt x="147" y="62"/>
                  </a:cubicBezTo>
                  <a:cubicBezTo>
                    <a:pt x="147" y="63"/>
                    <a:pt x="147" y="65"/>
                    <a:pt x="146" y="66"/>
                  </a:cubicBezTo>
                  <a:cubicBezTo>
                    <a:pt x="146" y="67"/>
                    <a:pt x="145" y="68"/>
                    <a:pt x="144" y="69"/>
                  </a:cubicBezTo>
                  <a:cubicBezTo>
                    <a:pt x="143" y="70"/>
                    <a:pt x="143" y="70"/>
                    <a:pt x="143" y="71"/>
                  </a:cubicBezTo>
                  <a:cubicBezTo>
                    <a:pt x="141" y="72"/>
                    <a:pt x="140" y="73"/>
                    <a:pt x="138" y="74"/>
                  </a:cubicBezTo>
                  <a:cubicBezTo>
                    <a:pt x="136" y="75"/>
                    <a:pt x="136" y="77"/>
                    <a:pt x="135" y="79"/>
                  </a:cubicBezTo>
                  <a:cubicBezTo>
                    <a:pt x="135" y="81"/>
                    <a:pt x="133" y="82"/>
                    <a:pt x="132" y="84"/>
                  </a:cubicBezTo>
                  <a:cubicBezTo>
                    <a:pt x="132" y="85"/>
                    <a:pt x="132" y="85"/>
                    <a:pt x="131" y="86"/>
                  </a:cubicBezTo>
                  <a:cubicBezTo>
                    <a:pt x="131" y="87"/>
                    <a:pt x="130" y="88"/>
                    <a:pt x="129" y="88"/>
                  </a:cubicBezTo>
                  <a:cubicBezTo>
                    <a:pt x="129" y="89"/>
                    <a:pt x="129" y="92"/>
                    <a:pt x="129" y="92"/>
                  </a:cubicBezTo>
                  <a:cubicBezTo>
                    <a:pt x="130" y="93"/>
                    <a:pt x="132" y="93"/>
                    <a:pt x="132" y="93"/>
                  </a:cubicBezTo>
                  <a:cubicBezTo>
                    <a:pt x="133" y="94"/>
                    <a:pt x="134" y="94"/>
                    <a:pt x="134" y="95"/>
                  </a:cubicBezTo>
                  <a:cubicBezTo>
                    <a:pt x="136" y="96"/>
                    <a:pt x="135" y="97"/>
                    <a:pt x="135" y="98"/>
                  </a:cubicBezTo>
                  <a:cubicBezTo>
                    <a:pt x="134" y="101"/>
                    <a:pt x="133" y="102"/>
                    <a:pt x="130" y="101"/>
                  </a:cubicBezTo>
                  <a:cubicBezTo>
                    <a:pt x="129" y="101"/>
                    <a:pt x="126" y="101"/>
                    <a:pt x="125" y="99"/>
                  </a:cubicBezTo>
                  <a:cubicBezTo>
                    <a:pt x="124" y="97"/>
                    <a:pt x="125" y="94"/>
                    <a:pt x="124" y="92"/>
                  </a:cubicBezTo>
                  <a:cubicBezTo>
                    <a:pt x="123" y="90"/>
                    <a:pt x="121" y="90"/>
                    <a:pt x="119" y="90"/>
                  </a:cubicBezTo>
                  <a:cubicBezTo>
                    <a:pt x="119" y="89"/>
                    <a:pt x="119" y="88"/>
                    <a:pt x="119" y="88"/>
                  </a:cubicBezTo>
                  <a:cubicBezTo>
                    <a:pt x="119" y="88"/>
                    <a:pt x="120" y="87"/>
                    <a:pt x="120" y="87"/>
                  </a:cubicBezTo>
                  <a:cubicBezTo>
                    <a:pt x="120" y="87"/>
                    <a:pt x="120" y="86"/>
                    <a:pt x="120" y="86"/>
                  </a:cubicBezTo>
                  <a:cubicBezTo>
                    <a:pt x="120" y="85"/>
                    <a:pt x="122" y="84"/>
                    <a:pt x="122" y="83"/>
                  </a:cubicBezTo>
                  <a:cubicBezTo>
                    <a:pt x="121" y="82"/>
                    <a:pt x="121" y="82"/>
                    <a:pt x="120" y="82"/>
                  </a:cubicBezTo>
                  <a:cubicBezTo>
                    <a:pt x="119" y="81"/>
                    <a:pt x="118" y="80"/>
                    <a:pt x="116" y="80"/>
                  </a:cubicBezTo>
                  <a:cubicBezTo>
                    <a:pt x="116" y="80"/>
                    <a:pt x="115" y="80"/>
                    <a:pt x="114" y="80"/>
                  </a:cubicBezTo>
                  <a:cubicBezTo>
                    <a:pt x="114" y="80"/>
                    <a:pt x="114" y="79"/>
                    <a:pt x="113" y="79"/>
                  </a:cubicBezTo>
                  <a:cubicBezTo>
                    <a:pt x="112" y="79"/>
                    <a:pt x="111" y="79"/>
                    <a:pt x="110" y="78"/>
                  </a:cubicBezTo>
                  <a:cubicBezTo>
                    <a:pt x="108" y="78"/>
                    <a:pt x="107" y="77"/>
                    <a:pt x="106" y="75"/>
                  </a:cubicBezTo>
                  <a:cubicBezTo>
                    <a:pt x="105" y="73"/>
                    <a:pt x="104" y="71"/>
                    <a:pt x="103" y="70"/>
                  </a:cubicBezTo>
                  <a:cubicBezTo>
                    <a:pt x="102" y="69"/>
                    <a:pt x="101" y="68"/>
                    <a:pt x="100" y="67"/>
                  </a:cubicBezTo>
                  <a:cubicBezTo>
                    <a:pt x="100" y="66"/>
                    <a:pt x="99" y="66"/>
                    <a:pt x="99" y="65"/>
                  </a:cubicBezTo>
                  <a:cubicBezTo>
                    <a:pt x="99" y="65"/>
                    <a:pt x="99" y="63"/>
                    <a:pt x="99" y="63"/>
                  </a:cubicBezTo>
                  <a:cubicBezTo>
                    <a:pt x="99" y="62"/>
                    <a:pt x="99" y="61"/>
                    <a:pt x="99" y="60"/>
                  </a:cubicBezTo>
                  <a:cubicBezTo>
                    <a:pt x="99" y="58"/>
                    <a:pt x="97" y="56"/>
                    <a:pt x="95" y="55"/>
                  </a:cubicBezTo>
                  <a:cubicBezTo>
                    <a:pt x="92" y="54"/>
                    <a:pt x="92" y="57"/>
                    <a:pt x="91" y="59"/>
                  </a:cubicBezTo>
                  <a:cubicBezTo>
                    <a:pt x="91" y="61"/>
                    <a:pt x="90" y="63"/>
                    <a:pt x="89" y="64"/>
                  </a:cubicBezTo>
                  <a:cubicBezTo>
                    <a:pt x="87" y="65"/>
                    <a:pt x="85" y="65"/>
                    <a:pt x="83" y="67"/>
                  </a:cubicBezTo>
                  <a:cubicBezTo>
                    <a:pt x="81" y="68"/>
                    <a:pt x="81" y="70"/>
                    <a:pt x="82" y="72"/>
                  </a:cubicBezTo>
                  <a:cubicBezTo>
                    <a:pt x="83" y="73"/>
                    <a:pt x="84" y="72"/>
                    <a:pt x="85" y="74"/>
                  </a:cubicBezTo>
                  <a:cubicBezTo>
                    <a:pt x="85" y="75"/>
                    <a:pt x="85" y="76"/>
                    <a:pt x="85" y="77"/>
                  </a:cubicBezTo>
                  <a:cubicBezTo>
                    <a:pt x="85" y="78"/>
                    <a:pt x="85" y="78"/>
                    <a:pt x="83" y="79"/>
                  </a:cubicBezTo>
                  <a:cubicBezTo>
                    <a:pt x="83" y="79"/>
                    <a:pt x="82" y="80"/>
                    <a:pt x="82" y="80"/>
                  </a:cubicBezTo>
                  <a:cubicBezTo>
                    <a:pt x="82" y="80"/>
                    <a:pt x="81" y="80"/>
                    <a:pt x="80" y="80"/>
                  </a:cubicBezTo>
                  <a:cubicBezTo>
                    <a:pt x="78" y="81"/>
                    <a:pt x="78" y="84"/>
                    <a:pt x="77" y="85"/>
                  </a:cubicBezTo>
                  <a:cubicBezTo>
                    <a:pt x="77" y="87"/>
                    <a:pt x="75" y="88"/>
                    <a:pt x="74" y="89"/>
                  </a:cubicBezTo>
                  <a:cubicBezTo>
                    <a:pt x="72" y="90"/>
                    <a:pt x="72" y="91"/>
                    <a:pt x="71" y="92"/>
                  </a:cubicBezTo>
                  <a:cubicBezTo>
                    <a:pt x="67" y="94"/>
                    <a:pt x="63" y="91"/>
                    <a:pt x="60" y="90"/>
                  </a:cubicBezTo>
                  <a:cubicBezTo>
                    <a:pt x="58" y="89"/>
                    <a:pt x="57" y="88"/>
                    <a:pt x="56" y="88"/>
                  </a:cubicBezTo>
                  <a:cubicBezTo>
                    <a:pt x="54" y="89"/>
                    <a:pt x="54" y="90"/>
                    <a:pt x="53" y="92"/>
                  </a:cubicBezTo>
                  <a:cubicBezTo>
                    <a:pt x="52" y="93"/>
                    <a:pt x="51" y="94"/>
                    <a:pt x="49" y="94"/>
                  </a:cubicBezTo>
                  <a:cubicBezTo>
                    <a:pt x="46" y="95"/>
                    <a:pt x="43" y="95"/>
                    <a:pt x="40" y="96"/>
                  </a:cubicBezTo>
                  <a:cubicBezTo>
                    <a:pt x="39" y="96"/>
                    <a:pt x="39" y="97"/>
                    <a:pt x="38" y="98"/>
                  </a:cubicBezTo>
                  <a:cubicBezTo>
                    <a:pt x="37" y="98"/>
                    <a:pt x="35" y="98"/>
                    <a:pt x="35" y="98"/>
                  </a:cubicBezTo>
                  <a:cubicBezTo>
                    <a:pt x="34" y="99"/>
                    <a:pt x="33" y="99"/>
                    <a:pt x="32" y="99"/>
                  </a:cubicBezTo>
                  <a:cubicBezTo>
                    <a:pt x="31" y="99"/>
                    <a:pt x="30" y="98"/>
                    <a:pt x="29" y="98"/>
                  </a:cubicBezTo>
                  <a:cubicBezTo>
                    <a:pt x="27" y="98"/>
                    <a:pt x="25" y="99"/>
                    <a:pt x="23" y="9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2" y="98"/>
                    <a:pt x="21" y="99"/>
                    <a:pt x="19" y="100"/>
                  </a:cubicBezTo>
                  <a:cubicBezTo>
                    <a:pt x="17" y="105"/>
                    <a:pt x="14" y="106"/>
                    <a:pt x="15" y="108"/>
                  </a:cubicBezTo>
                  <a:cubicBezTo>
                    <a:pt x="17" y="112"/>
                    <a:pt x="13" y="112"/>
                    <a:pt x="16" y="115"/>
                  </a:cubicBezTo>
                  <a:cubicBezTo>
                    <a:pt x="17" y="116"/>
                    <a:pt x="20" y="117"/>
                    <a:pt x="21" y="119"/>
                  </a:cubicBezTo>
                  <a:cubicBezTo>
                    <a:pt x="21" y="121"/>
                    <a:pt x="21" y="123"/>
                    <a:pt x="22" y="125"/>
                  </a:cubicBezTo>
                  <a:cubicBezTo>
                    <a:pt x="22" y="127"/>
                    <a:pt x="23" y="130"/>
                    <a:pt x="25" y="132"/>
                  </a:cubicBezTo>
                  <a:cubicBezTo>
                    <a:pt x="26" y="133"/>
                    <a:pt x="28" y="133"/>
                    <a:pt x="29" y="135"/>
                  </a:cubicBezTo>
                  <a:cubicBezTo>
                    <a:pt x="31" y="138"/>
                    <a:pt x="28" y="139"/>
                    <a:pt x="27" y="142"/>
                  </a:cubicBezTo>
                  <a:cubicBezTo>
                    <a:pt x="26" y="144"/>
                    <a:pt x="28" y="148"/>
                    <a:pt x="26" y="150"/>
                  </a:cubicBezTo>
                  <a:cubicBezTo>
                    <a:pt x="25" y="151"/>
                    <a:pt x="23" y="151"/>
                    <a:pt x="22" y="152"/>
                  </a:cubicBezTo>
                  <a:cubicBezTo>
                    <a:pt x="21" y="152"/>
                    <a:pt x="20" y="153"/>
                    <a:pt x="20" y="153"/>
                  </a:cubicBezTo>
                  <a:cubicBezTo>
                    <a:pt x="17" y="156"/>
                    <a:pt x="14" y="157"/>
                    <a:pt x="11" y="159"/>
                  </a:cubicBezTo>
                  <a:cubicBezTo>
                    <a:pt x="9" y="161"/>
                    <a:pt x="11" y="160"/>
                    <a:pt x="9" y="161"/>
                  </a:cubicBezTo>
                  <a:cubicBezTo>
                    <a:pt x="7" y="162"/>
                    <a:pt x="5" y="161"/>
                    <a:pt x="4" y="161"/>
                  </a:cubicBezTo>
                  <a:cubicBezTo>
                    <a:pt x="2" y="162"/>
                    <a:pt x="0" y="161"/>
                    <a:pt x="1" y="164"/>
                  </a:cubicBezTo>
                  <a:cubicBezTo>
                    <a:pt x="8" y="166"/>
                    <a:pt x="7" y="173"/>
                    <a:pt x="12" y="177"/>
                  </a:cubicBezTo>
                  <a:cubicBezTo>
                    <a:pt x="12" y="177"/>
                    <a:pt x="14" y="177"/>
                    <a:pt x="15" y="178"/>
                  </a:cubicBezTo>
                  <a:cubicBezTo>
                    <a:pt x="15" y="178"/>
                    <a:pt x="18" y="179"/>
                    <a:pt x="18" y="179"/>
                  </a:cubicBezTo>
                  <a:cubicBezTo>
                    <a:pt x="19" y="181"/>
                    <a:pt x="19" y="184"/>
                    <a:pt x="22" y="184"/>
                  </a:cubicBezTo>
                  <a:cubicBezTo>
                    <a:pt x="23" y="189"/>
                    <a:pt x="23" y="194"/>
                    <a:pt x="18" y="196"/>
                  </a:cubicBezTo>
                  <a:cubicBezTo>
                    <a:pt x="13" y="198"/>
                    <a:pt x="9" y="200"/>
                    <a:pt x="12" y="205"/>
                  </a:cubicBezTo>
                  <a:cubicBezTo>
                    <a:pt x="13" y="207"/>
                    <a:pt x="17" y="210"/>
                    <a:pt x="16" y="212"/>
                  </a:cubicBezTo>
                  <a:cubicBezTo>
                    <a:pt x="15" y="215"/>
                    <a:pt x="13" y="212"/>
                    <a:pt x="12" y="214"/>
                  </a:cubicBezTo>
                  <a:cubicBezTo>
                    <a:pt x="11" y="216"/>
                    <a:pt x="18" y="223"/>
                    <a:pt x="20" y="224"/>
                  </a:cubicBezTo>
                  <a:cubicBezTo>
                    <a:pt x="23" y="226"/>
                    <a:pt x="28" y="225"/>
                    <a:pt x="31" y="228"/>
                  </a:cubicBezTo>
                  <a:cubicBezTo>
                    <a:pt x="33" y="229"/>
                    <a:pt x="33" y="232"/>
                    <a:pt x="35" y="233"/>
                  </a:cubicBezTo>
                  <a:cubicBezTo>
                    <a:pt x="39" y="235"/>
                    <a:pt x="45" y="232"/>
                    <a:pt x="48" y="231"/>
                  </a:cubicBezTo>
                  <a:cubicBezTo>
                    <a:pt x="50" y="230"/>
                    <a:pt x="55" y="228"/>
                    <a:pt x="57" y="229"/>
                  </a:cubicBezTo>
                  <a:cubicBezTo>
                    <a:pt x="59" y="230"/>
                    <a:pt x="59" y="239"/>
                    <a:pt x="58" y="240"/>
                  </a:cubicBezTo>
                  <a:cubicBezTo>
                    <a:pt x="57" y="243"/>
                    <a:pt x="54" y="244"/>
                    <a:pt x="53" y="245"/>
                  </a:cubicBezTo>
                  <a:cubicBezTo>
                    <a:pt x="51" y="247"/>
                    <a:pt x="50" y="251"/>
                    <a:pt x="48" y="251"/>
                  </a:cubicBezTo>
                  <a:cubicBezTo>
                    <a:pt x="47" y="254"/>
                    <a:pt x="47" y="257"/>
                    <a:pt x="47" y="259"/>
                  </a:cubicBezTo>
                  <a:cubicBezTo>
                    <a:pt x="47" y="260"/>
                    <a:pt x="47" y="262"/>
                    <a:pt x="47" y="263"/>
                  </a:cubicBezTo>
                  <a:cubicBezTo>
                    <a:pt x="47" y="263"/>
                    <a:pt x="47" y="263"/>
                    <a:pt x="46" y="263"/>
                  </a:cubicBezTo>
                  <a:cubicBezTo>
                    <a:pt x="48" y="263"/>
                    <a:pt x="50" y="263"/>
                    <a:pt x="52" y="263"/>
                  </a:cubicBezTo>
                  <a:cubicBezTo>
                    <a:pt x="54" y="263"/>
                    <a:pt x="54" y="262"/>
                    <a:pt x="55" y="262"/>
                  </a:cubicBezTo>
                  <a:cubicBezTo>
                    <a:pt x="56" y="261"/>
                    <a:pt x="56" y="261"/>
                    <a:pt x="57" y="260"/>
                  </a:cubicBezTo>
                  <a:cubicBezTo>
                    <a:pt x="58" y="259"/>
                    <a:pt x="57" y="259"/>
                    <a:pt x="59" y="259"/>
                  </a:cubicBezTo>
                  <a:cubicBezTo>
                    <a:pt x="62" y="258"/>
                    <a:pt x="65" y="259"/>
                    <a:pt x="68" y="259"/>
                  </a:cubicBezTo>
                  <a:cubicBezTo>
                    <a:pt x="69" y="258"/>
                    <a:pt x="71" y="258"/>
                    <a:pt x="72" y="257"/>
                  </a:cubicBezTo>
                  <a:cubicBezTo>
                    <a:pt x="74" y="257"/>
                    <a:pt x="74" y="256"/>
                    <a:pt x="75" y="255"/>
                  </a:cubicBezTo>
                  <a:cubicBezTo>
                    <a:pt x="76" y="254"/>
                    <a:pt x="78" y="254"/>
                    <a:pt x="79" y="253"/>
                  </a:cubicBezTo>
                  <a:cubicBezTo>
                    <a:pt x="79" y="253"/>
                    <a:pt x="79" y="252"/>
                    <a:pt x="80" y="252"/>
                  </a:cubicBezTo>
                  <a:cubicBezTo>
                    <a:pt x="80" y="251"/>
                    <a:pt x="81" y="251"/>
                    <a:pt x="81" y="251"/>
                  </a:cubicBezTo>
                  <a:cubicBezTo>
                    <a:pt x="82" y="250"/>
                    <a:pt x="83" y="248"/>
                    <a:pt x="84" y="246"/>
                  </a:cubicBezTo>
                  <a:cubicBezTo>
                    <a:pt x="84" y="245"/>
                    <a:pt x="84" y="244"/>
                    <a:pt x="84" y="243"/>
                  </a:cubicBezTo>
                  <a:cubicBezTo>
                    <a:pt x="84" y="243"/>
                    <a:pt x="85" y="242"/>
                    <a:pt x="85" y="242"/>
                  </a:cubicBezTo>
                  <a:cubicBezTo>
                    <a:pt x="85" y="240"/>
                    <a:pt x="85" y="239"/>
                    <a:pt x="85" y="238"/>
                  </a:cubicBezTo>
                  <a:cubicBezTo>
                    <a:pt x="86" y="237"/>
                    <a:pt x="86" y="237"/>
                    <a:pt x="87" y="236"/>
                  </a:cubicBezTo>
                  <a:cubicBezTo>
                    <a:pt x="88" y="235"/>
                    <a:pt x="89" y="233"/>
                    <a:pt x="91" y="232"/>
                  </a:cubicBezTo>
                  <a:cubicBezTo>
                    <a:pt x="92" y="231"/>
                    <a:pt x="94" y="231"/>
                    <a:pt x="95" y="230"/>
                  </a:cubicBezTo>
                  <a:cubicBezTo>
                    <a:pt x="97" y="229"/>
                    <a:pt x="97" y="226"/>
                    <a:pt x="97" y="225"/>
                  </a:cubicBezTo>
                  <a:cubicBezTo>
                    <a:pt x="98" y="223"/>
                    <a:pt x="97" y="222"/>
                    <a:pt x="99" y="221"/>
                  </a:cubicBezTo>
                  <a:cubicBezTo>
                    <a:pt x="100" y="219"/>
                    <a:pt x="103" y="218"/>
                    <a:pt x="105" y="217"/>
                  </a:cubicBezTo>
                  <a:cubicBezTo>
                    <a:pt x="106" y="216"/>
                    <a:pt x="108" y="214"/>
                    <a:pt x="109" y="213"/>
                  </a:cubicBezTo>
                  <a:cubicBezTo>
                    <a:pt x="110" y="212"/>
                    <a:pt x="111" y="212"/>
                    <a:pt x="112" y="212"/>
                  </a:cubicBezTo>
                  <a:cubicBezTo>
                    <a:pt x="113" y="212"/>
                    <a:pt x="113" y="212"/>
                    <a:pt x="114" y="211"/>
                  </a:cubicBezTo>
                  <a:cubicBezTo>
                    <a:pt x="116" y="210"/>
                    <a:pt x="117" y="210"/>
                    <a:pt x="119" y="209"/>
                  </a:cubicBezTo>
                  <a:cubicBezTo>
                    <a:pt x="119" y="206"/>
                    <a:pt x="126" y="209"/>
                    <a:pt x="128" y="210"/>
                  </a:cubicBezTo>
                  <a:cubicBezTo>
                    <a:pt x="132" y="213"/>
                    <a:pt x="136" y="215"/>
                    <a:pt x="140" y="218"/>
                  </a:cubicBezTo>
                  <a:cubicBezTo>
                    <a:pt x="141" y="218"/>
                    <a:pt x="143" y="218"/>
                    <a:pt x="142" y="220"/>
                  </a:cubicBezTo>
                  <a:cubicBezTo>
                    <a:pt x="143" y="220"/>
                    <a:pt x="143" y="221"/>
                    <a:pt x="143" y="221"/>
                  </a:cubicBezTo>
                  <a:cubicBezTo>
                    <a:pt x="145" y="221"/>
                    <a:pt x="146" y="221"/>
                    <a:pt x="148" y="222"/>
                  </a:cubicBezTo>
                  <a:cubicBezTo>
                    <a:pt x="148" y="222"/>
                    <a:pt x="149" y="222"/>
                    <a:pt x="149" y="223"/>
                  </a:cubicBezTo>
                  <a:cubicBezTo>
                    <a:pt x="150" y="223"/>
                    <a:pt x="151" y="222"/>
                    <a:pt x="152" y="223"/>
                  </a:cubicBezTo>
                  <a:cubicBezTo>
                    <a:pt x="152" y="223"/>
                    <a:pt x="153" y="224"/>
                    <a:pt x="154" y="224"/>
                  </a:cubicBezTo>
                  <a:cubicBezTo>
                    <a:pt x="154" y="225"/>
                    <a:pt x="154" y="225"/>
                    <a:pt x="156" y="225"/>
                  </a:cubicBezTo>
                  <a:cubicBezTo>
                    <a:pt x="157" y="226"/>
                    <a:pt x="158" y="226"/>
                    <a:pt x="159" y="227"/>
                  </a:cubicBezTo>
                  <a:cubicBezTo>
                    <a:pt x="160" y="228"/>
                    <a:pt x="160" y="228"/>
                    <a:pt x="161" y="229"/>
                  </a:cubicBezTo>
                  <a:cubicBezTo>
                    <a:pt x="161" y="229"/>
                    <a:pt x="161" y="229"/>
                    <a:pt x="162" y="229"/>
                  </a:cubicBezTo>
                  <a:cubicBezTo>
                    <a:pt x="162" y="229"/>
                    <a:pt x="163" y="230"/>
                    <a:pt x="163" y="230"/>
                  </a:cubicBezTo>
                  <a:cubicBezTo>
                    <a:pt x="165" y="231"/>
                    <a:pt x="166" y="234"/>
                    <a:pt x="168" y="236"/>
                  </a:cubicBezTo>
                  <a:cubicBezTo>
                    <a:pt x="168" y="236"/>
                    <a:pt x="168" y="236"/>
                    <a:pt x="168" y="236"/>
                  </a:cubicBezTo>
                  <a:cubicBezTo>
                    <a:pt x="169" y="237"/>
                    <a:pt x="169" y="237"/>
                    <a:pt x="169" y="237"/>
                  </a:cubicBezTo>
                  <a:cubicBezTo>
                    <a:pt x="170" y="238"/>
                    <a:pt x="171" y="238"/>
                    <a:pt x="171" y="238"/>
                  </a:cubicBezTo>
                  <a:cubicBezTo>
                    <a:pt x="172" y="239"/>
                    <a:pt x="172" y="239"/>
                    <a:pt x="173" y="240"/>
                  </a:cubicBezTo>
                  <a:cubicBezTo>
                    <a:pt x="174" y="240"/>
                    <a:pt x="175" y="240"/>
                    <a:pt x="176" y="240"/>
                  </a:cubicBezTo>
                  <a:cubicBezTo>
                    <a:pt x="177" y="240"/>
                    <a:pt x="178" y="240"/>
                    <a:pt x="179" y="240"/>
                  </a:cubicBezTo>
                  <a:cubicBezTo>
                    <a:pt x="180" y="240"/>
                    <a:pt x="181" y="240"/>
                    <a:pt x="181" y="240"/>
                  </a:cubicBezTo>
                  <a:cubicBezTo>
                    <a:pt x="183" y="241"/>
                    <a:pt x="184" y="242"/>
                    <a:pt x="185" y="243"/>
                  </a:cubicBezTo>
                  <a:cubicBezTo>
                    <a:pt x="186" y="243"/>
                    <a:pt x="187" y="244"/>
                    <a:pt x="188" y="245"/>
                  </a:cubicBezTo>
                  <a:cubicBezTo>
                    <a:pt x="188" y="245"/>
                    <a:pt x="188" y="247"/>
                    <a:pt x="188" y="248"/>
                  </a:cubicBezTo>
                  <a:cubicBezTo>
                    <a:pt x="188" y="250"/>
                    <a:pt x="188" y="251"/>
                    <a:pt x="189" y="253"/>
                  </a:cubicBezTo>
                  <a:cubicBezTo>
                    <a:pt x="189" y="254"/>
                    <a:pt x="189" y="256"/>
                    <a:pt x="190" y="257"/>
                  </a:cubicBezTo>
                  <a:cubicBezTo>
                    <a:pt x="190" y="258"/>
                    <a:pt x="191" y="258"/>
                    <a:pt x="191" y="259"/>
                  </a:cubicBezTo>
                  <a:cubicBezTo>
                    <a:pt x="191" y="260"/>
                    <a:pt x="191" y="262"/>
                    <a:pt x="191" y="263"/>
                  </a:cubicBezTo>
                  <a:cubicBezTo>
                    <a:pt x="191" y="263"/>
                    <a:pt x="191" y="264"/>
                    <a:pt x="191" y="265"/>
                  </a:cubicBezTo>
                  <a:cubicBezTo>
                    <a:pt x="191" y="265"/>
                    <a:pt x="190" y="266"/>
                    <a:pt x="190" y="266"/>
                  </a:cubicBezTo>
                  <a:cubicBezTo>
                    <a:pt x="190" y="268"/>
                    <a:pt x="190" y="270"/>
                    <a:pt x="190" y="272"/>
                  </a:cubicBezTo>
                  <a:cubicBezTo>
                    <a:pt x="190" y="274"/>
                    <a:pt x="190" y="277"/>
                    <a:pt x="191" y="278"/>
                  </a:cubicBezTo>
                  <a:cubicBezTo>
                    <a:pt x="192" y="280"/>
                    <a:pt x="193" y="281"/>
                    <a:pt x="193" y="282"/>
                  </a:cubicBezTo>
                  <a:cubicBezTo>
                    <a:pt x="194" y="283"/>
                    <a:pt x="194" y="284"/>
                    <a:pt x="194" y="285"/>
                  </a:cubicBezTo>
                  <a:cubicBezTo>
                    <a:pt x="195" y="287"/>
                    <a:pt x="195" y="289"/>
                    <a:pt x="197" y="290"/>
                  </a:cubicBezTo>
                  <a:cubicBezTo>
                    <a:pt x="197" y="292"/>
                    <a:pt x="199" y="293"/>
                    <a:pt x="199" y="294"/>
                  </a:cubicBezTo>
                  <a:cubicBezTo>
                    <a:pt x="200" y="295"/>
                    <a:pt x="200" y="296"/>
                    <a:pt x="200" y="298"/>
                  </a:cubicBezTo>
                  <a:cubicBezTo>
                    <a:pt x="200" y="299"/>
                    <a:pt x="199" y="301"/>
                    <a:pt x="199" y="303"/>
                  </a:cubicBezTo>
                  <a:cubicBezTo>
                    <a:pt x="199" y="304"/>
                    <a:pt x="199" y="304"/>
                    <a:pt x="199" y="305"/>
                  </a:cubicBezTo>
                  <a:cubicBezTo>
                    <a:pt x="199" y="308"/>
                    <a:pt x="199" y="312"/>
                    <a:pt x="199" y="314"/>
                  </a:cubicBezTo>
                  <a:cubicBezTo>
                    <a:pt x="198" y="315"/>
                    <a:pt x="198" y="316"/>
                    <a:pt x="197" y="316"/>
                  </a:cubicBezTo>
                  <a:cubicBezTo>
                    <a:pt x="196" y="317"/>
                    <a:pt x="196" y="317"/>
                    <a:pt x="196" y="319"/>
                  </a:cubicBezTo>
                  <a:cubicBezTo>
                    <a:pt x="196" y="320"/>
                    <a:pt x="197" y="322"/>
                    <a:pt x="197" y="323"/>
                  </a:cubicBezTo>
                  <a:cubicBezTo>
                    <a:pt x="198" y="326"/>
                    <a:pt x="199" y="324"/>
                    <a:pt x="200" y="323"/>
                  </a:cubicBezTo>
                  <a:cubicBezTo>
                    <a:pt x="201" y="322"/>
                    <a:pt x="203" y="322"/>
                    <a:pt x="205" y="323"/>
                  </a:cubicBezTo>
                  <a:cubicBezTo>
                    <a:pt x="207" y="323"/>
                    <a:pt x="209" y="322"/>
                    <a:pt x="209" y="324"/>
                  </a:cubicBezTo>
                  <a:cubicBezTo>
                    <a:pt x="210" y="325"/>
                    <a:pt x="209" y="325"/>
                    <a:pt x="210" y="326"/>
                  </a:cubicBezTo>
                  <a:cubicBezTo>
                    <a:pt x="210" y="327"/>
                    <a:pt x="211" y="327"/>
                    <a:pt x="211" y="327"/>
                  </a:cubicBezTo>
                  <a:cubicBezTo>
                    <a:pt x="212" y="328"/>
                    <a:pt x="211" y="330"/>
                    <a:pt x="211" y="331"/>
                  </a:cubicBezTo>
                  <a:cubicBezTo>
                    <a:pt x="211" y="333"/>
                    <a:pt x="211" y="335"/>
                    <a:pt x="213" y="336"/>
                  </a:cubicBezTo>
                  <a:cubicBezTo>
                    <a:pt x="215" y="337"/>
                    <a:pt x="220" y="336"/>
                    <a:pt x="221" y="338"/>
                  </a:cubicBezTo>
                  <a:cubicBezTo>
                    <a:pt x="221" y="338"/>
                    <a:pt x="222" y="340"/>
                    <a:pt x="222" y="341"/>
                  </a:cubicBezTo>
                  <a:cubicBezTo>
                    <a:pt x="222" y="342"/>
                    <a:pt x="221" y="343"/>
                    <a:pt x="221" y="344"/>
                  </a:cubicBezTo>
                  <a:cubicBezTo>
                    <a:pt x="222" y="346"/>
                    <a:pt x="223" y="345"/>
                    <a:pt x="224" y="346"/>
                  </a:cubicBezTo>
                  <a:cubicBezTo>
                    <a:pt x="226" y="346"/>
                    <a:pt x="227" y="346"/>
                    <a:pt x="228" y="347"/>
                  </a:cubicBezTo>
                  <a:cubicBezTo>
                    <a:pt x="228" y="348"/>
                    <a:pt x="229" y="349"/>
                    <a:pt x="229" y="350"/>
                  </a:cubicBezTo>
                  <a:cubicBezTo>
                    <a:pt x="230" y="351"/>
                    <a:pt x="229" y="353"/>
                    <a:pt x="230" y="354"/>
                  </a:cubicBezTo>
                  <a:cubicBezTo>
                    <a:pt x="230" y="354"/>
                    <a:pt x="231" y="354"/>
                    <a:pt x="231" y="355"/>
                  </a:cubicBezTo>
                  <a:cubicBezTo>
                    <a:pt x="231" y="355"/>
                    <a:pt x="231" y="356"/>
                    <a:pt x="232" y="356"/>
                  </a:cubicBezTo>
                  <a:cubicBezTo>
                    <a:pt x="232" y="357"/>
                    <a:pt x="233" y="357"/>
                    <a:pt x="233" y="358"/>
                  </a:cubicBezTo>
                  <a:cubicBezTo>
                    <a:pt x="233" y="360"/>
                    <a:pt x="233" y="360"/>
                    <a:pt x="234" y="361"/>
                  </a:cubicBezTo>
                  <a:cubicBezTo>
                    <a:pt x="235" y="362"/>
                    <a:pt x="236" y="363"/>
                    <a:pt x="237" y="363"/>
                  </a:cubicBezTo>
                  <a:cubicBezTo>
                    <a:pt x="239" y="364"/>
                    <a:pt x="240" y="367"/>
                    <a:pt x="243" y="367"/>
                  </a:cubicBezTo>
                  <a:cubicBezTo>
                    <a:pt x="244" y="367"/>
                    <a:pt x="246" y="367"/>
                    <a:pt x="247" y="368"/>
                  </a:cubicBezTo>
                  <a:cubicBezTo>
                    <a:pt x="247" y="369"/>
                    <a:pt x="247" y="370"/>
                    <a:pt x="248" y="371"/>
                  </a:cubicBezTo>
                  <a:cubicBezTo>
                    <a:pt x="249" y="371"/>
                    <a:pt x="250" y="372"/>
                    <a:pt x="251" y="372"/>
                  </a:cubicBezTo>
                  <a:cubicBezTo>
                    <a:pt x="251" y="373"/>
                    <a:pt x="251" y="373"/>
                    <a:pt x="252" y="373"/>
                  </a:cubicBezTo>
                  <a:cubicBezTo>
                    <a:pt x="252" y="373"/>
                    <a:pt x="252" y="373"/>
                    <a:pt x="252" y="373"/>
                  </a:cubicBezTo>
                  <a:cubicBezTo>
                    <a:pt x="252" y="374"/>
                    <a:pt x="252" y="374"/>
                    <a:pt x="253" y="375"/>
                  </a:cubicBezTo>
                  <a:cubicBezTo>
                    <a:pt x="253" y="375"/>
                    <a:pt x="253" y="375"/>
                    <a:pt x="253" y="376"/>
                  </a:cubicBezTo>
                  <a:cubicBezTo>
                    <a:pt x="254" y="378"/>
                    <a:pt x="255" y="381"/>
                    <a:pt x="255" y="384"/>
                  </a:cubicBezTo>
                  <a:cubicBezTo>
                    <a:pt x="255" y="386"/>
                    <a:pt x="256" y="386"/>
                    <a:pt x="257" y="387"/>
                  </a:cubicBezTo>
                  <a:cubicBezTo>
                    <a:pt x="258" y="389"/>
                    <a:pt x="260" y="392"/>
                    <a:pt x="260" y="394"/>
                  </a:cubicBezTo>
                  <a:cubicBezTo>
                    <a:pt x="262" y="395"/>
                    <a:pt x="263" y="397"/>
                    <a:pt x="264" y="398"/>
                  </a:cubicBezTo>
                  <a:cubicBezTo>
                    <a:pt x="265" y="398"/>
                    <a:pt x="267" y="398"/>
                    <a:pt x="268" y="399"/>
                  </a:cubicBezTo>
                  <a:cubicBezTo>
                    <a:pt x="269" y="400"/>
                    <a:pt x="270" y="401"/>
                    <a:pt x="271" y="402"/>
                  </a:cubicBezTo>
                  <a:cubicBezTo>
                    <a:pt x="272" y="403"/>
                    <a:pt x="274" y="404"/>
                    <a:pt x="276" y="405"/>
                  </a:cubicBezTo>
                  <a:cubicBezTo>
                    <a:pt x="276" y="406"/>
                    <a:pt x="277" y="407"/>
                    <a:pt x="277" y="408"/>
                  </a:cubicBezTo>
                  <a:cubicBezTo>
                    <a:pt x="278" y="408"/>
                    <a:pt x="279" y="409"/>
                    <a:pt x="280" y="410"/>
                  </a:cubicBezTo>
                  <a:cubicBezTo>
                    <a:pt x="281" y="413"/>
                    <a:pt x="280" y="416"/>
                    <a:pt x="281" y="419"/>
                  </a:cubicBezTo>
                  <a:cubicBezTo>
                    <a:pt x="282" y="419"/>
                    <a:pt x="282" y="419"/>
                    <a:pt x="283" y="420"/>
                  </a:cubicBezTo>
                  <a:cubicBezTo>
                    <a:pt x="283" y="420"/>
                    <a:pt x="284" y="420"/>
                    <a:pt x="284" y="420"/>
                  </a:cubicBezTo>
                  <a:cubicBezTo>
                    <a:pt x="285" y="421"/>
                    <a:pt x="286" y="422"/>
                    <a:pt x="287" y="423"/>
                  </a:cubicBezTo>
                  <a:cubicBezTo>
                    <a:pt x="287" y="424"/>
                    <a:pt x="287" y="424"/>
                    <a:pt x="288" y="424"/>
                  </a:cubicBezTo>
                  <a:cubicBezTo>
                    <a:pt x="288" y="425"/>
                    <a:pt x="289" y="426"/>
                    <a:pt x="289" y="426"/>
                  </a:cubicBezTo>
                  <a:cubicBezTo>
                    <a:pt x="290" y="427"/>
                    <a:pt x="291" y="427"/>
                    <a:pt x="292" y="428"/>
                  </a:cubicBezTo>
                  <a:cubicBezTo>
                    <a:pt x="293" y="430"/>
                    <a:pt x="294" y="432"/>
                    <a:pt x="295" y="433"/>
                  </a:cubicBezTo>
                  <a:cubicBezTo>
                    <a:pt x="296" y="434"/>
                    <a:pt x="297" y="434"/>
                    <a:pt x="297" y="435"/>
                  </a:cubicBezTo>
                  <a:cubicBezTo>
                    <a:pt x="297" y="436"/>
                    <a:pt x="297" y="437"/>
                    <a:pt x="297" y="438"/>
                  </a:cubicBezTo>
                  <a:cubicBezTo>
                    <a:pt x="298" y="440"/>
                    <a:pt x="298" y="439"/>
                    <a:pt x="301" y="440"/>
                  </a:cubicBezTo>
                  <a:cubicBezTo>
                    <a:pt x="302" y="440"/>
                    <a:pt x="303" y="441"/>
                    <a:pt x="304" y="442"/>
                  </a:cubicBezTo>
                  <a:cubicBezTo>
                    <a:pt x="304" y="442"/>
                    <a:pt x="305" y="445"/>
                    <a:pt x="306" y="443"/>
                  </a:cubicBezTo>
                  <a:cubicBezTo>
                    <a:pt x="306" y="443"/>
                    <a:pt x="306" y="444"/>
                    <a:pt x="306" y="444"/>
                  </a:cubicBezTo>
                  <a:cubicBezTo>
                    <a:pt x="308" y="444"/>
                    <a:pt x="310" y="444"/>
                    <a:pt x="311" y="444"/>
                  </a:cubicBezTo>
                  <a:cubicBezTo>
                    <a:pt x="313" y="445"/>
                    <a:pt x="312" y="447"/>
                    <a:pt x="313" y="448"/>
                  </a:cubicBezTo>
                  <a:cubicBezTo>
                    <a:pt x="313" y="449"/>
                    <a:pt x="314" y="450"/>
                    <a:pt x="315" y="450"/>
                  </a:cubicBezTo>
                  <a:cubicBezTo>
                    <a:pt x="316" y="451"/>
                    <a:pt x="317" y="451"/>
                    <a:pt x="318" y="452"/>
                  </a:cubicBezTo>
                  <a:cubicBezTo>
                    <a:pt x="319" y="454"/>
                    <a:pt x="317" y="460"/>
                    <a:pt x="319" y="461"/>
                  </a:cubicBezTo>
                  <a:cubicBezTo>
                    <a:pt x="322" y="457"/>
                    <a:pt x="327" y="457"/>
                    <a:pt x="332" y="457"/>
                  </a:cubicBezTo>
                  <a:cubicBezTo>
                    <a:pt x="333" y="457"/>
                    <a:pt x="334" y="456"/>
                    <a:pt x="336" y="456"/>
                  </a:cubicBezTo>
                  <a:cubicBezTo>
                    <a:pt x="337" y="456"/>
                    <a:pt x="338" y="456"/>
                    <a:pt x="339" y="456"/>
                  </a:cubicBezTo>
                  <a:cubicBezTo>
                    <a:pt x="341" y="456"/>
                    <a:pt x="343" y="458"/>
                    <a:pt x="345" y="460"/>
                  </a:cubicBezTo>
                  <a:cubicBezTo>
                    <a:pt x="347" y="462"/>
                    <a:pt x="348" y="463"/>
                    <a:pt x="350" y="462"/>
                  </a:cubicBezTo>
                  <a:cubicBezTo>
                    <a:pt x="351" y="462"/>
                    <a:pt x="352" y="462"/>
                    <a:pt x="353" y="462"/>
                  </a:cubicBezTo>
                  <a:cubicBezTo>
                    <a:pt x="353" y="461"/>
                    <a:pt x="354" y="460"/>
                    <a:pt x="354" y="460"/>
                  </a:cubicBezTo>
                  <a:cubicBezTo>
                    <a:pt x="355" y="460"/>
                    <a:pt x="357" y="460"/>
                    <a:pt x="358" y="460"/>
                  </a:cubicBezTo>
                  <a:cubicBezTo>
                    <a:pt x="359" y="461"/>
                    <a:pt x="359" y="463"/>
                    <a:pt x="360" y="464"/>
                  </a:cubicBezTo>
                  <a:cubicBezTo>
                    <a:pt x="360" y="465"/>
                    <a:pt x="361" y="466"/>
                    <a:pt x="361" y="467"/>
                  </a:cubicBezTo>
                  <a:cubicBezTo>
                    <a:pt x="362" y="469"/>
                    <a:pt x="363" y="470"/>
                    <a:pt x="363" y="473"/>
                  </a:cubicBezTo>
                  <a:cubicBezTo>
                    <a:pt x="364" y="474"/>
                    <a:pt x="364" y="475"/>
                    <a:pt x="365" y="477"/>
                  </a:cubicBezTo>
                  <a:cubicBezTo>
                    <a:pt x="365" y="477"/>
                    <a:pt x="366" y="478"/>
                    <a:pt x="366" y="479"/>
                  </a:cubicBezTo>
                  <a:cubicBezTo>
                    <a:pt x="366" y="480"/>
                    <a:pt x="365" y="481"/>
                    <a:pt x="365" y="482"/>
                  </a:cubicBezTo>
                  <a:cubicBezTo>
                    <a:pt x="365" y="483"/>
                    <a:pt x="365" y="484"/>
                    <a:pt x="365" y="484"/>
                  </a:cubicBezTo>
                  <a:cubicBezTo>
                    <a:pt x="367" y="485"/>
                    <a:pt x="368" y="485"/>
                    <a:pt x="370" y="486"/>
                  </a:cubicBezTo>
                  <a:cubicBezTo>
                    <a:pt x="370" y="486"/>
                    <a:pt x="371" y="486"/>
                    <a:pt x="371" y="487"/>
                  </a:cubicBezTo>
                  <a:cubicBezTo>
                    <a:pt x="373" y="489"/>
                    <a:pt x="372" y="491"/>
                    <a:pt x="373" y="493"/>
                  </a:cubicBezTo>
                  <a:cubicBezTo>
                    <a:pt x="374" y="494"/>
                    <a:pt x="375" y="495"/>
                    <a:pt x="377" y="494"/>
                  </a:cubicBezTo>
                  <a:cubicBezTo>
                    <a:pt x="378" y="494"/>
                    <a:pt x="378" y="493"/>
                    <a:pt x="379" y="492"/>
                  </a:cubicBezTo>
                  <a:cubicBezTo>
                    <a:pt x="380" y="491"/>
                    <a:pt x="382" y="492"/>
                    <a:pt x="384" y="492"/>
                  </a:cubicBezTo>
                  <a:cubicBezTo>
                    <a:pt x="385" y="493"/>
                    <a:pt x="386" y="492"/>
                    <a:pt x="387" y="492"/>
                  </a:cubicBezTo>
                  <a:cubicBezTo>
                    <a:pt x="393" y="490"/>
                    <a:pt x="394" y="495"/>
                    <a:pt x="394" y="499"/>
                  </a:cubicBezTo>
                  <a:cubicBezTo>
                    <a:pt x="394" y="502"/>
                    <a:pt x="394" y="504"/>
                    <a:pt x="391" y="505"/>
                  </a:cubicBezTo>
                  <a:cubicBezTo>
                    <a:pt x="391" y="505"/>
                    <a:pt x="391" y="505"/>
                    <a:pt x="390" y="505"/>
                  </a:cubicBezTo>
                  <a:cubicBezTo>
                    <a:pt x="389" y="505"/>
                    <a:pt x="389" y="506"/>
                    <a:pt x="388" y="507"/>
                  </a:cubicBezTo>
                  <a:cubicBezTo>
                    <a:pt x="388" y="507"/>
                    <a:pt x="386" y="508"/>
                    <a:pt x="386" y="509"/>
                  </a:cubicBezTo>
                  <a:cubicBezTo>
                    <a:pt x="386" y="509"/>
                    <a:pt x="387" y="509"/>
                    <a:pt x="388" y="509"/>
                  </a:cubicBezTo>
                  <a:cubicBezTo>
                    <a:pt x="388" y="510"/>
                    <a:pt x="388" y="510"/>
                    <a:pt x="388" y="510"/>
                  </a:cubicBezTo>
                  <a:cubicBezTo>
                    <a:pt x="389" y="510"/>
                    <a:pt x="389" y="512"/>
                    <a:pt x="389" y="512"/>
                  </a:cubicBezTo>
                  <a:cubicBezTo>
                    <a:pt x="390" y="513"/>
                    <a:pt x="392" y="513"/>
                    <a:pt x="393" y="514"/>
                  </a:cubicBezTo>
                  <a:cubicBezTo>
                    <a:pt x="394" y="514"/>
                    <a:pt x="396" y="515"/>
                    <a:pt x="398" y="515"/>
                  </a:cubicBezTo>
                  <a:cubicBezTo>
                    <a:pt x="399" y="515"/>
                    <a:pt x="400" y="512"/>
                    <a:pt x="401" y="512"/>
                  </a:cubicBezTo>
                  <a:cubicBezTo>
                    <a:pt x="402" y="511"/>
                    <a:pt x="402" y="511"/>
                    <a:pt x="403" y="511"/>
                  </a:cubicBezTo>
                  <a:cubicBezTo>
                    <a:pt x="404" y="511"/>
                    <a:pt x="406" y="511"/>
                    <a:pt x="407" y="512"/>
                  </a:cubicBezTo>
                  <a:cubicBezTo>
                    <a:pt x="408" y="512"/>
                    <a:pt x="408" y="512"/>
                    <a:pt x="408" y="513"/>
                  </a:cubicBezTo>
                  <a:cubicBezTo>
                    <a:pt x="409" y="513"/>
                    <a:pt x="409" y="513"/>
                    <a:pt x="409" y="513"/>
                  </a:cubicBezTo>
                  <a:cubicBezTo>
                    <a:pt x="410" y="513"/>
                    <a:pt x="411" y="514"/>
                    <a:pt x="412" y="514"/>
                  </a:cubicBezTo>
                  <a:cubicBezTo>
                    <a:pt x="414" y="514"/>
                    <a:pt x="415" y="514"/>
                    <a:pt x="417" y="516"/>
                  </a:cubicBezTo>
                  <a:cubicBezTo>
                    <a:pt x="418" y="517"/>
                    <a:pt x="418" y="518"/>
                    <a:pt x="418" y="520"/>
                  </a:cubicBezTo>
                  <a:cubicBezTo>
                    <a:pt x="418" y="521"/>
                    <a:pt x="418" y="522"/>
                    <a:pt x="419" y="522"/>
                  </a:cubicBezTo>
                  <a:cubicBezTo>
                    <a:pt x="419" y="523"/>
                    <a:pt x="419" y="524"/>
                    <a:pt x="420" y="525"/>
                  </a:cubicBezTo>
                  <a:cubicBezTo>
                    <a:pt x="420" y="525"/>
                    <a:pt x="421" y="525"/>
                    <a:pt x="422" y="526"/>
                  </a:cubicBezTo>
                  <a:cubicBezTo>
                    <a:pt x="423" y="526"/>
                    <a:pt x="422" y="528"/>
                    <a:pt x="422" y="529"/>
                  </a:cubicBezTo>
                  <a:cubicBezTo>
                    <a:pt x="422" y="531"/>
                    <a:pt x="422" y="532"/>
                    <a:pt x="422" y="534"/>
                  </a:cubicBezTo>
                  <a:cubicBezTo>
                    <a:pt x="421" y="537"/>
                    <a:pt x="419" y="538"/>
                    <a:pt x="416" y="538"/>
                  </a:cubicBezTo>
                  <a:cubicBezTo>
                    <a:pt x="416" y="540"/>
                    <a:pt x="418" y="541"/>
                    <a:pt x="419" y="542"/>
                  </a:cubicBezTo>
                  <a:cubicBezTo>
                    <a:pt x="422" y="543"/>
                    <a:pt x="425" y="545"/>
                    <a:pt x="427" y="547"/>
                  </a:cubicBezTo>
                  <a:cubicBezTo>
                    <a:pt x="428" y="547"/>
                    <a:pt x="429" y="547"/>
                    <a:pt x="430" y="548"/>
                  </a:cubicBezTo>
                  <a:cubicBezTo>
                    <a:pt x="431" y="548"/>
                    <a:pt x="432" y="549"/>
                    <a:pt x="432" y="550"/>
                  </a:cubicBezTo>
                  <a:cubicBezTo>
                    <a:pt x="433" y="550"/>
                    <a:pt x="434" y="551"/>
                    <a:pt x="435" y="551"/>
                  </a:cubicBezTo>
                  <a:cubicBezTo>
                    <a:pt x="436" y="552"/>
                    <a:pt x="436" y="554"/>
                    <a:pt x="437" y="555"/>
                  </a:cubicBezTo>
                  <a:cubicBezTo>
                    <a:pt x="438" y="556"/>
                    <a:pt x="439" y="557"/>
                    <a:pt x="441" y="557"/>
                  </a:cubicBezTo>
                  <a:cubicBezTo>
                    <a:pt x="441" y="557"/>
                    <a:pt x="444" y="557"/>
                    <a:pt x="444" y="556"/>
                  </a:cubicBezTo>
                  <a:cubicBezTo>
                    <a:pt x="445" y="556"/>
                    <a:pt x="445" y="556"/>
                    <a:pt x="445" y="555"/>
                  </a:cubicBezTo>
                  <a:cubicBezTo>
                    <a:pt x="446" y="555"/>
                    <a:pt x="446" y="554"/>
                    <a:pt x="447" y="553"/>
                  </a:cubicBezTo>
                  <a:cubicBezTo>
                    <a:pt x="447" y="553"/>
                    <a:pt x="447" y="552"/>
                    <a:pt x="447" y="551"/>
                  </a:cubicBezTo>
                  <a:cubicBezTo>
                    <a:pt x="447" y="550"/>
                    <a:pt x="448" y="548"/>
                    <a:pt x="449" y="548"/>
                  </a:cubicBezTo>
                  <a:cubicBezTo>
                    <a:pt x="453" y="553"/>
                    <a:pt x="457" y="558"/>
                    <a:pt x="460" y="564"/>
                  </a:cubicBezTo>
                  <a:cubicBezTo>
                    <a:pt x="461" y="566"/>
                    <a:pt x="462" y="568"/>
                    <a:pt x="462" y="570"/>
                  </a:cubicBezTo>
                  <a:cubicBezTo>
                    <a:pt x="462" y="573"/>
                    <a:pt x="463" y="577"/>
                    <a:pt x="464" y="580"/>
                  </a:cubicBezTo>
                  <a:cubicBezTo>
                    <a:pt x="464" y="583"/>
                    <a:pt x="464" y="587"/>
                    <a:pt x="466" y="589"/>
                  </a:cubicBezTo>
                  <a:cubicBezTo>
                    <a:pt x="467" y="590"/>
                    <a:pt x="468" y="591"/>
                    <a:pt x="469" y="593"/>
                  </a:cubicBezTo>
                  <a:cubicBezTo>
                    <a:pt x="469" y="594"/>
                    <a:pt x="469" y="595"/>
                    <a:pt x="469" y="596"/>
                  </a:cubicBezTo>
                  <a:cubicBezTo>
                    <a:pt x="470" y="597"/>
                    <a:pt x="470" y="599"/>
                    <a:pt x="471" y="600"/>
                  </a:cubicBezTo>
                  <a:cubicBezTo>
                    <a:pt x="471" y="602"/>
                    <a:pt x="471" y="603"/>
                    <a:pt x="472" y="605"/>
                  </a:cubicBezTo>
                  <a:cubicBezTo>
                    <a:pt x="472" y="606"/>
                    <a:pt x="473" y="607"/>
                    <a:pt x="473" y="608"/>
                  </a:cubicBezTo>
                  <a:cubicBezTo>
                    <a:pt x="473" y="611"/>
                    <a:pt x="473" y="614"/>
                    <a:pt x="474" y="616"/>
                  </a:cubicBezTo>
                  <a:cubicBezTo>
                    <a:pt x="474" y="617"/>
                    <a:pt x="474" y="617"/>
                    <a:pt x="474" y="617"/>
                  </a:cubicBezTo>
                  <a:cubicBezTo>
                    <a:pt x="474" y="618"/>
                    <a:pt x="474" y="619"/>
                    <a:pt x="474" y="619"/>
                  </a:cubicBezTo>
                  <a:cubicBezTo>
                    <a:pt x="474" y="620"/>
                    <a:pt x="474" y="621"/>
                    <a:pt x="474" y="622"/>
                  </a:cubicBezTo>
                  <a:cubicBezTo>
                    <a:pt x="475" y="624"/>
                    <a:pt x="475" y="625"/>
                    <a:pt x="475" y="628"/>
                  </a:cubicBezTo>
                  <a:cubicBezTo>
                    <a:pt x="475" y="630"/>
                    <a:pt x="475" y="634"/>
                    <a:pt x="475" y="637"/>
                  </a:cubicBezTo>
                  <a:cubicBezTo>
                    <a:pt x="476" y="641"/>
                    <a:pt x="481" y="643"/>
                    <a:pt x="482" y="647"/>
                  </a:cubicBezTo>
                  <a:cubicBezTo>
                    <a:pt x="482" y="648"/>
                    <a:pt x="482" y="650"/>
                    <a:pt x="481" y="652"/>
                  </a:cubicBezTo>
                  <a:cubicBezTo>
                    <a:pt x="481" y="653"/>
                    <a:pt x="481" y="655"/>
                    <a:pt x="480" y="657"/>
                  </a:cubicBezTo>
                  <a:cubicBezTo>
                    <a:pt x="479" y="658"/>
                    <a:pt x="479" y="659"/>
                    <a:pt x="477" y="659"/>
                  </a:cubicBezTo>
                  <a:cubicBezTo>
                    <a:pt x="474" y="659"/>
                    <a:pt x="472" y="659"/>
                    <a:pt x="470" y="660"/>
                  </a:cubicBezTo>
                  <a:cubicBezTo>
                    <a:pt x="468" y="660"/>
                    <a:pt x="466" y="661"/>
                    <a:pt x="464" y="662"/>
                  </a:cubicBezTo>
                  <a:cubicBezTo>
                    <a:pt x="462" y="662"/>
                    <a:pt x="461" y="663"/>
                    <a:pt x="460" y="663"/>
                  </a:cubicBezTo>
                  <a:cubicBezTo>
                    <a:pt x="459" y="668"/>
                    <a:pt x="464" y="670"/>
                    <a:pt x="464" y="675"/>
                  </a:cubicBezTo>
                  <a:cubicBezTo>
                    <a:pt x="465" y="677"/>
                    <a:pt x="463" y="678"/>
                    <a:pt x="463" y="680"/>
                  </a:cubicBezTo>
                  <a:cubicBezTo>
                    <a:pt x="461" y="682"/>
                    <a:pt x="461" y="685"/>
                    <a:pt x="460" y="688"/>
                  </a:cubicBezTo>
                  <a:cubicBezTo>
                    <a:pt x="459" y="689"/>
                    <a:pt x="459" y="690"/>
                    <a:pt x="458" y="691"/>
                  </a:cubicBezTo>
                  <a:cubicBezTo>
                    <a:pt x="456" y="692"/>
                    <a:pt x="455" y="692"/>
                    <a:pt x="454" y="693"/>
                  </a:cubicBezTo>
                  <a:cubicBezTo>
                    <a:pt x="454" y="693"/>
                    <a:pt x="453" y="693"/>
                    <a:pt x="453" y="694"/>
                  </a:cubicBezTo>
                  <a:cubicBezTo>
                    <a:pt x="452" y="694"/>
                    <a:pt x="452" y="694"/>
                    <a:pt x="452" y="694"/>
                  </a:cubicBezTo>
                  <a:cubicBezTo>
                    <a:pt x="451" y="694"/>
                    <a:pt x="451" y="695"/>
                    <a:pt x="451" y="695"/>
                  </a:cubicBezTo>
                  <a:cubicBezTo>
                    <a:pt x="450" y="696"/>
                    <a:pt x="449" y="697"/>
                    <a:pt x="447" y="698"/>
                  </a:cubicBezTo>
                  <a:cubicBezTo>
                    <a:pt x="446" y="699"/>
                    <a:pt x="446" y="699"/>
                    <a:pt x="445" y="700"/>
                  </a:cubicBezTo>
                  <a:cubicBezTo>
                    <a:pt x="445" y="701"/>
                    <a:pt x="445" y="702"/>
                    <a:pt x="445" y="703"/>
                  </a:cubicBezTo>
                  <a:cubicBezTo>
                    <a:pt x="445" y="704"/>
                    <a:pt x="446" y="707"/>
                    <a:pt x="445" y="708"/>
                  </a:cubicBezTo>
                  <a:cubicBezTo>
                    <a:pt x="444" y="709"/>
                    <a:pt x="443" y="709"/>
                    <a:pt x="443" y="710"/>
                  </a:cubicBezTo>
                  <a:cubicBezTo>
                    <a:pt x="442" y="711"/>
                    <a:pt x="441" y="713"/>
                    <a:pt x="441" y="714"/>
                  </a:cubicBezTo>
                  <a:cubicBezTo>
                    <a:pt x="442" y="716"/>
                    <a:pt x="443" y="717"/>
                    <a:pt x="444" y="718"/>
                  </a:cubicBezTo>
                  <a:cubicBezTo>
                    <a:pt x="445" y="718"/>
                    <a:pt x="444" y="718"/>
                    <a:pt x="445" y="719"/>
                  </a:cubicBezTo>
                  <a:cubicBezTo>
                    <a:pt x="446" y="719"/>
                    <a:pt x="447" y="720"/>
                    <a:pt x="447" y="720"/>
                  </a:cubicBezTo>
                  <a:cubicBezTo>
                    <a:pt x="448" y="720"/>
                    <a:pt x="448" y="721"/>
                    <a:pt x="449" y="721"/>
                  </a:cubicBezTo>
                  <a:cubicBezTo>
                    <a:pt x="451" y="721"/>
                    <a:pt x="453" y="721"/>
                    <a:pt x="455" y="721"/>
                  </a:cubicBezTo>
                  <a:cubicBezTo>
                    <a:pt x="458" y="721"/>
                    <a:pt x="460" y="720"/>
                    <a:pt x="463" y="720"/>
                  </a:cubicBezTo>
                  <a:cubicBezTo>
                    <a:pt x="464" y="720"/>
                    <a:pt x="465" y="720"/>
                    <a:pt x="466" y="720"/>
                  </a:cubicBezTo>
                  <a:cubicBezTo>
                    <a:pt x="468" y="720"/>
                    <a:pt x="469" y="719"/>
                    <a:pt x="470" y="719"/>
                  </a:cubicBezTo>
                  <a:cubicBezTo>
                    <a:pt x="471" y="719"/>
                    <a:pt x="471" y="719"/>
                    <a:pt x="472" y="719"/>
                  </a:cubicBezTo>
                  <a:cubicBezTo>
                    <a:pt x="473" y="718"/>
                    <a:pt x="474" y="717"/>
                    <a:pt x="474" y="717"/>
                  </a:cubicBezTo>
                  <a:cubicBezTo>
                    <a:pt x="475" y="716"/>
                    <a:pt x="475" y="715"/>
                    <a:pt x="475" y="714"/>
                  </a:cubicBezTo>
                  <a:cubicBezTo>
                    <a:pt x="476" y="714"/>
                    <a:pt x="476" y="713"/>
                    <a:pt x="477" y="712"/>
                  </a:cubicBezTo>
                  <a:cubicBezTo>
                    <a:pt x="477" y="712"/>
                    <a:pt x="477" y="711"/>
                    <a:pt x="477" y="710"/>
                  </a:cubicBezTo>
                  <a:cubicBezTo>
                    <a:pt x="478" y="709"/>
                    <a:pt x="478" y="709"/>
                    <a:pt x="478" y="708"/>
                  </a:cubicBezTo>
                  <a:cubicBezTo>
                    <a:pt x="479" y="705"/>
                    <a:pt x="478" y="704"/>
                    <a:pt x="480" y="702"/>
                  </a:cubicBezTo>
                  <a:cubicBezTo>
                    <a:pt x="481" y="700"/>
                    <a:pt x="483" y="698"/>
                    <a:pt x="485" y="697"/>
                  </a:cubicBezTo>
                  <a:cubicBezTo>
                    <a:pt x="485" y="695"/>
                    <a:pt x="489" y="692"/>
                    <a:pt x="491" y="691"/>
                  </a:cubicBezTo>
                  <a:cubicBezTo>
                    <a:pt x="493" y="690"/>
                    <a:pt x="495" y="688"/>
                    <a:pt x="498" y="686"/>
                  </a:cubicBezTo>
                  <a:cubicBezTo>
                    <a:pt x="502" y="683"/>
                    <a:pt x="500" y="678"/>
                    <a:pt x="500" y="674"/>
                  </a:cubicBezTo>
                  <a:cubicBezTo>
                    <a:pt x="501" y="671"/>
                    <a:pt x="500" y="668"/>
                    <a:pt x="500" y="665"/>
                  </a:cubicBezTo>
                  <a:cubicBezTo>
                    <a:pt x="500" y="663"/>
                    <a:pt x="500" y="661"/>
                    <a:pt x="500" y="660"/>
                  </a:cubicBezTo>
                  <a:cubicBezTo>
                    <a:pt x="500" y="659"/>
                    <a:pt x="500" y="657"/>
                    <a:pt x="501" y="656"/>
                  </a:cubicBezTo>
                  <a:cubicBezTo>
                    <a:pt x="501" y="656"/>
                    <a:pt x="502" y="655"/>
                    <a:pt x="503" y="655"/>
                  </a:cubicBezTo>
                  <a:cubicBezTo>
                    <a:pt x="503" y="654"/>
                    <a:pt x="504" y="653"/>
                    <a:pt x="505" y="652"/>
                  </a:cubicBezTo>
                  <a:cubicBezTo>
                    <a:pt x="505" y="651"/>
                    <a:pt x="505" y="651"/>
                    <a:pt x="506" y="651"/>
                  </a:cubicBezTo>
                  <a:cubicBezTo>
                    <a:pt x="507" y="650"/>
                    <a:pt x="508" y="649"/>
                    <a:pt x="510" y="649"/>
                  </a:cubicBezTo>
                  <a:cubicBezTo>
                    <a:pt x="512" y="648"/>
                    <a:pt x="515" y="648"/>
                    <a:pt x="517" y="647"/>
                  </a:cubicBezTo>
                  <a:cubicBezTo>
                    <a:pt x="517" y="647"/>
                    <a:pt x="517" y="646"/>
                    <a:pt x="517" y="646"/>
                  </a:cubicBezTo>
                  <a:cubicBezTo>
                    <a:pt x="517" y="646"/>
                    <a:pt x="519" y="646"/>
                    <a:pt x="518" y="646"/>
                  </a:cubicBezTo>
                  <a:cubicBezTo>
                    <a:pt x="520" y="646"/>
                    <a:pt x="520" y="646"/>
                    <a:pt x="521" y="646"/>
                  </a:cubicBezTo>
                  <a:cubicBezTo>
                    <a:pt x="523" y="646"/>
                    <a:pt x="525" y="646"/>
                    <a:pt x="526" y="645"/>
                  </a:cubicBezTo>
                  <a:cubicBezTo>
                    <a:pt x="527" y="645"/>
                    <a:pt x="528" y="644"/>
                    <a:pt x="529" y="644"/>
                  </a:cubicBezTo>
                  <a:cubicBezTo>
                    <a:pt x="530" y="644"/>
                    <a:pt x="530" y="644"/>
                    <a:pt x="531" y="643"/>
                  </a:cubicBezTo>
                  <a:cubicBezTo>
                    <a:pt x="531" y="643"/>
                    <a:pt x="532" y="643"/>
                    <a:pt x="532" y="642"/>
                  </a:cubicBezTo>
                  <a:cubicBezTo>
                    <a:pt x="532" y="641"/>
                    <a:pt x="532" y="640"/>
                    <a:pt x="532" y="639"/>
                  </a:cubicBezTo>
                  <a:cubicBezTo>
                    <a:pt x="532" y="638"/>
                    <a:pt x="531" y="636"/>
                    <a:pt x="531" y="635"/>
                  </a:cubicBezTo>
                  <a:cubicBezTo>
                    <a:pt x="531" y="634"/>
                    <a:pt x="531" y="633"/>
                    <a:pt x="532" y="632"/>
                  </a:cubicBezTo>
                  <a:cubicBezTo>
                    <a:pt x="532" y="632"/>
                    <a:pt x="533" y="631"/>
                    <a:pt x="533" y="631"/>
                  </a:cubicBezTo>
                  <a:cubicBezTo>
                    <a:pt x="534" y="629"/>
                    <a:pt x="534" y="626"/>
                    <a:pt x="534" y="624"/>
                  </a:cubicBezTo>
                  <a:cubicBezTo>
                    <a:pt x="534" y="622"/>
                    <a:pt x="534" y="620"/>
                    <a:pt x="534" y="617"/>
                  </a:cubicBezTo>
                  <a:cubicBezTo>
                    <a:pt x="534" y="616"/>
                    <a:pt x="534" y="614"/>
                    <a:pt x="534" y="613"/>
                  </a:cubicBezTo>
                  <a:cubicBezTo>
                    <a:pt x="534" y="611"/>
                    <a:pt x="533" y="609"/>
                    <a:pt x="533" y="607"/>
                  </a:cubicBezTo>
                  <a:cubicBezTo>
                    <a:pt x="532" y="605"/>
                    <a:pt x="531" y="604"/>
                    <a:pt x="529" y="604"/>
                  </a:cubicBezTo>
                  <a:cubicBezTo>
                    <a:pt x="529" y="603"/>
                    <a:pt x="528" y="601"/>
                    <a:pt x="527" y="600"/>
                  </a:cubicBezTo>
                  <a:cubicBezTo>
                    <a:pt x="526" y="598"/>
                    <a:pt x="526" y="597"/>
                    <a:pt x="524" y="597"/>
                  </a:cubicBezTo>
                  <a:cubicBezTo>
                    <a:pt x="523" y="597"/>
                    <a:pt x="522" y="597"/>
                    <a:pt x="521" y="597"/>
                  </a:cubicBezTo>
                  <a:cubicBezTo>
                    <a:pt x="520" y="596"/>
                    <a:pt x="520" y="596"/>
                    <a:pt x="520" y="595"/>
                  </a:cubicBezTo>
                  <a:cubicBezTo>
                    <a:pt x="519" y="594"/>
                    <a:pt x="518" y="594"/>
                    <a:pt x="517" y="593"/>
                  </a:cubicBezTo>
                  <a:cubicBezTo>
                    <a:pt x="516" y="592"/>
                    <a:pt x="516" y="591"/>
                    <a:pt x="515" y="590"/>
                  </a:cubicBezTo>
                  <a:cubicBezTo>
                    <a:pt x="514" y="590"/>
                    <a:pt x="512" y="591"/>
                    <a:pt x="511" y="590"/>
                  </a:cubicBezTo>
                  <a:cubicBezTo>
                    <a:pt x="510" y="590"/>
                    <a:pt x="509" y="590"/>
                    <a:pt x="508" y="590"/>
                  </a:cubicBezTo>
                  <a:cubicBezTo>
                    <a:pt x="506" y="590"/>
                    <a:pt x="506" y="589"/>
                    <a:pt x="504" y="589"/>
                  </a:cubicBezTo>
                  <a:cubicBezTo>
                    <a:pt x="503" y="585"/>
                    <a:pt x="503" y="581"/>
                    <a:pt x="503" y="577"/>
                  </a:cubicBezTo>
                  <a:cubicBezTo>
                    <a:pt x="503" y="575"/>
                    <a:pt x="503" y="574"/>
                    <a:pt x="503" y="572"/>
                  </a:cubicBezTo>
                  <a:cubicBezTo>
                    <a:pt x="504" y="571"/>
                    <a:pt x="504" y="568"/>
                    <a:pt x="505" y="567"/>
                  </a:cubicBezTo>
                  <a:cubicBezTo>
                    <a:pt x="506" y="566"/>
                    <a:pt x="507" y="566"/>
                    <a:pt x="508" y="565"/>
                  </a:cubicBezTo>
                  <a:cubicBezTo>
                    <a:pt x="509" y="564"/>
                    <a:pt x="509" y="562"/>
                    <a:pt x="509" y="561"/>
                  </a:cubicBezTo>
                  <a:cubicBezTo>
                    <a:pt x="509" y="558"/>
                    <a:pt x="510" y="555"/>
                    <a:pt x="511" y="553"/>
                  </a:cubicBezTo>
                  <a:cubicBezTo>
                    <a:pt x="512" y="552"/>
                    <a:pt x="513" y="551"/>
                    <a:pt x="514" y="550"/>
                  </a:cubicBezTo>
                  <a:cubicBezTo>
                    <a:pt x="515" y="550"/>
                    <a:pt x="515" y="550"/>
                    <a:pt x="515" y="549"/>
                  </a:cubicBezTo>
                  <a:cubicBezTo>
                    <a:pt x="516" y="549"/>
                    <a:pt x="516" y="548"/>
                    <a:pt x="516" y="548"/>
                  </a:cubicBezTo>
                  <a:cubicBezTo>
                    <a:pt x="517" y="546"/>
                    <a:pt x="518" y="544"/>
                    <a:pt x="518" y="543"/>
                  </a:cubicBezTo>
                  <a:cubicBezTo>
                    <a:pt x="519" y="541"/>
                    <a:pt x="519" y="540"/>
                    <a:pt x="520" y="538"/>
                  </a:cubicBezTo>
                  <a:cubicBezTo>
                    <a:pt x="521" y="537"/>
                    <a:pt x="521" y="536"/>
                    <a:pt x="522" y="535"/>
                  </a:cubicBezTo>
                  <a:cubicBezTo>
                    <a:pt x="523" y="534"/>
                    <a:pt x="523" y="534"/>
                    <a:pt x="523" y="533"/>
                  </a:cubicBezTo>
                  <a:cubicBezTo>
                    <a:pt x="524" y="532"/>
                    <a:pt x="524" y="532"/>
                    <a:pt x="525" y="531"/>
                  </a:cubicBezTo>
                  <a:cubicBezTo>
                    <a:pt x="526" y="530"/>
                    <a:pt x="526" y="529"/>
                    <a:pt x="527" y="528"/>
                  </a:cubicBezTo>
                  <a:cubicBezTo>
                    <a:pt x="528" y="527"/>
                    <a:pt x="530" y="526"/>
                    <a:pt x="531" y="525"/>
                  </a:cubicBezTo>
                  <a:cubicBezTo>
                    <a:pt x="533" y="524"/>
                    <a:pt x="535" y="521"/>
                    <a:pt x="537" y="522"/>
                  </a:cubicBezTo>
                  <a:cubicBezTo>
                    <a:pt x="538" y="523"/>
                    <a:pt x="539" y="524"/>
                    <a:pt x="539" y="525"/>
                  </a:cubicBezTo>
                  <a:cubicBezTo>
                    <a:pt x="540" y="525"/>
                    <a:pt x="540" y="526"/>
                    <a:pt x="541" y="527"/>
                  </a:cubicBezTo>
                  <a:cubicBezTo>
                    <a:pt x="542" y="528"/>
                    <a:pt x="542" y="528"/>
                    <a:pt x="543" y="530"/>
                  </a:cubicBezTo>
                  <a:cubicBezTo>
                    <a:pt x="543" y="531"/>
                    <a:pt x="545" y="533"/>
                    <a:pt x="546" y="534"/>
                  </a:cubicBezTo>
                  <a:cubicBezTo>
                    <a:pt x="547" y="534"/>
                    <a:pt x="547" y="534"/>
                    <a:pt x="548" y="534"/>
                  </a:cubicBezTo>
                  <a:cubicBezTo>
                    <a:pt x="548" y="535"/>
                    <a:pt x="548" y="536"/>
                    <a:pt x="549" y="536"/>
                  </a:cubicBezTo>
                  <a:cubicBezTo>
                    <a:pt x="551" y="537"/>
                    <a:pt x="552" y="538"/>
                    <a:pt x="554" y="539"/>
                  </a:cubicBezTo>
                  <a:cubicBezTo>
                    <a:pt x="555" y="540"/>
                    <a:pt x="557" y="540"/>
                    <a:pt x="558" y="540"/>
                  </a:cubicBezTo>
                  <a:cubicBezTo>
                    <a:pt x="559" y="541"/>
                    <a:pt x="559" y="541"/>
                    <a:pt x="561" y="542"/>
                  </a:cubicBezTo>
                  <a:cubicBezTo>
                    <a:pt x="561" y="542"/>
                    <a:pt x="562" y="542"/>
                    <a:pt x="562" y="542"/>
                  </a:cubicBezTo>
                  <a:cubicBezTo>
                    <a:pt x="563" y="543"/>
                    <a:pt x="564" y="542"/>
                    <a:pt x="565" y="542"/>
                  </a:cubicBezTo>
                  <a:cubicBezTo>
                    <a:pt x="567" y="542"/>
                    <a:pt x="568" y="542"/>
                    <a:pt x="570" y="542"/>
                  </a:cubicBezTo>
                  <a:cubicBezTo>
                    <a:pt x="571" y="542"/>
                    <a:pt x="571" y="542"/>
                    <a:pt x="572" y="542"/>
                  </a:cubicBezTo>
                  <a:cubicBezTo>
                    <a:pt x="572" y="542"/>
                    <a:pt x="572" y="541"/>
                    <a:pt x="573" y="541"/>
                  </a:cubicBezTo>
                  <a:cubicBezTo>
                    <a:pt x="574" y="541"/>
                    <a:pt x="575" y="543"/>
                    <a:pt x="575" y="544"/>
                  </a:cubicBezTo>
                  <a:cubicBezTo>
                    <a:pt x="576" y="545"/>
                    <a:pt x="576" y="546"/>
                    <a:pt x="578" y="547"/>
                  </a:cubicBezTo>
                  <a:cubicBezTo>
                    <a:pt x="579" y="547"/>
                    <a:pt x="580" y="548"/>
                    <a:pt x="581" y="549"/>
                  </a:cubicBezTo>
                  <a:cubicBezTo>
                    <a:pt x="581" y="551"/>
                    <a:pt x="582" y="553"/>
                    <a:pt x="582" y="555"/>
                  </a:cubicBezTo>
                  <a:cubicBezTo>
                    <a:pt x="582" y="559"/>
                    <a:pt x="583" y="562"/>
                    <a:pt x="583" y="566"/>
                  </a:cubicBezTo>
                  <a:cubicBezTo>
                    <a:pt x="583" y="568"/>
                    <a:pt x="582" y="572"/>
                    <a:pt x="584" y="574"/>
                  </a:cubicBezTo>
                  <a:cubicBezTo>
                    <a:pt x="585" y="575"/>
                    <a:pt x="588" y="576"/>
                    <a:pt x="589" y="577"/>
                  </a:cubicBezTo>
                  <a:cubicBezTo>
                    <a:pt x="591" y="578"/>
                    <a:pt x="593" y="579"/>
                    <a:pt x="595" y="580"/>
                  </a:cubicBezTo>
                  <a:cubicBezTo>
                    <a:pt x="597" y="580"/>
                    <a:pt x="598" y="581"/>
                    <a:pt x="600" y="582"/>
                  </a:cubicBezTo>
                  <a:cubicBezTo>
                    <a:pt x="601" y="582"/>
                    <a:pt x="604" y="582"/>
                    <a:pt x="605" y="582"/>
                  </a:cubicBezTo>
                  <a:cubicBezTo>
                    <a:pt x="606" y="581"/>
                    <a:pt x="605" y="579"/>
                    <a:pt x="605" y="578"/>
                  </a:cubicBezTo>
                  <a:cubicBezTo>
                    <a:pt x="605" y="577"/>
                    <a:pt x="606" y="576"/>
                    <a:pt x="606" y="574"/>
                  </a:cubicBezTo>
                  <a:cubicBezTo>
                    <a:pt x="606" y="572"/>
                    <a:pt x="606" y="570"/>
                    <a:pt x="606" y="568"/>
                  </a:cubicBezTo>
                  <a:cubicBezTo>
                    <a:pt x="607" y="565"/>
                    <a:pt x="608" y="562"/>
                    <a:pt x="610" y="560"/>
                  </a:cubicBezTo>
                  <a:cubicBezTo>
                    <a:pt x="611" y="559"/>
                    <a:pt x="612" y="559"/>
                    <a:pt x="612" y="557"/>
                  </a:cubicBezTo>
                  <a:cubicBezTo>
                    <a:pt x="612" y="556"/>
                    <a:pt x="612" y="555"/>
                    <a:pt x="612" y="555"/>
                  </a:cubicBezTo>
                  <a:cubicBezTo>
                    <a:pt x="612" y="554"/>
                    <a:pt x="612" y="552"/>
                    <a:pt x="612" y="55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9" name="Freeform 19"/>
            <p:cNvSpPr>
              <a:spLocks/>
            </p:cNvSpPr>
            <p:nvPr/>
          </p:nvSpPr>
          <p:spPr bwMode="auto">
            <a:xfrm>
              <a:off x="4627563" y="6280150"/>
              <a:ext cx="320675" cy="239713"/>
            </a:xfrm>
            <a:custGeom>
              <a:avLst/>
              <a:gdLst/>
              <a:ahLst/>
              <a:cxnLst>
                <a:cxn ang="0">
                  <a:pos x="135" y="7"/>
                </a:cxn>
                <a:cxn ang="0">
                  <a:pos x="121" y="12"/>
                </a:cxn>
                <a:cxn ang="0">
                  <a:pos x="110" y="16"/>
                </a:cxn>
                <a:cxn ang="0">
                  <a:pos x="103" y="19"/>
                </a:cxn>
                <a:cxn ang="0">
                  <a:pos x="86" y="19"/>
                </a:cxn>
                <a:cxn ang="0">
                  <a:pos x="77" y="17"/>
                </a:cxn>
                <a:cxn ang="0">
                  <a:pos x="67" y="19"/>
                </a:cxn>
                <a:cxn ang="0">
                  <a:pos x="58" y="14"/>
                </a:cxn>
                <a:cxn ang="0">
                  <a:pos x="53" y="6"/>
                </a:cxn>
                <a:cxn ang="0">
                  <a:pos x="37" y="1"/>
                </a:cxn>
                <a:cxn ang="0">
                  <a:pos x="32" y="14"/>
                </a:cxn>
                <a:cxn ang="0">
                  <a:pos x="22" y="9"/>
                </a:cxn>
                <a:cxn ang="0">
                  <a:pos x="15" y="3"/>
                </a:cxn>
                <a:cxn ang="0">
                  <a:pos x="6" y="14"/>
                </a:cxn>
                <a:cxn ang="0">
                  <a:pos x="7" y="28"/>
                </a:cxn>
                <a:cxn ang="0">
                  <a:pos x="1" y="34"/>
                </a:cxn>
                <a:cxn ang="0">
                  <a:pos x="6" y="47"/>
                </a:cxn>
                <a:cxn ang="0">
                  <a:pos x="13" y="51"/>
                </a:cxn>
                <a:cxn ang="0">
                  <a:pos x="35" y="57"/>
                </a:cxn>
                <a:cxn ang="0">
                  <a:pos x="52" y="69"/>
                </a:cxn>
                <a:cxn ang="0">
                  <a:pos x="69" y="88"/>
                </a:cxn>
                <a:cxn ang="0">
                  <a:pos x="77" y="88"/>
                </a:cxn>
                <a:cxn ang="0">
                  <a:pos x="83" y="90"/>
                </a:cxn>
                <a:cxn ang="0">
                  <a:pos x="92" y="94"/>
                </a:cxn>
                <a:cxn ang="0">
                  <a:pos x="103" y="109"/>
                </a:cxn>
                <a:cxn ang="0">
                  <a:pos x="109" y="125"/>
                </a:cxn>
                <a:cxn ang="0">
                  <a:pos x="122" y="126"/>
                </a:cxn>
                <a:cxn ang="0">
                  <a:pos x="144" y="121"/>
                </a:cxn>
                <a:cxn ang="0">
                  <a:pos x="142" y="106"/>
                </a:cxn>
                <a:cxn ang="0">
                  <a:pos x="150" y="98"/>
                </a:cxn>
                <a:cxn ang="0">
                  <a:pos x="147" y="87"/>
                </a:cxn>
                <a:cxn ang="0">
                  <a:pos x="148" y="79"/>
                </a:cxn>
                <a:cxn ang="0">
                  <a:pos x="141" y="61"/>
                </a:cxn>
                <a:cxn ang="0">
                  <a:pos x="156" y="52"/>
                </a:cxn>
                <a:cxn ang="0">
                  <a:pos x="163" y="45"/>
                </a:cxn>
                <a:cxn ang="0">
                  <a:pos x="154" y="42"/>
                </a:cxn>
                <a:cxn ang="0">
                  <a:pos x="159" y="31"/>
                </a:cxn>
                <a:cxn ang="0">
                  <a:pos x="164" y="19"/>
                </a:cxn>
                <a:cxn ang="0">
                  <a:pos x="167" y="10"/>
                </a:cxn>
                <a:cxn ang="0">
                  <a:pos x="168" y="1"/>
                </a:cxn>
                <a:cxn ang="0">
                  <a:pos x="144" y="12"/>
                </a:cxn>
              </a:cxnLst>
              <a:rect l="0" t="0" r="r" b="b"/>
              <a:pathLst>
                <a:path w="171" h="128">
                  <a:moveTo>
                    <a:pt x="144" y="12"/>
                  </a:moveTo>
                  <a:cubicBezTo>
                    <a:pt x="141" y="11"/>
                    <a:pt x="138" y="8"/>
                    <a:pt x="135" y="7"/>
                  </a:cubicBezTo>
                  <a:cubicBezTo>
                    <a:pt x="133" y="7"/>
                    <a:pt x="132" y="8"/>
                    <a:pt x="130" y="8"/>
                  </a:cubicBezTo>
                  <a:cubicBezTo>
                    <a:pt x="126" y="8"/>
                    <a:pt x="123" y="10"/>
                    <a:pt x="121" y="12"/>
                  </a:cubicBezTo>
                  <a:cubicBezTo>
                    <a:pt x="120" y="13"/>
                    <a:pt x="118" y="14"/>
                    <a:pt x="117" y="15"/>
                  </a:cubicBezTo>
                  <a:cubicBezTo>
                    <a:pt x="115" y="16"/>
                    <a:pt x="113" y="15"/>
                    <a:pt x="110" y="16"/>
                  </a:cubicBezTo>
                  <a:cubicBezTo>
                    <a:pt x="109" y="17"/>
                    <a:pt x="108" y="17"/>
                    <a:pt x="106" y="17"/>
                  </a:cubicBezTo>
                  <a:cubicBezTo>
                    <a:pt x="105" y="18"/>
                    <a:pt x="105" y="19"/>
                    <a:pt x="103" y="19"/>
                  </a:cubicBezTo>
                  <a:cubicBezTo>
                    <a:pt x="100" y="21"/>
                    <a:pt x="95" y="19"/>
                    <a:pt x="91" y="19"/>
                  </a:cubicBezTo>
                  <a:cubicBezTo>
                    <a:pt x="90" y="19"/>
                    <a:pt x="87" y="20"/>
                    <a:pt x="86" y="19"/>
                  </a:cubicBezTo>
                  <a:cubicBezTo>
                    <a:pt x="85" y="19"/>
                    <a:pt x="86" y="18"/>
                    <a:pt x="85" y="18"/>
                  </a:cubicBezTo>
                  <a:cubicBezTo>
                    <a:pt x="82" y="17"/>
                    <a:pt x="80" y="17"/>
                    <a:pt x="77" y="17"/>
                  </a:cubicBezTo>
                  <a:cubicBezTo>
                    <a:pt x="74" y="17"/>
                    <a:pt x="71" y="17"/>
                    <a:pt x="68" y="18"/>
                  </a:cubicBezTo>
                  <a:cubicBezTo>
                    <a:pt x="67" y="19"/>
                    <a:pt x="68" y="19"/>
                    <a:pt x="67" y="19"/>
                  </a:cubicBezTo>
                  <a:cubicBezTo>
                    <a:pt x="65" y="20"/>
                    <a:pt x="64" y="19"/>
                    <a:pt x="63" y="18"/>
                  </a:cubicBezTo>
                  <a:cubicBezTo>
                    <a:pt x="61" y="17"/>
                    <a:pt x="59" y="15"/>
                    <a:pt x="58" y="14"/>
                  </a:cubicBezTo>
                  <a:cubicBezTo>
                    <a:pt x="57" y="13"/>
                    <a:pt x="57" y="11"/>
                    <a:pt x="56" y="10"/>
                  </a:cubicBezTo>
                  <a:cubicBezTo>
                    <a:pt x="55" y="9"/>
                    <a:pt x="54" y="8"/>
                    <a:pt x="53" y="6"/>
                  </a:cubicBezTo>
                  <a:cubicBezTo>
                    <a:pt x="51" y="3"/>
                    <a:pt x="49" y="1"/>
                    <a:pt x="44" y="0"/>
                  </a:cubicBezTo>
                  <a:cubicBezTo>
                    <a:pt x="42" y="0"/>
                    <a:pt x="39" y="0"/>
                    <a:pt x="37" y="1"/>
                  </a:cubicBezTo>
                  <a:cubicBezTo>
                    <a:pt x="36" y="2"/>
                    <a:pt x="37" y="6"/>
                    <a:pt x="36" y="7"/>
                  </a:cubicBezTo>
                  <a:cubicBezTo>
                    <a:pt x="36" y="11"/>
                    <a:pt x="34" y="12"/>
                    <a:pt x="32" y="14"/>
                  </a:cubicBezTo>
                  <a:cubicBezTo>
                    <a:pt x="31" y="14"/>
                    <a:pt x="28" y="16"/>
                    <a:pt x="27" y="16"/>
                  </a:cubicBezTo>
                  <a:cubicBezTo>
                    <a:pt x="26" y="16"/>
                    <a:pt x="23" y="10"/>
                    <a:pt x="22" y="9"/>
                  </a:cubicBezTo>
                  <a:cubicBezTo>
                    <a:pt x="21" y="7"/>
                    <a:pt x="20" y="3"/>
                    <a:pt x="19" y="2"/>
                  </a:cubicBezTo>
                  <a:cubicBezTo>
                    <a:pt x="18" y="1"/>
                    <a:pt x="16" y="2"/>
                    <a:pt x="15" y="3"/>
                  </a:cubicBezTo>
                  <a:cubicBezTo>
                    <a:pt x="14" y="5"/>
                    <a:pt x="15" y="6"/>
                    <a:pt x="13" y="8"/>
                  </a:cubicBezTo>
                  <a:cubicBezTo>
                    <a:pt x="10" y="10"/>
                    <a:pt x="7" y="11"/>
                    <a:pt x="6" y="14"/>
                  </a:cubicBezTo>
                  <a:cubicBezTo>
                    <a:pt x="5" y="15"/>
                    <a:pt x="4" y="17"/>
                    <a:pt x="4" y="18"/>
                  </a:cubicBezTo>
                  <a:cubicBezTo>
                    <a:pt x="4" y="21"/>
                    <a:pt x="8" y="25"/>
                    <a:pt x="7" y="28"/>
                  </a:cubicBezTo>
                  <a:cubicBezTo>
                    <a:pt x="7" y="30"/>
                    <a:pt x="5" y="30"/>
                    <a:pt x="4" y="31"/>
                  </a:cubicBezTo>
                  <a:cubicBezTo>
                    <a:pt x="3" y="31"/>
                    <a:pt x="2" y="33"/>
                    <a:pt x="1" y="34"/>
                  </a:cubicBezTo>
                  <a:cubicBezTo>
                    <a:pt x="0" y="37"/>
                    <a:pt x="2" y="41"/>
                    <a:pt x="3" y="43"/>
                  </a:cubicBezTo>
                  <a:cubicBezTo>
                    <a:pt x="4" y="46"/>
                    <a:pt x="4" y="46"/>
                    <a:pt x="6" y="47"/>
                  </a:cubicBezTo>
                  <a:cubicBezTo>
                    <a:pt x="8" y="47"/>
                    <a:pt x="9" y="47"/>
                    <a:pt x="11" y="48"/>
                  </a:cubicBezTo>
                  <a:cubicBezTo>
                    <a:pt x="11" y="49"/>
                    <a:pt x="12" y="50"/>
                    <a:pt x="13" y="51"/>
                  </a:cubicBezTo>
                  <a:cubicBezTo>
                    <a:pt x="16" y="54"/>
                    <a:pt x="19" y="52"/>
                    <a:pt x="23" y="52"/>
                  </a:cubicBezTo>
                  <a:cubicBezTo>
                    <a:pt x="28" y="52"/>
                    <a:pt x="32" y="52"/>
                    <a:pt x="35" y="57"/>
                  </a:cubicBezTo>
                  <a:cubicBezTo>
                    <a:pt x="37" y="60"/>
                    <a:pt x="40" y="60"/>
                    <a:pt x="43" y="62"/>
                  </a:cubicBezTo>
                  <a:cubicBezTo>
                    <a:pt x="46" y="63"/>
                    <a:pt x="50" y="66"/>
                    <a:pt x="52" y="69"/>
                  </a:cubicBezTo>
                  <a:cubicBezTo>
                    <a:pt x="54" y="74"/>
                    <a:pt x="58" y="81"/>
                    <a:pt x="62" y="84"/>
                  </a:cubicBezTo>
                  <a:cubicBezTo>
                    <a:pt x="64" y="85"/>
                    <a:pt x="67" y="86"/>
                    <a:pt x="69" y="88"/>
                  </a:cubicBezTo>
                  <a:cubicBezTo>
                    <a:pt x="71" y="88"/>
                    <a:pt x="72" y="89"/>
                    <a:pt x="74" y="89"/>
                  </a:cubicBezTo>
                  <a:cubicBezTo>
                    <a:pt x="75" y="89"/>
                    <a:pt x="75" y="88"/>
                    <a:pt x="77" y="88"/>
                  </a:cubicBezTo>
                  <a:cubicBezTo>
                    <a:pt x="78" y="88"/>
                    <a:pt x="79" y="89"/>
                    <a:pt x="80" y="90"/>
                  </a:cubicBezTo>
                  <a:cubicBezTo>
                    <a:pt x="81" y="90"/>
                    <a:pt x="82" y="90"/>
                    <a:pt x="83" y="90"/>
                  </a:cubicBezTo>
                  <a:cubicBezTo>
                    <a:pt x="85" y="90"/>
                    <a:pt x="86" y="90"/>
                    <a:pt x="88" y="90"/>
                  </a:cubicBezTo>
                  <a:cubicBezTo>
                    <a:pt x="91" y="90"/>
                    <a:pt x="91" y="92"/>
                    <a:pt x="92" y="94"/>
                  </a:cubicBezTo>
                  <a:cubicBezTo>
                    <a:pt x="94" y="97"/>
                    <a:pt x="97" y="98"/>
                    <a:pt x="100" y="101"/>
                  </a:cubicBezTo>
                  <a:cubicBezTo>
                    <a:pt x="103" y="103"/>
                    <a:pt x="103" y="106"/>
                    <a:pt x="103" y="109"/>
                  </a:cubicBezTo>
                  <a:cubicBezTo>
                    <a:pt x="103" y="113"/>
                    <a:pt x="103" y="117"/>
                    <a:pt x="105" y="121"/>
                  </a:cubicBezTo>
                  <a:cubicBezTo>
                    <a:pt x="106" y="124"/>
                    <a:pt x="106" y="125"/>
                    <a:pt x="109" y="125"/>
                  </a:cubicBezTo>
                  <a:cubicBezTo>
                    <a:pt x="111" y="125"/>
                    <a:pt x="114" y="124"/>
                    <a:pt x="116" y="124"/>
                  </a:cubicBezTo>
                  <a:cubicBezTo>
                    <a:pt x="118" y="124"/>
                    <a:pt x="120" y="125"/>
                    <a:pt x="122" y="126"/>
                  </a:cubicBezTo>
                  <a:cubicBezTo>
                    <a:pt x="127" y="128"/>
                    <a:pt x="132" y="127"/>
                    <a:pt x="136" y="128"/>
                  </a:cubicBezTo>
                  <a:cubicBezTo>
                    <a:pt x="140" y="128"/>
                    <a:pt x="146" y="125"/>
                    <a:pt x="144" y="121"/>
                  </a:cubicBezTo>
                  <a:cubicBezTo>
                    <a:pt x="143" y="117"/>
                    <a:pt x="138" y="114"/>
                    <a:pt x="140" y="110"/>
                  </a:cubicBezTo>
                  <a:cubicBezTo>
                    <a:pt x="140" y="108"/>
                    <a:pt x="141" y="107"/>
                    <a:pt x="142" y="106"/>
                  </a:cubicBezTo>
                  <a:cubicBezTo>
                    <a:pt x="144" y="103"/>
                    <a:pt x="146" y="103"/>
                    <a:pt x="148" y="101"/>
                  </a:cubicBezTo>
                  <a:cubicBezTo>
                    <a:pt x="149" y="100"/>
                    <a:pt x="149" y="99"/>
                    <a:pt x="150" y="98"/>
                  </a:cubicBezTo>
                  <a:cubicBezTo>
                    <a:pt x="152" y="97"/>
                    <a:pt x="153" y="97"/>
                    <a:pt x="153" y="94"/>
                  </a:cubicBezTo>
                  <a:cubicBezTo>
                    <a:pt x="153" y="89"/>
                    <a:pt x="149" y="91"/>
                    <a:pt x="147" y="87"/>
                  </a:cubicBezTo>
                  <a:cubicBezTo>
                    <a:pt x="146" y="86"/>
                    <a:pt x="146" y="84"/>
                    <a:pt x="146" y="83"/>
                  </a:cubicBezTo>
                  <a:cubicBezTo>
                    <a:pt x="146" y="81"/>
                    <a:pt x="147" y="81"/>
                    <a:pt x="148" y="79"/>
                  </a:cubicBezTo>
                  <a:cubicBezTo>
                    <a:pt x="149" y="76"/>
                    <a:pt x="143" y="72"/>
                    <a:pt x="142" y="70"/>
                  </a:cubicBezTo>
                  <a:cubicBezTo>
                    <a:pt x="139" y="66"/>
                    <a:pt x="140" y="65"/>
                    <a:pt x="141" y="61"/>
                  </a:cubicBezTo>
                  <a:cubicBezTo>
                    <a:pt x="142" y="57"/>
                    <a:pt x="147" y="52"/>
                    <a:pt x="151" y="52"/>
                  </a:cubicBezTo>
                  <a:cubicBezTo>
                    <a:pt x="153" y="52"/>
                    <a:pt x="154" y="52"/>
                    <a:pt x="156" y="52"/>
                  </a:cubicBezTo>
                  <a:cubicBezTo>
                    <a:pt x="157" y="53"/>
                    <a:pt x="158" y="55"/>
                    <a:pt x="160" y="54"/>
                  </a:cubicBezTo>
                  <a:cubicBezTo>
                    <a:pt x="165" y="53"/>
                    <a:pt x="167" y="48"/>
                    <a:pt x="163" y="45"/>
                  </a:cubicBezTo>
                  <a:cubicBezTo>
                    <a:pt x="162" y="44"/>
                    <a:pt x="160" y="43"/>
                    <a:pt x="158" y="43"/>
                  </a:cubicBezTo>
                  <a:cubicBezTo>
                    <a:pt x="157" y="42"/>
                    <a:pt x="155" y="43"/>
                    <a:pt x="154" y="42"/>
                  </a:cubicBezTo>
                  <a:cubicBezTo>
                    <a:pt x="152" y="41"/>
                    <a:pt x="152" y="37"/>
                    <a:pt x="152" y="35"/>
                  </a:cubicBezTo>
                  <a:cubicBezTo>
                    <a:pt x="153" y="31"/>
                    <a:pt x="156" y="31"/>
                    <a:pt x="159" y="31"/>
                  </a:cubicBezTo>
                  <a:cubicBezTo>
                    <a:pt x="165" y="29"/>
                    <a:pt x="162" y="27"/>
                    <a:pt x="163" y="22"/>
                  </a:cubicBezTo>
                  <a:cubicBezTo>
                    <a:pt x="163" y="21"/>
                    <a:pt x="164" y="20"/>
                    <a:pt x="164" y="19"/>
                  </a:cubicBezTo>
                  <a:cubicBezTo>
                    <a:pt x="164" y="17"/>
                    <a:pt x="163" y="15"/>
                    <a:pt x="164" y="14"/>
                  </a:cubicBezTo>
                  <a:cubicBezTo>
                    <a:pt x="164" y="12"/>
                    <a:pt x="166" y="11"/>
                    <a:pt x="167" y="10"/>
                  </a:cubicBezTo>
                  <a:cubicBezTo>
                    <a:pt x="169" y="9"/>
                    <a:pt x="170" y="6"/>
                    <a:pt x="171" y="5"/>
                  </a:cubicBezTo>
                  <a:cubicBezTo>
                    <a:pt x="171" y="3"/>
                    <a:pt x="170" y="1"/>
                    <a:pt x="168" y="1"/>
                  </a:cubicBezTo>
                  <a:cubicBezTo>
                    <a:pt x="166" y="1"/>
                    <a:pt x="165" y="4"/>
                    <a:pt x="164" y="5"/>
                  </a:cubicBezTo>
                  <a:lnTo>
                    <a:pt x="144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0" name="Freeform 20"/>
            <p:cNvSpPr>
              <a:spLocks/>
            </p:cNvSpPr>
            <p:nvPr/>
          </p:nvSpPr>
          <p:spPr bwMode="auto">
            <a:xfrm>
              <a:off x="4230688" y="5835650"/>
              <a:ext cx="161925" cy="334963"/>
            </a:xfrm>
            <a:custGeom>
              <a:avLst/>
              <a:gdLst/>
              <a:ahLst/>
              <a:cxnLst>
                <a:cxn ang="0">
                  <a:pos x="69" y="8"/>
                </a:cxn>
                <a:cxn ang="0">
                  <a:pos x="74" y="14"/>
                </a:cxn>
                <a:cxn ang="0">
                  <a:pos x="77" y="21"/>
                </a:cxn>
                <a:cxn ang="0">
                  <a:pos x="77" y="28"/>
                </a:cxn>
                <a:cxn ang="0">
                  <a:pos x="85" y="34"/>
                </a:cxn>
                <a:cxn ang="0">
                  <a:pos x="87" y="46"/>
                </a:cxn>
                <a:cxn ang="0">
                  <a:pos x="86" y="56"/>
                </a:cxn>
                <a:cxn ang="0">
                  <a:pos x="85" y="65"/>
                </a:cxn>
                <a:cxn ang="0">
                  <a:pos x="83" y="72"/>
                </a:cxn>
                <a:cxn ang="0">
                  <a:pos x="77" y="76"/>
                </a:cxn>
                <a:cxn ang="0">
                  <a:pos x="75" y="80"/>
                </a:cxn>
                <a:cxn ang="0">
                  <a:pos x="79" y="90"/>
                </a:cxn>
                <a:cxn ang="0">
                  <a:pos x="76" y="114"/>
                </a:cxn>
                <a:cxn ang="0">
                  <a:pos x="75" y="126"/>
                </a:cxn>
                <a:cxn ang="0">
                  <a:pos x="74" y="132"/>
                </a:cxn>
                <a:cxn ang="0">
                  <a:pos x="73" y="138"/>
                </a:cxn>
                <a:cxn ang="0">
                  <a:pos x="72" y="145"/>
                </a:cxn>
                <a:cxn ang="0">
                  <a:pos x="70" y="152"/>
                </a:cxn>
                <a:cxn ang="0">
                  <a:pos x="69" y="153"/>
                </a:cxn>
                <a:cxn ang="0">
                  <a:pos x="68" y="162"/>
                </a:cxn>
                <a:cxn ang="0">
                  <a:pos x="64" y="162"/>
                </a:cxn>
                <a:cxn ang="0">
                  <a:pos x="57" y="156"/>
                </a:cxn>
                <a:cxn ang="0">
                  <a:pos x="53" y="155"/>
                </a:cxn>
                <a:cxn ang="0">
                  <a:pos x="40" y="150"/>
                </a:cxn>
                <a:cxn ang="0">
                  <a:pos x="41" y="157"/>
                </a:cxn>
                <a:cxn ang="0">
                  <a:pos x="34" y="175"/>
                </a:cxn>
                <a:cxn ang="0">
                  <a:pos x="21" y="178"/>
                </a:cxn>
                <a:cxn ang="0">
                  <a:pos x="17" y="179"/>
                </a:cxn>
                <a:cxn ang="0">
                  <a:pos x="14" y="165"/>
                </a:cxn>
                <a:cxn ang="0">
                  <a:pos x="8" y="155"/>
                </a:cxn>
                <a:cxn ang="0">
                  <a:pos x="6" y="151"/>
                </a:cxn>
                <a:cxn ang="0">
                  <a:pos x="9" y="138"/>
                </a:cxn>
                <a:cxn ang="0">
                  <a:pos x="14" y="131"/>
                </a:cxn>
                <a:cxn ang="0">
                  <a:pos x="12" y="120"/>
                </a:cxn>
                <a:cxn ang="0">
                  <a:pos x="17" y="116"/>
                </a:cxn>
                <a:cxn ang="0">
                  <a:pos x="19" y="110"/>
                </a:cxn>
                <a:cxn ang="0">
                  <a:pos x="18" y="104"/>
                </a:cxn>
                <a:cxn ang="0">
                  <a:pos x="13" y="102"/>
                </a:cxn>
                <a:cxn ang="0">
                  <a:pos x="10" y="105"/>
                </a:cxn>
                <a:cxn ang="0">
                  <a:pos x="11" y="98"/>
                </a:cxn>
                <a:cxn ang="0">
                  <a:pos x="13" y="88"/>
                </a:cxn>
                <a:cxn ang="0">
                  <a:pos x="17" y="85"/>
                </a:cxn>
                <a:cxn ang="0">
                  <a:pos x="17" y="68"/>
                </a:cxn>
                <a:cxn ang="0">
                  <a:pos x="12" y="58"/>
                </a:cxn>
                <a:cxn ang="0">
                  <a:pos x="11" y="52"/>
                </a:cxn>
                <a:cxn ang="0">
                  <a:pos x="8" y="48"/>
                </a:cxn>
                <a:cxn ang="0">
                  <a:pos x="3" y="43"/>
                </a:cxn>
                <a:cxn ang="0">
                  <a:pos x="6" y="32"/>
                </a:cxn>
                <a:cxn ang="0">
                  <a:pos x="7" y="24"/>
                </a:cxn>
                <a:cxn ang="0">
                  <a:pos x="9" y="16"/>
                </a:cxn>
                <a:cxn ang="0">
                  <a:pos x="13" y="12"/>
                </a:cxn>
                <a:cxn ang="0">
                  <a:pos x="10" y="19"/>
                </a:cxn>
                <a:cxn ang="0">
                  <a:pos x="17" y="22"/>
                </a:cxn>
                <a:cxn ang="0">
                  <a:pos x="27" y="23"/>
                </a:cxn>
                <a:cxn ang="0">
                  <a:pos x="32" y="25"/>
                </a:cxn>
                <a:cxn ang="0">
                  <a:pos x="38" y="22"/>
                </a:cxn>
                <a:cxn ang="0">
                  <a:pos x="47" y="14"/>
                </a:cxn>
                <a:cxn ang="0">
                  <a:pos x="52" y="10"/>
                </a:cxn>
                <a:cxn ang="0">
                  <a:pos x="56" y="2"/>
                </a:cxn>
              </a:cxnLst>
              <a:rect l="0" t="0" r="r" b="b"/>
              <a:pathLst>
                <a:path w="87" h="179">
                  <a:moveTo>
                    <a:pt x="67" y="5"/>
                  </a:moveTo>
                  <a:cubicBezTo>
                    <a:pt x="67" y="6"/>
                    <a:pt x="68" y="8"/>
                    <a:pt x="69" y="8"/>
                  </a:cubicBezTo>
                  <a:cubicBezTo>
                    <a:pt x="71" y="9"/>
                    <a:pt x="73" y="9"/>
                    <a:pt x="73" y="11"/>
                  </a:cubicBezTo>
                  <a:cubicBezTo>
                    <a:pt x="74" y="12"/>
                    <a:pt x="73" y="13"/>
                    <a:pt x="74" y="14"/>
                  </a:cubicBezTo>
                  <a:cubicBezTo>
                    <a:pt x="74" y="15"/>
                    <a:pt x="75" y="14"/>
                    <a:pt x="76" y="15"/>
                  </a:cubicBezTo>
                  <a:cubicBezTo>
                    <a:pt x="77" y="16"/>
                    <a:pt x="77" y="19"/>
                    <a:pt x="77" y="21"/>
                  </a:cubicBezTo>
                  <a:cubicBezTo>
                    <a:pt x="77" y="22"/>
                    <a:pt x="77" y="23"/>
                    <a:pt x="76" y="25"/>
                  </a:cubicBezTo>
                  <a:cubicBezTo>
                    <a:pt x="76" y="26"/>
                    <a:pt x="76" y="27"/>
                    <a:pt x="77" y="28"/>
                  </a:cubicBezTo>
                  <a:cubicBezTo>
                    <a:pt x="79" y="30"/>
                    <a:pt x="81" y="29"/>
                    <a:pt x="83" y="30"/>
                  </a:cubicBezTo>
                  <a:cubicBezTo>
                    <a:pt x="85" y="31"/>
                    <a:pt x="85" y="32"/>
                    <a:pt x="85" y="34"/>
                  </a:cubicBezTo>
                  <a:cubicBezTo>
                    <a:pt x="85" y="37"/>
                    <a:pt x="87" y="40"/>
                    <a:pt x="87" y="43"/>
                  </a:cubicBezTo>
                  <a:cubicBezTo>
                    <a:pt x="87" y="44"/>
                    <a:pt x="87" y="45"/>
                    <a:pt x="87" y="46"/>
                  </a:cubicBezTo>
                  <a:cubicBezTo>
                    <a:pt x="87" y="48"/>
                    <a:pt x="86" y="49"/>
                    <a:pt x="86" y="50"/>
                  </a:cubicBezTo>
                  <a:cubicBezTo>
                    <a:pt x="86" y="52"/>
                    <a:pt x="86" y="54"/>
                    <a:pt x="86" y="56"/>
                  </a:cubicBezTo>
                  <a:cubicBezTo>
                    <a:pt x="86" y="58"/>
                    <a:pt x="86" y="60"/>
                    <a:pt x="86" y="62"/>
                  </a:cubicBezTo>
                  <a:cubicBezTo>
                    <a:pt x="85" y="63"/>
                    <a:pt x="85" y="64"/>
                    <a:pt x="85" y="65"/>
                  </a:cubicBezTo>
                  <a:cubicBezTo>
                    <a:pt x="85" y="66"/>
                    <a:pt x="85" y="67"/>
                    <a:pt x="85" y="68"/>
                  </a:cubicBezTo>
                  <a:cubicBezTo>
                    <a:pt x="84" y="69"/>
                    <a:pt x="83" y="71"/>
                    <a:pt x="83" y="72"/>
                  </a:cubicBezTo>
                  <a:cubicBezTo>
                    <a:pt x="82" y="73"/>
                    <a:pt x="81" y="74"/>
                    <a:pt x="81" y="74"/>
                  </a:cubicBezTo>
                  <a:cubicBezTo>
                    <a:pt x="79" y="75"/>
                    <a:pt x="77" y="74"/>
                    <a:pt x="77" y="76"/>
                  </a:cubicBezTo>
                  <a:cubicBezTo>
                    <a:pt x="76" y="76"/>
                    <a:pt x="77" y="77"/>
                    <a:pt x="76" y="78"/>
                  </a:cubicBezTo>
                  <a:cubicBezTo>
                    <a:pt x="76" y="79"/>
                    <a:pt x="76" y="79"/>
                    <a:pt x="75" y="80"/>
                  </a:cubicBezTo>
                  <a:cubicBezTo>
                    <a:pt x="75" y="81"/>
                    <a:pt x="75" y="84"/>
                    <a:pt x="76" y="86"/>
                  </a:cubicBezTo>
                  <a:cubicBezTo>
                    <a:pt x="77" y="87"/>
                    <a:pt x="78" y="88"/>
                    <a:pt x="79" y="90"/>
                  </a:cubicBezTo>
                  <a:cubicBezTo>
                    <a:pt x="79" y="91"/>
                    <a:pt x="80" y="92"/>
                    <a:pt x="80" y="94"/>
                  </a:cubicBezTo>
                  <a:cubicBezTo>
                    <a:pt x="79" y="101"/>
                    <a:pt x="77" y="107"/>
                    <a:pt x="76" y="114"/>
                  </a:cubicBezTo>
                  <a:cubicBezTo>
                    <a:pt x="76" y="117"/>
                    <a:pt x="76" y="119"/>
                    <a:pt x="76" y="122"/>
                  </a:cubicBezTo>
                  <a:cubicBezTo>
                    <a:pt x="76" y="123"/>
                    <a:pt x="76" y="125"/>
                    <a:pt x="75" y="126"/>
                  </a:cubicBezTo>
                  <a:cubicBezTo>
                    <a:pt x="75" y="128"/>
                    <a:pt x="75" y="129"/>
                    <a:pt x="75" y="130"/>
                  </a:cubicBezTo>
                  <a:cubicBezTo>
                    <a:pt x="75" y="131"/>
                    <a:pt x="74" y="131"/>
                    <a:pt x="74" y="132"/>
                  </a:cubicBezTo>
                  <a:cubicBezTo>
                    <a:pt x="74" y="133"/>
                    <a:pt x="74" y="134"/>
                    <a:pt x="73" y="135"/>
                  </a:cubicBezTo>
                  <a:cubicBezTo>
                    <a:pt x="73" y="136"/>
                    <a:pt x="73" y="137"/>
                    <a:pt x="73" y="138"/>
                  </a:cubicBezTo>
                  <a:cubicBezTo>
                    <a:pt x="72" y="140"/>
                    <a:pt x="73" y="142"/>
                    <a:pt x="72" y="143"/>
                  </a:cubicBezTo>
                  <a:cubicBezTo>
                    <a:pt x="72" y="144"/>
                    <a:pt x="72" y="145"/>
                    <a:pt x="72" y="145"/>
                  </a:cubicBezTo>
                  <a:cubicBezTo>
                    <a:pt x="71" y="147"/>
                    <a:pt x="71" y="148"/>
                    <a:pt x="71" y="150"/>
                  </a:cubicBezTo>
                  <a:cubicBezTo>
                    <a:pt x="71" y="151"/>
                    <a:pt x="70" y="151"/>
                    <a:pt x="70" y="152"/>
                  </a:cubicBezTo>
                  <a:cubicBezTo>
                    <a:pt x="70" y="152"/>
                    <a:pt x="69" y="152"/>
                    <a:pt x="69" y="153"/>
                  </a:cubicBezTo>
                  <a:cubicBezTo>
                    <a:pt x="69" y="153"/>
                    <a:pt x="69" y="153"/>
                    <a:pt x="69" y="153"/>
                  </a:cubicBezTo>
                  <a:cubicBezTo>
                    <a:pt x="68" y="155"/>
                    <a:pt x="68" y="156"/>
                    <a:pt x="68" y="158"/>
                  </a:cubicBezTo>
                  <a:cubicBezTo>
                    <a:pt x="68" y="158"/>
                    <a:pt x="68" y="161"/>
                    <a:pt x="68" y="162"/>
                  </a:cubicBezTo>
                  <a:cubicBezTo>
                    <a:pt x="67" y="162"/>
                    <a:pt x="67" y="161"/>
                    <a:pt x="66" y="161"/>
                  </a:cubicBezTo>
                  <a:cubicBezTo>
                    <a:pt x="65" y="161"/>
                    <a:pt x="65" y="162"/>
                    <a:pt x="64" y="162"/>
                  </a:cubicBezTo>
                  <a:cubicBezTo>
                    <a:pt x="63" y="163"/>
                    <a:pt x="61" y="163"/>
                    <a:pt x="60" y="161"/>
                  </a:cubicBezTo>
                  <a:cubicBezTo>
                    <a:pt x="59" y="159"/>
                    <a:pt x="59" y="158"/>
                    <a:pt x="57" y="156"/>
                  </a:cubicBezTo>
                  <a:cubicBezTo>
                    <a:pt x="57" y="155"/>
                    <a:pt x="57" y="155"/>
                    <a:pt x="55" y="155"/>
                  </a:cubicBezTo>
                  <a:cubicBezTo>
                    <a:pt x="55" y="154"/>
                    <a:pt x="54" y="155"/>
                    <a:pt x="53" y="155"/>
                  </a:cubicBezTo>
                  <a:cubicBezTo>
                    <a:pt x="49" y="154"/>
                    <a:pt x="47" y="152"/>
                    <a:pt x="44" y="150"/>
                  </a:cubicBezTo>
                  <a:cubicBezTo>
                    <a:pt x="44" y="150"/>
                    <a:pt x="41" y="149"/>
                    <a:pt x="40" y="150"/>
                  </a:cubicBezTo>
                  <a:cubicBezTo>
                    <a:pt x="39" y="152"/>
                    <a:pt x="42" y="153"/>
                    <a:pt x="42" y="154"/>
                  </a:cubicBezTo>
                  <a:cubicBezTo>
                    <a:pt x="43" y="155"/>
                    <a:pt x="42" y="156"/>
                    <a:pt x="41" y="157"/>
                  </a:cubicBezTo>
                  <a:cubicBezTo>
                    <a:pt x="39" y="160"/>
                    <a:pt x="41" y="162"/>
                    <a:pt x="41" y="166"/>
                  </a:cubicBezTo>
                  <a:cubicBezTo>
                    <a:pt x="41" y="170"/>
                    <a:pt x="38" y="173"/>
                    <a:pt x="34" y="175"/>
                  </a:cubicBezTo>
                  <a:cubicBezTo>
                    <a:pt x="31" y="176"/>
                    <a:pt x="28" y="176"/>
                    <a:pt x="25" y="177"/>
                  </a:cubicBezTo>
                  <a:cubicBezTo>
                    <a:pt x="24" y="177"/>
                    <a:pt x="23" y="178"/>
                    <a:pt x="21" y="178"/>
                  </a:cubicBezTo>
                  <a:cubicBezTo>
                    <a:pt x="21" y="178"/>
                    <a:pt x="20" y="177"/>
                    <a:pt x="19" y="178"/>
                  </a:cubicBezTo>
                  <a:cubicBezTo>
                    <a:pt x="18" y="178"/>
                    <a:pt x="18" y="179"/>
                    <a:pt x="17" y="179"/>
                  </a:cubicBezTo>
                  <a:cubicBezTo>
                    <a:pt x="16" y="176"/>
                    <a:pt x="16" y="173"/>
                    <a:pt x="15" y="170"/>
                  </a:cubicBezTo>
                  <a:cubicBezTo>
                    <a:pt x="15" y="168"/>
                    <a:pt x="15" y="167"/>
                    <a:pt x="14" y="165"/>
                  </a:cubicBezTo>
                  <a:cubicBezTo>
                    <a:pt x="13" y="163"/>
                    <a:pt x="11" y="161"/>
                    <a:pt x="10" y="158"/>
                  </a:cubicBezTo>
                  <a:cubicBezTo>
                    <a:pt x="10" y="157"/>
                    <a:pt x="9" y="157"/>
                    <a:pt x="8" y="155"/>
                  </a:cubicBezTo>
                  <a:cubicBezTo>
                    <a:pt x="7" y="154"/>
                    <a:pt x="6" y="154"/>
                    <a:pt x="5" y="153"/>
                  </a:cubicBezTo>
                  <a:cubicBezTo>
                    <a:pt x="4" y="152"/>
                    <a:pt x="5" y="152"/>
                    <a:pt x="6" y="151"/>
                  </a:cubicBezTo>
                  <a:cubicBezTo>
                    <a:pt x="8" y="149"/>
                    <a:pt x="9" y="144"/>
                    <a:pt x="9" y="141"/>
                  </a:cubicBezTo>
                  <a:cubicBezTo>
                    <a:pt x="9" y="140"/>
                    <a:pt x="8" y="139"/>
                    <a:pt x="9" y="138"/>
                  </a:cubicBezTo>
                  <a:cubicBezTo>
                    <a:pt x="9" y="137"/>
                    <a:pt x="9" y="137"/>
                    <a:pt x="10" y="137"/>
                  </a:cubicBezTo>
                  <a:cubicBezTo>
                    <a:pt x="12" y="135"/>
                    <a:pt x="13" y="133"/>
                    <a:pt x="14" y="131"/>
                  </a:cubicBezTo>
                  <a:cubicBezTo>
                    <a:pt x="14" y="129"/>
                    <a:pt x="15" y="126"/>
                    <a:pt x="14" y="124"/>
                  </a:cubicBezTo>
                  <a:cubicBezTo>
                    <a:pt x="14" y="123"/>
                    <a:pt x="13" y="122"/>
                    <a:pt x="12" y="120"/>
                  </a:cubicBezTo>
                  <a:cubicBezTo>
                    <a:pt x="12" y="117"/>
                    <a:pt x="15" y="116"/>
                    <a:pt x="15" y="113"/>
                  </a:cubicBezTo>
                  <a:cubicBezTo>
                    <a:pt x="15" y="114"/>
                    <a:pt x="16" y="116"/>
                    <a:pt x="17" y="116"/>
                  </a:cubicBezTo>
                  <a:cubicBezTo>
                    <a:pt x="17" y="115"/>
                    <a:pt x="17" y="115"/>
                    <a:pt x="18" y="114"/>
                  </a:cubicBezTo>
                  <a:cubicBezTo>
                    <a:pt x="19" y="112"/>
                    <a:pt x="19" y="111"/>
                    <a:pt x="19" y="110"/>
                  </a:cubicBezTo>
                  <a:cubicBezTo>
                    <a:pt x="20" y="108"/>
                    <a:pt x="24" y="106"/>
                    <a:pt x="22" y="104"/>
                  </a:cubicBezTo>
                  <a:cubicBezTo>
                    <a:pt x="21" y="104"/>
                    <a:pt x="19" y="104"/>
                    <a:pt x="18" y="104"/>
                  </a:cubicBezTo>
                  <a:cubicBezTo>
                    <a:pt x="16" y="104"/>
                    <a:pt x="17" y="103"/>
                    <a:pt x="16" y="102"/>
                  </a:cubicBezTo>
                  <a:cubicBezTo>
                    <a:pt x="15" y="100"/>
                    <a:pt x="15" y="101"/>
                    <a:pt x="13" y="102"/>
                  </a:cubicBezTo>
                  <a:cubicBezTo>
                    <a:pt x="13" y="102"/>
                    <a:pt x="12" y="102"/>
                    <a:pt x="12" y="103"/>
                  </a:cubicBezTo>
                  <a:cubicBezTo>
                    <a:pt x="11" y="103"/>
                    <a:pt x="11" y="104"/>
                    <a:pt x="10" y="105"/>
                  </a:cubicBezTo>
                  <a:cubicBezTo>
                    <a:pt x="9" y="105"/>
                    <a:pt x="9" y="104"/>
                    <a:pt x="9" y="103"/>
                  </a:cubicBezTo>
                  <a:cubicBezTo>
                    <a:pt x="10" y="101"/>
                    <a:pt x="11" y="100"/>
                    <a:pt x="11" y="98"/>
                  </a:cubicBezTo>
                  <a:cubicBezTo>
                    <a:pt x="11" y="97"/>
                    <a:pt x="11" y="94"/>
                    <a:pt x="12" y="93"/>
                  </a:cubicBezTo>
                  <a:cubicBezTo>
                    <a:pt x="13" y="91"/>
                    <a:pt x="13" y="90"/>
                    <a:pt x="13" y="88"/>
                  </a:cubicBezTo>
                  <a:cubicBezTo>
                    <a:pt x="15" y="87"/>
                    <a:pt x="20" y="89"/>
                    <a:pt x="21" y="87"/>
                  </a:cubicBezTo>
                  <a:cubicBezTo>
                    <a:pt x="22" y="85"/>
                    <a:pt x="18" y="85"/>
                    <a:pt x="17" y="85"/>
                  </a:cubicBezTo>
                  <a:cubicBezTo>
                    <a:pt x="16" y="82"/>
                    <a:pt x="17" y="78"/>
                    <a:pt x="17" y="74"/>
                  </a:cubicBezTo>
                  <a:cubicBezTo>
                    <a:pt x="17" y="73"/>
                    <a:pt x="17" y="69"/>
                    <a:pt x="17" y="68"/>
                  </a:cubicBezTo>
                  <a:cubicBezTo>
                    <a:pt x="16" y="67"/>
                    <a:pt x="14" y="66"/>
                    <a:pt x="13" y="66"/>
                  </a:cubicBezTo>
                  <a:cubicBezTo>
                    <a:pt x="12" y="63"/>
                    <a:pt x="13" y="61"/>
                    <a:pt x="12" y="58"/>
                  </a:cubicBezTo>
                  <a:cubicBezTo>
                    <a:pt x="12" y="56"/>
                    <a:pt x="12" y="55"/>
                    <a:pt x="11" y="53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0" y="51"/>
                    <a:pt x="9" y="51"/>
                    <a:pt x="9" y="50"/>
                  </a:cubicBezTo>
                  <a:cubicBezTo>
                    <a:pt x="8" y="49"/>
                    <a:pt x="8" y="48"/>
                    <a:pt x="8" y="48"/>
                  </a:cubicBezTo>
                  <a:cubicBezTo>
                    <a:pt x="7" y="46"/>
                    <a:pt x="7" y="47"/>
                    <a:pt x="5" y="47"/>
                  </a:cubicBezTo>
                  <a:cubicBezTo>
                    <a:pt x="3" y="46"/>
                    <a:pt x="0" y="45"/>
                    <a:pt x="3" y="43"/>
                  </a:cubicBezTo>
                  <a:cubicBezTo>
                    <a:pt x="4" y="41"/>
                    <a:pt x="5" y="41"/>
                    <a:pt x="5" y="39"/>
                  </a:cubicBezTo>
                  <a:cubicBezTo>
                    <a:pt x="5" y="36"/>
                    <a:pt x="5" y="34"/>
                    <a:pt x="6" y="32"/>
                  </a:cubicBezTo>
                  <a:cubicBezTo>
                    <a:pt x="6" y="30"/>
                    <a:pt x="5" y="28"/>
                    <a:pt x="6" y="27"/>
                  </a:cubicBezTo>
                  <a:cubicBezTo>
                    <a:pt x="6" y="26"/>
                    <a:pt x="7" y="25"/>
                    <a:pt x="7" y="24"/>
                  </a:cubicBezTo>
                  <a:cubicBezTo>
                    <a:pt x="8" y="23"/>
                    <a:pt x="8" y="21"/>
                    <a:pt x="8" y="20"/>
                  </a:cubicBezTo>
                  <a:cubicBezTo>
                    <a:pt x="9" y="19"/>
                    <a:pt x="9" y="17"/>
                    <a:pt x="9" y="16"/>
                  </a:cubicBezTo>
                  <a:cubicBezTo>
                    <a:pt x="9" y="14"/>
                    <a:pt x="9" y="13"/>
                    <a:pt x="11" y="12"/>
                  </a:cubicBezTo>
                  <a:cubicBezTo>
                    <a:pt x="11" y="12"/>
                    <a:pt x="12" y="11"/>
                    <a:pt x="13" y="12"/>
                  </a:cubicBezTo>
                  <a:cubicBezTo>
                    <a:pt x="13" y="13"/>
                    <a:pt x="11" y="15"/>
                    <a:pt x="11" y="15"/>
                  </a:cubicBezTo>
                  <a:cubicBezTo>
                    <a:pt x="9" y="17"/>
                    <a:pt x="10" y="17"/>
                    <a:pt x="10" y="19"/>
                  </a:cubicBezTo>
                  <a:cubicBezTo>
                    <a:pt x="10" y="21"/>
                    <a:pt x="10" y="20"/>
                    <a:pt x="11" y="21"/>
                  </a:cubicBezTo>
                  <a:cubicBezTo>
                    <a:pt x="13" y="22"/>
                    <a:pt x="15" y="22"/>
                    <a:pt x="17" y="22"/>
                  </a:cubicBezTo>
                  <a:cubicBezTo>
                    <a:pt x="19" y="22"/>
                    <a:pt x="21" y="21"/>
                    <a:pt x="24" y="21"/>
                  </a:cubicBezTo>
                  <a:cubicBezTo>
                    <a:pt x="25" y="22"/>
                    <a:pt x="26" y="23"/>
                    <a:pt x="27" y="23"/>
                  </a:cubicBezTo>
                  <a:cubicBezTo>
                    <a:pt x="27" y="23"/>
                    <a:pt x="28" y="23"/>
                    <a:pt x="29" y="23"/>
                  </a:cubicBezTo>
                  <a:cubicBezTo>
                    <a:pt x="29" y="24"/>
                    <a:pt x="31" y="25"/>
                    <a:pt x="32" y="25"/>
                  </a:cubicBezTo>
                  <a:cubicBezTo>
                    <a:pt x="32" y="25"/>
                    <a:pt x="33" y="24"/>
                    <a:pt x="34" y="23"/>
                  </a:cubicBezTo>
                  <a:cubicBezTo>
                    <a:pt x="35" y="22"/>
                    <a:pt x="36" y="22"/>
                    <a:pt x="38" y="22"/>
                  </a:cubicBezTo>
                  <a:cubicBezTo>
                    <a:pt x="41" y="21"/>
                    <a:pt x="40" y="18"/>
                    <a:pt x="42" y="16"/>
                  </a:cubicBezTo>
                  <a:cubicBezTo>
                    <a:pt x="44" y="14"/>
                    <a:pt x="45" y="14"/>
                    <a:pt x="47" y="14"/>
                  </a:cubicBezTo>
                  <a:cubicBezTo>
                    <a:pt x="48" y="13"/>
                    <a:pt x="49" y="12"/>
                    <a:pt x="50" y="11"/>
                  </a:cubicBezTo>
                  <a:cubicBezTo>
                    <a:pt x="51" y="11"/>
                    <a:pt x="52" y="10"/>
                    <a:pt x="52" y="10"/>
                  </a:cubicBezTo>
                  <a:cubicBezTo>
                    <a:pt x="53" y="9"/>
                    <a:pt x="53" y="8"/>
                    <a:pt x="53" y="7"/>
                  </a:cubicBezTo>
                  <a:cubicBezTo>
                    <a:pt x="53" y="4"/>
                    <a:pt x="54" y="3"/>
                    <a:pt x="56" y="2"/>
                  </a:cubicBezTo>
                  <a:cubicBezTo>
                    <a:pt x="59" y="0"/>
                    <a:pt x="65" y="1"/>
                    <a:pt x="67" y="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1" name="Freeform 21"/>
            <p:cNvSpPr>
              <a:spLocks noEditPoints="1"/>
            </p:cNvSpPr>
            <p:nvPr/>
          </p:nvSpPr>
          <p:spPr bwMode="auto">
            <a:xfrm>
              <a:off x="4889500" y="3751263"/>
              <a:ext cx="1041400" cy="944563"/>
            </a:xfrm>
            <a:custGeom>
              <a:avLst/>
              <a:gdLst/>
              <a:ahLst/>
              <a:cxnLst>
                <a:cxn ang="0">
                  <a:pos x="549" y="385"/>
                </a:cxn>
                <a:cxn ang="0">
                  <a:pos x="543" y="329"/>
                </a:cxn>
                <a:cxn ang="0">
                  <a:pos x="531" y="290"/>
                </a:cxn>
                <a:cxn ang="0">
                  <a:pos x="533" y="257"/>
                </a:cxn>
                <a:cxn ang="0">
                  <a:pos x="522" y="235"/>
                </a:cxn>
                <a:cxn ang="0">
                  <a:pos x="532" y="203"/>
                </a:cxn>
                <a:cxn ang="0">
                  <a:pos x="552" y="184"/>
                </a:cxn>
                <a:cxn ang="0">
                  <a:pos x="546" y="161"/>
                </a:cxn>
                <a:cxn ang="0">
                  <a:pos x="524" y="97"/>
                </a:cxn>
                <a:cxn ang="0">
                  <a:pos x="518" y="61"/>
                </a:cxn>
                <a:cxn ang="0">
                  <a:pos x="473" y="42"/>
                </a:cxn>
                <a:cxn ang="0">
                  <a:pos x="315" y="39"/>
                </a:cxn>
                <a:cxn ang="0">
                  <a:pos x="293" y="41"/>
                </a:cxn>
                <a:cxn ang="0">
                  <a:pos x="243" y="1"/>
                </a:cxn>
                <a:cxn ang="0">
                  <a:pos x="187" y="10"/>
                </a:cxn>
                <a:cxn ang="0">
                  <a:pos x="156" y="17"/>
                </a:cxn>
                <a:cxn ang="0">
                  <a:pos x="114" y="50"/>
                </a:cxn>
                <a:cxn ang="0">
                  <a:pos x="77" y="63"/>
                </a:cxn>
                <a:cxn ang="0">
                  <a:pos x="36" y="71"/>
                </a:cxn>
                <a:cxn ang="0">
                  <a:pos x="14" y="81"/>
                </a:cxn>
                <a:cxn ang="0">
                  <a:pos x="16" y="93"/>
                </a:cxn>
                <a:cxn ang="0">
                  <a:pos x="33" y="138"/>
                </a:cxn>
                <a:cxn ang="0">
                  <a:pos x="16" y="170"/>
                </a:cxn>
                <a:cxn ang="0">
                  <a:pos x="31" y="187"/>
                </a:cxn>
                <a:cxn ang="0">
                  <a:pos x="37" y="212"/>
                </a:cxn>
                <a:cxn ang="0">
                  <a:pos x="43" y="231"/>
                </a:cxn>
                <a:cxn ang="0">
                  <a:pos x="38" y="260"/>
                </a:cxn>
                <a:cxn ang="0">
                  <a:pos x="44" y="276"/>
                </a:cxn>
                <a:cxn ang="0">
                  <a:pos x="47" y="292"/>
                </a:cxn>
                <a:cxn ang="0">
                  <a:pos x="60" y="310"/>
                </a:cxn>
                <a:cxn ang="0">
                  <a:pos x="61" y="338"/>
                </a:cxn>
                <a:cxn ang="0">
                  <a:pos x="88" y="356"/>
                </a:cxn>
                <a:cxn ang="0">
                  <a:pos x="118" y="367"/>
                </a:cxn>
                <a:cxn ang="0">
                  <a:pos x="138" y="375"/>
                </a:cxn>
                <a:cxn ang="0">
                  <a:pos x="140" y="398"/>
                </a:cxn>
                <a:cxn ang="0">
                  <a:pos x="157" y="412"/>
                </a:cxn>
                <a:cxn ang="0">
                  <a:pos x="167" y="393"/>
                </a:cxn>
                <a:cxn ang="0">
                  <a:pos x="191" y="400"/>
                </a:cxn>
                <a:cxn ang="0">
                  <a:pos x="208" y="414"/>
                </a:cxn>
                <a:cxn ang="0">
                  <a:pos x="231" y="426"/>
                </a:cxn>
                <a:cxn ang="0">
                  <a:pos x="269" y="455"/>
                </a:cxn>
                <a:cxn ang="0">
                  <a:pos x="286" y="475"/>
                </a:cxn>
                <a:cxn ang="0">
                  <a:pos x="308" y="466"/>
                </a:cxn>
                <a:cxn ang="0">
                  <a:pos x="321" y="487"/>
                </a:cxn>
                <a:cxn ang="0">
                  <a:pos x="338" y="483"/>
                </a:cxn>
                <a:cxn ang="0">
                  <a:pos x="376" y="480"/>
                </a:cxn>
                <a:cxn ang="0">
                  <a:pos x="393" y="473"/>
                </a:cxn>
                <a:cxn ang="0">
                  <a:pos x="427" y="479"/>
                </a:cxn>
                <a:cxn ang="0">
                  <a:pos x="445" y="490"/>
                </a:cxn>
                <a:cxn ang="0">
                  <a:pos x="477" y="503"/>
                </a:cxn>
                <a:cxn ang="0">
                  <a:pos x="477" y="486"/>
                </a:cxn>
                <a:cxn ang="0">
                  <a:pos x="474" y="462"/>
                </a:cxn>
                <a:cxn ang="0">
                  <a:pos x="500" y="424"/>
                </a:cxn>
                <a:cxn ang="0">
                  <a:pos x="551" y="390"/>
                </a:cxn>
                <a:cxn ang="0">
                  <a:pos x="545" y="359"/>
                </a:cxn>
              </a:cxnLst>
              <a:rect l="0" t="0" r="r" b="b"/>
              <a:pathLst>
                <a:path w="557" h="505">
                  <a:moveTo>
                    <a:pt x="552" y="381"/>
                  </a:moveTo>
                  <a:cubicBezTo>
                    <a:pt x="552" y="381"/>
                    <a:pt x="552" y="382"/>
                    <a:pt x="552" y="382"/>
                  </a:cubicBezTo>
                  <a:cubicBezTo>
                    <a:pt x="552" y="382"/>
                    <a:pt x="552" y="381"/>
                    <a:pt x="552" y="381"/>
                  </a:cubicBezTo>
                  <a:moveTo>
                    <a:pt x="549" y="385"/>
                  </a:moveTo>
                  <a:cubicBezTo>
                    <a:pt x="550" y="385"/>
                    <a:pt x="550" y="385"/>
                    <a:pt x="550" y="385"/>
                  </a:cubicBezTo>
                  <a:cubicBezTo>
                    <a:pt x="550" y="385"/>
                    <a:pt x="550" y="385"/>
                    <a:pt x="550" y="385"/>
                  </a:cubicBezTo>
                  <a:lnTo>
                    <a:pt x="549" y="385"/>
                  </a:lnTo>
                  <a:close/>
                  <a:moveTo>
                    <a:pt x="557" y="352"/>
                  </a:moveTo>
                  <a:cubicBezTo>
                    <a:pt x="556" y="350"/>
                    <a:pt x="556" y="351"/>
                    <a:pt x="555" y="350"/>
                  </a:cubicBezTo>
                  <a:cubicBezTo>
                    <a:pt x="554" y="348"/>
                    <a:pt x="554" y="346"/>
                    <a:pt x="554" y="344"/>
                  </a:cubicBezTo>
                  <a:cubicBezTo>
                    <a:pt x="552" y="342"/>
                    <a:pt x="550" y="339"/>
                    <a:pt x="548" y="336"/>
                  </a:cubicBezTo>
                  <a:cubicBezTo>
                    <a:pt x="548" y="335"/>
                    <a:pt x="547" y="332"/>
                    <a:pt x="546" y="331"/>
                  </a:cubicBezTo>
                  <a:cubicBezTo>
                    <a:pt x="546" y="331"/>
                    <a:pt x="545" y="331"/>
                    <a:pt x="544" y="331"/>
                  </a:cubicBezTo>
                  <a:cubicBezTo>
                    <a:pt x="543" y="331"/>
                    <a:pt x="543" y="330"/>
                    <a:pt x="543" y="329"/>
                  </a:cubicBezTo>
                  <a:cubicBezTo>
                    <a:pt x="543" y="329"/>
                    <a:pt x="543" y="328"/>
                    <a:pt x="543" y="328"/>
                  </a:cubicBezTo>
                  <a:cubicBezTo>
                    <a:pt x="542" y="327"/>
                    <a:pt x="542" y="327"/>
                    <a:pt x="542" y="326"/>
                  </a:cubicBezTo>
                  <a:cubicBezTo>
                    <a:pt x="541" y="324"/>
                    <a:pt x="540" y="323"/>
                    <a:pt x="540" y="321"/>
                  </a:cubicBezTo>
                  <a:cubicBezTo>
                    <a:pt x="538" y="317"/>
                    <a:pt x="536" y="314"/>
                    <a:pt x="535" y="310"/>
                  </a:cubicBezTo>
                  <a:cubicBezTo>
                    <a:pt x="534" y="307"/>
                    <a:pt x="533" y="304"/>
                    <a:pt x="533" y="301"/>
                  </a:cubicBezTo>
                  <a:cubicBezTo>
                    <a:pt x="533" y="299"/>
                    <a:pt x="533" y="298"/>
                    <a:pt x="533" y="296"/>
                  </a:cubicBezTo>
                  <a:cubicBezTo>
                    <a:pt x="532" y="294"/>
                    <a:pt x="532" y="291"/>
                    <a:pt x="531" y="290"/>
                  </a:cubicBezTo>
                  <a:cubicBezTo>
                    <a:pt x="530" y="288"/>
                    <a:pt x="529" y="290"/>
                    <a:pt x="527" y="289"/>
                  </a:cubicBezTo>
                  <a:cubicBezTo>
                    <a:pt x="524" y="288"/>
                    <a:pt x="525" y="285"/>
                    <a:pt x="525" y="282"/>
                  </a:cubicBezTo>
                  <a:cubicBezTo>
                    <a:pt x="525" y="280"/>
                    <a:pt x="525" y="278"/>
                    <a:pt x="525" y="276"/>
                  </a:cubicBezTo>
                  <a:cubicBezTo>
                    <a:pt x="526" y="274"/>
                    <a:pt x="527" y="274"/>
                    <a:pt x="528" y="272"/>
                  </a:cubicBezTo>
                  <a:cubicBezTo>
                    <a:pt x="528" y="271"/>
                    <a:pt x="528" y="269"/>
                    <a:pt x="528" y="268"/>
                  </a:cubicBezTo>
                  <a:cubicBezTo>
                    <a:pt x="529" y="266"/>
                    <a:pt x="529" y="266"/>
                    <a:pt x="530" y="264"/>
                  </a:cubicBezTo>
                  <a:cubicBezTo>
                    <a:pt x="531" y="262"/>
                    <a:pt x="532" y="260"/>
                    <a:pt x="533" y="257"/>
                  </a:cubicBezTo>
                  <a:cubicBezTo>
                    <a:pt x="533" y="255"/>
                    <a:pt x="532" y="254"/>
                    <a:pt x="534" y="253"/>
                  </a:cubicBezTo>
                  <a:cubicBezTo>
                    <a:pt x="534" y="252"/>
                    <a:pt x="535" y="253"/>
                    <a:pt x="535" y="252"/>
                  </a:cubicBezTo>
                  <a:cubicBezTo>
                    <a:pt x="535" y="251"/>
                    <a:pt x="535" y="249"/>
                    <a:pt x="535" y="249"/>
                  </a:cubicBezTo>
                  <a:cubicBezTo>
                    <a:pt x="535" y="247"/>
                    <a:pt x="534" y="247"/>
                    <a:pt x="533" y="245"/>
                  </a:cubicBezTo>
                  <a:cubicBezTo>
                    <a:pt x="532" y="244"/>
                    <a:pt x="531" y="243"/>
                    <a:pt x="530" y="242"/>
                  </a:cubicBezTo>
                  <a:cubicBezTo>
                    <a:pt x="528" y="240"/>
                    <a:pt x="528" y="240"/>
                    <a:pt x="526" y="240"/>
                  </a:cubicBezTo>
                  <a:cubicBezTo>
                    <a:pt x="524" y="239"/>
                    <a:pt x="523" y="237"/>
                    <a:pt x="522" y="235"/>
                  </a:cubicBezTo>
                  <a:cubicBezTo>
                    <a:pt x="520" y="232"/>
                    <a:pt x="520" y="231"/>
                    <a:pt x="516" y="232"/>
                  </a:cubicBezTo>
                  <a:cubicBezTo>
                    <a:pt x="512" y="232"/>
                    <a:pt x="513" y="227"/>
                    <a:pt x="514" y="224"/>
                  </a:cubicBezTo>
                  <a:cubicBezTo>
                    <a:pt x="515" y="223"/>
                    <a:pt x="515" y="221"/>
                    <a:pt x="515" y="219"/>
                  </a:cubicBezTo>
                  <a:cubicBezTo>
                    <a:pt x="516" y="218"/>
                    <a:pt x="518" y="217"/>
                    <a:pt x="520" y="216"/>
                  </a:cubicBezTo>
                  <a:cubicBezTo>
                    <a:pt x="523" y="214"/>
                    <a:pt x="526" y="213"/>
                    <a:pt x="528" y="210"/>
                  </a:cubicBezTo>
                  <a:cubicBezTo>
                    <a:pt x="530" y="209"/>
                    <a:pt x="529" y="210"/>
                    <a:pt x="530" y="208"/>
                  </a:cubicBezTo>
                  <a:cubicBezTo>
                    <a:pt x="531" y="206"/>
                    <a:pt x="531" y="205"/>
                    <a:pt x="532" y="203"/>
                  </a:cubicBezTo>
                  <a:cubicBezTo>
                    <a:pt x="532" y="203"/>
                    <a:pt x="532" y="201"/>
                    <a:pt x="533" y="201"/>
                  </a:cubicBezTo>
                  <a:cubicBezTo>
                    <a:pt x="533" y="200"/>
                    <a:pt x="534" y="200"/>
                    <a:pt x="535" y="199"/>
                  </a:cubicBezTo>
                  <a:cubicBezTo>
                    <a:pt x="536" y="198"/>
                    <a:pt x="537" y="197"/>
                    <a:pt x="539" y="196"/>
                  </a:cubicBezTo>
                  <a:cubicBezTo>
                    <a:pt x="542" y="195"/>
                    <a:pt x="544" y="196"/>
                    <a:pt x="547" y="196"/>
                  </a:cubicBezTo>
                  <a:cubicBezTo>
                    <a:pt x="550" y="195"/>
                    <a:pt x="549" y="195"/>
                    <a:pt x="550" y="193"/>
                  </a:cubicBezTo>
                  <a:cubicBezTo>
                    <a:pt x="551" y="192"/>
                    <a:pt x="552" y="190"/>
                    <a:pt x="552" y="188"/>
                  </a:cubicBezTo>
                  <a:cubicBezTo>
                    <a:pt x="552" y="187"/>
                    <a:pt x="552" y="185"/>
                    <a:pt x="552" y="184"/>
                  </a:cubicBezTo>
                  <a:cubicBezTo>
                    <a:pt x="553" y="183"/>
                    <a:pt x="554" y="182"/>
                    <a:pt x="554" y="181"/>
                  </a:cubicBezTo>
                  <a:cubicBezTo>
                    <a:pt x="555" y="179"/>
                    <a:pt x="555" y="178"/>
                    <a:pt x="555" y="176"/>
                  </a:cubicBezTo>
                  <a:cubicBezTo>
                    <a:pt x="555" y="174"/>
                    <a:pt x="555" y="172"/>
                    <a:pt x="555" y="170"/>
                  </a:cubicBezTo>
                  <a:cubicBezTo>
                    <a:pt x="555" y="168"/>
                    <a:pt x="556" y="164"/>
                    <a:pt x="552" y="165"/>
                  </a:cubicBezTo>
                  <a:cubicBezTo>
                    <a:pt x="551" y="165"/>
                    <a:pt x="551" y="167"/>
                    <a:pt x="550" y="166"/>
                  </a:cubicBezTo>
                  <a:cubicBezTo>
                    <a:pt x="549" y="166"/>
                    <a:pt x="549" y="165"/>
                    <a:pt x="548" y="165"/>
                  </a:cubicBezTo>
                  <a:cubicBezTo>
                    <a:pt x="547" y="163"/>
                    <a:pt x="547" y="163"/>
                    <a:pt x="546" y="161"/>
                  </a:cubicBezTo>
                  <a:cubicBezTo>
                    <a:pt x="546" y="159"/>
                    <a:pt x="547" y="156"/>
                    <a:pt x="547" y="154"/>
                  </a:cubicBezTo>
                  <a:cubicBezTo>
                    <a:pt x="546" y="153"/>
                    <a:pt x="545" y="153"/>
                    <a:pt x="545" y="151"/>
                  </a:cubicBezTo>
                  <a:cubicBezTo>
                    <a:pt x="543" y="149"/>
                    <a:pt x="542" y="145"/>
                    <a:pt x="540" y="142"/>
                  </a:cubicBezTo>
                  <a:cubicBezTo>
                    <a:pt x="538" y="136"/>
                    <a:pt x="537" y="131"/>
                    <a:pt x="534" y="125"/>
                  </a:cubicBezTo>
                  <a:cubicBezTo>
                    <a:pt x="532" y="120"/>
                    <a:pt x="529" y="116"/>
                    <a:pt x="527" y="111"/>
                  </a:cubicBezTo>
                  <a:cubicBezTo>
                    <a:pt x="526" y="108"/>
                    <a:pt x="523" y="106"/>
                    <a:pt x="523" y="102"/>
                  </a:cubicBezTo>
                  <a:cubicBezTo>
                    <a:pt x="523" y="99"/>
                    <a:pt x="523" y="99"/>
                    <a:pt x="524" y="97"/>
                  </a:cubicBezTo>
                  <a:cubicBezTo>
                    <a:pt x="525" y="95"/>
                    <a:pt x="526" y="94"/>
                    <a:pt x="526" y="92"/>
                  </a:cubicBezTo>
                  <a:cubicBezTo>
                    <a:pt x="525" y="88"/>
                    <a:pt x="521" y="85"/>
                    <a:pt x="521" y="81"/>
                  </a:cubicBezTo>
                  <a:cubicBezTo>
                    <a:pt x="520" y="80"/>
                    <a:pt x="521" y="78"/>
                    <a:pt x="521" y="77"/>
                  </a:cubicBezTo>
                  <a:cubicBezTo>
                    <a:pt x="521" y="77"/>
                    <a:pt x="520" y="76"/>
                    <a:pt x="521" y="75"/>
                  </a:cubicBezTo>
                  <a:cubicBezTo>
                    <a:pt x="521" y="74"/>
                    <a:pt x="522" y="75"/>
                    <a:pt x="522" y="74"/>
                  </a:cubicBezTo>
                  <a:cubicBezTo>
                    <a:pt x="523" y="72"/>
                    <a:pt x="523" y="67"/>
                    <a:pt x="522" y="65"/>
                  </a:cubicBezTo>
                  <a:cubicBezTo>
                    <a:pt x="521" y="63"/>
                    <a:pt x="519" y="62"/>
                    <a:pt x="518" y="61"/>
                  </a:cubicBezTo>
                  <a:cubicBezTo>
                    <a:pt x="518" y="60"/>
                    <a:pt x="516" y="59"/>
                    <a:pt x="516" y="57"/>
                  </a:cubicBezTo>
                  <a:cubicBezTo>
                    <a:pt x="516" y="56"/>
                    <a:pt x="516" y="55"/>
                    <a:pt x="516" y="54"/>
                  </a:cubicBezTo>
                  <a:cubicBezTo>
                    <a:pt x="515" y="54"/>
                    <a:pt x="513" y="52"/>
                    <a:pt x="512" y="51"/>
                  </a:cubicBezTo>
                  <a:cubicBezTo>
                    <a:pt x="508" y="49"/>
                    <a:pt x="504" y="50"/>
                    <a:pt x="500" y="49"/>
                  </a:cubicBezTo>
                  <a:cubicBezTo>
                    <a:pt x="495" y="48"/>
                    <a:pt x="491" y="45"/>
                    <a:pt x="486" y="43"/>
                  </a:cubicBezTo>
                  <a:cubicBezTo>
                    <a:pt x="484" y="43"/>
                    <a:pt x="482" y="42"/>
                    <a:pt x="480" y="42"/>
                  </a:cubicBezTo>
                  <a:cubicBezTo>
                    <a:pt x="478" y="42"/>
                    <a:pt x="475" y="42"/>
                    <a:pt x="473" y="42"/>
                  </a:cubicBezTo>
                  <a:cubicBezTo>
                    <a:pt x="466" y="42"/>
                    <a:pt x="460" y="42"/>
                    <a:pt x="453" y="42"/>
                  </a:cubicBezTo>
                  <a:cubicBezTo>
                    <a:pt x="445" y="42"/>
                    <a:pt x="436" y="41"/>
                    <a:pt x="428" y="41"/>
                  </a:cubicBezTo>
                  <a:cubicBezTo>
                    <a:pt x="416" y="41"/>
                    <a:pt x="404" y="42"/>
                    <a:pt x="392" y="41"/>
                  </a:cubicBezTo>
                  <a:cubicBezTo>
                    <a:pt x="375" y="41"/>
                    <a:pt x="359" y="40"/>
                    <a:pt x="343" y="39"/>
                  </a:cubicBezTo>
                  <a:cubicBezTo>
                    <a:pt x="336" y="38"/>
                    <a:pt x="329" y="37"/>
                    <a:pt x="322" y="36"/>
                  </a:cubicBezTo>
                  <a:cubicBezTo>
                    <a:pt x="321" y="35"/>
                    <a:pt x="320" y="35"/>
                    <a:pt x="319" y="35"/>
                  </a:cubicBezTo>
                  <a:cubicBezTo>
                    <a:pt x="319" y="37"/>
                    <a:pt x="317" y="38"/>
                    <a:pt x="315" y="39"/>
                  </a:cubicBezTo>
                  <a:cubicBezTo>
                    <a:pt x="314" y="41"/>
                    <a:pt x="310" y="41"/>
                    <a:pt x="309" y="43"/>
                  </a:cubicBezTo>
                  <a:cubicBezTo>
                    <a:pt x="308" y="45"/>
                    <a:pt x="309" y="46"/>
                    <a:pt x="307" y="48"/>
                  </a:cubicBezTo>
                  <a:cubicBezTo>
                    <a:pt x="306" y="49"/>
                    <a:pt x="303" y="48"/>
                    <a:pt x="301" y="48"/>
                  </a:cubicBezTo>
                  <a:cubicBezTo>
                    <a:pt x="298" y="49"/>
                    <a:pt x="295" y="51"/>
                    <a:pt x="292" y="50"/>
                  </a:cubicBezTo>
                  <a:cubicBezTo>
                    <a:pt x="292" y="49"/>
                    <a:pt x="292" y="48"/>
                    <a:pt x="292" y="47"/>
                  </a:cubicBezTo>
                  <a:cubicBezTo>
                    <a:pt x="293" y="45"/>
                    <a:pt x="296" y="43"/>
                    <a:pt x="296" y="42"/>
                  </a:cubicBezTo>
                  <a:cubicBezTo>
                    <a:pt x="296" y="40"/>
                    <a:pt x="295" y="39"/>
                    <a:pt x="293" y="41"/>
                  </a:cubicBezTo>
                  <a:cubicBezTo>
                    <a:pt x="292" y="41"/>
                    <a:pt x="292" y="44"/>
                    <a:pt x="291" y="44"/>
                  </a:cubicBezTo>
                  <a:cubicBezTo>
                    <a:pt x="290" y="45"/>
                    <a:pt x="289" y="43"/>
                    <a:pt x="287" y="43"/>
                  </a:cubicBezTo>
                  <a:cubicBezTo>
                    <a:pt x="286" y="43"/>
                    <a:pt x="283" y="44"/>
                    <a:pt x="282" y="44"/>
                  </a:cubicBezTo>
                  <a:cubicBezTo>
                    <a:pt x="280" y="44"/>
                    <a:pt x="269" y="46"/>
                    <a:pt x="253" y="35"/>
                  </a:cubicBezTo>
                  <a:cubicBezTo>
                    <a:pt x="252" y="27"/>
                    <a:pt x="252" y="27"/>
                    <a:pt x="252" y="27"/>
                  </a:cubicBezTo>
                  <a:cubicBezTo>
                    <a:pt x="253" y="20"/>
                    <a:pt x="246" y="10"/>
                    <a:pt x="245" y="7"/>
                  </a:cubicBezTo>
                  <a:cubicBezTo>
                    <a:pt x="245" y="5"/>
                    <a:pt x="243" y="3"/>
                    <a:pt x="243" y="1"/>
                  </a:cubicBezTo>
                  <a:cubicBezTo>
                    <a:pt x="237" y="0"/>
                    <a:pt x="230" y="1"/>
                    <a:pt x="225" y="1"/>
                  </a:cubicBezTo>
                  <a:cubicBezTo>
                    <a:pt x="220" y="1"/>
                    <a:pt x="214" y="1"/>
                    <a:pt x="210" y="1"/>
                  </a:cubicBezTo>
                  <a:cubicBezTo>
                    <a:pt x="208" y="1"/>
                    <a:pt x="206" y="1"/>
                    <a:pt x="205" y="2"/>
                  </a:cubicBezTo>
                  <a:cubicBezTo>
                    <a:pt x="202" y="2"/>
                    <a:pt x="201" y="4"/>
                    <a:pt x="199" y="5"/>
                  </a:cubicBezTo>
                  <a:cubicBezTo>
                    <a:pt x="196" y="8"/>
                    <a:pt x="193" y="9"/>
                    <a:pt x="192" y="13"/>
                  </a:cubicBezTo>
                  <a:cubicBezTo>
                    <a:pt x="191" y="13"/>
                    <a:pt x="190" y="13"/>
                    <a:pt x="189" y="13"/>
                  </a:cubicBezTo>
                  <a:cubicBezTo>
                    <a:pt x="188" y="12"/>
                    <a:pt x="187" y="10"/>
                    <a:pt x="187" y="10"/>
                  </a:cubicBezTo>
                  <a:cubicBezTo>
                    <a:pt x="184" y="8"/>
                    <a:pt x="181" y="11"/>
                    <a:pt x="178" y="12"/>
                  </a:cubicBezTo>
                  <a:cubicBezTo>
                    <a:pt x="178" y="12"/>
                    <a:pt x="176" y="12"/>
                    <a:pt x="176" y="12"/>
                  </a:cubicBezTo>
                  <a:cubicBezTo>
                    <a:pt x="174" y="13"/>
                    <a:pt x="174" y="16"/>
                    <a:pt x="172" y="16"/>
                  </a:cubicBezTo>
                  <a:cubicBezTo>
                    <a:pt x="171" y="17"/>
                    <a:pt x="168" y="18"/>
                    <a:pt x="166" y="17"/>
                  </a:cubicBezTo>
                  <a:cubicBezTo>
                    <a:pt x="164" y="17"/>
                    <a:pt x="164" y="16"/>
                    <a:pt x="163" y="15"/>
                  </a:cubicBezTo>
                  <a:cubicBezTo>
                    <a:pt x="162" y="14"/>
                    <a:pt x="157" y="14"/>
                    <a:pt x="156" y="15"/>
                  </a:cubicBezTo>
                  <a:cubicBezTo>
                    <a:pt x="155" y="15"/>
                    <a:pt x="156" y="17"/>
                    <a:pt x="156" y="17"/>
                  </a:cubicBezTo>
                  <a:cubicBezTo>
                    <a:pt x="156" y="18"/>
                    <a:pt x="155" y="18"/>
                    <a:pt x="155" y="19"/>
                  </a:cubicBezTo>
                  <a:cubicBezTo>
                    <a:pt x="152" y="21"/>
                    <a:pt x="148" y="21"/>
                    <a:pt x="145" y="24"/>
                  </a:cubicBezTo>
                  <a:cubicBezTo>
                    <a:pt x="144" y="24"/>
                    <a:pt x="143" y="26"/>
                    <a:pt x="143" y="27"/>
                  </a:cubicBezTo>
                  <a:cubicBezTo>
                    <a:pt x="141" y="28"/>
                    <a:pt x="139" y="30"/>
                    <a:pt x="137" y="32"/>
                  </a:cubicBezTo>
                  <a:cubicBezTo>
                    <a:pt x="135" y="34"/>
                    <a:pt x="135" y="37"/>
                    <a:pt x="133" y="40"/>
                  </a:cubicBezTo>
                  <a:cubicBezTo>
                    <a:pt x="131" y="43"/>
                    <a:pt x="129" y="47"/>
                    <a:pt x="125" y="47"/>
                  </a:cubicBezTo>
                  <a:cubicBezTo>
                    <a:pt x="121" y="47"/>
                    <a:pt x="117" y="47"/>
                    <a:pt x="114" y="50"/>
                  </a:cubicBezTo>
                  <a:cubicBezTo>
                    <a:pt x="113" y="50"/>
                    <a:pt x="113" y="51"/>
                    <a:pt x="112" y="51"/>
                  </a:cubicBezTo>
                  <a:cubicBezTo>
                    <a:pt x="109" y="53"/>
                    <a:pt x="105" y="53"/>
                    <a:pt x="102" y="54"/>
                  </a:cubicBezTo>
                  <a:cubicBezTo>
                    <a:pt x="101" y="54"/>
                    <a:pt x="101" y="54"/>
                    <a:pt x="100" y="55"/>
                  </a:cubicBezTo>
                  <a:cubicBezTo>
                    <a:pt x="100" y="56"/>
                    <a:pt x="100" y="57"/>
                    <a:pt x="100" y="57"/>
                  </a:cubicBezTo>
                  <a:cubicBezTo>
                    <a:pt x="99" y="58"/>
                    <a:pt x="98" y="57"/>
                    <a:pt x="97" y="58"/>
                  </a:cubicBezTo>
                  <a:cubicBezTo>
                    <a:pt x="95" y="58"/>
                    <a:pt x="95" y="59"/>
                    <a:pt x="93" y="59"/>
                  </a:cubicBezTo>
                  <a:cubicBezTo>
                    <a:pt x="88" y="62"/>
                    <a:pt x="83" y="63"/>
                    <a:pt x="77" y="63"/>
                  </a:cubicBezTo>
                  <a:cubicBezTo>
                    <a:pt x="72" y="63"/>
                    <a:pt x="69" y="63"/>
                    <a:pt x="65" y="65"/>
                  </a:cubicBezTo>
                  <a:cubicBezTo>
                    <a:pt x="61" y="67"/>
                    <a:pt x="57" y="69"/>
                    <a:pt x="54" y="71"/>
                  </a:cubicBezTo>
                  <a:cubicBezTo>
                    <a:pt x="50" y="73"/>
                    <a:pt x="46" y="74"/>
                    <a:pt x="43" y="76"/>
                  </a:cubicBezTo>
                  <a:cubicBezTo>
                    <a:pt x="46" y="75"/>
                    <a:pt x="46" y="70"/>
                    <a:pt x="48" y="69"/>
                  </a:cubicBezTo>
                  <a:cubicBezTo>
                    <a:pt x="45" y="68"/>
                    <a:pt x="43" y="68"/>
                    <a:pt x="40" y="70"/>
                  </a:cubicBezTo>
                  <a:cubicBezTo>
                    <a:pt x="39" y="70"/>
                    <a:pt x="38" y="71"/>
                    <a:pt x="38" y="71"/>
                  </a:cubicBezTo>
                  <a:cubicBezTo>
                    <a:pt x="37" y="72"/>
                    <a:pt x="36" y="71"/>
                    <a:pt x="36" y="71"/>
                  </a:cubicBezTo>
                  <a:cubicBezTo>
                    <a:pt x="34" y="72"/>
                    <a:pt x="31" y="72"/>
                    <a:pt x="29" y="73"/>
                  </a:cubicBezTo>
                  <a:cubicBezTo>
                    <a:pt x="29" y="73"/>
                    <a:pt x="28" y="74"/>
                    <a:pt x="27" y="74"/>
                  </a:cubicBezTo>
                  <a:cubicBezTo>
                    <a:pt x="25" y="75"/>
                    <a:pt x="21" y="76"/>
                    <a:pt x="18" y="77"/>
                  </a:cubicBezTo>
                  <a:cubicBezTo>
                    <a:pt x="18" y="77"/>
                    <a:pt x="18" y="78"/>
                    <a:pt x="19" y="78"/>
                  </a:cubicBezTo>
                  <a:cubicBezTo>
                    <a:pt x="19" y="79"/>
                    <a:pt x="20" y="79"/>
                    <a:pt x="20" y="80"/>
                  </a:cubicBezTo>
                  <a:cubicBezTo>
                    <a:pt x="19" y="80"/>
                    <a:pt x="18" y="80"/>
                    <a:pt x="17" y="80"/>
                  </a:cubicBezTo>
                  <a:cubicBezTo>
                    <a:pt x="16" y="80"/>
                    <a:pt x="15" y="80"/>
                    <a:pt x="14" y="81"/>
                  </a:cubicBezTo>
                  <a:cubicBezTo>
                    <a:pt x="12" y="81"/>
                    <a:pt x="11" y="82"/>
                    <a:pt x="9" y="82"/>
                  </a:cubicBezTo>
                  <a:cubicBezTo>
                    <a:pt x="6" y="82"/>
                    <a:pt x="3" y="81"/>
                    <a:pt x="0" y="83"/>
                  </a:cubicBezTo>
                  <a:cubicBezTo>
                    <a:pt x="0" y="84"/>
                    <a:pt x="1" y="85"/>
                    <a:pt x="1" y="85"/>
                  </a:cubicBezTo>
                  <a:cubicBezTo>
                    <a:pt x="1" y="86"/>
                    <a:pt x="1" y="87"/>
                    <a:pt x="1" y="87"/>
                  </a:cubicBezTo>
                  <a:cubicBezTo>
                    <a:pt x="2" y="88"/>
                    <a:pt x="5" y="89"/>
                    <a:pt x="7" y="90"/>
                  </a:cubicBezTo>
                  <a:cubicBezTo>
                    <a:pt x="8" y="91"/>
                    <a:pt x="9" y="92"/>
                    <a:pt x="10" y="93"/>
                  </a:cubicBezTo>
                  <a:cubicBezTo>
                    <a:pt x="11" y="93"/>
                    <a:pt x="14" y="94"/>
                    <a:pt x="16" y="93"/>
                  </a:cubicBezTo>
                  <a:cubicBezTo>
                    <a:pt x="18" y="93"/>
                    <a:pt x="20" y="90"/>
                    <a:pt x="21" y="89"/>
                  </a:cubicBezTo>
                  <a:cubicBezTo>
                    <a:pt x="22" y="88"/>
                    <a:pt x="23" y="93"/>
                    <a:pt x="23" y="94"/>
                  </a:cubicBezTo>
                  <a:cubicBezTo>
                    <a:pt x="23" y="96"/>
                    <a:pt x="22" y="99"/>
                    <a:pt x="23" y="101"/>
                  </a:cubicBezTo>
                  <a:cubicBezTo>
                    <a:pt x="23" y="103"/>
                    <a:pt x="24" y="106"/>
                    <a:pt x="24" y="108"/>
                  </a:cubicBezTo>
                  <a:cubicBezTo>
                    <a:pt x="26" y="113"/>
                    <a:pt x="27" y="117"/>
                    <a:pt x="29" y="122"/>
                  </a:cubicBezTo>
                  <a:cubicBezTo>
                    <a:pt x="30" y="124"/>
                    <a:pt x="32" y="127"/>
                    <a:pt x="33" y="130"/>
                  </a:cubicBezTo>
                  <a:cubicBezTo>
                    <a:pt x="34" y="132"/>
                    <a:pt x="33" y="136"/>
                    <a:pt x="33" y="138"/>
                  </a:cubicBezTo>
                  <a:cubicBezTo>
                    <a:pt x="33" y="141"/>
                    <a:pt x="33" y="143"/>
                    <a:pt x="32" y="145"/>
                  </a:cubicBezTo>
                  <a:cubicBezTo>
                    <a:pt x="31" y="148"/>
                    <a:pt x="30" y="149"/>
                    <a:pt x="28" y="151"/>
                  </a:cubicBezTo>
                  <a:cubicBezTo>
                    <a:pt x="27" y="152"/>
                    <a:pt x="26" y="155"/>
                    <a:pt x="25" y="156"/>
                  </a:cubicBezTo>
                  <a:cubicBezTo>
                    <a:pt x="25" y="156"/>
                    <a:pt x="24" y="156"/>
                    <a:pt x="23" y="157"/>
                  </a:cubicBezTo>
                  <a:cubicBezTo>
                    <a:pt x="23" y="158"/>
                    <a:pt x="22" y="159"/>
                    <a:pt x="22" y="160"/>
                  </a:cubicBezTo>
                  <a:cubicBezTo>
                    <a:pt x="21" y="162"/>
                    <a:pt x="20" y="163"/>
                    <a:pt x="19" y="164"/>
                  </a:cubicBezTo>
                  <a:cubicBezTo>
                    <a:pt x="18" y="166"/>
                    <a:pt x="17" y="168"/>
                    <a:pt x="16" y="170"/>
                  </a:cubicBezTo>
                  <a:cubicBezTo>
                    <a:pt x="16" y="170"/>
                    <a:pt x="16" y="171"/>
                    <a:pt x="16" y="171"/>
                  </a:cubicBezTo>
                  <a:cubicBezTo>
                    <a:pt x="16" y="171"/>
                    <a:pt x="15" y="172"/>
                    <a:pt x="15" y="172"/>
                  </a:cubicBezTo>
                  <a:cubicBezTo>
                    <a:pt x="15" y="174"/>
                    <a:pt x="17" y="174"/>
                    <a:pt x="17" y="175"/>
                  </a:cubicBezTo>
                  <a:cubicBezTo>
                    <a:pt x="19" y="176"/>
                    <a:pt x="20" y="177"/>
                    <a:pt x="21" y="178"/>
                  </a:cubicBezTo>
                  <a:cubicBezTo>
                    <a:pt x="22" y="180"/>
                    <a:pt x="23" y="181"/>
                    <a:pt x="25" y="182"/>
                  </a:cubicBezTo>
                  <a:cubicBezTo>
                    <a:pt x="26" y="183"/>
                    <a:pt x="27" y="183"/>
                    <a:pt x="28" y="184"/>
                  </a:cubicBezTo>
                  <a:cubicBezTo>
                    <a:pt x="29" y="185"/>
                    <a:pt x="30" y="185"/>
                    <a:pt x="31" y="187"/>
                  </a:cubicBezTo>
                  <a:cubicBezTo>
                    <a:pt x="33" y="188"/>
                    <a:pt x="33" y="190"/>
                    <a:pt x="34" y="192"/>
                  </a:cubicBezTo>
                  <a:cubicBezTo>
                    <a:pt x="34" y="192"/>
                    <a:pt x="34" y="193"/>
                    <a:pt x="34" y="193"/>
                  </a:cubicBezTo>
                  <a:cubicBezTo>
                    <a:pt x="36" y="196"/>
                    <a:pt x="40" y="196"/>
                    <a:pt x="41" y="199"/>
                  </a:cubicBezTo>
                  <a:cubicBezTo>
                    <a:pt x="41" y="200"/>
                    <a:pt x="40" y="202"/>
                    <a:pt x="40" y="203"/>
                  </a:cubicBezTo>
                  <a:cubicBezTo>
                    <a:pt x="40" y="204"/>
                    <a:pt x="40" y="205"/>
                    <a:pt x="39" y="206"/>
                  </a:cubicBezTo>
                  <a:cubicBezTo>
                    <a:pt x="39" y="208"/>
                    <a:pt x="38" y="208"/>
                    <a:pt x="37" y="210"/>
                  </a:cubicBezTo>
                  <a:cubicBezTo>
                    <a:pt x="36" y="211"/>
                    <a:pt x="36" y="210"/>
                    <a:pt x="37" y="212"/>
                  </a:cubicBezTo>
                  <a:cubicBezTo>
                    <a:pt x="37" y="214"/>
                    <a:pt x="37" y="215"/>
                    <a:pt x="37" y="217"/>
                  </a:cubicBezTo>
                  <a:cubicBezTo>
                    <a:pt x="37" y="218"/>
                    <a:pt x="38" y="221"/>
                    <a:pt x="38" y="222"/>
                  </a:cubicBezTo>
                  <a:cubicBezTo>
                    <a:pt x="39" y="223"/>
                    <a:pt x="39" y="223"/>
                    <a:pt x="39" y="223"/>
                  </a:cubicBezTo>
                  <a:cubicBezTo>
                    <a:pt x="40" y="223"/>
                    <a:pt x="40" y="224"/>
                    <a:pt x="40" y="224"/>
                  </a:cubicBezTo>
                  <a:cubicBezTo>
                    <a:pt x="40" y="224"/>
                    <a:pt x="41" y="224"/>
                    <a:pt x="42" y="225"/>
                  </a:cubicBezTo>
                  <a:cubicBezTo>
                    <a:pt x="42" y="225"/>
                    <a:pt x="42" y="227"/>
                    <a:pt x="42" y="227"/>
                  </a:cubicBezTo>
                  <a:cubicBezTo>
                    <a:pt x="42" y="229"/>
                    <a:pt x="43" y="230"/>
                    <a:pt x="43" y="231"/>
                  </a:cubicBezTo>
                  <a:cubicBezTo>
                    <a:pt x="43" y="232"/>
                    <a:pt x="42" y="232"/>
                    <a:pt x="43" y="233"/>
                  </a:cubicBezTo>
                  <a:cubicBezTo>
                    <a:pt x="43" y="234"/>
                    <a:pt x="46" y="235"/>
                    <a:pt x="46" y="236"/>
                  </a:cubicBezTo>
                  <a:cubicBezTo>
                    <a:pt x="49" y="238"/>
                    <a:pt x="47" y="241"/>
                    <a:pt x="47" y="244"/>
                  </a:cubicBezTo>
                  <a:cubicBezTo>
                    <a:pt x="46" y="247"/>
                    <a:pt x="46" y="249"/>
                    <a:pt x="46" y="252"/>
                  </a:cubicBezTo>
                  <a:cubicBezTo>
                    <a:pt x="46" y="252"/>
                    <a:pt x="46" y="252"/>
                    <a:pt x="46" y="253"/>
                  </a:cubicBezTo>
                  <a:cubicBezTo>
                    <a:pt x="45" y="255"/>
                    <a:pt x="43" y="255"/>
                    <a:pt x="41" y="255"/>
                  </a:cubicBezTo>
                  <a:cubicBezTo>
                    <a:pt x="37" y="256"/>
                    <a:pt x="38" y="257"/>
                    <a:pt x="38" y="260"/>
                  </a:cubicBezTo>
                  <a:cubicBezTo>
                    <a:pt x="38" y="261"/>
                    <a:pt x="38" y="264"/>
                    <a:pt x="38" y="265"/>
                  </a:cubicBezTo>
                  <a:cubicBezTo>
                    <a:pt x="39" y="266"/>
                    <a:pt x="40" y="265"/>
                    <a:pt x="41" y="265"/>
                  </a:cubicBezTo>
                  <a:cubicBezTo>
                    <a:pt x="40" y="265"/>
                    <a:pt x="39" y="266"/>
                    <a:pt x="38" y="267"/>
                  </a:cubicBezTo>
                  <a:cubicBezTo>
                    <a:pt x="39" y="269"/>
                    <a:pt x="41" y="271"/>
                    <a:pt x="42" y="273"/>
                  </a:cubicBezTo>
                  <a:cubicBezTo>
                    <a:pt x="42" y="273"/>
                    <a:pt x="42" y="274"/>
                    <a:pt x="42" y="274"/>
                  </a:cubicBezTo>
                  <a:cubicBezTo>
                    <a:pt x="42" y="275"/>
                    <a:pt x="43" y="275"/>
                    <a:pt x="43" y="275"/>
                  </a:cubicBezTo>
                  <a:cubicBezTo>
                    <a:pt x="43" y="275"/>
                    <a:pt x="44" y="277"/>
                    <a:pt x="44" y="276"/>
                  </a:cubicBezTo>
                  <a:cubicBezTo>
                    <a:pt x="44" y="278"/>
                    <a:pt x="45" y="280"/>
                    <a:pt x="45" y="282"/>
                  </a:cubicBezTo>
                  <a:cubicBezTo>
                    <a:pt x="45" y="283"/>
                    <a:pt x="44" y="283"/>
                    <a:pt x="44" y="284"/>
                  </a:cubicBezTo>
                  <a:cubicBezTo>
                    <a:pt x="44" y="284"/>
                    <a:pt x="43" y="284"/>
                    <a:pt x="43" y="284"/>
                  </a:cubicBezTo>
                  <a:cubicBezTo>
                    <a:pt x="43" y="285"/>
                    <a:pt x="42" y="285"/>
                    <a:pt x="41" y="285"/>
                  </a:cubicBezTo>
                  <a:cubicBezTo>
                    <a:pt x="40" y="286"/>
                    <a:pt x="41" y="287"/>
                    <a:pt x="42" y="288"/>
                  </a:cubicBezTo>
                  <a:cubicBezTo>
                    <a:pt x="42" y="288"/>
                    <a:pt x="42" y="288"/>
                    <a:pt x="43" y="289"/>
                  </a:cubicBezTo>
                  <a:cubicBezTo>
                    <a:pt x="45" y="290"/>
                    <a:pt x="46" y="291"/>
                    <a:pt x="47" y="292"/>
                  </a:cubicBezTo>
                  <a:cubicBezTo>
                    <a:pt x="48" y="293"/>
                    <a:pt x="50" y="293"/>
                    <a:pt x="51" y="294"/>
                  </a:cubicBezTo>
                  <a:cubicBezTo>
                    <a:pt x="52" y="295"/>
                    <a:pt x="52" y="295"/>
                    <a:pt x="53" y="296"/>
                  </a:cubicBezTo>
                  <a:cubicBezTo>
                    <a:pt x="54" y="298"/>
                    <a:pt x="54" y="299"/>
                    <a:pt x="54" y="301"/>
                  </a:cubicBezTo>
                  <a:cubicBezTo>
                    <a:pt x="55" y="302"/>
                    <a:pt x="55" y="303"/>
                    <a:pt x="55" y="303"/>
                  </a:cubicBezTo>
                  <a:cubicBezTo>
                    <a:pt x="55" y="304"/>
                    <a:pt x="56" y="304"/>
                    <a:pt x="56" y="304"/>
                  </a:cubicBezTo>
                  <a:cubicBezTo>
                    <a:pt x="57" y="305"/>
                    <a:pt x="58" y="306"/>
                    <a:pt x="58" y="307"/>
                  </a:cubicBezTo>
                  <a:cubicBezTo>
                    <a:pt x="59" y="308"/>
                    <a:pt x="59" y="309"/>
                    <a:pt x="60" y="310"/>
                  </a:cubicBezTo>
                  <a:cubicBezTo>
                    <a:pt x="60" y="312"/>
                    <a:pt x="60" y="311"/>
                    <a:pt x="60" y="313"/>
                  </a:cubicBezTo>
                  <a:cubicBezTo>
                    <a:pt x="59" y="315"/>
                    <a:pt x="59" y="317"/>
                    <a:pt x="58" y="319"/>
                  </a:cubicBezTo>
                  <a:cubicBezTo>
                    <a:pt x="57" y="321"/>
                    <a:pt x="57" y="322"/>
                    <a:pt x="57" y="324"/>
                  </a:cubicBezTo>
                  <a:cubicBezTo>
                    <a:pt x="56" y="326"/>
                    <a:pt x="57" y="328"/>
                    <a:pt x="56" y="330"/>
                  </a:cubicBezTo>
                  <a:cubicBezTo>
                    <a:pt x="56" y="332"/>
                    <a:pt x="54" y="333"/>
                    <a:pt x="54" y="336"/>
                  </a:cubicBezTo>
                  <a:cubicBezTo>
                    <a:pt x="54" y="337"/>
                    <a:pt x="54" y="337"/>
                    <a:pt x="54" y="338"/>
                  </a:cubicBezTo>
                  <a:cubicBezTo>
                    <a:pt x="56" y="338"/>
                    <a:pt x="59" y="338"/>
                    <a:pt x="61" y="338"/>
                  </a:cubicBezTo>
                  <a:cubicBezTo>
                    <a:pt x="65" y="338"/>
                    <a:pt x="68" y="338"/>
                    <a:pt x="72" y="338"/>
                  </a:cubicBezTo>
                  <a:cubicBezTo>
                    <a:pt x="75" y="338"/>
                    <a:pt x="75" y="338"/>
                    <a:pt x="76" y="340"/>
                  </a:cubicBezTo>
                  <a:cubicBezTo>
                    <a:pt x="76" y="340"/>
                    <a:pt x="77" y="340"/>
                    <a:pt x="77" y="341"/>
                  </a:cubicBezTo>
                  <a:cubicBezTo>
                    <a:pt x="78" y="341"/>
                    <a:pt x="78" y="341"/>
                    <a:pt x="78" y="342"/>
                  </a:cubicBezTo>
                  <a:cubicBezTo>
                    <a:pt x="78" y="342"/>
                    <a:pt x="79" y="343"/>
                    <a:pt x="79" y="343"/>
                  </a:cubicBezTo>
                  <a:cubicBezTo>
                    <a:pt x="81" y="346"/>
                    <a:pt x="82" y="348"/>
                    <a:pt x="84" y="350"/>
                  </a:cubicBezTo>
                  <a:cubicBezTo>
                    <a:pt x="85" y="352"/>
                    <a:pt x="86" y="355"/>
                    <a:pt x="88" y="356"/>
                  </a:cubicBezTo>
                  <a:cubicBezTo>
                    <a:pt x="89" y="356"/>
                    <a:pt x="90" y="356"/>
                    <a:pt x="91" y="356"/>
                  </a:cubicBezTo>
                  <a:cubicBezTo>
                    <a:pt x="93" y="356"/>
                    <a:pt x="95" y="358"/>
                    <a:pt x="97" y="358"/>
                  </a:cubicBezTo>
                  <a:cubicBezTo>
                    <a:pt x="99" y="359"/>
                    <a:pt x="102" y="361"/>
                    <a:pt x="104" y="362"/>
                  </a:cubicBezTo>
                  <a:cubicBezTo>
                    <a:pt x="106" y="362"/>
                    <a:pt x="107" y="363"/>
                    <a:pt x="108" y="363"/>
                  </a:cubicBezTo>
                  <a:cubicBezTo>
                    <a:pt x="110" y="364"/>
                    <a:pt x="111" y="364"/>
                    <a:pt x="113" y="365"/>
                  </a:cubicBezTo>
                  <a:cubicBezTo>
                    <a:pt x="114" y="365"/>
                    <a:pt x="114" y="366"/>
                    <a:pt x="115" y="366"/>
                  </a:cubicBezTo>
                  <a:cubicBezTo>
                    <a:pt x="116" y="367"/>
                    <a:pt x="117" y="366"/>
                    <a:pt x="118" y="367"/>
                  </a:cubicBezTo>
                  <a:cubicBezTo>
                    <a:pt x="118" y="367"/>
                    <a:pt x="119" y="368"/>
                    <a:pt x="120" y="369"/>
                  </a:cubicBezTo>
                  <a:cubicBezTo>
                    <a:pt x="120" y="369"/>
                    <a:pt x="122" y="369"/>
                    <a:pt x="122" y="369"/>
                  </a:cubicBezTo>
                  <a:cubicBezTo>
                    <a:pt x="124" y="370"/>
                    <a:pt x="125" y="370"/>
                    <a:pt x="127" y="370"/>
                  </a:cubicBezTo>
                  <a:cubicBezTo>
                    <a:pt x="129" y="370"/>
                    <a:pt x="131" y="369"/>
                    <a:pt x="133" y="370"/>
                  </a:cubicBezTo>
                  <a:cubicBezTo>
                    <a:pt x="135" y="370"/>
                    <a:pt x="135" y="370"/>
                    <a:pt x="136" y="371"/>
                  </a:cubicBezTo>
                  <a:cubicBezTo>
                    <a:pt x="138" y="372"/>
                    <a:pt x="137" y="370"/>
                    <a:pt x="138" y="372"/>
                  </a:cubicBezTo>
                  <a:cubicBezTo>
                    <a:pt x="138" y="372"/>
                    <a:pt x="138" y="374"/>
                    <a:pt x="138" y="375"/>
                  </a:cubicBezTo>
                  <a:cubicBezTo>
                    <a:pt x="137" y="376"/>
                    <a:pt x="136" y="377"/>
                    <a:pt x="136" y="378"/>
                  </a:cubicBezTo>
                  <a:cubicBezTo>
                    <a:pt x="135" y="379"/>
                    <a:pt x="134" y="380"/>
                    <a:pt x="133" y="381"/>
                  </a:cubicBezTo>
                  <a:cubicBezTo>
                    <a:pt x="132" y="382"/>
                    <a:pt x="130" y="383"/>
                    <a:pt x="129" y="385"/>
                  </a:cubicBezTo>
                  <a:cubicBezTo>
                    <a:pt x="128" y="386"/>
                    <a:pt x="128" y="388"/>
                    <a:pt x="128" y="389"/>
                  </a:cubicBezTo>
                  <a:cubicBezTo>
                    <a:pt x="129" y="392"/>
                    <a:pt x="131" y="392"/>
                    <a:pt x="133" y="393"/>
                  </a:cubicBezTo>
                  <a:cubicBezTo>
                    <a:pt x="135" y="394"/>
                    <a:pt x="136" y="395"/>
                    <a:pt x="137" y="396"/>
                  </a:cubicBezTo>
                  <a:cubicBezTo>
                    <a:pt x="138" y="397"/>
                    <a:pt x="139" y="397"/>
                    <a:pt x="140" y="398"/>
                  </a:cubicBezTo>
                  <a:cubicBezTo>
                    <a:pt x="140" y="398"/>
                    <a:pt x="141" y="400"/>
                    <a:pt x="141" y="400"/>
                  </a:cubicBezTo>
                  <a:cubicBezTo>
                    <a:pt x="142" y="401"/>
                    <a:pt x="142" y="401"/>
                    <a:pt x="143" y="402"/>
                  </a:cubicBezTo>
                  <a:cubicBezTo>
                    <a:pt x="144" y="404"/>
                    <a:pt x="145" y="405"/>
                    <a:pt x="145" y="407"/>
                  </a:cubicBezTo>
                  <a:cubicBezTo>
                    <a:pt x="145" y="409"/>
                    <a:pt x="146" y="410"/>
                    <a:pt x="147" y="412"/>
                  </a:cubicBezTo>
                  <a:cubicBezTo>
                    <a:pt x="148" y="413"/>
                    <a:pt x="148" y="414"/>
                    <a:pt x="149" y="415"/>
                  </a:cubicBezTo>
                  <a:cubicBezTo>
                    <a:pt x="152" y="417"/>
                    <a:pt x="154" y="415"/>
                    <a:pt x="156" y="413"/>
                  </a:cubicBezTo>
                  <a:cubicBezTo>
                    <a:pt x="156" y="412"/>
                    <a:pt x="157" y="412"/>
                    <a:pt x="157" y="412"/>
                  </a:cubicBezTo>
                  <a:cubicBezTo>
                    <a:pt x="158" y="410"/>
                    <a:pt x="158" y="411"/>
                    <a:pt x="160" y="410"/>
                  </a:cubicBezTo>
                  <a:cubicBezTo>
                    <a:pt x="162" y="408"/>
                    <a:pt x="161" y="407"/>
                    <a:pt x="163" y="406"/>
                  </a:cubicBezTo>
                  <a:cubicBezTo>
                    <a:pt x="164" y="405"/>
                    <a:pt x="165" y="405"/>
                    <a:pt x="166" y="405"/>
                  </a:cubicBezTo>
                  <a:cubicBezTo>
                    <a:pt x="167" y="404"/>
                    <a:pt x="169" y="403"/>
                    <a:pt x="171" y="403"/>
                  </a:cubicBezTo>
                  <a:cubicBezTo>
                    <a:pt x="173" y="402"/>
                    <a:pt x="174" y="402"/>
                    <a:pt x="174" y="400"/>
                  </a:cubicBezTo>
                  <a:cubicBezTo>
                    <a:pt x="173" y="397"/>
                    <a:pt x="171" y="397"/>
                    <a:pt x="169" y="395"/>
                  </a:cubicBezTo>
                  <a:cubicBezTo>
                    <a:pt x="168" y="394"/>
                    <a:pt x="168" y="394"/>
                    <a:pt x="167" y="393"/>
                  </a:cubicBezTo>
                  <a:cubicBezTo>
                    <a:pt x="166" y="391"/>
                    <a:pt x="165" y="390"/>
                    <a:pt x="165" y="388"/>
                  </a:cubicBezTo>
                  <a:cubicBezTo>
                    <a:pt x="169" y="388"/>
                    <a:pt x="174" y="388"/>
                    <a:pt x="177" y="390"/>
                  </a:cubicBezTo>
                  <a:cubicBezTo>
                    <a:pt x="177" y="390"/>
                    <a:pt x="178" y="391"/>
                    <a:pt x="177" y="392"/>
                  </a:cubicBezTo>
                  <a:cubicBezTo>
                    <a:pt x="179" y="393"/>
                    <a:pt x="179" y="392"/>
                    <a:pt x="180" y="393"/>
                  </a:cubicBezTo>
                  <a:cubicBezTo>
                    <a:pt x="181" y="394"/>
                    <a:pt x="183" y="395"/>
                    <a:pt x="184" y="395"/>
                  </a:cubicBezTo>
                  <a:cubicBezTo>
                    <a:pt x="184" y="397"/>
                    <a:pt x="185" y="397"/>
                    <a:pt x="187" y="398"/>
                  </a:cubicBezTo>
                  <a:cubicBezTo>
                    <a:pt x="189" y="398"/>
                    <a:pt x="190" y="400"/>
                    <a:pt x="191" y="400"/>
                  </a:cubicBezTo>
                  <a:cubicBezTo>
                    <a:pt x="192" y="401"/>
                    <a:pt x="192" y="400"/>
                    <a:pt x="193" y="401"/>
                  </a:cubicBezTo>
                  <a:cubicBezTo>
                    <a:pt x="194" y="401"/>
                    <a:pt x="193" y="402"/>
                    <a:pt x="194" y="402"/>
                  </a:cubicBezTo>
                  <a:cubicBezTo>
                    <a:pt x="196" y="403"/>
                    <a:pt x="200" y="402"/>
                    <a:pt x="201" y="402"/>
                  </a:cubicBezTo>
                  <a:cubicBezTo>
                    <a:pt x="204" y="402"/>
                    <a:pt x="208" y="399"/>
                    <a:pt x="210" y="402"/>
                  </a:cubicBezTo>
                  <a:cubicBezTo>
                    <a:pt x="210" y="403"/>
                    <a:pt x="210" y="406"/>
                    <a:pt x="210" y="407"/>
                  </a:cubicBezTo>
                  <a:cubicBezTo>
                    <a:pt x="209" y="409"/>
                    <a:pt x="207" y="409"/>
                    <a:pt x="206" y="411"/>
                  </a:cubicBezTo>
                  <a:cubicBezTo>
                    <a:pt x="206" y="412"/>
                    <a:pt x="207" y="413"/>
                    <a:pt x="208" y="414"/>
                  </a:cubicBezTo>
                  <a:cubicBezTo>
                    <a:pt x="209" y="415"/>
                    <a:pt x="210" y="417"/>
                    <a:pt x="212" y="417"/>
                  </a:cubicBezTo>
                  <a:cubicBezTo>
                    <a:pt x="213" y="418"/>
                    <a:pt x="214" y="420"/>
                    <a:pt x="215" y="421"/>
                  </a:cubicBezTo>
                  <a:cubicBezTo>
                    <a:pt x="217" y="422"/>
                    <a:pt x="219" y="421"/>
                    <a:pt x="220" y="421"/>
                  </a:cubicBezTo>
                  <a:cubicBezTo>
                    <a:pt x="221" y="422"/>
                    <a:pt x="221" y="422"/>
                    <a:pt x="222" y="423"/>
                  </a:cubicBezTo>
                  <a:cubicBezTo>
                    <a:pt x="222" y="423"/>
                    <a:pt x="222" y="423"/>
                    <a:pt x="223" y="423"/>
                  </a:cubicBezTo>
                  <a:cubicBezTo>
                    <a:pt x="225" y="424"/>
                    <a:pt x="226" y="423"/>
                    <a:pt x="227" y="424"/>
                  </a:cubicBezTo>
                  <a:cubicBezTo>
                    <a:pt x="229" y="424"/>
                    <a:pt x="229" y="425"/>
                    <a:pt x="231" y="426"/>
                  </a:cubicBezTo>
                  <a:cubicBezTo>
                    <a:pt x="233" y="426"/>
                    <a:pt x="235" y="426"/>
                    <a:pt x="237" y="427"/>
                  </a:cubicBezTo>
                  <a:cubicBezTo>
                    <a:pt x="239" y="427"/>
                    <a:pt x="240" y="428"/>
                    <a:pt x="243" y="428"/>
                  </a:cubicBezTo>
                  <a:cubicBezTo>
                    <a:pt x="243" y="429"/>
                    <a:pt x="243" y="429"/>
                    <a:pt x="243" y="429"/>
                  </a:cubicBezTo>
                  <a:cubicBezTo>
                    <a:pt x="245" y="429"/>
                    <a:pt x="247" y="430"/>
                    <a:pt x="249" y="431"/>
                  </a:cubicBezTo>
                  <a:cubicBezTo>
                    <a:pt x="253" y="433"/>
                    <a:pt x="256" y="433"/>
                    <a:pt x="260" y="434"/>
                  </a:cubicBezTo>
                  <a:cubicBezTo>
                    <a:pt x="257" y="440"/>
                    <a:pt x="259" y="446"/>
                    <a:pt x="264" y="449"/>
                  </a:cubicBezTo>
                  <a:cubicBezTo>
                    <a:pt x="267" y="451"/>
                    <a:pt x="269" y="452"/>
                    <a:pt x="269" y="455"/>
                  </a:cubicBezTo>
                  <a:cubicBezTo>
                    <a:pt x="269" y="457"/>
                    <a:pt x="269" y="459"/>
                    <a:pt x="269" y="460"/>
                  </a:cubicBezTo>
                  <a:cubicBezTo>
                    <a:pt x="268" y="462"/>
                    <a:pt x="267" y="463"/>
                    <a:pt x="268" y="465"/>
                  </a:cubicBezTo>
                  <a:cubicBezTo>
                    <a:pt x="268" y="465"/>
                    <a:pt x="269" y="465"/>
                    <a:pt x="270" y="465"/>
                  </a:cubicBezTo>
                  <a:cubicBezTo>
                    <a:pt x="271" y="465"/>
                    <a:pt x="271" y="465"/>
                    <a:pt x="271" y="466"/>
                  </a:cubicBezTo>
                  <a:cubicBezTo>
                    <a:pt x="272" y="467"/>
                    <a:pt x="272" y="469"/>
                    <a:pt x="272" y="470"/>
                  </a:cubicBezTo>
                  <a:cubicBezTo>
                    <a:pt x="273" y="473"/>
                    <a:pt x="272" y="475"/>
                    <a:pt x="276" y="475"/>
                  </a:cubicBezTo>
                  <a:cubicBezTo>
                    <a:pt x="279" y="476"/>
                    <a:pt x="283" y="476"/>
                    <a:pt x="286" y="475"/>
                  </a:cubicBezTo>
                  <a:cubicBezTo>
                    <a:pt x="290" y="475"/>
                    <a:pt x="289" y="473"/>
                    <a:pt x="289" y="469"/>
                  </a:cubicBezTo>
                  <a:cubicBezTo>
                    <a:pt x="290" y="466"/>
                    <a:pt x="291" y="465"/>
                    <a:pt x="294" y="464"/>
                  </a:cubicBezTo>
                  <a:cubicBezTo>
                    <a:pt x="296" y="464"/>
                    <a:pt x="296" y="463"/>
                    <a:pt x="298" y="463"/>
                  </a:cubicBezTo>
                  <a:cubicBezTo>
                    <a:pt x="298" y="463"/>
                    <a:pt x="299" y="463"/>
                    <a:pt x="299" y="462"/>
                  </a:cubicBezTo>
                  <a:cubicBezTo>
                    <a:pt x="301" y="462"/>
                    <a:pt x="301" y="461"/>
                    <a:pt x="302" y="460"/>
                  </a:cubicBezTo>
                  <a:cubicBezTo>
                    <a:pt x="304" y="458"/>
                    <a:pt x="307" y="460"/>
                    <a:pt x="307" y="463"/>
                  </a:cubicBezTo>
                  <a:cubicBezTo>
                    <a:pt x="307" y="464"/>
                    <a:pt x="307" y="465"/>
                    <a:pt x="308" y="466"/>
                  </a:cubicBezTo>
                  <a:cubicBezTo>
                    <a:pt x="309" y="467"/>
                    <a:pt x="311" y="466"/>
                    <a:pt x="311" y="468"/>
                  </a:cubicBezTo>
                  <a:cubicBezTo>
                    <a:pt x="312" y="468"/>
                    <a:pt x="315" y="470"/>
                    <a:pt x="315" y="471"/>
                  </a:cubicBezTo>
                  <a:cubicBezTo>
                    <a:pt x="316" y="472"/>
                    <a:pt x="316" y="473"/>
                    <a:pt x="316" y="473"/>
                  </a:cubicBezTo>
                  <a:cubicBezTo>
                    <a:pt x="317" y="474"/>
                    <a:pt x="318" y="475"/>
                    <a:pt x="318" y="476"/>
                  </a:cubicBezTo>
                  <a:cubicBezTo>
                    <a:pt x="319" y="477"/>
                    <a:pt x="319" y="477"/>
                    <a:pt x="319" y="479"/>
                  </a:cubicBezTo>
                  <a:cubicBezTo>
                    <a:pt x="319" y="481"/>
                    <a:pt x="319" y="483"/>
                    <a:pt x="319" y="485"/>
                  </a:cubicBezTo>
                  <a:cubicBezTo>
                    <a:pt x="319" y="487"/>
                    <a:pt x="319" y="486"/>
                    <a:pt x="321" y="487"/>
                  </a:cubicBezTo>
                  <a:cubicBezTo>
                    <a:pt x="321" y="488"/>
                    <a:pt x="322" y="488"/>
                    <a:pt x="323" y="488"/>
                  </a:cubicBezTo>
                  <a:cubicBezTo>
                    <a:pt x="323" y="489"/>
                    <a:pt x="324" y="490"/>
                    <a:pt x="325" y="490"/>
                  </a:cubicBezTo>
                  <a:cubicBezTo>
                    <a:pt x="326" y="491"/>
                    <a:pt x="326" y="491"/>
                    <a:pt x="327" y="491"/>
                  </a:cubicBezTo>
                  <a:cubicBezTo>
                    <a:pt x="328" y="491"/>
                    <a:pt x="329" y="492"/>
                    <a:pt x="329" y="493"/>
                  </a:cubicBezTo>
                  <a:cubicBezTo>
                    <a:pt x="331" y="493"/>
                    <a:pt x="333" y="493"/>
                    <a:pt x="334" y="493"/>
                  </a:cubicBezTo>
                  <a:cubicBezTo>
                    <a:pt x="334" y="491"/>
                    <a:pt x="334" y="490"/>
                    <a:pt x="334" y="488"/>
                  </a:cubicBezTo>
                  <a:cubicBezTo>
                    <a:pt x="334" y="485"/>
                    <a:pt x="335" y="484"/>
                    <a:pt x="338" y="483"/>
                  </a:cubicBezTo>
                  <a:cubicBezTo>
                    <a:pt x="341" y="480"/>
                    <a:pt x="345" y="482"/>
                    <a:pt x="349" y="481"/>
                  </a:cubicBezTo>
                  <a:cubicBezTo>
                    <a:pt x="350" y="479"/>
                    <a:pt x="349" y="478"/>
                    <a:pt x="349" y="476"/>
                  </a:cubicBezTo>
                  <a:cubicBezTo>
                    <a:pt x="351" y="476"/>
                    <a:pt x="354" y="476"/>
                    <a:pt x="356" y="476"/>
                  </a:cubicBezTo>
                  <a:cubicBezTo>
                    <a:pt x="359" y="476"/>
                    <a:pt x="361" y="473"/>
                    <a:pt x="365" y="473"/>
                  </a:cubicBezTo>
                  <a:cubicBezTo>
                    <a:pt x="366" y="474"/>
                    <a:pt x="366" y="475"/>
                    <a:pt x="368" y="475"/>
                  </a:cubicBezTo>
                  <a:cubicBezTo>
                    <a:pt x="369" y="476"/>
                    <a:pt x="370" y="475"/>
                    <a:pt x="371" y="475"/>
                  </a:cubicBezTo>
                  <a:cubicBezTo>
                    <a:pt x="373" y="476"/>
                    <a:pt x="374" y="479"/>
                    <a:pt x="376" y="480"/>
                  </a:cubicBezTo>
                  <a:cubicBezTo>
                    <a:pt x="376" y="480"/>
                    <a:pt x="378" y="480"/>
                    <a:pt x="378" y="480"/>
                  </a:cubicBezTo>
                  <a:cubicBezTo>
                    <a:pt x="379" y="481"/>
                    <a:pt x="380" y="481"/>
                    <a:pt x="381" y="481"/>
                  </a:cubicBezTo>
                  <a:cubicBezTo>
                    <a:pt x="381" y="482"/>
                    <a:pt x="381" y="483"/>
                    <a:pt x="382" y="483"/>
                  </a:cubicBezTo>
                  <a:cubicBezTo>
                    <a:pt x="382" y="483"/>
                    <a:pt x="385" y="483"/>
                    <a:pt x="385" y="483"/>
                  </a:cubicBezTo>
                  <a:cubicBezTo>
                    <a:pt x="386" y="483"/>
                    <a:pt x="389" y="481"/>
                    <a:pt x="389" y="480"/>
                  </a:cubicBezTo>
                  <a:cubicBezTo>
                    <a:pt x="390" y="478"/>
                    <a:pt x="389" y="477"/>
                    <a:pt x="390" y="475"/>
                  </a:cubicBezTo>
                  <a:cubicBezTo>
                    <a:pt x="391" y="474"/>
                    <a:pt x="392" y="473"/>
                    <a:pt x="393" y="473"/>
                  </a:cubicBezTo>
                  <a:cubicBezTo>
                    <a:pt x="395" y="473"/>
                    <a:pt x="398" y="475"/>
                    <a:pt x="399" y="471"/>
                  </a:cubicBezTo>
                  <a:cubicBezTo>
                    <a:pt x="399" y="471"/>
                    <a:pt x="400" y="470"/>
                    <a:pt x="401" y="470"/>
                  </a:cubicBezTo>
                  <a:cubicBezTo>
                    <a:pt x="402" y="470"/>
                    <a:pt x="402" y="471"/>
                    <a:pt x="403" y="471"/>
                  </a:cubicBezTo>
                  <a:cubicBezTo>
                    <a:pt x="405" y="471"/>
                    <a:pt x="408" y="471"/>
                    <a:pt x="410" y="471"/>
                  </a:cubicBezTo>
                  <a:cubicBezTo>
                    <a:pt x="413" y="472"/>
                    <a:pt x="417" y="473"/>
                    <a:pt x="420" y="474"/>
                  </a:cubicBezTo>
                  <a:cubicBezTo>
                    <a:pt x="422" y="475"/>
                    <a:pt x="423" y="476"/>
                    <a:pt x="425" y="477"/>
                  </a:cubicBezTo>
                  <a:cubicBezTo>
                    <a:pt x="426" y="478"/>
                    <a:pt x="425" y="478"/>
                    <a:pt x="427" y="479"/>
                  </a:cubicBezTo>
                  <a:cubicBezTo>
                    <a:pt x="428" y="479"/>
                    <a:pt x="429" y="478"/>
                    <a:pt x="430" y="478"/>
                  </a:cubicBezTo>
                  <a:cubicBezTo>
                    <a:pt x="431" y="479"/>
                    <a:pt x="432" y="480"/>
                    <a:pt x="433" y="481"/>
                  </a:cubicBezTo>
                  <a:cubicBezTo>
                    <a:pt x="433" y="482"/>
                    <a:pt x="433" y="482"/>
                    <a:pt x="434" y="483"/>
                  </a:cubicBezTo>
                  <a:cubicBezTo>
                    <a:pt x="434" y="483"/>
                    <a:pt x="435" y="485"/>
                    <a:pt x="435" y="485"/>
                  </a:cubicBezTo>
                  <a:cubicBezTo>
                    <a:pt x="436" y="485"/>
                    <a:pt x="436" y="485"/>
                    <a:pt x="437" y="485"/>
                  </a:cubicBezTo>
                  <a:cubicBezTo>
                    <a:pt x="439" y="486"/>
                    <a:pt x="441" y="487"/>
                    <a:pt x="442" y="488"/>
                  </a:cubicBezTo>
                  <a:cubicBezTo>
                    <a:pt x="444" y="489"/>
                    <a:pt x="444" y="489"/>
                    <a:pt x="445" y="490"/>
                  </a:cubicBezTo>
                  <a:cubicBezTo>
                    <a:pt x="446" y="492"/>
                    <a:pt x="447" y="492"/>
                    <a:pt x="448" y="493"/>
                  </a:cubicBezTo>
                  <a:cubicBezTo>
                    <a:pt x="452" y="494"/>
                    <a:pt x="455" y="494"/>
                    <a:pt x="459" y="496"/>
                  </a:cubicBezTo>
                  <a:cubicBezTo>
                    <a:pt x="460" y="496"/>
                    <a:pt x="462" y="497"/>
                    <a:pt x="464" y="498"/>
                  </a:cubicBezTo>
                  <a:cubicBezTo>
                    <a:pt x="464" y="498"/>
                    <a:pt x="465" y="499"/>
                    <a:pt x="466" y="499"/>
                  </a:cubicBezTo>
                  <a:cubicBezTo>
                    <a:pt x="466" y="500"/>
                    <a:pt x="467" y="500"/>
                    <a:pt x="468" y="500"/>
                  </a:cubicBezTo>
                  <a:cubicBezTo>
                    <a:pt x="470" y="501"/>
                    <a:pt x="471" y="503"/>
                    <a:pt x="474" y="503"/>
                  </a:cubicBezTo>
                  <a:cubicBezTo>
                    <a:pt x="475" y="503"/>
                    <a:pt x="476" y="503"/>
                    <a:pt x="477" y="503"/>
                  </a:cubicBezTo>
                  <a:cubicBezTo>
                    <a:pt x="478" y="503"/>
                    <a:pt x="478" y="504"/>
                    <a:pt x="479" y="505"/>
                  </a:cubicBezTo>
                  <a:cubicBezTo>
                    <a:pt x="481" y="505"/>
                    <a:pt x="485" y="505"/>
                    <a:pt x="487" y="505"/>
                  </a:cubicBezTo>
                  <a:cubicBezTo>
                    <a:pt x="488" y="502"/>
                    <a:pt x="485" y="500"/>
                    <a:pt x="485" y="497"/>
                  </a:cubicBezTo>
                  <a:cubicBezTo>
                    <a:pt x="484" y="497"/>
                    <a:pt x="484" y="497"/>
                    <a:pt x="483" y="496"/>
                  </a:cubicBezTo>
                  <a:cubicBezTo>
                    <a:pt x="483" y="496"/>
                    <a:pt x="483" y="495"/>
                    <a:pt x="482" y="495"/>
                  </a:cubicBezTo>
                  <a:cubicBezTo>
                    <a:pt x="482" y="495"/>
                    <a:pt x="481" y="495"/>
                    <a:pt x="480" y="495"/>
                  </a:cubicBezTo>
                  <a:cubicBezTo>
                    <a:pt x="476" y="494"/>
                    <a:pt x="477" y="489"/>
                    <a:pt x="477" y="486"/>
                  </a:cubicBezTo>
                  <a:cubicBezTo>
                    <a:pt x="477" y="484"/>
                    <a:pt x="478" y="481"/>
                    <a:pt x="477" y="479"/>
                  </a:cubicBezTo>
                  <a:cubicBezTo>
                    <a:pt x="476" y="479"/>
                    <a:pt x="476" y="478"/>
                    <a:pt x="475" y="478"/>
                  </a:cubicBezTo>
                  <a:cubicBezTo>
                    <a:pt x="475" y="477"/>
                    <a:pt x="475" y="475"/>
                    <a:pt x="475" y="474"/>
                  </a:cubicBezTo>
                  <a:cubicBezTo>
                    <a:pt x="475" y="472"/>
                    <a:pt x="474" y="471"/>
                    <a:pt x="473" y="468"/>
                  </a:cubicBezTo>
                  <a:cubicBezTo>
                    <a:pt x="473" y="467"/>
                    <a:pt x="473" y="467"/>
                    <a:pt x="473" y="466"/>
                  </a:cubicBezTo>
                  <a:cubicBezTo>
                    <a:pt x="473" y="465"/>
                    <a:pt x="473" y="464"/>
                    <a:pt x="473" y="464"/>
                  </a:cubicBezTo>
                  <a:cubicBezTo>
                    <a:pt x="473" y="462"/>
                    <a:pt x="473" y="464"/>
                    <a:pt x="474" y="462"/>
                  </a:cubicBezTo>
                  <a:cubicBezTo>
                    <a:pt x="476" y="461"/>
                    <a:pt x="477" y="459"/>
                    <a:pt x="478" y="458"/>
                  </a:cubicBezTo>
                  <a:cubicBezTo>
                    <a:pt x="480" y="457"/>
                    <a:pt x="481" y="457"/>
                    <a:pt x="482" y="455"/>
                  </a:cubicBezTo>
                  <a:cubicBezTo>
                    <a:pt x="483" y="455"/>
                    <a:pt x="484" y="454"/>
                    <a:pt x="484" y="453"/>
                  </a:cubicBezTo>
                  <a:cubicBezTo>
                    <a:pt x="485" y="451"/>
                    <a:pt x="487" y="448"/>
                    <a:pt x="488" y="445"/>
                  </a:cubicBezTo>
                  <a:cubicBezTo>
                    <a:pt x="491" y="440"/>
                    <a:pt x="494" y="436"/>
                    <a:pt x="497" y="431"/>
                  </a:cubicBezTo>
                  <a:cubicBezTo>
                    <a:pt x="498" y="429"/>
                    <a:pt x="499" y="427"/>
                    <a:pt x="500" y="426"/>
                  </a:cubicBezTo>
                  <a:cubicBezTo>
                    <a:pt x="500" y="426"/>
                    <a:pt x="500" y="425"/>
                    <a:pt x="500" y="424"/>
                  </a:cubicBezTo>
                  <a:cubicBezTo>
                    <a:pt x="500" y="424"/>
                    <a:pt x="500" y="423"/>
                    <a:pt x="501" y="423"/>
                  </a:cubicBezTo>
                  <a:cubicBezTo>
                    <a:pt x="501" y="421"/>
                    <a:pt x="501" y="419"/>
                    <a:pt x="502" y="419"/>
                  </a:cubicBezTo>
                  <a:cubicBezTo>
                    <a:pt x="503" y="417"/>
                    <a:pt x="505" y="417"/>
                    <a:pt x="506" y="416"/>
                  </a:cubicBezTo>
                  <a:cubicBezTo>
                    <a:pt x="508" y="412"/>
                    <a:pt x="512" y="410"/>
                    <a:pt x="514" y="406"/>
                  </a:cubicBezTo>
                  <a:cubicBezTo>
                    <a:pt x="517" y="403"/>
                    <a:pt x="521" y="398"/>
                    <a:pt x="525" y="396"/>
                  </a:cubicBezTo>
                  <a:cubicBezTo>
                    <a:pt x="530" y="392"/>
                    <a:pt x="536" y="390"/>
                    <a:pt x="542" y="390"/>
                  </a:cubicBezTo>
                  <a:cubicBezTo>
                    <a:pt x="544" y="390"/>
                    <a:pt x="550" y="391"/>
                    <a:pt x="551" y="390"/>
                  </a:cubicBezTo>
                  <a:cubicBezTo>
                    <a:pt x="553" y="389"/>
                    <a:pt x="552" y="385"/>
                    <a:pt x="552" y="382"/>
                  </a:cubicBezTo>
                  <a:cubicBezTo>
                    <a:pt x="552" y="383"/>
                    <a:pt x="552" y="383"/>
                    <a:pt x="551" y="384"/>
                  </a:cubicBezTo>
                  <a:cubicBezTo>
                    <a:pt x="551" y="383"/>
                    <a:pt x="552" y="382"/>
                    <a:pt x="552" y="382"/>
                  </a:cubicBezTo>
                  <a:cubicBezTo>
                    <a:pt x="552" y="377"/>
                    <a:pt x="552" y="372"/>
                    <a:pt x="552" y="367"/>
                  </a:cubicBezTo>
                  <a:cubicBezTo>
                    <a:pt x="552" y="365"/>
                    <a:pt x="552" y="364"/>
                    <a:pt x="551" y="362"/>
                  </a:cubicBezTo>
                  <a:cubicBezTo>
                    <a:pt x="550" y="361"/>
                    <a:pt x="548" y="360"/>
                    <a:pt x="548" y="360"/>
                  </a:cubicBezTo>
                  <a:cubicBezTo>
                    <a:pt x="547" y="360"/>
                    <a:pt x="545" y="359"/>
                    <a:pt x="545" y="359"/>
                  </a:cubicBezTo>
                  <a:cubicBezTo>
                    <a:pt x="541" y="354"/>
                    <a:pt x="556" y="355"/>
                    <a:pt x="556" y="355"/>
                  </a:cubicBezTo>
                  <a:cubicBezTo>
                    <a:pt x="557" y="354"/>
                    <a:pt x="557" y="353"/>
                    <a:pt x="557" y="35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2" name="Freeform 22"/>
            <p:cNvSpPr>
              <a:spLocks noEditPoints="1"/>
            </p:cNvSpPr>
            <p:nvPr/>
          </p:nvSpPr>
          <p:spPr bwMode="auto">
            <a:xfrm>
              <a:off x="4694238" y="4368800"/>
              <a:ext cx="700088" cy="392113"/>
            </a:xfrm>
            <a:custGeom>
              <a:avLst/>
              <a:gdLst/>
              <a:ahLst/>
              <a:cxnLst>
                <a:cxn ang="0">
                  <a:pos x="261" y="202"/>
                </a:cxn>
                <a:cxn ang="0">
                  <a:pos x="275" y="194"/>
                </a:cxn>
                <a:cxn ang="0">
                  <a:pos x="288" y="192"/>
                </a:cxn>
                <a:cxn ang="0">
                  <a:pos x="306" y="190"/>
                </a:cxn>
                <a:cxn ang="0">
                  <a:pos x="322" y="178"/>
                </a:cxn>
                <a:cxn ang="0">
                  <a:pos x="334" y="162"/>
                </a:cxn>
                <a:cxn ang="0">
                  <a:pos x="344" y="152"/>
                </a:cxn>
                <a:cxn ang="0">
                  <a:pos x="354" y="140"/>
                </a:cxn>
                <a:cxn ang="0">
                  <a:pos x="368" y="137"/>
                </a:cxn>
                <a:cxn ang="0">
                  <a:pos x="373" y="135"/>
                </a:cxn>
                <a:cxn ang="0">
                  <a:pos x="354" y="101"/>
                </a:cxn>
                <a:cxn ang="0">
                  <a:pos x="332" y="94"/>
                </a:cxn>
                <a:cxn ang="0">
                  <a:pos x="317" y="87"/>
                </a:cxn>
                <a:cxn ang="0">
                  <a:pos x="306" y="72"/>
                </a:cxn>
                <a:cxn ang="0">
                  <a:pos x="289" y="65"/>
                </a:cxn>
                <a:cxn ang="0">
                  <a:pos x="272" y="63"/>
                </a:cxn>
                <a:cxn ang="0">
                  <a:pos x="268" y="76"/>
                </a:cxn>
                <a:cxn ang="0">
                  <a:pos x="252" y="82"/>
                </a:cxn>
                <a:cxn ang="0">
                  <a:pos x="242" y="66"/>
                </a:cxn>
                <a:cxn ang="0">
                  <a:pos x="241" y="48"/>
                </a:cxn>
                <a:cxn ang="0">
                  <a:pos x="232" y="40"/>
                </a:cxn>
                <a:cxn ang="0">
                  <a:pos x="218" y="35"/>
                </a:cxn>
                <a:cxn ang="0">
                  <a:pos x="193" y="26"/>
                </a:cxn>
                <a:cxn ang="0">
                  <a:pos x="181" y="10"/>
                </a:cxn>
                <a:cxn ang="0">
                  <a:pos x="157" y="13"/>
                </a:cxn>
                <a:cxn ang="0">
                  <a:pos x="145" y="19"/>
                </a:cxn>
                <a:cxn ang="0">
                  <a:pos x="137" y="4"/>
                </a:cxn>
                <a:cxn ang="0">
                  <a:pos x="126" y="9"/>
                </a:cxn>
                <a:cxn ang="0">
                  <a:pos x="115" y="20"/>
                </a:cxn>
                <a:cxn ang="0">
                  <a:pos x="102" y="26"/>
                </a:cxn>
                <a:cxn ang="0">
                  <a:pos x="86" y="30"/>
                </a:cxn>
                <a:cxn ang="0">
                  <a:pos x="78" y="41"/>
                </a:cxn>
                <a:cxn ang="0">
                  <a:pos x="71" y="41"/>
                </a:cxn>
                <a:cxn ang="0">
                  <a:pos x="61" y="48"/>
                </a:cxn>
                <a:cxn ang="0">
                  <a:pos x="51" y="56"/>
                </a:cxn>
                <a:cxn ang="0">
                  <a:pos x="39" y="55"/>
                </a:cxn>
                <a:cxn ang="0">
                  <a:pos x="28" y="59"/>
                </a:cxn>
                <a:cxn ang="0">
                  <a:pos x="15" y="73"/>
                </a:cxn>
                <a:cxn ang="0">
                  <a:pos x="11" y="75"/>
                </a:cxn>
                <a:cxn ang="0">
                  <a:pos x="2" y="68"/>
                </a:cxn>
                <a:cxn ang="0">
                  <a:pos x="11" y="88"/>
                </a:cxn>
                <a:cxn ang="0">
                  <a:pos x="23" y="102"/>
                </a:cxn>
                <a:cxn ang="0">
                  <a:pos x="18" y="117"/>
                </a:cxn>
                <a:cxn ang="0">
                  <a:pos x="29" y="137"/>
                </a:cxn>
                <a:cxn ang="0">
                  <a:pos x="40" y="148"/>
                </a:cxn>
                <a:cxn ang="0">
                  <a:pos x="54" y="164"/>
                </a:cxn>
                <a:cxn ang="0">
                  <a:pos x="66" y="171"/>
                </a:cxn>
                <a:cxn ang="0">
                  <a:pos x="83" y="186"/>
                </a:cxn>
                <a:cxn ang="0">
                  <a:pos x="91" y="194"/>
                </a:cxn>
                <a:cxn ang="0">
                  <a:pos x="102" y="207"/>
                </a:cxn>
                <a:cxn ang="0">
                  <a:pos x="114" y="210"/>
                </a:cxn>
                <a:cxn ang="0">
                  <a:pos x="127" y="208"/>
                </a:cxn>
                <a:cxn ang="0">
                  <a:pos x="136" y="207"/>
                </a:cxn>
                <a:cxn ang="0">
                  <a:pos x="151" y="192"/>
                </a:cxn>
                <a:cxn ang="0">
                  <a:pos x="157" y="175"/>
                </a:cxn>
                <a:cxn ang="0">
                  <a:pos x="172" y="178"/>
                </a:cxn>
                <a:cxn ang="0">
                  <a:pos x="194" y="187"/>
                </a:cxn>
                <a:cxn ang="0">
                  <a:pos x="215" y="196"/>
                </a:cxn>
                <a:cxn ang="0">
                  <a:pos x="238" y="193"/>
                </a:cxn>
                <a:cxn ang="0">
                  <a:pos x="254" y="200"/>
                </a:cxn>
                <a:cxn ang="0">
                  <a:pos x="261" y="202"/>
                </a:cxn>
              </a:cxnLst>
              <a:rect l="0" t="0" r="r" b="b"/>
              <a:pathLst>
                <a:path w="375" h="210">
                  <a:moveTo>
                    <a:pt x="159" y="8"/>
                  </a:moveTo>
                  <a:cubicBezTo>
                    <a:pt x="159" y="8"/>
                    <a:pt x="159" y="8"/>
                    <a:pt x="159" y="8"/>
                  </a:cubicBezTo>
                  <a:cubicBezTo>
                    <a:pt x="159" y="8"/>
                    <a:pt x="159" y="7"/>
                    <a:pt x="159" y="7"/>
                  </a:cubicBezTo>
                  <a:cubicBezTo>
                    <a:pt x="159" y="7"/>
                    <a:pt x="159" y="8"/>
                    <a:pt x="159" y="8"/>
                  </a:cubicBezTo>
                  <a:moveTo>
                    <a:pt x="261" y="202"/>
                  </a:moveTo>
                  <a:cubicBezTo>
                    <a:pt x="262" y="202"/>
                    <a:pt x="263" y="203"/>
                    <a:pt x="264" y="202"/>
                  </a:cubicBezTo>
                  <a:cubicBezTo>
                    <a:pt x="267" y="202"/>
                    <a:pt x="268" y="201"/>
                    <a:pt x="270" y="200"/>
                  </a:cubicBezTo>
                  <a:cubicBezTo>
                    <a:pt x="271" y="199"/>
                    <a:pt x="271" y="198"/>
                    <a:pt x="272" y="197"/>
                  </a:cubicBezTo>
                  <a:cubicBezTo>
                    <a:pt x="272" y="196"/>
                    <a:pt x="273" y="196"/>
                    <a:pt x="273" y="196"/>
                  </a:cubicBezTo>
                  <a:cubicBezTo>
                    <a:pt x="274" y="195"/>
                    <a:pt x="274" y="194"/>
                    <a:pt x="275" y="194"/>
                  </a:cubicBezTo>
                  <a:cubicBezTo>
                    <a:pt x="276" y="193"/>
                    <a:pt x="277" y="192"/>
                    <a:pt x="278" y="191"/>
                  </a:cubicBezTo>
                  <a:cubicBezTo>
                    <a:pt x="279" y="191"/>
                    <a:pt x="279" y="189"/>
                    <a:pt x="280" y="188"/>
                  </a:cubicBezTo>
                  <a:cubicBezTo>
                    <a:pt x="282" y="188"/>
                    <a:pt x="282" y="189"/>
                    <a:pt x="282" y="190"/>
                  </a:cubicBezTo>
                  <a:cubicBezTo>
                    <a:pt x="283" y="190"/>
                    <a:pt x="284" y="190"/>
                    <a:pt x="285" y="191"/>
                  </a:cubicBezTo>
                  <a:cubicBezTo>
                    <a:pt x="286" y="191"/>
                    <a:pt x="287" y="192"/>
                    <a:pt x="288" y="192"/>
                  </a:cubicBezTo>
                  <a:cubicBezTo>
                    <a:pt x="292" y="194"/>
                    <a:pt x="296" y="193"/>
                    <a:pt x="300" y="192"/>
                  </a:cubicBezTo>
                  <a:cubicBezTo>
                    <a:pt x="301" y="192"/>
                    <a:pt x="302" y="193"/>
                    <a:pt x="303" y="192"/>
                  </a:cubicBezTo>
                  <a:cubicBezTo>
                    <a:pt x="303" y="192"/>
                    <a:pt x="303" y="192"/>
                    <a:pt x="303" y="191"/>
                  </a:cubicBezTo>
                  <a:cubicBezTo>
                    <a:pt x="303" y="191"/>
                    <a:pt x="304" y="191"/>
                    <a:pt x="304" y="191"/>
                  </a:cubicBezTo>
                  <a:cubicBezTo>
                    <a:pt x="305" y="190"/>
                    <a:pt x="305" y="190"/>
                    <a:pt x="306" y="190"/>
                  </a:cubicBezTo>
                  <a:cubicBezTo>
                    <a:pt x="308" y="189"/>
                    <a:pt x="310" y="188"/>
                    <a:pt x="311" y="187"/>
                  </a:cubicBezTo>
                  <a:cubicBezTo>
                    <a:pt x="312" y="186"/>
                    <a:pt x="314" y="185"/>
                    <a:pt x="315" y="184"/>
                  </a:cubicBezTo>
                  <a:cubicBezTo>
                    <a:pt x="316" y="184"/>
                    <a:pt x="317" y="183"/>
                    <a:pt x="318" y="182"/>
                  </a:cubicBezTo>
                  <a:cubicBezTo>
                    <a:pt x="319" y="181"/>
                    <a:pt x="319" y="181"/>
                    <a:pt x="319" y="180"/>
                  </a:cubicBezTo>
                  <a:cubicBezTo>
                    <a:pt x="320" y="179"/>
                    <a:pt x="320" y="179"/>
                    <a:pt x="322" y="178"/>
                  </a:cubicBezTo>
                  <a:cubicBezTo>
                    <a:pt x="323" y="178"/>
                    <a:pt x="323" y="178"/>
                    <a:pt x="324" y="178"/>
                  </a:cubicBezTo>
                  <a:cubicBezTo>
                    <a:pt x="325" y="177"/>
                    <a:pt x="326" y="178"/>
                    <a:pt x="326" y="178"/>
                  </a:cubicBezTo>
                  <a:cubicBezTo>
                    <a:pt x="327" y="177"/>
                    <a:pt x="327" y="176"/>
                    <a:pt x="327" y="175"/>
                  </a:cubicBezTo>
                  <a:cubicBezTo>
                    <a:pt x="329" y="173"/>
                    <a:pt x="331" y="171"/>
                    <a:pt x="331" y="168"/>
                  </a:cubicBezTo>
                  <a:cubicBezTo>
                    <a:pt x="331" y="165"/>
                    <a:pt x="333" y="164"/>
                    <a:pt x="334" y="162"/>
                  </a:cubicBezTo>
                  <a:cubicBezTo>
                    <a:pt x="334" y="161"/>
                    <a:pt x="334" y="159"/>
                    <a:pt x="334" y="159"/>
                  </a:cubicBezTo>
                  <a:cubicBezTo>
                    <a:pt x="335" y="158"/>
                    <a:pt x="335" y="157"/>
                    <a:pt x="336" y="156"/>
                  </a:cubicBezTo>
                  <a:cubicBezTo>
                    <a:pt x="336" y="155"/>
                    <a:pt x="336" y="153"/>
                    <a:pt x="337" y="153"/>
                  </a:cubicBezTo>
                  <a:cubicBezTo>
                    <a:pt x="338" y="153"/>
                    <a:pt x="340" y="153"/>
                    <a:pt x="341" y="153"/>
                  </a:cubicBezTo>
                  <a:cubicBezTo>
                    <a:pt x="342" y="153"/>
                    <a:pt x="343" y="152"/>
                    <a:pt x="344" y="152"/>
                  </a:cubicBezTo>
                  <a:cubicBezTo>
                    <a:pt x="344" y="151"/>
                    <a:pt x="345" y="150"/>
                    <a:pt x="345" y="150"/>
                  </a:cubicBezTo>
                  <a:cubicBezTo>
                    <a:pt x="345" y="149"/>
                    <a:pt x="345" y="149"/>
                    <a:pt x="346" y="149"/>
                  </a:cubicBezTo>
                  <a:cubicBezTo>
                    <a:pt x="347" y="147"/>
                    <a:pt x="347" y="145"/>
                    <a:pt x="350" y="143"/>
                  </a:cubicBezTo>
                  <a:cubicBezTo>
                    <a:pt x="351" y="143"/>
                    <a:pt x="352" y="143"/>
                    <a:pt x="352" y="142"/>
                  </a:cubicBezTo>
                  <a:cubicBezTo>
                    <a:pt x="353" y="141"/>
                    <a:pt x="353" y="141"/>
                    <a:pt x="354" y="140"/>
                  </a:cubicBezTo>
                  <a:cubicBezTo>
                    <a:pt x="355" y="140"/>
                    <a:pt x="356" y="139"/>
                    <a:pt x="357" y="138"/>
                  </a:cubicBezTo>
                  <a:cubicBezTo>
                    <a:pt x="358" y="137"/>
                    <a:pt x="357" y="136"/>
                    <a:pt x="359" y="136"/>
                  </a:cubicBezTo>
                  <a:cubicBezTo>
                    <a:pt x="360" y="136"/>
                    <a:pt x="361" y="137"/>
                    <a:pt x="363" y="138"/>
                  </a:cubicBezTo>
                  <a:cubicBezTo>
                    <a:pt x="364" y="138"/>
                    <a:pt x="365" y="138"/>
                    <a:pt x="366" y="137"/>
                  </a:cubicBezTo>
                  <a:cubicBezTo>
                    <a:pt x="368" y="137"/>
                    <a:pt x="367" y="137"/>
                    <a:pt x="368" y="137"/>
                  </a:cubicBezTo>
                  <a:cubicBezTo>
                    <a:pt x="369" y="136"/>
                    <a:pt x="369" y="136"/>
                    <a:pt x="370" y="136"/>
                  </a:cubicBezTo>
                  <a:cubicBezTo>
                    <a:pt x="371" y="135"/>
                    <a:pt x="373" y="135"/>
                    <a:pt x="375" y="135"/>
                  </a:cubicBezTo>
                  <a:cubicBezTo>
                    <a:pt x="375" y="135"/>
                    <a:pt x="375" y="135"/>
                    <a:pt x="375" y="135"/>
                  </a:cubicBezTo>
                  <a:cubicBezTo>
                    <a:pt x="375" y="135"/>
                    <a:pt x="375" y="135"/>
                    <a:pt x="375" y="135"/>
                  </a:cubicBezTo>
                  <a:cubicBezTo>
                    <a:pt x="374" y="135"/>
                    <a:pt x="373" y="135"/>
                    <a:pt x="373" y="135"/>
                  </a:cubicBezTo>
                  <a:cubicBezTo>
                    <a:pt x="372" y="133"/>
                    <a:pt x="373" y="132"/>
                    <a:pt x="374" y="130"/>
                  </a:cubicBezTo>
                  <a:cubicBezTo>
                    <a:pt x="374" y="129"/>
                    <a:pt x="374" y="127"/>
                    <a:pt x="374" y="125"/>
                  </a:cubicBezTo>
                  <a:cubicBezTo>
                    <a:pt x="374" y="122"/>
                    <a:pt x="372" y="121"/>
                    <a:pt x="369" y="119"/>
                  </a:cubicBezTo>
                  <a:cubicBezTo>
                    <a:pt x="364" y="116"/>
                    <a:pt x="362" y="110"/>
                    <a:pt x="365" y="104"/>
                  </a:cubicBezTo>
                  <a:cubicBezTo>
                    <a:pt x="361" y="103"/>
                    <a:pt x="358" y="103"/>
                    <a:pt x="354" y="101"/>
                  </a:cubicBezTo>
                  <a:cubicBezTo>
                    <a:pt x="352" y="100"/>
                    <a:pt x="350" y="99"/>
                    <a:pt x="348" y="99"/>
                  </a:cubicBezTo>
                  <a:cubicBezTo>
                    <a:pt x="348" y="99"/>
                    <a:pt x="348" y="99"/>
                    <a:pt x="348" y="98"/>
                  </a:cubicBezTo>
                  <a:cubicBezTo>
                    <a:pt x="345" y="98"/>
                    <a:pt x="344" y="97"/>
                    <a:pt x="342" y="97"/>
                  </a:cubicBezTo>
                  <a:cubicBezTo>
                    <a:pt x="340" y="96"/>
                    <a:pt x="338" y="96"/>
                    <a:pt x="336" y="96"/>
                  </a:cubicBezTo>
                  <a:cubicBezTo>
                    <a:pt x="334" y="95"/>
                    <a:pt x="334" y="94"/>
                    <a:pt x="332" y="94"/>
                  </a:cubicBezTo>
                  <a:cubicBezTo>
                    <a:pt x="331" y="93"/>
                    <a:pt x="330" y="94"/>
                    <a:pt x="328" y="93"/>
                  </a:cubicBezTo>
                  <a:cubicBezTo>
                    <a:pt x="327" y="93"/>
                    <a:pt x="327" y="93"/>
                    <a:pt x="327" y="93"/>
                  </a:cubicBezTo>
                  <a:cubicBezTo>
                    <a:pt x="326" y="92"/>
                    <a:pt x="326" y="92"/>
                    <a:pt x="325" y="91"/>
                  </a:cubicBezTo>
                  <a:cubicBezTo>
                    <a:pt x="324" y="91"/>
                    <a:pt x="322" y="92"/>
                    <a:pt x="320" y="91"/>
                  </a:cubicBezTo>
                  <a:cubicBezTo>
                    <a:pt x="319" y="90"/>
                    <a:pt x="318" y="88"/>
                    <a:pt x="317" y="87"/>
                  </a:cubicBezTo>
                  <a:cubicBezTo>
                    <a:pt x="315" y="87"/>
                    <a:pt x="314" y="85"/>
                    <a:pt x="313" y="84"/>
                  </a:cubicBezTo>
                  <a:cubicBezTo>
                    <a:pt x="312" y="83"/>
                    <a:pt x="311" y="82"/>
                    <a:pt x="311" y="81"/>
                  </a:cubicBezTo>
                  <a:cubicBezTo>
                    <a:pt x="312" y="79"/>
                    <a:pt x="314" y="79"/>
                    <a:pt x="315" y="77"/>
                  </a:cubicBezTo>
                  <a:cubicBezTo>
                    <a:pt x="315" y="76"/>
                    <a:pt x="315" y="73"/>
                    <a:pt x="315" y="72"/>
                  </a:cubicBezTo>
                  <a:cubicBezTo>
                    <a:pt x="313" y="69"/>
                    <a:pt x="309" y="72"/>
                    <a:pt x="306" y="72"/>
                  </a:cubicBezTo>
                  <a:cubicBezTo>
                    <a:pt x="305" y="72"/>
                    <a:pt x="301" y="73"/>
                    <a:pt x="299" y="72"/>
                  </a:cubicBezTo>
                  <a:cubicBezTo>
                    <a:pt x="298" y="72"/>
                    <a:pt x="299" y="71"/>
                    <a:pt x="298" y="71"/>
                  </a:cubicBezTo>
                  <a:cubicBezTo>
                    <a:pt x="297" y="70"/>
                    <a:pt x="297" y="71"/>
                    <a:pt x="296" y="70"/>
                  </a:cubicBezTo>
                  <a:cubicBezTo>
                    <a:pt x="295" y="70"/>
                    <a:pt x="294" y="68"/>
                    <a:pt x="292" y="68"/>
                  </a:cubicBezTo>
                  <a:cubicBezTo>
                    <a:pt x="290" y="67"/>
                    <a:pt x="289" y="67"/>
                    <a:pt x="289" y="65"/>
                  </a:cubicBezTo>
                  <a:cubicBezTo>
                    <a:pt x="288" y="65"/>
                    <a:pt x="286" y="64"/>
                    <a:pt x="285" y="63"/>
                  </a:cubicBezTo>
                  <a:cubicBezTo>
                    <a:pt x="284" y="62"/>
                    <a:pt x="284" y="63"/>
                    <a:pt x="282" y="62"/>
                  </a:cubicBezTo>
                  <a:cubicBezTo>
                    <a:pt x="283" y="61"/>
                    <a:pt x="282" y="60"/>
                    <a:pt x="282" y="60"/>
                  </a:cubicBezTo>
                  <a:cubicBezTo>
                    <a:pt x="279" y="58"/>
                    <a:pt x="274" y="58"/>
                    <a:pt x="270" y="58"/>
                  </a:cubicBezTo>
                  <a:cubicBezTo>
                    <a:pt x="270" y="60"/>
                    <a:pt x="271" y="61"/>
                    <a:pt x="272" y="63"/>
                  </a:cubicBezTo>
                  <a:cubicBezTo>
                    <a:pt x="273" y="64"/>
                    <a:pt x="273" y="64"/>
                    <a:pt x="274" y="65"/>
                  </a:cubicBezTo>
                  <a:cubicBezTo>
                    <a:pt x="276" y="67"/>
                    <a:pt x="278" y="67"/>
                    <a:pt x="279" y="70"/>
                  </a:cubicBezTo>
                  <a:cubicBezTo>
                    <a:pt x="279" y="72"/>
                    <a:pt x="278" y="72"/>
                    <a:pt x="276" y="73"/>
                  </a:cubicBezTo>
                  <a:cubicBezTo>
                    <a:pt x="274" y="73"/>
                    <a:pt x="272" y="74"/>
                    <a:pt x="271" y="75"/>
                  </a:cubicBezTo>
                  <a:cubicBezTo>
                    <a:pt x="270" y="75"/>
                    <a:pt x="269" y="75"/>
                    <a:pt x="268" y="76"/>
                  </a:cubicBezTo>
                  <a:cubicBezTo>
                    <a:pt x="266" y="77"/>
                    <a:pt x="267" y="78"/>
                    <a:pt x="265" y="80"/>
                  </a:cubicBezTo>
                  <a:cubicBezTo>
                    <a:pt x="263" y="81"/>
                    <a:pt x="263" y="80"/>
                    <a:pt x="262" y="82"/>
                  </a:cubicBezTo>
                  <a:cubicBezTo>
                    <a:pt x="262" y="82"/>
                    <a:pt x="261" y="82"/>
                    <a:pt x="261" y="83"/>
                  </a:cubicBezTo>
                  <a:cubicBezTo>
                    <a:pt x="259" y="85"/>
                    <a:pt x="257" y="87"/>
                    <a:pt x="254" y="85"/>
                  </a:cubicBezTo>
                  <a:cubicBezTo>
                    <a:pt x="253" y="84"/>
                    <a:pt x="253" y="83"/>
                    <a:pt x="252" y="82"/>
                  </a:cubicBezTo>
                  <a:cubicBezTo>
                    <a:pt x="251" y="80"/>
                    <a:pt x="250" y="79"/>
                    <a:pt x="250" y="77"/>
                  </a:cubicBezTo>
                  <a:cubicBezTo>
                    <a:pt x="250" y="75"/>
                    <a:pt x="249" y="74"/>
                    <a:pt x="248" y="72"/>
                  </a:cubicBezTo>
                  <a:cubicBezTo>
                    <a:pt x="247" y="71"/>
                    <a:pt x="247" y="71"/>
                    <a:pt x="246" y="70"/>
                  </a:cubicBezTo>
                  <a:cubicBezTo>
                    <a:pt x="246" y="70"/>
                    <a:pt x="245" y="68"/>
                    <a:pt x="245" y="68"/>
                  </a:cubicBezTo>
                  <a:cubicBezTo>
                    <a:pt x="244" y="67"/>
                    <a:pt x="243" y="67"/>
                    <a:pt x="242" y="66"/>
                  </a:cubicBezTo>
                  <a:cubicBezTo>
                    <a:pt x="241" y="65"/>
                    <a:pt x="240" y="64"/>
                    <a:pt x="238" y="63"/>
                  </a:cubicBezTo>
                  <a:cubicBezTo>
                    <a:pt x="236" y="62"/>
                    <a:pt x="234" y="62"/>
                    <a:pt x="233" y="59"/>
                  </a:cubicBezTo>
                  <a:cubicBezTo>
                    <a:pt x="233" y="58"/>
                    <a:pt x="233" y="56"/>
                    <a:pt x="234" y="55"/>
                  </a:cubicBezTo>
                  <a:cubicBezTo>
                    <a:pt x="235" y="53"/>
                    <a:pt x="237" y="52"/>
                    <a:pt x="238" y="51"/>
                  </a:cubicBezTo>
                  <a:cubicBezTo>
                    <a:pt x="239" y="50"/>
                    <a:pt x="240" y="49"/>
                    <a:pt x="241" y="48"/>
                  </a:cubicBezTo>
                  <a:cubicBezTo>
                    <a:pt x="241" y="47"/>
                    <a:pt x="242" y="46"/>
                    <a:pt x="243" y="45"/>
                  </a:cubicBezTo>
                  <a:cubicBezTo>
                    <a:pt x="243" y="44"/>
                    <a:pt x="243" y="42"/>
                    <a:pt x="243" y="42"/>
                  </a:cubicBezTo>
                  <a:cubicBezTo>
                    <a:pt x="242" y="40"/>
                    <a:pt x="243" y="42"/>
                    <a:pt x="241" y="41"/>
                  </a:cubicBezTo>
                  <a:cubicBezTo>
                    <a:pt x="240" y="40"/>
                    <a:pt x="240" y="40"/>
                    <a:pt x="238" y="40"/>
                  </a:cubicBezTo>
                  <a:cubicBezTo>
                    <a:pt x="236" y="39"/>
                    <a:pt x="234" y="40"/>
                    <a:pt x="232" y="40"/>
                  </a:cubicBezTo>
                  <a:cubicBezTo>
                    <a:pt x="230" y="40"/>
                    <a:pt x="229" y="40"/>
                    <a:pt x="227" y="39"/>
                  </a:cubicBezTo>
                  <a:cubicBezTo>
                    <a:pt x="227" y="39"/>
                    <a:pt x="225" y="39"/>
                    <a:pt x="225" y="39"/>
                  </a:cubicBezTo>
                  <a:cubicBezTo>
                    <a:pt x="224" y="38"/>
                    <a:pt x="223" y="37"/>
                    <a:pt x="223" y="37"/>
                  </a:cubicBezTo>
                  <a:cubicBezTo>
                    <a:pt x="222" y="36"/>
                    <a:pt x="221" y="37"/>
                    <a:pt x="220" y="36"/>
                  </a:cubicBezTo>
                  <a:cubicBezTo>
                    <a:pt x="219" y="36"/>
                    <a:pt x="219" y="35"/>
                    <a:pt x="218" y="35"/>
                  </a:cubicBezTo>
                  <a:cubicBezTo>
                    <a:pt x="216" y="34"/>
                    <a:pt x="215" y="34"/>
                    <a:pt x="213" y="33"/>
                  </a:cubicBezTo>
                  <a:cubicBezTo>
                    <a:pt x="212" y="33"/>
                    <a:pt x="211" y="32"/>
                    <a:pt x="209" y="32"/>
                  </a:cubicBezTo>
                  <a:cubicBezTo>
                    <a:pt x="207" y="31"/>
                    <a:pt x="204" y="29"/>
                    <a:pt x="202" y="28"/>
                  </a:cubicBezTo>
                  <a:cubicBezTo>
                    <a:pt x="200" y="28"/>
                    <a:pt x="198" y="26"/>
                    <a:pt x="196" y="26"/>
                  </a:cubicBezTo>
                  <a:cubicBezTo>
                    <a:pt x="195" y="26"/>
                    <a:pt x="194" y="26"/>
                    <a:pt x="193" y="26"/>
                  </a:cubicBezTo>
                  <a:cubicBezTo>
                    <a:pt x="191" y="25"/>
                    <a:pt x="190" y="22"/>
                    <a:pt x="189" y="20"/>
                  </a:cubicBezTo>
                  <a:cubicBezTo>
                    <a:pt x="187" y="18"/>
                    <a:pt x="186" y="16"/>
                    <a:pt x="184" y="13"/>
                  </a:cubicBezTo>
                  <a:cubicBezTo>
                    <a:pt x="184" y="13"/>
                    <a:pt x="183" y="12"/>
                    <a:pt x="183" y="12"/>
                  </a:cubicBezTo>
                  <a:cubicBezTo>
                    <a:pt x="183" y="11"/>
                    <a:pt x="183" y="11"/>
                    <a:pt x="182" y="11"/>
                  </a:cubicBezTo>
                  <a:cubicBezTo>
                    <a:pt x="182" y="10"/>
                    <a:pt x="181" y="10"/>
                    <a:pt x="181" y="10"/>
                  </a:cubicBezTo>
                  <a:cubicBezTo>
                    <a:pt x="180" y="8"/>
                    <a:pt x="180" y="8"/>
                    <a:pt x="177" y="8"/>
                  </a:cubicBezTo>
                  <a:cubicBezTo>
                    <a:pt x="173" y="8"/>
                    <a:pt x="170" y="8"/>
                    <a:pt x="166" y="8"/>
                  </a:cubicBezTo>
                  <a:cubicBezTo>
                    <a:pt x="164" y="8"/>
                    <a:pt x="161" y="8"/>
                    <a:pt x="159" y="8"/>
                  </a:cubicBezTo>
                  <a:cubicBezTo>
                    <a:pt x="160" y="8"/>
                    <a:pt x="160" y="8"/>
                    <a:pt x="160" y="9"/>
                  </a:cubicBezTo>
                  <a:cubicBezTo>
                    <a:pt x="161" y="11"/>
                    <a:pt x="158" y="12"/>
                    <a:pt x="157" y="13"/>
                  </a:cubicBezTo>
                  <a:cubicBezTo>
                    <a:pt x="157" y="14"/>
                    <a:pt x="157" y="17"/>
                    <a:pt x="158" y="18"/>
                  </a:cubicBezTo>
                  <a:cubicBezTo>
                    <a:pt x="156" y="16"/>
                    <a:pt x="154" y="19"/>
                    <a:pt x="153" y="20"/>
                  </a:cubicBezTo>
                  <a:cubicBezTo>
                    <a:pt x="152" y="21"/>
                    <a:pt x="151" y="22"/>
                    <a:pt x="150" y="22"/>
                  </a:cubicBezTo>
                  <a:cubicBezTo>
                    <a:pt x="149" y="22"/>
                    <a:pt x="146" y="22"/>
                    <a:pt x="146" y="22"/>
                  </a:cubicBezTo>
                  <a:cubicBezTo>
                    <a:pt x="145" y="21"/>
                    <a:pt x="145" y="20"/>
                    <a:pt x="145" y="19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4" y="17"/>
                    <a:pt x="142" y="16"/>
                    <a:pt x="141" y="16"/>
                  </a:cubicBezTo>
                  <a:cubicBezTo>
                    <a:pt x="139" y="15"/>
                    <a:pt x="139" y="15"/>
                    <a:pt x="140" y="13"/>
                  </a:cubicBezTo>
                  <a:cubicBezTo>
                    <a:pt x="141" y="12"/>
                    <a:pt x="141" y="11"/>
                    <a:pt x="142" y="10"/>
                  </a:cubicBezTo>
                  <a:cubicBezTo>
                    <a:pt x="142" y="8"/>
                    <a:pt x="139" y="4"/>
                    <a:pt x="137" y="4"/>
                  </a:cubicBezTo>
                  <a:cubicBezTo>
                    <a:pt x="136" y="3"/>
                    <a:pt x="135" y="2"/>
                    <a:pt x="134" y="1"/>
                  </a:cubicBezTo>
                  <a:cubicBezTo>
                    <a:pt x="133" y="0"/>
                    <a:pt x="133" y="0"/>
                    <a:pt x="131" y="1"/>
                  </a:cubicBezTo>
                  <a:cubicBezTo>
                    <a:pt x="130" y="1"/>
                    <a:pt x="129" y="3"/>
                    <a:pt x="128" y="4"/>
                  </a:cubicBezTo>
                  <a:cubicBezTo>
                    <a:pt x="126" y="5"/>
                    <a:pt x="123" y="6"/>
                    <a:pt x="121" y="6"/>
                  </a:cubicBezTo>
                  <a:cubicBezTo>
                    <a:pt x="122" y="7"/>
                    <a:pt x="124" y="8"/>
                    <a:pt x="126" y="9"/>
                  </a:cubicBezTo>
                  <a:cubicBezTo>
                    <a:pt x="126" y="10"/>
                    <a:pt x="130" y="12"/>
                    <a:pt x="129" y="13"/>
                  </a:cubicBezTo>
                  <a:cubicBezTo>
                    <a:pt x="129" y="14"/>
                    <a:pt x="128" y="14"/>
                    <a:pt x="127" y="15"/>
                  </a:cubicBezTo>
                  <a:cubicBezTo>
                    <a:pt x="125" y="16"/>
                    <a:pt x="123" y="17"/>
                    <a:pt x="121" y="17"/>
                  </a:cubicBezTo>
                  <a:cubicBezTo>
                    <a:pt x="120" y="18"/>
                    <a:pt x="118" y="19"/>
                    <a:pt x="117" y="20"/>
                  </a:cubicBezTo>
                  <a:cubicBezTo>
                    <a:pt x="116" y="20"/>
                    <a:pt x="116" y="21"/>
                    <a:pt x="115" y="20"/>
                  </a:cubicBezTo>
                  <a:cubicBezTo>
                    <a:pt x="114" y="19"/>
                    <a:pt x="113" y="21"/>
                    <a:pt x="112" y="21"/>
                  </a:cubicBezTo>
                  <a:cubicBezTo>
                    <a:pt x="111" y="22"/>
                    <a:pt x="110" y="21"/>
                    <a:pt x="109" y="21"/>
                  </a:cubicBezTo>
                  <a:cubicBezTo>
                    <a:pt x="108" y="21"/>
                    <a:pt x="105" y="22"/>
                    <a:pt x="105" y="23"/>
                  </a:cubicBezTo>
                  <a:cubicBezTo>
                    <a:pt x="105" y="23"/>
                    <a:pt x="105" y="24"/>
                    <a:pt x="105" y="24"/>
                  </a:cubicBezTo>
                  <a:cubicBezTo>
                    <a:pt x="104" y="25"/>
                    <a:pt x="103" y="26"/>
                    <a:pt x="102" y="26"/>
                  </a:cubicBezTo>
                  <a:cubicBezTo>
                    <a:pt x="101" y="27"/>
                    <a:pt x="101" y="28"/>
                    <a:pt x="100" y="28"/>
                  </a:cubicBezTo>
                  <a:cubicBezTo>
                    <a:pt x="99" y="28"/>
                    <a:pt x="98" y="28"/>
                    <a:pt x="97" y="28"/>
                  </a:cubicBezTo>
                  <a:cubicBezTo>
                    <a:pt x="96" y="28"/>
                    <a:pt x="94" y="29"/>
                    <a:pt x="93" y="29"/>
                  </a:cubicBezTo>
                  <a:cubicBezTo>
                    <a:pt x="91" y="29"/>
                    <a:pt x="90" y="30"/>
                    <a:pt x="88" y="30"/>
                  </a:cubicBezTo>
                  <a:cubicBezTo>
                    <a:pt x="87" y="30"/>
                    <a:pt x="87" y="30"/>
                    <a:pt x="86" y="30"/>
                  </a:cubicBezTo>
                  <a:cubicBezTo>
                    <a:pt x="85" y="30"/>
                    <a:pt x="84" y="31"/>
                    <a:pt x="83" y="32"/>
                  </a:cubicBezTo>
                  <a:cubicBezTo>
                    <a:pt x="83" y="32"/>
                    <a:pt x="82" y="32"/>
                    <a:pt x="82" y="33"/>
                  </a:cubicBezTo>
                  <a:cubicBezTo>
                    <a:pt x="81" y="34"/>
                    <a:pt x="81" y="36"/>
                    <a:pt x="81" y="37"/>
                  </a:cubicBezTo>
                  <a:cubicBezTo>
                    <a:pt x="81" y="38"/>
                    <a:pt x="82" y="40"/>
                    <a:pt x="81" y="40"/>
                  </a:cubicBezTo>
                  <a:cubicBezTo>
                    <a:pt x="80" y="41"/>
                    <a:pt x="79" y="41"/>
                    <a:pt x="78" y="41"/>
                  </a:cubicBezTo>
                  <a:cubicBezTo>
                    <a:pt x="78" y="41"/>
                    <a:pt x="76" y="41"/>
                    <a:pt x="75" y="41"/>
                  </a:cubicBezTo>
                  <a:cubicBezTo>
                    <a:pt x="75" y="40"/>
                    <a:pt x="75" y="38"/>
                    <a:pt x="74" y="38"/>
                  </a:cubicBezTo>
                  <a:cubicBezTo>
                    <a:pt x="74" y="37"/>
                    <a:pt x="72" y="36"/>
                    <a:pt x="71" y="38"/>
                  </a:cubicBezTo>
                  <a:cubicBezTo>
                    <a:pt x="71" y="38"/>
                    <a:pt x="71" y="39"/>
                    <a:pt x="71" y="40"/>
                  </a:cubicBezTo>
                  <a:cubicBezTo>
                    <a:pt x="71" y="40"/>
                    <a:pt x="71" y="40"/>
                    <a:pt x="71" y="41"/>
                  </a:cubicBezTo>
                  <a:cubicBezTo>
                    <a:pt x="70" y="42"/>
                    <a:pt x="70" y="43"/>
                    <a:pt x="70" y="44"/>
                  </a:cubicBezTo>
                  <a:cubicBezTo>
                    <a:pt x="68" y="44"/>
                    <a:pt x="66" y="41"/>
                    <a:pt x="65" y="43"/>
                  </a:cubicBezTo>
                  <a:cubicBezTo>
                    <a:pt x="64" y="43"/>
                    <a:pt x="64" y="44"/>
                    <a:pt x="64" y="45"/>
                  </a:cubicBezTo>
                  <a:cubicBezTo>
                    <a:pt x="64" y="46"/>
                    <a:pt x="63" y="46"/>
                    <a:pt x="63" y="47"/>
                  </a:cubicBezTo>
                  <a:cubicBezTo>
                    <a:pt x="63" y="47"/>
                    <a:pt x="62" y="48"/>
                    <a:pt x="61" y="48"/>
                  </a:cubicBezTo>
                  <a:cubicBezTo>
                    <a:pt x="61" y="48"/>
                    <a:pt x="61" y="49"/>
                    <a:pt x="61" y="49"/>
                  </a:cubicBezTo>
                  <a:cubicBezTo>
                    <a:pt x="61" y="49"/>
                    <a:pt x="60" y="49"/>
                    <a:pt x="60" y="49"/>
                  </a:cubicBezTo>
                  <a:cubicBezTo>
                    <a:pt x="57" y="49"/>
                    <a:pt x="57" y="49"/>
                    <a:pt x="55" y="51"/>
                  </a:cubicBezTo>
                  <a:cubicBezTo>
                    <a:pt x="55" y="52"/>
                    <a:pt x="54" y="53"/>
                    <a:pt x="53" y="54"/>
                  </a:cubicBezTo>
                  <a:cubicBezTo>
                    <a:pt x="52" y="55"/>
                    <a:pt x="51" y="55"/>
                    <a:pt x="51" y="56"/>
                  </a:cubicBezTo>
                  <a:cubicBezTo>
                    <a:pt x="50" y="57"/>
                    <a:pt x="50" y="58"/>
                    <a:pt x="49" y="57"/>
                  </a:cubicBezTo>
                  <a:cubicBezTo>
                    <a:pt x="49" y="57"/>
                    <a:pt x="48" y="56"/>
                    <a:pt x="48" y="56"/>
                  </a:cubicBezTo>
                  <a:cubicBezTo>
                    <a:pt x="46" y="55"/>
                    <a:pt x="45" y="56"/>
                    <a:pt x="44" y="56"/>
                  </a:cubicBezTo>
                  <a:cubicBezTo>
                    <a:pt x="43" y="56"/>
                    <a:pt x="43" y="55"/>
                    <a:pt x="42" y="55"/>
                  </a:cubicBezTo>
                  <a:cubicBezTo>
                    <a:pt x="42" y="55"/>
                    <a:pt x="40" y="55"/>
                    <a:pt x="39" y="55"/>
                  </a:cubicBezTo>
                  <a:cubicBezTo>
                    <a:pt x="39" y="55"/>
                    <a:pt x="39" y="57"/>
                    <a:pt x="38" y="57"/>
                  </a:cubicBezTo>
                  <a:cubicBezTo>
                    <a:pt x="37" y="59"/>
                    <a:pt x="36" y="59"/>
                    <a:pt x="34" y="59"/>
                  </a:cubicBezTo>
                  <a:cubicBezTo>
                    <a:pt x="33" y="59"/>
                    <a:pt x="33" y="60"/>
                    <a:pt x="32" y="59"/>
                  </a:cubicBezTo>
                  <a:cubicBezTo>
                    <a:pt x="31" y="59"/>
                    <a:pt x="31" y="58"/>
                    <a:pt x="30" y="58"/>
                  </a:cubicBezTo>
                  <a:cubicBezTo>
                    <a:pt x="29" y="57"/>
                    <a:pt x="29" y="59"/>
                    <a:pt x="28" y="59"/>
                  </a:cubicBezTo>
                  <a:cubicBezTo>
                    <a:pt x="27" y="60"/>
                    <a:pt x="26" y="60"/>
                    <a:pt x="26" y="61"/>
                  </a:cubicBezTo>
                  <a:cubicBezTo>
                    <a:pt x="24" y="61"/>
                    <a:pt x="23" y="63"/>
                    <a:pt x="22" y="64"/>
                  </a:cubicBezTo>
                  <a:cubicBezTo>
                    <a:pt x="20" y="65"/>
                    <a:pt x="18" y="66"/>
                    <a:pt x="17" y="68"/>
                  </a:cubicBezTo>
                  <a:cubicBezTo>
                    <a:pt x="16" y="69"/>
                    <a:pt x="15" y="70"/>
                    <a:pt x="15" y="70"/>
                  </a:cubicBezTo>
                  <a:cubicBezTo>
                    <a:pt x="15" y="71"/>
                    <a:pt x="15" y="72"/>
                    <a:pt x="15" y="73"/>
                  </a:cubicBezTo>
                  <a:cubicBezTo>
                    <a:pt x="15" y="74"/>
                    <a:pt x="14" y="74"/>
                    <a:pt x="13" y="76"/>
                  </a:cubicBezTo>
                  <a:cubicBezTo>
                    <a:pt x="13" y="77"/>
                    <a:pt x="13" y="78"/>
                    <a:pt x="12" y="79"/>
                  </a:cubicBezTo>
                  <a:cubicBezTo>
                    <a:pt x="12" y="78"/>
                    <a:pt x="12" y="78"/>
                    <a:pt x="12" y="77"/>
                  </a:cubicBezTo>
                  <a:cubicBezTo>
                    <a:pt x="11" y="76"/>
                    <a:pt x="11" y="77"/>
                    <a:pt x="11" y="76"/>
                  </a:cubicBezTo>
                  <a:cubicBezTo>
                    <a:pt x="11" y="76"/>
                    <a:pt x="11" y="75"/>
                    <a:pt x="11" y="75"/>
                  </a:cubicBezTo>
                  <a:cubicBezTo>
                    <a:pt x="10" y="74"/>
                    <a:pt x="9" y="74"/>
                    <a:pt x="9" y="73"/>
                  </a:cubicBezTo>
                  <a:cubicBezTo>
                    <a:pt x="8" y="72"/>
                    <a:pt x="8" y="71"/>
                    <a:pt x="8" y="70"/>
                  </a:cubicBezTo>
                  <a:cubicBezTo>
                    <a:pt x="8" y="68"/>
                    <a:pt x="7" y="64"/>
                    <a:pt x="5" y="65"/>
                  </a:cubicBezTo>
                  <a:cubicBezTo>
                    <a:pt x="3" y="66"/>
                    <a:pt x="3" y="66"/>
                    <a:pt x="2" y="67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9"/>
                    <a:pt x="2" y="69"/>
                    <a:pt x="1" y="69"/>
                  </a:cubicBezTo>
                  <a:cubicBezTo>
                    <a:pt x="0" y="73"/>
                    <a:pt x="6" y="73"/>
                    <a:pt x="6" y="76"/>
                  </a:cubicBezTo>
                  <a:cubicBezTo>
                    <a:pt x="7" y="78"/>
                    <a:pt x="7" y="80"/>
                    <a:pt x="7" y="81"/>
                  </a:cubicBezTo>
                  <a:cubicBezTo>
                    <a:pt x="7" y="83"/>
                    <a:pt x="7" y="84"/>
                    <a:pt x="8" y="86"/>
                  </a:cubicBezTo>
                  <a:cubicBezTo>
                    <a:pt x="8" y="88"/>
                    <a:pt x="9" y="87"/>
                    <a:pt x="11" y="88"/>
                  </a:cubicBezTo>
                  <a:cubicBezTo>
                    <a:pt x="13" y="89"/>
                    <a:pt x="12" y="91"/>
                    <a:pt x="14" y="92"/>
                  </a:cubicBezTo>
                  <a:cubicBezTo>
                    <a:pt x="14" y="93"/>
                    <a:pt x="16" y="93"/>
                    <a:pt x="17" y="94"/>
                  </a:cubicBezTo>
                  <a:cubicBezTo>
                    <a:pt x="18" y="95"/>
                    <a:pt x="18" y="96"/>
                    <a:pt x="20" y="96"/>
                  </a:cubicBezTo>
                  <a:cubicBezTo>
                    <a:pt x="21" y="97"/>
                    <a:pt x="23" y="97"/>
                    <a:pt x="24" y="99"/>
                  </a:cubicBezTo>
                  <a:cubicBezTo>
                    <a:pt x="24" y="100"/>
                    <a:pt x="23" y="101"/>
                    <a:pt x="23" y="102"/>
                  </a:cubicBezTo>
                  <a:cubicBezTo>
                    <a:pt x="23" y="103"/>
                    <a:pt x="23" y="104"/>
                    <a:pt x="23" y="105"/>
                  </a:cubicBezTo>
                  <a:cubicBezTo>
                    <a:pt x="23" y="106"/>
                    <a:pt x="22" y="107"/>
                    <a:pt x="21" y="108"/>
                  </a:cubicBezTo>
                  <a:cubicBezTo>
                    <a:pt x="21" y="108"/>
                    <a:pt x="20" y="109"/>
                    <a:pt x="20" y="110"/>
                  </a:cubicBezTo>
                  <a:cubicBezTo>
                    <a:pt x="19" y="111"/>
                    <a:pt x="18" y="112"/>
                    <a:pt x="18" y="113"/>
                  </a:cubicBezTo>
                  <a:cubicBezTo>
                    <a:pt x="17" y="114"/>
                    <a:pt x="17" y="116"/>
                    <a:pt x="18" y="117"/>
                  </a:cubicBezTo>
                  <a:cubicBezTo>
                    <a:pt x="20" y="118"/>
                    <a:pt x="21" y="119"/>
                    <a:pt x="22" y="120"/>
                  </a:cubicBezTo>
                  <a:cubicBezTo>
                    <a:pt x="23" y="121"/>
                    <a:pt x="24" y="123"/>
                    <a:pt x="24" y="124"/>
                  </a:cubicBezTo>
                  <a:cubicBezTo>
                    <a:pt x="25" y="126"/>
                    <a:pt x="26" y="128"/>
                    <a:pt x="27" y="130"/>
                  </a:cubicBezTo>
                  <a:cubicBezTo>
                    <a:pt x="27" y="131"/>
                    <a:pt x="27" y="131"/>
                    <a:pt x="28" y="132"/>
                  </a:cubicBezTo>
                  <a:cubicBezTo>
                    <a:pt x="28" y="133"/>
                    <a:pt x="28" y="136"/>
                    <a:pt x="29" y="137"/>
                  </a:cubicBezTo>
                  <a:cubicBezTo>
                    <a:pt x="29" y="139"/>
                    <a:pt x="29" y="139"/>
                    <a:pt x="30" y="140"/>
                  </a:cubicBezTo>
                  <a:cubicBezTo>
                    <a:pt x="31" y="141"/>
                    <a:pt x="32" y="142"/>
                    <a:pt x="33" y="144"/>
                  </a:cubicBezTo>
                  <a:cubicBezTo>
                    <a:pt x="33" y="145"/>
                    <a:pt x="33" y="145"/>
                    <a:pt x="34" y="145"/>
                  </a:cubicBezTo>
                  <a:cubicBezTo>
                    <a:pt x="34" y="146"/>
                    <a:pt x="36" y="146"/>
                    <a:pt x="37" y="147"/>
                  </a:cubicBezTo>
                  <a:cubicBezTo>
                    <a:pt x="38" y="147"/>
                    <a:pt x="38" y="148"/>
                    <a:pt x="40" y="148"/>
                  </a:cubicBezTo>
                  <a:cubicBezTo>
                    <a:pt x="40" y="148"/>
                    <a:pt x="42" y="147"/>
                    <a:pt x="42" y="147"/>
                  </a:cubicBezTo>
                  <a:cubicBezTo>
                    <a:pt x="43" y="148"/>
                    <a:pt x="43" y="148"/>
                    <a:pt x="44" y="148"/>
                  </a:cubicBezTo>
                  <a:cubicBezTo>
                    <a:pt x="45" y="150"/>
                    <a:pt x="47" y="151"/>
                    <a:pt x="48" y="152"/>
                  </a:cubicBezTo>
                  <a:cubicBezTo>
                    <a:pt x="49" y="153"/>
                    <a:pt x="50" y="155"/>
                    <a:pt x="51" y="156"/>
                  </a:cubicBezTo>
                  <a:cubicBezTo>
                    <a:pt x="53" y="159"/>
                    <a:pt x="54" y="161"/>
                    <a:pt x="54" y="164"/>
                  </a:cubicBezTo>
                  <a:cubicBezTo>
                    <a:pt x="54" y="164"/>
                    <a:pt x="54" y="164"/>
                    <a:pt x="54" y="165"/>
                  </a:cubicBezTo>
                  <a:cubicBezTo>
                    <a:pt x="55" y="166"/>
                    <a:pt x="58" y="166"/>
                    <a:pt x="59" y="167"/>
                  </a:cubicBezTo>
                  <a:cubicBezTo>
                    <a:pt x="60" y="167"/>
                    <a:pt x="62" y="168"/>
                    <a:pt x="63" y="169"/>
                  </a:cubicBezTo>
                  <a:cubicBezTo>
                    <a:pt x="63" y="169"/>
                    <a:pt x="63" y="169"/>
                    <a:pt x="63" y="170"/>
                  </a:cubicBezTo>
                  <a:cubicBezTo>
                    <a:pt x="64" y="170"/>
                    <a:pt x="65" y="171"/>
                    <a:pt x="66" y="171"/>
                  </a:cubicBezTo>
                  <a:cubicBezTo>
                    <a:pt x="66" y="172"/>
                    <a:pt x="67" y="173"/>
                    <a:pt x="67" y="174"/>
                  </a:cubicBezTo>
                  <a:cubicBezTo>
                    <a:pt x="68" y="175"/>
                    <a:pt x="69" y="176"/>
                    <a:pt x="69" y="177"/>
                  </a:cubicBezTo>
                  <a:cubicBezTo>
                    <a:pt x="71" y="183"/>
                    <a:pt x="77" y="176"/>
                    <a:pt x="79" y="181"/>
                  </a:cubicBezTo>
                  <a:cubicBezTo>
                    <a:pt x="79" y="182"/>
                    <a:pt x="79" y="183"/>
                    <a:pt x="80" y="184"/>
                  </a:cubicBezTo>
                  <a:cubicBezTo>
                    <a:pt x="81" y="184"/>
                    <a:pt x="82" y="185"/>
                    <a:pt x="83" y="186"/>
                  </a:cubicBezTo>
                  <a:cubicBezTo>
                    <a:pt x="84" y="187"/>
                    <a:pt x="85" y="188"/>
                    <a:pt x="86" y="188"/>
                  </a:cubicBezTo>
                  <a:cubicBezTo>
                    <a:pt x="86" y="189"/>
                    <a:pt x="87" y="189"/>
                    <a:pt x="88" y="190"/>
                  </a:cubicBezTo>
                  <a:cubicBezTo>
                    <a:pt x="88" y="190"/>
                    <a:pt x="89" y="192"/>
                    <a:pt x="89" y="193"/>
                  </a:cubicBezTo>
                  <a:cubicBezTo>
                    <a:pt x="89" y="193"/>
                    <a:pt x="89" y="193"/>
                    <a:pt x="89" y="193"/>
                  </a:cubicBezTo>
                  <a:cubicBezTo>
                    <a:pt x="90" y="193"/>
                    <a:pt x="90" y="194"/>
                    <a:pt x="91" y="194"/>
                  </a:cubicBezTo>
                  <a:cubicBezTo>
                    <a:pt x="92" y="195"/>
                    <a:pt x="94" y="195"/>
                    <a:pt x="95" y="196"/>
                  </a:cubicBezTo>
                  <a:cubicBezTo>
                    <a:pt x="96" y="197"/>
                    <a:pt x="97" y="198"/>
                    <a:pt x="97" y="198"/>
                  </a:cubicBezTo>
                  <a:cubicBezTo>
                    <a:pt x="98" y="199"/>
                    <a:pt x="99" y="200"/>
                    <a:pt x="99" y="201"/>
                  </a:cubicBezTo>
                  <a:cubicBezTo>
                    <a:pt x="101" y="201"/>
                    <a:pt x="101" y="203"/>
                    <a:pt x="101" y="204"/>
                  </a:cubicBezTo>
                  <a:cubicBezTo>
                    <a:pt x="101" y="205"/>
                    <a:pt x="101" y="206"/>
                    <a:pt x="102" y="207"/>
                  </a:cubicBezTo>
                  <a:cubicBezTo>
                    <a:pt x="102" y="208"/>
                    <a:pt x="104" y="209"/>
                    <a:pt x="104" y="209"/>
                  </a:cubicBezTo>
                  <a:cubicBezTo>
                    <a:pt x="105" y="210"/>
                    <a:pt x="106" y="209"/>
                    <a:pt x="107" y="210"/>
                  </a:cubicBezTo>
                  <a:cubicBezTo>
                    <a:pt x="108" y="210"/>
                    <a:pt x="108" y="210"/>
                    <a:pt x="108" y="210"/>
                  </a:cubicBezTo>
                  <a:cubicBezTo>
                    <a:pt x="109" y="210"/>
                    <a:pt x="110" y="210"/>
                    <a:pt x="111" y="210"/>
                  </a:cubicBezTo>
                  <a:cubicBezTo>
                    <a:pt x="112" y="210"/>
                    <a:pt x="113" y="210"/>
                    <a:pt x="114" y="210"/>
                  </a:cubicBezTo>
                  <a:cubicBezTo>
                    <a:pt x="115" y="210"/>
                    <a:pt x="116" y="209"/>
                    <a:pt x="117" y="209"/>
                  </a:cubicBezTo>
                  <a:cubicBezTo>
                    <a:pt x="118" y="209"/>
                    <a:pt x="119" y="209"/>
                    <a:pt x="119" y="209"/>
                  </a:cubicBezTo>
                  <a:cubicBezTo>
                    <a:pt x="120" y="208"/>
                    <a:pt x="120" y="204"/>
                    <a:pt x="123" y="204"/>
                  </a:cubicBezTo>
                  <a:cubicBezTo>
                    <a:pt x="124" y="204"/>
                    <a:pt x="125" y="205"/>
                    <a:pt x="126" y="206"/>
                  </a:cubicBezTo>
                  <a:cubicBezTo>
                    <a:pt x="126" y="207"/>
                    <a:pt x="126" y="207"/>
                    <a:pt x="127" y="208"/>
                  </a:cubicBezTo>
                  <a:cubicBezTo>
                    <a:pt x="127" y="208"/>
                    <a:pt x="128" y="208"/>
                    <a:pt x="128" y="209"/>
                  </a:cubicBezTo>
                  <a:cubicBezTo>
                    <a:pt x="128" y="209"/>
                    <a:pt x="128" y="209"/>
                    <a:pt x="129" y="209"/>
                  </a:cubicBezTo>
                  <a:cubicBezTo>
                    <a:pt x="129" y="210"/>
                    <a:pt x="130" y="209"/>
                    <a:pt x="131" y="209"/>
                  </a:cubicBezTo>
                  <a:cubicBezTo>
                    <a:pt x="131" y="209"/>
                    <a:pt x="132" y="209"/>
                    <a:pt x="133" y="209"/>
                  </a:cubicBezTo>
                  <a:cubicBezTo>
                    <a:pt x="134" y="209"/>
                    <a:pt x="135" y="208"/>
                    <a:pt x="136" y="207"/>
                  </a:cubicBezTo>
                  <a:cubicBezTo>
                    <a:pt x="138" y="205"/>
                    <a:pt x="138" y="202"/>
                    <a:pt x="139" y="199"/>
                  </a:cubicBezTo>
                  <a:cubicBezTo>
                    <a:pt x="139" y="197"/>
                    <a:pt x="141" y="197"/>
                    <a:pt x="141" y="195"/>
                  </a:cubicBezTo>
                  <a:cubicBezTo>
                    <a:pt x="142" y="195"/>
                    <a:pt x="142" y="193"/>
                    <a:pt x="142" y="193"/>
                  </a:cubicBezTo>
                  <a:cubicBezTo>
                    <a:pt x="143" y="192"/>
                    <a:pt x="145" y="192"/>
                    <a:pt x="147" y="193"/>
                  </a:cubicBezTo>
                  <a:cubicBezTo>
                    <a:pt x="148" y="194"/>
                    <a:pt x="150" y="194"/>
                    <a:pt x="151" y="192"/>
                  </a:cubicBezTo>
                  <a:cubicBezTo>
                    <a:pt x="151" y="191"/>
                    <a:pt x="150" y="190"/>
                    <a:pt x="150" y="188"/>
                  </a:cubicBezTo>
                  <a:cubicBezTo>
                    <a:pt x="149" y="186"/>
                    <a:pt x="150" y="184"/>
                    <a:pt x="150" y="183"/>
                  </a:cubicBezTo>
                  <a:cubicBezTo>
                    <a:pt x="150" y="180"/>
                    <a:pt x="152" y="178"/>
                    <a:pt x="153" y="176"/>
                  </a:cubicBezTo>
                  <a:cubicBezTo>
                    <a:pt x="153" y="175"/>
                    <a:pt x="153" y="175"/>
                    <a:pt x="154" y="175"/>
                  </a:cubicBezTo>
                  <a:cubicBezTo>
                    <a:pt x="155" y="175"/>
                    <a:pt x="156" y="175"/>
                    <a:pt x="157" y="175"/>
                  </a:cubicBezTo>
                  <a:cubicBezTo>
                    <a:pt x="159" y="175"/>
                    <a:pt x="158" y="177"/>
                    <a:pt x="159" y="178"/>
                  </a:cubicBezTo>
                  <a:cubicBezTo>
                    <a:pt x="161" y="180"/>
                    <a:pt x="163" y="180"/>
                    <a:pt x="165" y="179"/>
                  </a:cubicBezTo>
                  <a:cubicBezTo>
                    <a:pt x="167" y="179"/>
                    <a:pt x="166" y="177"/>
                    <a:pt x="166" y="176"/>
                  </a:cubicBezTo>
                  <a:cubicBezTo>
                    <a:pt x="167" y="175"/>
                    <a:pt x="171" y="175"/>
                    <a:pt x="171" y="177"/>
                  </a:cubicBezTo>
                  <a:cubicBezTo>
                    <a:pt x="171" y="177"/>
                    <a:pt x="172" y="178"/>
                    <a:pt x="172" y="178"/>
                  </a:cubicBezTo>
                  <a:cubicBezTo>
                    <a:pt x="174" y="179"/>
                    <a:pt x="175" y="179"/>
                    <a:pt x="177" y="180"/>
                  </a:cubicBezTo>
                  <a:cubicBezTo>
                    <a:pt x="179" y="181"/>
                    <a:pt x="183" y="182"/>
                    <a:pt x="185" y="184"/>
                  </a:cubicBezTo>
                  <a:cubicBezTo>
                    <a:pt x="186" y="185"/>
                    <a:pt x="186" y="186"/>
                    <a:pt x="187" y="187"/>
                  </a:cubicBezTo>
                  <a:cubicBezTo>
                    <a:pt x="188" y="187"/>
                    <a:pt x="190" y="187"/>
                    <a:pt x="192" y="187"/>
                  </a:cubicBezTo>
                  <a:cubicBezTo>
                    <a:pt x="192" y="187"/>
                    <a:pt x="193" y="187"/>
                    <a:pt x="194" y="187"/>
                  </a:cubicBezTo>
                  <a:cubicBezTo>
                    <a:pt x="195" y="186"/>
                    <a:pt x="195" y="186"/>
                    <a:pt x="196" y="186"/>
                  </a:cubicBezTo>
                  <a:cubicBezTo>
                    <a:pt x="198" y="185"/>
                    <a:pt x="199" y="186"/>
                    <a:pt x="200" y="188"/>
                  </a:cubicBezTo>
                  <a:cubicBezTo>
                    <a:pt x="201" y="189"/>
                    <a:pt x="200" y="191"/>
                    <a:pt x="202" y="192"/>
                  </a:cubicBezTo>
                  <a:cubicBezTo>
                    <a:pt x="204" y="193"/>
                    <a:pt x="207" y="194"/>
                    <a:pt x="210" y="195"/>
                  </a:cubicBezTo>
                  <a:cubicBezTo>
                    <a:pt x="212" y="196"/>
                    <a:pt x="213" y="196"/>
                    <a:pt x="215" y="196"/>
                  </a:cubicBezTo>
                  <a:cubicBezTo>
                    <a:pt x="218" y="196"/>
                    <a:pt x="221" y="197"/>
                    <a:pt x="224" y="196"/>
                  </a:cubicBezTo>
                  <a:cubicBezTo>
                    <a:pt x="225" y="196"/>
                    <a:pt x="227" y="195"/>
                    <a:pt x="228" y="194"/>
                  </a:cubicBezTo>
                  <a:cubicBezTo>
                    <a:pt x="229" y="192"/>
                    <a:pt x="228" y="190"/>
                    <a:pt x="230" y="190"/>
                  </a:cubicBezTo>
                  <a:cubicBezTo>
                    <a:pt x="232" y="189"/>
                    <a:pt x="233" y="190"/>
                    <a:pt x="234" y="191"/>
                  </a:cubicBezTo>
                  <a:cubicBezTo>
                    <a:pt x="235" y="193"/>
                    <a:pt x="237" y="192"/>
                    <a:pt x="238" y="193"/>
                  </a:cubicBezTo>
                  <a:cubicBezTo>
                    <a:pt x="239" y="194"/>
                    <a:pt x="239" y="194"/>
                    <a:pt x="240" y="195"/>
                  </a:cubicBezTo>
                  <a:cubicBezTo>
                    <a:pt x="240" y="196"/>
                    <a:pt x="240" y="197"/>
                    <a:pt x="240" y="197"/>
                  </a:cubicBezTo>
                  <a:cubicBezTo>
                    <a:pt x="241" y="200"/>
                    <a:pt x="247" y="198"/>
                    <a:pt x="249" y="198"/>
                  </a:cubicBezTo>
                  <a:cubicBezTo>
                    <a:pt x="250" y="198"/>
                    <a:pt x="252" y="198"/>
                    <a:pt x="253" y="199"/>
                  </a:cubicBezTo>
                  <a:cubicBezTo>
                    <a:pt x="254" y="199"/>
                    <a:pt x="254" y="200"/>
                    <a:pt x="254" y="200"/>
                  </a:cubicBezTo>
                  <a:cubicBezTo>
                    <a:pt x="255" y="200"/>
                    <a:pt x="255" y="201"/>
                    <a:pt x="255" y="201"/>
                  </a:cubicBezTo>
                  <a:cubicBezTo>
                    <a:pt x="256" y="201"/>
                    <a:pt x="256" y="201"/>
                    <a:pt x="256" y="201"/>
                  </a:cubicBezTo>
                  <a:cubicBezTo>
                    <a:pt x="256" y="201"/>
                    <a:pt x="256" y="201"/>
                    <a:pt x="256" y="201"/>
                  </a:cubicBezTo>
                  <a:cubicBezTo>
                    <a:pt x="256" y="202"/>
                    <a:pt x="256" y="202"/>
                    <a:pt x="257" y="203"/>
                  </a:cubicBezTo>
                  <a:cubicBezTo>
                    <a:pt x="258" y="203"/>
                    <a:pt x="259" y="202"/>
                    <a:pt x="261" y="20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3" name="Freeform 23"/>
            <p:cNvSpPr>
              <a:spLocks/>
            </p:cNvSpPr>
            <p:nvPr/>
          </p:nvSpPr>
          <p:spPr bwMode="auto">
            <a:xfrm>
              <a:off x="5159375" y="4606925"/>
              <a:ext cx="604838" cy="287338"/>
            </a:xfrm>
            <a:custGeom>
              <a:avLst/>
              <a:gdLst/>
              <a:ahLst/>
              <a:cxnLst>
                <a:cxn ang="0">
                  <a:pos x="23" y="143"/>
                </a:cxn>
                <a:cxn ang="0">
                  <a:pos x="37" y="152"/>
                </a:cxn>
                <a:cxn ang="0">
                  <a:pos x="76" y="151"/>
                </a:cxn>
                <a:cxn ang="0">
                  <a:pos x="90" y="147"/>
                </a:cxn>
                <a:cxn ang="0">
                  <a:pos x="93" y="130"/>
                </a:cxn>
                <a:cxn ang="0">
                  <a:pos x="118" y="125"/>
                </a:cxn>
                <a:cxn ang="0">
                  <a:pos x="133" y="115"/>
                </a:cxn>
                <a:cxn ang="0">
                  <a:pos x="144" y="116"/>
                </a:cxn>
                <a:cxn ang="0">
                  <a:pos x="161" y="116"/>
                </a:cxn>
                <a:cxn ang="0">
                  <a:pos x="173" y="111"/>
                </a:cxn>
                <a:cxn ang="0">
                  <a:pos x="182" y="94"/>
                </a:cxn>
                <a:cxn ang="0">
                  <a:pos x="207" y="89"/>
                </a:cxn>
                <a:cxn ang="0">
                  <a:pos x="221" y="91"/>
                </a:cxn>
                <a:cxn ang="0">
                  <a:pos x="236" y="88"/>
                </a:cxn>
                <a:cxn ang="0">
                  <a:pos x="248" y="102"/>
                </a:cxn>
                <a:cxn ang="0">
                  <a:pos x="262" y="102"/>
                </a:cxn>
                <a:cxn ang="0">
                  <a:pos x="275" y="90"/>
                </a:cxn>
                <a:cxn ang="0">
                  <a:pos x="281" y="76"/>
                </a:cxn>
                <a:cxn ang="0">
                  <a:pos x="289" y="57"/>
                </a:cxn>
                <a:cxn ang="0">
                  <a:pos x="301" y="52"/>
                </a:cxn>
                <a:cxn ang="0">
                  <a:pos x="323" y="43"/>
                </a:cxn>
                <a:cxn ang="0">
                  <a:pos x="320" y="40"/>
                </a:cxn>
                <a:cxn ang="0">
                  <a:pos x="298" y="30"/>
                </a:cxn>
                <a:cxn ang="0">
                  <a:pos x="289" y="23"/>
                </a:cxn>
                <a:cxn ang="0">
                  <a:pos x="276" y="16"/>
                </a:cxn>
                <a:cxn ang="0">
                  <a:pos x="255" y="13"/>
                </a:cxn>
                <a:cxn ang="0">
                  <a:pos x="241" y="25"/>
                </a:cxn>
                <a:cxn ang="0">
                  <a:pos x="232" y="22"/>
                </a:cxn>
                <a:cxn ang="0">
                  <a:pos x="212" y="18"/>
                </a:cxn>
                <a:cxn ang="0">
                  <a:pos x="190" y="30"/>
                </a:cxn>
                <a:cxn ang="0">
                  <a:pos x="181" y="32"/>
                </a:cxn>
                <a:cxn ang="0">
                  <a:pos x="175" y="21"/>
                </a:cxn>
                <a:cxn ang="0">
                  <a:pos x="167" y="10"/>
                </a:cxn>
                <a:cxn ang="0">
                  <a:pos x="155" y="4"/>
                </a:cxn>
                <a:cxn ang="0">
                  <a:pos x="142" y="17"/>
                </a:cxn>
                <a:cxn ang="0">
                  <a:pos x="126" y="7"/>
                </a:cxn>
                <a:cxn ang="0">
                  <a:pos x="117" y="9"/>
                </a:cxn>
                <a:cxn ang="0">
                  <a:pos x="105" y="12"/>
                </a:cxn>
                <a:cxn ang="0">
                  <a:pos x="96" y="22"/>
                </a:cxn>
                <a:cxn ang="0">
                  <a:pos x="87" y="28"/>
                </a:cxn>
                <a:cxn ang="0">
                  <a:pos x="78" y="47"/>
                </a:cxn>
                <a:cxn ang="0">
                  <a:pos x="70" y="52"/>
                </a:cxn>
                <a:cxn ang="0">
                  <a:pos x="57" y="62"/>
                </a:cxn>
                <a:cxn ang="0">
                  <a:pos x="51" y="64"/>
                </a:cxn>
                <a:cxn ang="0">
                  <a:pos x="31" y="60"/>
                </a:cxn>
                <a:cxn ang="0">
                  <a:pos x="23" y="69"/>
                </a:cxn>
                <a:cxn ang="0">
                  <a:pos x="8" y="75"/>
                </a:cxn>
                <a:cxn ang="0">
                  <a:pos x="4" y="88"/>
                </a:cxn>
                <a:cxn ang="0">
                  <a:pos x="4" y="101"/>
                </a:cxn>
                <a:cxn ang="0">
                  <a:pos x="9" y="118"/>
                </a:cxn>
                <a:cxn ang="0">
                  <a:pos x="12" y="126"/>
                </a:cxn>
                <a:cxn ang="0">
                  <a:pos x="9" y="135"/>
                </a:cxn>
              </a:cxnLst>
              <a:rect l="0" t="0" r="r" b="b"/>
              <a:pathLst>
                <a:path w="324" h="153">
                  <a:moveTo>
                    <a:pt x="9" y="135"/>
                  </a:moveTo>
                  <a:cubicBezTo>
                    <a:pt x="10" y="135"/>
                    <a:pt x="11" y="135"/>
                    <a:pt x="12" y="136"/>
                  </a:cubicBezTo>
                  <a:cubicBezTo>
                    <a:pt x="14" y="136"/>
                    <a:pt x="16" y="137"/>
                    <a:pt x="17" y="138"/>
                  </a:cubicBezTo>
                  <a:cubicBezTo>
                    <a:pt x="19" y="139"/>
                    <a:pt x="20" y="142"/>
                    <a:pt x="23" y="143"/>
                  </a:cubicBezTo>
                  <a:cubicBezTo>
                    <a:pt x="24" y="143"/>
                    <a:pt x="25" y="143"/>
                    <a:pt x="26" y="143"/>
                  </a:cubicBezTo>
                  <a:cubicBezTo>
                    <a:pt x="28" y="144"/>
                    <a:pt x="29" y="146"/>
                    <a:pt x="30" y="147"/>
                  </a:cubicBezTo>
                  <a:cubicBezTo>
                    <a:pt x="30" y="149"/>
                    <a:pt x="31" y="151"/>
                    <a:pt x="32" y="152"/>
                  </a:cubicBezTo>
                  <a:cubicBezTo>
                    <a:pt x="33" y="153"/>
                    <a:pt x="35" y="152"/>
                    <a:pt x="37" y="152"/>
                  </a:cubicBezTo>
                  <a:cubicBezTo>
                    <a:pt x="44" y="152"/>
                    <a:pt x="51" y="152"/>
                    <a:pt x="59" y="152"/>
                  </a:cubicBezTo>
                  <a:cubicBezTo>
                    <a:pt x="63" y="152"/>
                    <a:pt x="69" y="153"/>
                    <a:pt x="73" y="152"/>
                  </a:cubicBezTo>
                  <a:cubicBezTo>
                    <a:pt x="73" y="152"/>
                    <a:pt x="75" y="151"/>
                    <a:pt x="75" y="151"/>
                  </a:cubicBezTo>
                  <a:cubicBezTo>
                    <a:pt x="75" y="152"/>
                    <a:pt x="76" y="151"/>
                    <a:pt x="76" y="151"/>
                  </a:cubicBezTo>
                  <a:cubicBezTo>
                    <a:pt x="76" y="151"/>
                    <a:pt x="76" y="150"/>
                    <a:pt x="76" y="150"/>
                  </a:cubicBezTo>
                  <a:cubicBezTo>
                    <a:pt x="78" y="149"/>
                    <a:pt x="79" y="149"/>
                    <a:pt x="80" y="149"/>
                  </a:cubicBezTo>
                  <a:cubicBezTo>
                    <a:pt x="82" y="148"/>
                    <a:pt x="83" y="148"/>
                    <a:pt x="85" y="148"/>
                  </a:cubicBezTo>
                  <a:cubicBezTo>
                    <a:pt x="86" y="148"/>
                    <a:pt x="89" y="148"/>
                    <a:pt x="90" y="147"/>
                  </a:cubicBezTo>
                  <a:cubicBezTo>
                    <a:pt x="92" y="147"/>
                    <a:pt x="93" y="145"/>
                    <a:pt x="93" y="144"/>
                  </a:cubicBezTo>
                  <a:cubicBezTo>
                    <a:pt x="92" y="141"/>
                    <a:pt x="89" y="142"/>
                    <a:pt x="89" y="139"/>
                  </a:cubicBezTo>
                  <a:cubicBezTo>
                    <a:pt x="90" y="138"/>
                    <a:pt x="91" y="137"/>
                    <a:pt x="92" y="136"/>
                  </a:cubicBezTo>
                  <a:cubicBezTo>
                    <a:pt x="92" y="134"/>
                    <a:pt x="92" y="132"/>
                    <a:pt x="93" y="130"/>
                  </a:cubicBezTo>
                  <a:cubicBezTo>
                    <a:pt x="93" y="130"/>
                    <a:pt x="95" y="128"/>
                    <a:pt x="96" y="128"/>
                  </a:cubicBezTo>
                  <a:cubicBezTo>
                    <a:pt x="97" y="127"/>
                    <a:pt x="100" y="128"/>
                    <a:pt x="101" y="128"/>
                  </a:cubicBezTo>
                  <a:cubicBezTo>
                    <a:pt x="105" y="127"/>
                    <a:pt x="109" y="126"/>
                    <a:pt x="113" y="126"/>
                  </a:cubicBezTo>
                  <a:cubicBezTo>
                    <a:pt x="114" y="125"/>
                    <a:pt x="116" y="126"/>
                    <a:pt x="118" y="125"/>
                  </a:cubicBezTo>
                  <a:cubicBezTo>
                    <a:pt x="119" y="125"/>
                    <a:pt x="121" y="125"/>
                    <a:pt x="122" y="124"/>
                  </a:cubicBezTo>
                  <a:cubicBezTo>
                    <a:pt x="123" y="124"/>
                    <a:pt x="126" y="125"/>
                    <a:pt x="127" y="124"/>
                  </a:cubicBezTo>
                  <a:cubicBezTo>
                    <a:pt x="128" y="124"/>
                    <a:pt x="130" y="122"/>
                    <a:pt x="130" y="121"/>
                  </a:cubicBezTo>
                  <a:cubicBezTo>
                    <a:pt x="131" y="119"/>
                    <a:pt x="132" y="116"/>
                    <a:pt x="133" y="115"/>
                  </a:cubicBezTo>
                  <a:cubicBezTo>
                    <a:pt x="134" y="114"/>
                    <a:pt x="136" y="114"/>
                    <a:pt x="137" y="114"/>
                  </a:cubicBezTo>
                  <a:cubicBezTo>
                    <a:pt x="138" y="114"/>
                    <a:pt x="141" y="114"/>
                    <a:pt x="141" y="115"/>
                  </a:cubicBezTo>
                  <a:cubicBezTo>
                    <a:pt x="142" y="115"/>
                    <a:pt x="141" y="116"/>
                    <a:pt x="142" y="116"/>
                  </a:cubicBezTo>
                  <a:cubicBezTo>
                    <a:pt x="142" y="117"/>
                    <a:pt x="143" y="116"/>
                    <a:pt x="144" y="116"/>
                  </a:cubicBezTo>
                  <a:cubicBezTo>
                    <a:pt x="146" y="116"/>
                    <a:pt x="149" y="116"/>
                    <a:pt x="150" y="117"/>
                  </a:cubicBezTo>
                  <a:cubicBezTo>
                    <a:pt x="152" y="118"/>
                    <a:pt x="152" y="121"/>
                    <a:pt x="153" y="122"/>
                  </a:cubicBezTo>
                  <a:cubicBezTo>
                    <a:pt x="155" y="121"/>
                    <a:pt x="155" y="119"/>
                    <a:pt x="157" y="117"/>
                  </a:cubicBezTo>
                  <a:cubicBezTo>
                    <a:pt x="158" y="117"/>
                    <a:pt x="159" y="117"/>
                    <a:pt x="161" y="116"/>
                  </a:cubicBezTo>
                  <a:cubicBezTo>
                    <a:pt x="161" y="115"/>
                    <a:pt x="162" y="115"/>
                    <a:pt x="163" y="114"/>
                  </a:cubicBezTo>
                  <a:cubicBezTo>
                    <a:pt x="163" y="114"/>
                    <a:pt x="164" y="114"/>
                    <a:pt x="165" y="114"/>
                  </a:cubicBezTo>
                  <a:cubicBezTo>
                    <a:pt x="167" y="114"/>
                    <a:pt x="168" y="112"/>
                    <a:pt x="170" y="111"/>
                  </a:cubicBezTo>
                  <a:cubicBezTo>
                    <a:pt x="171" y="111"/>
                    <a:pt x="172" y="111"/>
                    <a:pt x="173" y="111"/>
                  </a:cubicBezTo>
                  <a:cubicBezTo>
                    <a:pt x="174" y="111"/>
                    <a:pt x="175" y="110"/>
                    <a:pt x="175" y="109"/>
                  </a:cubicBezTo>
                  <a:cubicBezTo>
                    <a:pt x="177" y="108"/>
                    <a:pt x="178" y="106"/>
                    <a:pt x="179" y="104"/>
                  </a:cubicBezTo>
                  <a:cubicBezTo>
                    <a:pt x="180" y="102"/>
                    <a:pt x="180" y="101"/>
                    <a:pt x="180" y="99"/>
                  </a:cubicBezTo>
                  <a:cubicBezTo>
                    <a:pt x="181" y="97"/>
                    <a:pt x="182" y="96"/>
                    <a:pt x="182" y="94"/>
                  </a:cubicBezTo>
                  <a:cubicBezTo>
                    <a:pt x="183" y="92"/>
                    <a:pt x="182" y="90"/>
                    <a:pt x="183" y="89"/>
                  </a:cubicBezTo>
                  <a:cubicBezTo>
                    <a:pt x="184" y="86"/>
                    <a:pt x="190" y="88"/>
                    <a:pt x="192" y="88"/>
                  </a:cubicBezTo>
                  <a:cubicBezTo>
                    <a:pt x="196" y="88"/>
                    <a:pt x="199" y="88"/>
                    <a:pt x="203" y="88"/>
                  </a:cubicBezTo>
                  <a:cubicBezTo>
                    <a:pt x="205" y="88"/>
                    <a:pt x="206" y="88"/>
                    <a:pt x="207" y="89"/>
                  </a:cubicBezTo>
                  <a:cubicBezTo>
                    <a:pt x="208" y="89"/>
                    <a:pt x="208" y="90"/>
                    <a:pt x="209" y="91"/>
                  </a:cubicBezTo>
                  <a:cubicBezTo>
                    <a:pt x="209" y="91"/>
                    <a:pt x="210" y="91"/>
                    <a:pt x="211" y="91"/>
                  </a:cubicBezTo>
                  <a:cubicBezTo>
                    <a:pt x="213" y="91"/>
                    <a:pt x="215" y="91"/>
                    <a:pt x="216" y="91"/>
                  </a:cubicBezTo>
                  <a:cubicBezTo>
                    <a:pt x="218" y="91"/>
                    <a:pt x="219" y="92"/>
                    <a:pt x="221" y="91"/>
                  </a:cubicBezTo>
                  <a:cubicBezTo>
                    <a:pt x="222" y="91"/>
                    <a:pt x="223" y="89"/>
                    <a:pt x="225" y="89"/>
                  </a:cubicBezTo>
                  <a:cubicBezTo>
                    <a:pt x="226" y="89"/>
                    <a:pt x="227" y="89"/>
                    <a:pt x="228" y="88"/>
                  </a:cubicBezTo>
                  <a:cubicBezTo>
                    <a:pt x="229" y="88"/>
                    <a:pt x="230" y="88"/>
                    <a:pt x="232" y="88"/>
                  </a:cubicBezTo>
                  <a:cubicBezTo>
                    <a:pt x="233" y="88"/>
                    <a:pt x="235" y="87"/>
                    <a:pt x="236" y="88"/>
                  </a:cubicBezTo>
                  <a:cubicBezTo>
                    <a:pt x="237" y="88"/>
                    <a:pt x="237" y="89"/>
                    <a:pt x="237" y="89"/>
                  </a:cubicBezTo>
                  <a:cubicBezTo>
                    <a:pt x="238" y="89"/>
                    <a:pt x="239" y="89"/>
                    <a:pt x="240" y="90"/>
                  </a:cubicBezTo>
                  <a:cubicBezTo>
                    <a:pt x="243" y="92"/>
                    <a:pt x="243" y="96"/>
                    <a:pt x="244" y="99"/>
                  </a:cubicBezTo>
                  <a:cubicBezTo>
                    <a:pt x="245" y="100"/>
                    <a:pt x="247" y="101"/>
                    <a:pt x="248" y="102"/>
                  </a:cubicBezTo>
                  <a:cubicBezTo>
                    <a:pt x="250" y="103"/>
                    <a:pt x="250" y="103"/>
                    <a:pt x="252" y="104"/>
                  </a:cubicBezTo>
                  <a:cubicBezTo>
                    <a:pt x="252" y="105"/>
                    <a:pt x="253" y="106"/>
                    <a:pt x="254" y="107"/>
                  </a:cubicBezTo>
                  <a:cubicBezTo>
                    <a:pt x="256" y="107"/>
                    <a:pt x="257" y="105"/>
                    <a:pt x="258" y="103"/>
                  </a:cubicBezTo>
                  <a:cubicBezTo>
                    <a:pt x="260" y="102"/>
                    <a:pt x="260" y="102"/>
                    <a:pt x="262" y="102"/>
                  </a:cubicBezTo>
                  <a:cubicBezTo>
                    <a:pt x="264" y="102"/>
                    <a:pt x="266" y="103"/>
                    <a:pt x="268" y="102"/>
                  </a:cubicBezTo>
                  <a:cubicBezTo>
                    <a:pt x="269" y="101"/>
                    <a:pt x="270" y="99"/>
                    <a:pt x="270" y="98"/>
                  </a:cubicBezTo>
                  <a:cubicBezTo>
                    <a:pt x="271" y="97"/>
                    <a:pt x="271" y="95"/>
                    <a:pt x="272" y="94"/>
                  </a:cubicBezTo>
                  <a:cubicBezTo>
                    <a:pt x="273" y="92"/>
                    <a:pt x="274" y="91"/>
                    <a:pt x="275" y="90"/>
                  </a:cubicBezTo>
                  <a:cubicBezTo>
                    <a:pt x="276" y="89"/>
                    <a:pt x="276" y="90"/>
                    <a:pt x="276" y="88"/>
                  </a:cubicBezTo>
                  <a:cubicBezTo>
                    <a:pt x="276" y="86"/>
                    <a:pt x="277" y="86"/>
                    <a:pt x="277" y="84"/>
                  </a:cubicBezTo>
                  <a:cubicBezTo>
                    <a:pt x="278" y="83"/>
                    <a:pt x="278" y="82"/>
                    <a:pt x="279" y="80"/>
                  </a:cubicBezTo>
                  <a:cubicBezTo>
                    <a:pt x="279" y="79"/>
                    <a:pt x="280" y="77"/>
                    <a:pt x="281" y="76"/>
                  </a:cubicBezTo>
                  <a:cubicBezTo>
                    <a:pt x="281" y="75"/>
                    <a:pt x="283" y="73"/>
                    <a:pt x="283" y="72"/>
                  </a:cubicBezTo>
                  <a:cubicBezTo>
                    <a:pt x="283" y="70"/>
                    <a:pt x="283" y="69"/>
                    <a:pt x="284" y="67"/>
                  </a:cubicBezTo>
                  <a:cubicBezTo>
                    <a:pt x="284" y="65"/>
                    <a:pt x="285" y="64"/>
                    <a:pt x="286" y="62"/>
                  </a:cubicBezTo>
                  <a:cubicBezTo>
                    <a:pt x="287" y="61"/>
                    <a:pt x="289" y="59"/>
                    <a:pt x="289" y="57"/>
                  </a:cubicBezTo>
                  <a:cubicBezTo>
                    <a:pt x="290" y="56"/>
                    <a:pt x="289" y="56"/>
                    <a:pt x="290" y="55"/>
                  </a:cubicBezTo>
                  <a:cubicBezTo>
                    <a:pt x="290" y="55"/>
                    <a:pt x="291" y="54"/>
                    <a:pt x="292" y="54"/>
                  </a:cubicBezTo>
                  <a:cubicBezTo>
                    <a:pt x="293" y="53"/>
                    <a:pt x="296" y="54"/>
                    <a:pt x="297" y="53"/>
                  </a:cubicBezTo>
                  <a:cubicBezTo>
                    <a:pt x="299" y="53"/>
                    <a:pt x="300" y="52"/>
                    <a:pt x="301" y="52"/>
                  </a:cubicBezTo>
                  <a:cubicBezTo>
                    <a:pt x="303" y="52"/>
                    <a:pt x="305" y="53"/>
                    <a:pt x="307" y="53"/>
                  </a:cubicBezTo>
                  <a:cubicBezTo>
                    <a:pt x="309" y="53"/>
                    <a:pt x="311" y="53"/>
                    <a:pt x="312" y="53"/>
                  </a:cubicBezTo>
                  <a:cubicBezTo>
                    <a:pt x="316" y="52"/>
                    <a:pt x="319" y="51"/>
                    <a:pt x="322" y="47"/>
                  </a:cubicBezTo>
                  <a:cubicBezTo>
                    <a:pt x="322" y="46"/>
                    <a:pt x="323" y="45"/>
                    <a:pt x="323" y="43"/>
                  </a:cubicBezTo>
                  <a:cubicBezTo>
                    <a:pt x="324" y="43"/>
                    <a:pt x="324" y="43"/>
                    <a:pt x="324" y="42"/>
                  </a:cubicBezTo>
                  <a:cubicBezTo>
                    <a:pt x="324" y="42"/>
                    <a:pt x="324" y="42"/>
                    <a:pt x="324" y="42"/>
                  </a:cubicBezTo>
                  <a:cubicBezTo>
                    <a:pt x="323" y="42"/>
                    <a:pt x="322" y="42"/>
                    <a:pt x="322" y="41"/>
                  </a:cubicBezTo>
                  <a:cubicBezTo>
                    <a:pt x="321" y="41"/>
                    <a:pt x="320" y="40"/>
                    <a:pt x="320" y="40"/>
                  </a:cubicBezTo>
                  <a:cubicBezTo>
                    <a:pt x="318" y="39"/>
                    <a:pt x="316" y="38"/>
                    <a:pt x="315" y="38"/>
                  </a:cubicBezTo>
                  <a:cubicBezTo>
                    <a:pt x="311" y="36"/>
                    <a:pt x="308" y="36"/>
                    <a:pt x="304" y="35"/>
                  </a:cubicBezTo>
                  <a:cubicBezTo>
                    <a:pt x="303" y="34"/>
                    <a:pt x="302" y="34"/>
                    <a:pt x="301" y="32"/>
                  </a:cubicBezTo>
                  <a:cubicBezTo>
                    <a:pt x="300" y="31"/>
                    <a:pt x="300" y="31"/>
                    <a:pt x="298" y="30"/>
                  </a:cubicBezTo>
                  <a:cubicBezTo>
                    <a:pt x="297" y="29"/>
                    <a:pt x="295" y="28"/>
                    <a:pt x="293" y="27"/>
                  </a:cubicBezTo>
                  <a:cubicBezTo>
                    <a:pt x="292" y="27"/>
                    <a:pt x="292" y="27"/>
                    <a:pt x="291" y="27"/>
                  </a:cubicBezTo>
                  <a:cubicBezTo>
                    <a:pt x="291" y="27"/>
                    <a:pt x="290" y="25"/>
                    <a:pt x="290" y="25"/>
                  </a:cubicBezTo>
                  <a:cubicBezTo>
                    <a:pt x="289" y="24"/>
                    <a:pt x="289" y="24"/>
                    <a:pt x="289" y="23"/>
                  </a:cubicBezTo>
                  <a:cubicBezTo>
                    <a:pt x="288" y="22"/>
                    <a:pt x="287" y="21"/>
                    <a:pt x="286" y="20"/>
                  </a:cubicBezTo>
                  <a:cubicBezTo>
                    <a:pt x="285" y="20"/>
                    <a:pt x="284" y="21"/>
                    <a:pt x="283" y="21"/>
                  </a:cubicBezTo>
                  <a:cubicBezTo>
                    <a:pt x="281" y="20"/>
                    <a:pt x="282" y="20"/>
                    <a:pt x="281" y="19"/>
                  </a:cubicBezTo>
                  <a:cubicBezTo>
                    <a:pt x="279" y="18"/>
                    <a:pt x="278" y="17"/>
                    <a:pt x="276" y="16"/>
                  </a:cubicBezTo>
                  <a:cubicBezTo>
                    <a:pt x="273" y="15"/>
                    <a:pt x="269" y="14"/>
                    <a:pt x="266" y="13"/>
                  </a:cubicBezTo>
                  <a:cubicBezTo>
                    <a:pt x="264" y="13"/>
                    <a:pt x="261" y="13"/>
                    <a:pt x="259" y="13"/>
                  </a:cubicBezTo>
                  <a:cubicBezTo>
                    <a:pt x="258" y="13"/>
                    <a:pt x="258" y="12"/>
                    <a:pt x="257" y="12"/>
                  </a:cubicBezTo>
                  <a:cubicBezTo>
                    <a:pt x="256" y="12"/>
                    <a:pt x="255" y="13"/>
                    <a:pt x="255" y="13"/>
                  </a:cubicBezTo>
                  <a:cubicBezTo>
                    <a:pt x="254" y="17"/>
                    <a:pt x="251" y="15"/>
                    <a:pt x="249" y="15"/>
                  </a:cubicBezTo>
                  <a:cubicBezTo>
                    <a:pt x="248" y="15"/>
                    <a:pt x="247" y="16"/>
                    <a:pt x="246" y="17"/>
                  </a:cubicBezTo>
                  <a:cubicBezTo>
                    <a:pt x="245" y="19"/>
                    <a:pt x="246" y="20"/>
                    <a:pt x="245" y="22"/>
                  </a:cubicBezTo>
                  <a:cubicBezTo>
                    <a:pt x="245" y="23"/>
                    <a:pt x="242" y="25"/>
                    <a:pt x="241" y="25"/>
                  </a:cubicBezTo>
                  <a:cubicBezTo>
                    <a:pt x="241" y="25"/>
                    <a:pt x="238" y="25"/>
                    <a:pt x="238" y="25"/>
                  </a:cubicBezTo>
                  <a:cubicBezTo>
                    <a:pt x="237" y="25"/>
                    <a:pt x="237" y="24"/>
                    <a:pt x="237" y="23"/>
                  </a:cubicBezTo>
                  <a:cubicBezTo>
                    <a:pt x="236" y="23"/>
                    <a:pt x="235" y="23"/>
                    <a:pt x="234" y="22"/>
                  </a:cubicBezTo>
                  <a:cubicBezTo>
                    <a:pt x="234" y="22"/>
                    <a:pt x="232" y="22"/>
                    <a:pt x="232" y="22"/>
                  </a:cubicBezTo>
                  <a:cubicBezTo>
                    <a:pt x="230" y="21"/>
                    <a:pt x="229" y="18"/>
                    <a:pt x="227" y="17"/>
                  </a:cubicBezTo>
                  <a:cubicBezTo>
                    <a:pt x="226" y="17"/>
                    <a:pt x="225" y="18"/>
                    <a:pt x="224" y="17"/>
                  </a:cubicBezTo>
                  <a:cubicBezTo>
                    <a:pt x="222" y="17"/>
                    <a:pt x="222" y="16"/>
                    <a:pt x="221" y="15"/>
                  </a:cubicBezTo>
                  <a:cubicBezTo>
                    <a:pt x="217" y="15"/>
                    <a:pt x="215" y="18"/>
                    <a:pt x="212" y="18"/>
                  </a:cubicBezTo>
                  <a:cubicBezTo>
                    <a:pt x="210" y="18"/>
                    <a:pt x="207" y="18"/>
                    <a:pt x="205" y="18"/>
                  </a:cubicBezTo>
                  <a:cubicBezTo>
                    <a:pt x="205" y="20"/>
                    <a:pt x="206" y="21"/>
                    <a:pt x="205" y="23"/>
                  </a:cubicBezTo>
                  <a:cubicBezTo>
                    <a:pt x="201" y="24"/>
                    <a:pt x="197" y="22"/>
                    <a:pt x="194" y="25"/>
                  </a:cubicBezTo>
                  <a:cubicBezTo>
                    <a:pt x="191" y="26"/>
                    <a:pt x="190" y="27"/>
                    <a:pt x="190" y="30"/>
                  </a:cubicBezTo>
                  <a:cubicBezTo>
                    <a:pt x="190" y="32"/>
                    <a:pt x="190" y="33"/>
                    <a:pt x="190" y="35"/>
                  </a:cubicBezTo>
                  <a:cubicBezTo>
                    <a:pt x="189" y="35"/>
                    <a:pt x="187" y="35"/>
                    <a:pt x="185" y="35"/>
                  </a:cubicBezTo>
                  <a:cubicBezTo>
                    <a:pt x="185" y="34"/>
                    <a:pt x="184" y="33"/>
                    <a:pt x="183" y="33"/>
                  </a:cubicBezTo>
                  <a:cubicBezTo>
                    <a:pt x="182" y="33"/>
                    <a:pt x="182" y="33"/>
                    <a:pt x="181" y="32"/>
                  </a:cubicBezTo>
                  <a:cubicBezTo>
                    <a:pt x="180" y="32"/>
                    <a:pt x="179" y="31"/>
                    <a:pt x="179" y="30"/>
                  </a:cubicBezTo>
                  <a:cubicBezTo>
                    <a:pt x="178" y="30"/>
                    <a:pt x="177" y="30"/>
                    <a:pt x="177" y="29"/>
                  </a:cubicBezTo>
                  <a:cubicBezTo>
                    <a:pt x="175" y="28"/>
                    <a:pt x="175" y="29"/>
                    <a:pt x="175" y="27"/>
                  </a:cubicBezTo>
                  <a:cubicBezTo>
                    <a:pt x="175" y="25"/>
                    <a:pt x="175" y="23"/>
                    <a:pt x="175" y="21"/>
                  </a:cubicBezTo>
                  <a:cubicBezTo>
                    <a:pt x="175" y="19"/>
                    <a:pt x="175" y="19"/>
                    <a:pt x="174" y="18"/>
                  </a:cubicBezTo>
                  <a:cubicBezTo>
                    <a:pt x="174" y="17"/>
                    <a:pt x="173" y="16"/>
                    <a:pt x="172" y="15"/>
                  </a:cubicBezTo>
                  <a:cubicBezTo>
                    <a:pt x="172" y="15"/>
                    <a:pt x="172" y="14"/>
                    <a:pt x="171" y="13"/>
                  </a:cubicBezTo>
                  <a:cubicBezTo>
                    <a:pt x="171" y="12"/>
                    <a:pt x="168" y="10"/>
                    <a:pt x="167" y="10"/>
                  </a:cubicBezTo>
                  <a:cubicBezTo>
                    <a:pt x="167" y="8"/>
                    <a:pt x="165" y="9"/>
                    <a:pt x="164" y="8"/>
                  </a:cubicBezTo>
                  <a:cubicBezTo>
                    <a:pt x="163" y="7"/>
                    <a:pt x="163" y="6"/>
                    <a:pt x="163" y="5"/>
                  </a:cubicBezTo>
                  <a:cubicBezTo>
                    <a:pt x="163" y="2"/>
                    <a:pt x="160" y="0"/>
                    <a:pt x="158" y="2"/>
                  </a:cubicBezTo>
                  <a:cubicBezTo>
                    <a:pt x="157" y="3"/>
                    <a:pt x="157" y="4"/>
                    <a:pt x="155" y="4"/>
                  </a:cubicBezTo>
                  <a:cubicBezTo>
                    <a:pt x="155" y="5"/>
                    <a:pt x="154" y="5"/>
                    <a:pt x="154" y="5"/>
                  </a:cubicBezTo>
                  <a:cubicBezTo>
                    <a:pt x="152" y="5"/>
                    <a:pt x="152" y="6"/>
                    <a:pt x="150" y="6"/>
                  </a:cubicBezTo>
                  <a:cubicBezTo>
                    <a:pt x="147" y="7"/>
                    <a:pt x="146" y="8"/>
                    <a:pt x="145" y="11"/>
                  </a:cubicBezTo>
                  <a:cubicBezTo>
                    <a:pt x="145" y="15"/>
                    <a:pt x="146" y="17"/>
                    <a:pt x="142" y="17"/>
                  </a:cubicBezTo>
                  <a:cubicBezTo>
                    <a:pt x="139" y="18"/>
                    <a:pt x="135" y="18"/>
                    <a:pt x="132" y="17"/>
                  </a:cubicBezTo>
                  <a:cubicBezTo>
                    <a:pt x="128" y="17"/>
                    <a:pt x="129" y="15"/>
                    <a:pt x="128" y="12"/>
                  </a:cubicBezTo>
                  <a:cubicBezTo>
                    <a:pt x="128" y="11"/>
                    <a:pt x="128" y="9"/>
                    <a:pt x="127" y="8"/>
                  </a:cubicBezTo>
                  <a:cubicBezTo>
                    <a:pt x="127" y="7"/>
                    <a:pt x="127" y="7"/>
                    <a:pt x="126" y="7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4" y="7"/>
                    <a:pt x="122" y="7"/>
                    <a:pt x="121" y="8"/>
                  </a:cubicBezTo>
                  <a:cubicBezTo>
                    <a:pt x="120" y="8"/>
                    <a:pt x="120" y="8"/>
                    <a:pt x="119" y="9"/>
                  </a:cubicBezTo>
                  <a:cubicBezTo>
                    <a:pt x="118" y="9"/>
                    <a:pt x="119" y="9"/>
                    <a:pt x="117" y="9"/>
                  </a:cubicBezTo>
                  <a:cubicBezTo>
                    <a:pt x="116" y="10"/>
                    <a:pt x="115" y="10"/>
                    <a:pt x="114" y="10"/>
                  </a:cubicBezTo>
                  <a:cubicBezTo>
                    <a:pt x="112" y="9"/>
                    <a:pt x="111" y="8"/>
                    <a:pt x="110" y="8"/>
                  </a:cubicBezTo>
                  <a:cubicBezTo>
                    <a:pt x="108" y="8"/>
                    <a:pt x="109" y="9"/>
                    <a:pt x="108" y="10"/>
                  </a:cubicBezTo>
                  <a:cubicBezTo>
                    <a:pt x="107" y="11"/>
                    <a:pt x="106" y="12"/>
                    <a:pt x="105" y="12"/>
                  </a:cubicBezTo>
                  <a:cubicBezTo>
                    <a:pt x="104" y="13"/>
                    <a:pt x="104" y="13"/>
                    <a:pt x="103" y="14"/>
                  </a:cubicBezTo>
                  <a:cubicBezTo>
                    <a:pt x="103" y="15"/>
                    <a:pt x="102" y="15"/>
                    <a:pt x="101" y="15"/>
                  </a:cubicBezTo>
                  <a:cubicBezTo>
                    <a:pt x="98" y="17"/>
                    <a:pt x="98" y="19"/>
                    <a:pt x="97" y="21"/>
                  </a:cubicBezTo>
                  <a:cubicBezTo>
                    <a:pt x="96" y="21"/>
                    <a:pt x="96" y="21"/>
                    <a:pt x="96" y="22"/>
                  </a:cubicBezTo>
                  <a:cubicBezTo>
                    <a:pt x="96" y="22"/>
                    <a:pt x="95" y="23"/>
                    <a:pt x="95" y="24"/>
                  </a:cubicBezTo>
                  <a:cubicBezTo>
                    <a:pt x="94" y="24"/>
                    <a:pt x="93" y="25"/>
                    <a:pt x="92" y="25"/>
                  </a:cubicBezTo>
                  <a:cubicBezTo>
                    <a:pt x="91" y="25"/>
                    <a:pt x="89" y="25"/>
                    <a:pt x="88" y="25"/>
                  </a:cubicBezTo>
                  <a:cubicBezTo>
                    <a:pt x="87" y="25"/>
                    <a:pt x="87" y="27"/>
                    <a:pt x="87" y="28"/>
                  </a:cubicBezTo>
                  <a:cubicBezTo>
                    <a:pt x="86" y="29"/>
                    <a:pt x="86" y="30"/>
                    <a:pt x="85" y="31"/>
                  </a:cubicBezTo>
                  <a:cubicBezTo>
                    <a:pt x="85" y="31"/>
                    <a:pt x="85" y="33"/>
                    <a:pt x="85" y="34"/>
                  </a:cubicBezTo>
                  <a:cubicBezTo>
                    <a:pt x="84" y="36"/>
                    <a:pt x="82" y="37"/>
                    <a:pt x="82" y="40"/>
                  </a:cubicBezTo>
                  <a:cubicBezTo>
                    <a:pt x="82" y="43"/>
                    <a:pt x="80" y="45"/>
                    <a:pt x="78" y="47"/>
                  </a:cubicBezTo>
                  <a:cubicBezTo>
                    <a:pt x="78" y="48"/>
                    <a:pt x="78" y="49"/>
                    <a:pt x="77" y="50"/>
                  </a:cubicBezTo>
                  <a:cubicBezTo>
                    <a:pt x="77" y="50"/>
                    <a:pt x="76" y="49"/>
                    <a:pt x="75" y="50"/>
                  </a:cubicBezTo>
                  <a:cubicBezTo>
                    <a:pt x="74" y="50"/>
                    <a:pt x="74" y="50"/>
                    <a:pt x="73" y="50"/>
                  </a:cubicBezTo>
                  <a:cubicBezTo>
                    <a:pt x="71" y="51"/>
                    <a:pt x="71" y="51"/>
                    <a:pt x="70" y="52"/>
                  </a:cubicBezTo>
                  <a:cubicBezTo>
                    <a:pt x="70" y="53"/>
                    <a:pt x="70" y="53"/>
                    <a:pt x="69" y="54"/>
                  </a:cubicBezTo>
                  <a:cubicBezTo>
                    <a:pt x="68" y="55"/>
                    <a:pt x="67" y="56"/>
                    <a:pt x="66" y="56"/>
                  </a:cubicBezTo>
                  <a:cubicBezTo>
                    <a:pt x="65" y="57"/>
                    <a:pt x="63" y="58"/>
                    <a:pt x="62" y="59"/>
                  </a:cubicBezTo>
                  <a:cubicBezTo>
                    <a:pt x="61" y="60"/>
                    <a:pt x="59" y="61"/>
                    <a:pt x="57" y="62"/>
                  </a:cubicBezTo>
                  <a:cubicBezTo>
                    <a:pt x="56" y="62"/>
                    <a:pt x="56" y="62"/>
                    <a:pt x="55" y="63"/>
                  </a:cubicBezTo>
                  <a:cubicBezTo>
                    <a:pt x="55" y="63"/>
                    <a:pt x="54" y="63"/>
                    <a:pt x="54" y="63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3" y="65"/>
                    <a:pt x="52" y="64"/>
                    <a:pt x="51" y="64"/>
                  </a:cubicBezTo>
                  <a:cubicBezTo>
                    <a:pt x="47" y="65"/>
                    <a:pt x="43" y="66"/>
                    <a:pt x="39" y="64"/>
                  </a:cubicBezTo>
                  <a:cubicBezTo>
                    <a:pt x="38" y="64"/>
                    <a:pt x="37" y="63"/>
                    <a:pt x="36" y="63"/>
                  </a:cubicBezTo>
                  <a:cubicBezTo>
                    <a:pt x="35" y="62"/>
                    <a:pt x="34" y="62"/>
                    <a:pt x="33" y="62"/>
                  </a:cubicBezTo>
                  <a:cubicBezTo>
                    <a:pt x="33" y="61"/>
                    <a:pt x="33" y="60"/>
                    <a:pt x="31" y="60"/>
                  </a:cubicBezTo>
                  <a:cubicBezTo>
                    <a:pt x="30" y="61"/>
                    <a:pt x="30" y="63"/>
                    <a:pt x="29" y="63"/>
                  </a:cubicBezTo>
                  <a:cubicBezTo>
                    <a:pt x="28" y="64"/>
                    <a:pt x="27" y="65"/>
                    <a:pt x="26" y="66"/>
                  </a:cubicBezTo>
                  <a:cubicBezTo>
                    <a:pt x="25" y="66"/>
                    <a:pt x="25" y="67"/>
                    <a:pt x="24" y="68"/>
                  </a:cubicBezTo>
                  <a:cubicBezTo>
                    <a:pt x="24" y="68"/>
                    <a:pt x="23" y="68"/>
                    <a:pt x="23" y="69"/>
                  </a:cubicBezTo>
                  <a:cubicBezTo>
                    <a:pt x="22" y="70"/>
                    <a:pt x="22" y="71"/>
                    <a:pt x="21" y="72"/>
                  </a:cubicBezTo>
                  <a:cubicBezTo>
                    <a:pt x="19" y="73"/>
                    <a:pt x="18" y="74"/>
                    <a:pt x="15" y="74"/>
                  </a:cubicBezTo>
                  <a:cubicBezTo>
                    <a:pt x="14" y="75"/>
                    <a:pt x="13" y="74"/>
                    <a:pt x="12" y="74"/>
                  </a:cubicBezTo>
                  <a:cubicBezTo>
                    <a:pt x="10" y="74"/>
                    <a:pt x="9" y="75"/>
                    <a:pt x="8" y="75"/>
                  </a:cubicBezTo>
                  <a:cubicBezTo>
                    <a:pt x="8" y="75"/>
                    <a:pt x="8" y="75"/>
                    <a:pt x="8" y="76"/>
                  </a:cubicBezTo>
                  <a:cubicBezTo>
                    <a:pt x="8" y="77"/>
                    <a:pt x="8" y="79"/>
                    <a:pt x="8" y="80"/>
                  </a:cubicBezTo>
                  <a:cubicBezTo>
                    <a:pt x="8" y="82"/>
                    <a:pt x="7" y="84"/>
                    <a:pt x="6" y="85"/>
                  </a:cubicBezTo>
                  <a:cubicBezTo>
                    <a:pt x="6" y="86"/>
                    <a:pt x="5" y="87"/>
                    <a:pt x="4" y="88"/>
                  </a:cubicBezTo>
                  <a:cubicBezTo>
                    <a:pt x="3" y="89"/>
                    <a:pt x="2" y="91"/>
                    <a:pt x="1" y="93"/>
                  </a:cubicBezTo>
                  <a:cubicBezTo>
                    <a:pt x="1" y="94"/>
                    <a:pt x="0" y="95"/>
                    <a:pt x="1" y="96"/>
                  </a:cubicBezTo>
                  <a:cubicBezTo>
                    <a:pt x="1" y="97"/>
                    <a:pt x="2" y="99"/>
                    <a:pt x="2" y="100"/>
                  </a:cubicBezTo>
                  <a:cubicBezTo>
                    <a:pt x="3" y="100"/>
                    <a:pt x="4" y="101"/>
                    <a:pt x="4" y="101"/>
                  </a:cubicBezTo>
                  <a:cubicBezTo>
                    <a:pt x="5" y="102"/>
                    <a:pt x="5" y="103"/>
                    <a:pt x="5" y="104"/>
                  </a:cubicBezTo>
                  <a:cubicBezTo>
                    <a:pt x="6" y="107"/>
                    <a:pt x="5" y="110"/>
                    <a:pt x="6" y="113"/>
                  </a:cubicBezTo>
                  <a:cubicBezTo>
                    <a:pt x="6" y="114"/>
                    <a:pt x="7" y="116"/>
                    <a:pt x="8" y="117"/>
                  </a:cubicBezTo>
                  <a:cubicBezTo>
                    <a:pt x="8" y="118"/>
                    <a:pt x="9" y="118"/>
                    <a:pt x="9" y="118"/>
                  </a:cubicBezTo>
                  <a:cubicBezTo>
                    <a:pt x="10" y="119"/>
                    <a:pt x="10" y="120"/>
                    <a:pt x="10" y="120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2"/>
                    <a:pt x="11" y="122"/>
                    <a:pt x="11" y="122"/>
                  </a:cubicBezTo>
                  <a:cubicBezTo>
                    <a:pt x="11" y="123"/>
                    <a:pt x="11" y="124"/>
                    <a:pt x="12" y="126"/>
                  </a:cubicBezTo>
                  <a:cubicBezTo>
                    <a:pt x="13" y="127"/>
                    <a:pt x="13" y="129"/>
                    <a:pt x="13" y="130"/>
                  </a:cubicBezTo>
                  <a:cubicBezTo>
                    <a:pt x="13" y="130"/>
                    <a:pt x="12" y="131"/>
                    <a:pt x="12" y="131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1" y="133"/>
                    <a:pt x="10" y="134"/>
                    <a:pt x="9" y="13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4" name="Freeform 24"/>
            <p:cNvSpPr>
              <a:spLocks noEditPoints="1"/>
            </p:cNvSpPr>
            <p:nvPr/>
          </p:nvSpPr>
          <p:spPr bwMode="auto">
            <a:xfrm>
              <a:off x="5080000" y="4768850"/>
              <a:ext cx="660400" cy="425450"/>
            </a:xfrm>
            <a:custGeom>
              <a:avLst/>
              <a:gdLst/>
              <a:ahLst/>
              <a:cxnLst>
                <a:cxn ang="0">
                  <a:pos x="3" y="150"/>
                </a:cxn>
                <a:cxn ang="0">
                  <a:pos x="12" y="165"/>
                </a:cxn>
                <a:cxn ang="0">
                  <a:pos x="27" y="181"/>
                </a:cxn>
                <a:cxn ang="0">
                  <a:pos x="42" y="192"/>
                </a:cxn>
                <a:cxn ang="0">
                  <a:pos x="44" y="198"/>
                </a:cxn>
                <a:cxn ang="0">
                  <a:pos x="58" y="213"/>
                </a:cxn>
                <a:cxn ang="0">
                  <a:pos x="71" y="221"/>
                </a:cxn>
                <a:cxn ang="0">
                  <a:pos x="88" y="225"/>
                </a:cxn>
                <a:cxn ang="0">
                  <a:pos x="104" y="226"/>
                </a:cxn>
                <a:cxn ang="0">
                  <a:pos x="123" y="219"/>
                </a:cxn>
                <a:cxn ang="0">
                  <a:pos x="132" y="214"/>
                </a:cxn>
                <a:cxn ang="0">
                  <a:pos x="150" y="211"/>
                </a:cxn>
                <a:cxn ang="0">
                  <a:pos x="165" y="200"/>
                </a:cxn>
                <a:cxn ang="0">
                  <a:pos x="172" y="196"/>
                </a:cxn>
                <a:cxn ang="0">
                  <a:pos x="197" y="196"/>
                </a:cxn>
                <a:cxn ang="0">
                  <a:pos x="234" y="193"/>
                </a:cxn>
                <a:cxn ang="0">
                  <a:pos x="251" y="191"/>
                </a:cxn>
                <a:cxn ang="0">
                  <a:pos x="255" y="185"/>
                </a:cxn>
                <a:cxn ang="0">
                  <a:pos x="259" y="180"/>
                </a:cxn>
                <a:cxn ang="0">
                  <a:pos x="262" y="174"/>
                </a:cxn>
                <a:cxn ang="0">
                  <a:pos x="267" y="162"/>
                </a:cxn>
                <a:cxn ang="0">
                  <a:pos x="275" y="154"/>
                </a:cxn>
                <a:cxn ang="0">
                  <a:pos x="281" y="148"/>
                </a:cxn>
                <a:cxn ang="0">
                  <a:pos x="285" y="133"/>
                </a:cxn>
                <a:cxn ang="0">
                  <a:pos x="292" y="121"/>
                </a:cxn>
                <a:cxn ang="0">
                  <a:pos x="302" y="101"/>
                </a:cxn>
                <a:cxn ang="0">
                  <a:pos x="307" y="91"/>
                </a:cxn>
                <a:cxn ang="0">
                  <a:pos x="311" y="85"/>
                </a:cxn>
                <a:cxn ang="0">
                  <a:pos x="315" y="78"/>
                </a:cxn>
                <a:cxn ang="0">
                  <a:pos x="327" y="70"/>
                </a:cxn>
                <a:cxn ang="0">
                  <a:pos x="341" y="64"/>
                </a:cxn>
                <a:cxn ang="0">
                  <a:pos x="353" y="52"/>
                </a:cxn>
                <a:cxn ang="0">
                  <a:pos x="348" y="38"/>
                </a:cxn>
                <a:cxn ang="0">
                  <a:pos x="337" y="30"/>
                </a:cxn>
                <a:cxn ang="0">
                  <a:pos x="312" y="12"/>
                </a:cxn>
                <a:cxn ang="0">
                  <a:pos x="296" y="21"/>
                </a:cxn>
                <a:cxn ang="0">
                  <a:pos x="282" y="4"/>
                </a:cxn>
                <a:cxn ang="0">
                  <a:pos x="270" y="2"/>
                </a:cxn>
                <a:cxn ang="0">
                  <a:pos x="253" y="5"/>
                </a:cxn>
                <a:cxn ang="0">
                  <a:pos x="234" y="2"/>
                </a:cxn>
                <a:cxn ang="0">
                  <a:pos x="221" y="18"/>
                </a:cxn>
                <a:cxn ang="0">
                  <a:pos x="207" y="28"/>
                </a:cxn>
                <a:cxn ang="0">
                  <a:pos x="195" y="36"/>
                </a:cxn>
                <a:cxn ang="0">
                  <a:pos x="183" y="29"/>
                </a:cxn>
                <a:cxn ang="0">
                  <a:pos x="169" y="38"/>
                </a:cxn>
                <a:cxn ang="0">
                  <a:pos x="143" y="42"/>
                </a:cxn>
                <a:cxn ang="0">
                  <a:pos x="131" y="53"/>
                </a:cxn>
                <a:cxn ang="0">
                  <a:pos x="122" y="63"/>
                </a:cxn>
                <a:cxn ang="0">
                  <a:pos x="115" y="66"/>
                </a:cxn>
                <a:cxn ang="0">
                  <a:pos x="72" y="61"/>
                </a:cxn>
                <a:cxn ang="0">
                  <a:pos x="54" y="50"/>
                </a:cxn>
                <a:cxn ang="0">
                  <a:pos x="52" y="61"/>
                </a:cxn>
                <a:cxn ang="0">
                  <a:pos x="36" y="69"/>
                </a:cxn>
                <a:cxn ang="0">
                  <a:pos x="21" y="68"/>
                </a:cxn>
                <a:cxn ang="0">
                  <a:pos x="26" y="74"/>
                </a:cxn>
                <a:cxn ang="0">
                  <a:pos x="28" y="82"/>
                </a:cxn>
                <a:cxn ang="0">
                  <a:pos x="19" y="90"/>
                </a:cxn>
                <a:cxn ang="0">
                  <a:pos x="17" y="103"/>
                </a:cxn>
                <a:cxn ang="0">
                  <a:pos x="17" y="113"/>
                </a:cxn>
                <a:cxn ang="0">
                  <a:pos x="17" y="122"/>
                </a:cxn>
                <a:cxn ang="0">
                  <a:pos x="2" y="131"/>
                </a:cxn>
                <a:cxn ang="0">
                  <a:pos x="53" y="47"/>
                </a:cxn>
              </a:cxnLst>
              <a:rect l="0" t="0" r="r" b="b"/>
              <a:pathLst>
                <a:path w="353" h="228">
                  <a:moveTo>
                    <a:pt x="2" y="136"/>
                  </a:moveTo>
                  <a:cubicBezTo>
                    <a:pt x="4" y="138"/>
                    <a:pt x="5" y="139"/>
                    <a:pt x="5" y="141"/>
                  </a:cubicBezTo>
                  <a:cubicBezTo>
                    <a:pt x="5" y="143"/>
                    <a:pt x="4" y="144"/>
                    <a:pt x="4" y="146"/>
                  </a:cubicBezTo>
                  <a:cubicBezTo>
                    <a:pt x="3" y="147"/>
                    <a:pt x="3" y="148"/>
                    <a:pt x="3" y="150"/>
                  </a:cubicBezTo>
                  <a:cubicBezTo>
                    <a:pt x="3" y="152"/>
                    <a:pt x="3" y="152"/>
                    <a:pt x="5" y="153"/>
                  </a:cubicBezTo>
                  <a:cubicBezTo>
                    <a:pt x="6" y="154"/>
                    <a:pt x="7" y="154"/>
                    <a:pt x="8" y="155"/>
                  </a:cubicBezTo>
                  <a:cubicBezTo>
                    <a:pt x="9" y="159"/>
                    <a:pt x="6" y="162"/>
                    <a:pt x="10" y="165"/>
                  </a:cubicBezTo>
                  <a:cubicBezTo>
                    <a:pt x="10" y="165"/>
                    <a:pt x="11" y="165"/>
                    <a:pt x="12" y="165"/>
                  </a:cubicBezTo>
                  <a:cubicBezTo>
                    <a:pt x="12" y="165"/>
                    <a:pt x="13" y="167"/>
                    <a:pt x="13" y="167"/>
                  </a:cubicBezTo>
                  <a:cubicBezTo>
                    <a:pt x="14" y="168"/>
                    <a:pt x="15" y="169"/>
                    <a:pt x="17" y="170"/>
                  </a:cubicBezTo>
                  <a:cubicBezTo>
                    <a:pt x="20" y="172"/>
                    <a:pt x="23" y="174"/>
                    <a:pt x="25" y="177"/>
                  </a:cubicBezTo>
                  <a:cubicBezTo>
                    <a:pt x="26" y="178"/>
                    <a:pt x="26" y="180"/>
                    <a:pt x="27" y="181"/>
                  </a:cubicBezTo>
                  <a:cubicBezTo>
                    <a:pt x="28" y="182"/>
                    <a:pt x="30" y="183"/>
                    <a:pt x="32" y="183"/>
                  </a:cubicBezTo>
                  <a:cubicBezTo>
                    <a:pt x="31" y="186"/>
                    <a:pt x="31" y="187"/>
                    <a:pt x="34" y="189"/>
                  </a:cubicBezTo>
                  <a:cubicBezTo>
                    <a:pt x="35" y="190"/>
                    <a:pt x="37" y="190"/>
                    <a:pt x="38" y="191"/>
                  </a:cubicBezTo>
                  <a:cubicBezTo>
                    <a:pt x="39" y="191"/>
                    <a:pt x="40" y="193"/>
                    <a:pt x="42" y="192"/>
                  </a:cubicBezTo>
                  <a:cubicBezTo>
                    <a:pt x="41" y="192"/>
                    <a:pt x="41" y="193"/>
                    <a:pt x="41" y="193"/>
                  </a:cubicBezTo>
                  <a:cubicBezTo>
                    <a:pt x="42" y="194"/>
                    <a:pt x="43" y="195"/>
                    <a:pt x="43" y="196"/>
                  </a:cubicBezTo>
                  <a:cubicBezTo>
                    <a:pt x="44" y="196"/>
                    <a:pt x="44" y="196"/>
                    <a:pt x="43" y="197"/>
                  </a:cubicBezTo>
                  <a:cubicBezTo>
                    <a:pt x="44" y="197"/>
                    <a:pt x="44" y="197"/>
                    <a:pt x="44" y="198"/>
                  </a:cubicBezTo>
                  <a:cubicBezTo>
                    <a:pt x="45" y="198"/>
                    <a:pt x="45" y="199"/>
                    <a:pt x="46" y="199"/>
                  </a:cubicBezTo>
                  <a:cubicBezTo>
                    <a:pt x="47" y="201"/>
                    <a:pt x="48" y="201"/>
                    <a:pt x="49" y="203"/>
                  </a:cubicBezTo>
                  <a:cubicBezTo>
                    <a:pt x="50" y="205"/>
                    <a:pt x="50" y="208"/>
                    <a:pt x="51" y="210"/>
                  </a:cubicBezTo>
                  <a:cubicBezTo>
                    <a:pt x="53" y="212"/>
                    <a:pt x="56" y="212"/>
                    <a:pt x="58" y="213"/>
                  </a:cubicBezTo>
                  <a:cubicBezTo>
                    <a:pt x="60" y="214"/>
                    <a:pt x="60" y="215"/>
                    <a:pt x="63" y="215"/>
                  </a:cubicBezTo>
                  <a:cubicBezTo>
                    <a:pt x="64" y="215"/>
                    <a:pt x="64" y="215"/>
                    <a:pt x="65" y="215"/>
                  </a:cubicBezTo>
                  <a:cubicBezTo>
                    <a:pt x="66" y="216"/>
                    <a:pt x="66" y="216"/>
                    <a:pt x="66" y="217"/>
                  </a:cubicBezTo>
                  <a:cubicBezTo>
                    <a:pt x="68" y="218"/>
                    <a:pt x="70" y="219"/>
                    <a:pt x="71" y="221"/>
                  </a:cubicBezTo>
                  <a:cubicBezTo>
                    <a:pt x="72" y="222"/>
                    <a:pt x="72" y="222"/>
                    <a:pt x="73" y="223"/>
                  </a:cubicBezTo>
                  <a:cubicBezTo>
                    <a:pt x="75" y="223"/>
                    <a:pt x="77" y="223"/>
                    <a:pt x="78" y="223"/>
                  </a:cubicBezTo>
                  <a:cubicBezTo>
                    <a:pt x="80" y="223"/>
                    <a:pt x="82" y="224"/>
                    <a:pt x="84" y="224"/>
                  </a:cubicBezTo>
                  <a:cubicBezTo>
                    <a:pt x="85" y="225"/>
                    <a:pt x="87" y="224"/>
                    <a:pt x="88" y="225"/>
                  </a:cubicBezTo>
                  <a:cubicBezTo>
                    <a:pt x="89" y="225"/>
                    <a:pt x="89" y="225"/>
                    <a:pt x="90" y="226"/>
                  </a:cubicBezTo>
                  <a:cubicBezTo>
                    <a:pt x="91" y="226"/>
                    <a:pt x="92" y="226"/>
                    <a:pt x="92" y="226"/>
                  </a:cubicBezTo>
                  <a:cubicBezTo>
                    <a:pt x="94" y="226"/>
                    <a:pt x="95" y="226"/>
                    <a:pt x="97" y="226"/>
                  </a:cubicBezTo>
                  <a:cubicBezTo>
                    <a:pt x="99" y="226"/>
                    <a:pt x="101" y="226"/>
                    <a:pt x="104" y="226"/>
                  </a:cubicBezTo>
                  <a:cubicBezTo>
                    <a:pt x="107" y="225"/>
                    <a:pt x="113" y="228"/>
                    <a:pt x="116" y="226"/>
                  </a:cubicBezTo>
                  <a:cubicBezTo>
                    <a:pt x="116" y="225"/>
                    <a:pt x="116" y="223"/>
                    <a:pt x="117" y="222"/>
                  </a:cubicBezTo>
                  <a:cubicBezTo>
                    <a:pt x="117" y="221"/>
                    <a:pt x="118" y="221"/>
                    <a:pt x="119" y="220"/>
                  </a:cubicBezTo>
                  <a:cubicBezTo>
                    <a:pt x="120" y="220"/>
                    <a:pt x="122" y="219"/>
                    <a:pt x="123" y="219"/>
                  </a:cubicBezTo>
                  <a:cubicBezTo>
                    <a:pt x="123" y="219"/>
                    <a:pt x="125" y="218"/>
                    <a:pt x="125" y="218"/>
                  </a:cubicBezTo>
                  <a:cubicBezTo>
                    <a:pt x="126" y="217"/>
                    <a:pt x="127" y="213"/>
                    <a:pt x="129" y="214"/>
                  </a:cubicBezTo>
                  <a:cubicBezTo>
                    <a:pt x="129" y="215"/>
                    <a:pt x="130" y="215"/>
                    <a:pt x="130" y="215"/>
                  </a:cubicBezTo>
                  <a:cubicBezTo>
                    <a:pt x="131" y="215"/>
                    <a:pt x="131" y="214"/>
                    <a:pt x="132" y="214"/>
                  </a:cubicBezTo>
                  <a:cubicBezTo>
                    <a:pt x="133" y="213"/>
                    <a:pt x="136" y="214"/>
                    <a:pt x="138" y="213"/>
                  </a:cubicBezTo>
                  <a:cubicBezTo>
                    <a:pt x="139" y="210"/>
                    <a:pt x="141" y="206"/>
                    <a:pt x="144" y="204"/>
                  </a:cubicBezTo>
                  <a:cubicBezTo>
                    <a:pt x="144" y="205"/>
                    <a:pt x="145" y="206"/>
                    <a:pt x="146" y="206"/>
                  </a:cubicBezTo>
                  <a:cubicBezTo>
                    <a:pt x="147" y="208"/>
                    <a:pt x="148" y="210"/>
                    <a:pt x="150" y="211"/>
                  </a:cubicBezTo>
                  <a:cubicBezTo>
                    <a:pt x="152" y="212"/>
                    <a:pt x="154" y="211"/>
                    <a:pt x="155" y="209"/>
                  </a:cubicBezTo>
                  <a:cubicBezTo>
                    <a:pt x="155" y="208"/>
                    <a:pt x="155" y="208"/>
                    <a:pt x="155" y="206"/>
                  </a:cubicBezTo>
                  <a:cubicBezTo>
                    <a:pt x="156" y="205"/>
                    <a:pt x="157" y="204"/>
                    <a:pt x="158" y="203"/>
                  </a:cubicBezTo>
                  <a:cubicBezTo>
                    <a:pt x="160" y="202"/>
                    <a:pt x="163" y="202"/>
                    <a:pt x="165" y="200"/>
                  </a:cubicBezTo>
                  <a:cubicBezTo>
                    <a:pt x="165" y="200"/>
                    <a:pt x="165" y="199"/>
                    <a:pt x="165" y="199"/>
                  </a:cubicBezTo>
                  <a:cubicBezTo>
                    <a:pt x="166" y="199"/>
                    <a:pt x="166" y="199"/>
                    <a:pt x="166" y="198"/>
                  </a:cubicBezTo>
                  <a:cubicBezTo>
                    <a:pt x="167" y="198"/>
                    <a:pt x="167" y="197"/>
                    <a:pt x="168" y="197"/>
                  </a:cubicBezTo>
                  <a:cubicBezTo>
                    <a:pt x="169" y="196"/>
                    <a:pt x="170" y="196"/>
                    <a:pt x="172" y="196"/>
                  </a:cubicBezTo>
                  <a:cubicBezTo>
                    <a:pt x="173" y="196"/>
                    <a:pt x="175" y="195"/>
                    <a:pt x="176" y="195"/>
                  </a:cubicBezTo>
                  <a:cubicBezTo>
                    <a:pt x="177" y="196"/>
                    <a:pt x="177" y="197"/>
                    <a:pt x="178" y="197"/>
                  </a:cubicBezTo>
                  <a:cubicBezTo>
                    <a:pt x="182" y="198"/>
                    <a:pt x="185" y="198"/>
                    <a:pt x="188" y="198"/>
                  </a:cubicBezTo>
                  <a:cubicBezTo>
                    <a:pt x="191" y="197"/>
                    <a:pt x="193" y="196"/>
                    <a:pt x="197" y="196"/>
                  </a:cubicBezTo>
                  <a:cubicBezTo>
                    <a:pt x="200" y="196"/>
                    <a:pt x="203" y="198"/>
                    <a:pt x="206" y="198"/>
                  </a:cubicBezTo>
                  <a:cubicBezTo>
                    <a:pt x="208" y="198"/>
                    <a:pt x="209" y="198"/>
                    <a:pt x="210" y="198"/>
                  </a:cubicBezTo>
                  <a:cubicBezTo>
                    <a:pt x="212" y="198"/>
                    <a:pt x="212" y="197"/>
                    <a:pt x="213" y="197"/>
                  </a:cubicBezTo>
                  <a:cubicBezTo>
                    <a:pt x="220" y="196"/>
                    <a:pt x="230" y="202"/>
                    <a:pt x="234" y="193"/>
                  </a:cubicBezTo>
                  <a:cubicBezTo>
                    <a:pt x="235" y="192"/>
                    <a:pt x="236" y="189"/>
                    <a:pt x="239" y="189"/>
                  </a:cubicBezTo>
                  <a:cubicBezTo>
                    <a:pt x="240" y="189"/>
                    <a:pt x="241" y="189"/>
                    <a:pt x="242" y="190"/>
                  </a:cubicBezTo>
                  <a:cubicBezTo>
                    <a:pt x="244" y="191"/>
                    <a:pt x="245" y="191"/>
                    <a:pt x="246" y="191"/>
                  </a:cubicBezTo>
                  <a:cubicBezTo>
                    <a:pt x="248" y="191"/>
                    <a:pt x="250" y="191"/>
                    <a:pt x="251" y="191"/>
                  </a:cubicBezTo>
                  <a:cubicBezTo>
                    <a:pt x="253" y="190"/>
                    <a:pt x="253" y="189"/>
                    <a:pt x="254" y="188"/>
                  </a:cubicBezTo>
                  <a:cubicBezTo>
                    <a:pt x="253" y="188"/>
                    <a:pt x="254" y="187"/>
                    <a:pt x="254" y="187"/>
                  </a:cubicBezTo>
                  <a:cubicBezTo>
                    <a:pt x="254" y="187"/>
                    <a:pt x="254" y="186"/>
                    <a:pt x="255" y="186"/>
                  </a:cubicBezTo>
                  <a:cubicBezTo>
                    <a:pt x="254" y="186"/>
                    <a:pt x="255" y="186"/>
                    <a:pt x="255" y="185"/>
                  </a:cubicBezTo>
                  <a:cubicBezTo>
                    <a:pt x="255" y="185"/>
                    <a:pt x="255" y="186"/>
                    <a:pt x="255" y="186"/>
                  </a:cubicBezTo>
                  <a:cubicBezTo>
                    <a:pt x="255" y="186"/>
                    <a:pt x="256" y="183"/>
                    <a:pt x="256" y="184"/>
                  </a:cubicBezTo>
                  <a:cubicBezTo>
                    <a:pt x="256" y="184"/>
                    <a:pt x="257" y="184"/>
                    <a:pt x="257" y="183"/>
                  </a:cubicBezTo>
                  <a:cubicBezTo>
                    <a:pt x="258" y="182"/>
                    <a:pt x="258" y="181"/>
                    <a:pt x="259" y="180"/>
                  </a:cubicBezTo>
                  <a:cubicBezTo>
                    <a:pt x="259" y="180"/>
                    <a:pt x="260" y="179"/>
                    <a:pt x="260" y="179"/>
                  </a:cubicBezTo>
                  <a:cubicBezTo>
                    <a:pt x="261" y="178"/>
                    <a:pt x="261" y="177"/>
                    <a:pt x="261" y="177"/>
                  </a:cubicBezTo>
                  <a:cubicBezTo>
                    <a:pt x="261" y="176"/>
                    <a:pt x="262" y="176"/>
                    <a:pt x="262" y="176"/>
                  </a:cubicBezTo>
                  <a:cubicBezTo>
                    <a:pt x="263" y="175"/>
                    <a:pt x="262" y="174"/>
                    <a:pt x="262" y="174"/>
                  </a:cubicBezTo>
                  <a:cubicBezTo>
                    <a:pt x="262" y="173"/>
                    <a:pt x="263" y="171"/>
                    <a:pt x="263" y="170"/>
                  </a:cubicBezTo>
                  <a:cubicBezTo>
                    <a:pt x="264" y="168"/>
                    <a:pt x="265" y="167"/>
                    <a:pt x="266" y="166"/>
                  </a:cubicBezTo>
                  <a:cubicBezTo>
                    <a:pt x="266" y="165"/>
                    <a:pt x="267" y="165"/>
                    <a:pt x="267" y="164"/>
                  </a:cubicBezTo>
                  <a:cubicBezTo>
                    <a:pt x="267" y="164"/>
                    <a:pt x="267" y="163"/>
                    <a:pt x="267" y="162"/>
                  </a:cubicBezTo>
                  <a:cubicBezTo>
                    <a:pt x="268" y="161"/>
                    <a:pt x="269" y="161"/>
                    <a:pt x="270" y="160"/>
                  </a:cubicBezTo>
                  <a:cubicBezTo>
                    <a:pt x="271" y="159"/>
                    <a:pt x="270" y="158"/>
                    <a:pt x="272" y="158"/>
                  </a:cubicBezTo>
                  <a:cubicBezTo>
                    <a:pt x="272" y="157"/>
                    <a:pt x="272" y="157"/>
                    <a:pt x="272" y="157"/>
                  </a:cubicBezTo>
                  <a:cubicBezTo>
                    <a:pt x="274" y="157"/>
                    <a:pt x="274" y="154"/>
                    <a:pt x="275" y="154"/>
                  </a:cubicBezTo>
                  <a:cubicBezTo>
                    <a:pt x="275" y="153"/>
                    <a:pt x="275" y="153"/>
                    <a:pt x="276" y="153"/>
                  </a:cubicBezTo>
                  <a:cubicBezTo>
                    <a:pt x="276" y="153"/>
                    <a:pt x="276" y="153"/>
                    <a:pt x="277" y="153"/>
                  </a:cubicBezTo>
                  <a:cubicBezTo>
                    <a:pt x="278" y="152"/>
                    <a:pt x="278" y="152"/>
                    <a:pt x="278" y="151"/>
                  </a:cubicBezTo>
                  <a:cubicBezTo>
                    <a:pt x="279" y="151"/>
                    <a:pt x="280" y="150"/>
                    <a:pt x="281" y="148"/>
                  </a:cubicBezTo>
                  <a:cubicBezTo>
                    <a:pt x="282" y="147"/>
                    <a:pt x="282" y="145"/>
                    <a:pt x="282" y="143"/>
                  </a:cubicBezTo>
                  <a:cubicBezTo>
                    <a:pt x="282" y="142"/>
                    <a:pt x="283" y="140"/>
                    <a:pt x="283" y="138"/>
                  </a:cubicBezTo>
                  <a:cubicBezTo>
                    <a:pt x="283" y="137"/>
                    <a:pt x="283" y="135"/>
                    <a:pt x="283" y="134"/>
                  </a:cubicBezTo>
                  <a:cubicBezTo>
                    <a:pt x="284" y="134"/>
                    <a:pt x="284" y="134"/>
                    <a:pt x="285" y="133"/>
                  </a:cubicBezTo>
                  <a:cubicBezTo>
                    <a:pt x="285" y="132"/>
                    <a:pt x="285" y="131"/>
                    <a:pt x="286" y="130"/>
                  </a:cubicBezTo>
                  <a:cubicBezTo>
                    <a:pt x="287" y="129"/>
                    <a:pt x="287" y="128"/>
                    <a:pt x="288" y="127"/>
                  </a:cubicBezTo>
                  <a:cubicBezTo>
                    <a:pt x="288" y="126"/>
                    <a:pt x="288" y="124"/>
                    <a:pt x="289" y="123"/>
                  </a:cubicBezTo>
                  <a:cubicBezTo>
                    <a:pt x="289" y="122"/>
                    <a:pt x="291" y="121"/>
                    <a:pt x="292" y="121"/>
                  </a:cubicBezTo>
                  <a:cubicBezTo>
                    <a:pt x="294" y="119"/>
                    <a:pt x="296" y="116"/>
                    <a:pt x="296" y="114"/>
                  </a:cubicBezTo>
                  <a:cubicBezTo>
                    <a:pt x="297" y="112"/>
                    <a:pt x="296" y="111"/>
                    <a:pt x="297" y="109"/>
                  </a:cubicBezTo>
                  <a:cubicBezTo>
                    <a:pt x="297" y="108"/>
                    <a:pt x="297" y="107"/>
                    <a:pt x="298" y="106"/>
                  </a:cubicBezTo>
                  <a:cubicBezTo>
                    <a:pt x="299" y="104"/>
                    <a:pt x="300" y="102"/>
                    <a:pt x="302" y="101"/>
                  </a:cubicBezTo>
                  <a:cubicBezTo>
                    <a:pt x="303" y="101"/>
                    <a:pt x="305" y="101"/>
                    <a:pt x="306" y="100"/>
                  </a:cubicBezTo>
                  <a:cubicBezTo>
                    <a:pt x="306" y="99"/>
                    <a:pt x="306" y="98"/>
                    <a:pt x="306" y="96"/>
                  </a:cubicBezTo>
                  <a:cubicBezTo>
                    <a:pt x="307" y="95"/>
                    <a:pt x="307" y="94"/>
                    <a:pt x="307" y="92"/>
                  </a:cubicBezTo>
                  <a:cubicBezTo>
                    <a:pt x="307" y="92"/>
                    <a:pt x="307" y="91"/>
                    <a:pt x="307" y="91"/>
                  </a:cubicBezTo>
                  <a:cubicBezTo>
                    <a:pt x="308" y="90"/>
                    <a:pt x="308" y="89"/>
                    <a:pt x="309" y="88"/>
                  </a:cubicBezTo>
                  <a:cubicBezTo>
                    <a:pt x="309" y="88"/>
                    <a:pt x="310" y="87"/>
                    <a:pt x="310" y="87"/>
                  </a:cubicBezTo>
                  <a:cubicBezTo>
                    <a:pt x="310" y="86"/>
                    <a:pt x="310" y="86"/>
                    <a:pt x="310" y="86"/>
                  </a:cubicBezTo>
                  <a:cubicBezTo>
                    <a:pt x="310" y="86"/>
                    <a:pt x="311" y="85"/>
                    <a:pt x="311" y="85"/>
                  </a:cubicBezTo>
                  <a:cubicBezTo>
                    <a:pt x="311" y="85"/>
                    <a:pt x="312" y="84"/>
                    <a:pt x="312" y="84"/>
                  </a:cubicBezTo>
                  <a:cubicBezTo>
                    <a:pt x="313" y="83"/>
                    <a:pt x="312" y="82"/>
                    <a:pt x="312" y="81"/>
                  </a:cubicBezTo>
                  <a:cubicBezTo>
                    <a:pt x="313" y="80"/>
                    <a:pt x="313" y="80"/>
                    <a:pt x="314" y="80"/>
                  </a:cubicBezTo>
                  <a:cubicBezTo>
                    <a:pt x="314" y="79"/>
                    <a:pt x="314" y="78"/>
                    <a:pt x="315" y="78"/>
                  </a:cubicBezTo>
                  <a:cubicBezTo>
                    <a:pt x="316" y="77"/>
                    <a:pt x="316" y="76"/>
                    <a:pt x="317" y="75"/>
                  </a:cubicBezTo>
                  <a:cubicBezTo>
                    <a:pt x="318" y="73"/>
                    <a:pt x="318" y="73"/>
                    <a:pt x="320" y="73"/>
                  </a:cubicBezTo>
                  <a:cubicBezTo>
                    <a:pt x="321" y="73"/>
                    <a:pt x="323" y="73"/>
                    <a:pt x="324" y="73"/>
                  </a:cubicBezTo>
                  <a:cubicBezTo>
                    <a:pt x="326" y="72"/>
                    <a:pt x="326" y="71"/>
                    <a:pt x="327" y="70"/>
                  </a:cubicBezTo>
                  <a:cubicBezTo>
                    <a:pt x="328" y="68"/>
                    <a:pt x="329" y="68"/>
                    <a:pt x="330" y="68"/>
                  </a:cubicBezTo>
                  <a:cubicBezTo>
                    <a:pt x="332" y="68"/>
                    <a:pt x="332" y="67"/>
                    <a:pt x="333" y="67"/>
                  </a:cubicBezTo>
                  <a:cubicBezTo>
                    <a:pt x="335" y="67"/>
                    <a:pt x="338" y="68"/>
                    <a:pt x="340" y="67"/>
                  </a:cubicBezTo>
                  <a:cubicBezTo>
                    <a:pt x="341" y="66"/>
                    <a:pt x="341" y="65"/>
                    <a:pt x="341" y="64"/>
                  </a:cubicBezTo>
                  <a:cubicBezTo>
                    <a:pt x="343" y="62"/>
                    <a:pt x="346" y="60"/>
                    <a:pt x="348" y="60"/>
                  </a:cubicBezTo>
                  <a:cubicBezTo>
                    <a:pt x="348" y="59"/>
                    <a:pt x="349" y="58"/>
                    <a:pt x="349" y="58"/>
                  </a:cubicBezTo>
                  <a:cubicBezTo>
                    <a:pt x="350" y="57"/>
                    <a:pt x="349" y="56"/>
                    <a:pt x="350" y="55"/>
                  </a:cubicBezTo>
                  <a:cubicBezTo>
                    <a:pt x="350" y="53"/>
                    <a:pt x="351" y="52"/>
                    <a:pt x="353" y="52"/>
                  </a:cubicBezTo>
                  <a:cubicBezTo>
                    <a:pt x="353" y="50"/>
                    <a:pt x="353" y="47"/>
                    <a:pt x="353" y="45"/>
                  </a:cubicBezTo>
                  <a:cubicBezTo>
                    <a:pt x="353" y="44"/>
                    <a:pt x="353" y="42"/>
                    <a:pt x="353" y="41"/>
                  </a:cubicBezTo>
                  <a:cubicBezTo>
                    <a:pt x="352" y="40"/>
                    <a:pt x="351" y="40"/>
                    <a:pt x="351" y="39"/>
                  </a:cubicBezTo>
                  <a:cubicBezTo>
                    <a:pt x="350" y="39"/>
                    <a:pt x="349" y="39"/>
                    <a:pt x="348" y="38"/>
                  </a:cubicBezTo>
                  <a:cubicBezTo>
                    <a:pt x="347" y="38"/>
                    <a:pt x="346" y="38"/>
                    <a:pt x="345" y="38"/>
                  </a:cubicBezTo>
                  <a:cubicBezTo>
                    <a:pt x="342" y="38"/>
                    <a:pt x="339" y="36"/>
                    <a:pt x="338" y="38"/>
                  </a:cubicBezTo>
                  <a:cubicBezTo>
                    <a:pt x="336" y="38"/>
                    <a:pt x="337" y="35"/>
                    <a:pt x="337" y="33"/>
                  </a:cubicBezTo>
                  <a:cubicBezTo>
                    <a:pt x="337" y="32"/>
                    <a:pt x="337" y="31"/>
                    <a:pt x="337" y="30"/>
                  </a:cubicBezTo>
                  <a:cubicBezTo>
                    <a:pt x="336" y="29"/>
                    <a:pt x="336" y="29"/>
                    <a:pt x="334" y="29"/>
                  </a:cubicBezTo>
                  <a:cubicBezTo>
                    <a:pt x="314" y="7"/>
                    <a:pt x="314" y="7"/>
                    <a:pt x="314" y="7"/>
                  </a:cubicBezTo>
                  <a:cubicBezTo>
                    <a:pt x="314" y="7"/>
                    <a:pt x="314" y="7"/>
                    <a:pt x="314" y="8"/>
                  </a:cubicBezTo>
                  <a:cubicBezTo>
                    <a:pt x="313" y="9"/>
                    <a:pt x="313" y="11"/>
                    <a:pt x="312" y="12"/>
                  </a:cubicBezTo>
                  <a:cubicBezTo>
                    <a:pt x="312" y="13"/>
                    <a:pt x="311" y="15"/>
                    <a:pt x="310" y="16"/>
                  </a:cubicBezTo>
                  <a:cubicBezTo>
                    <a:pt x="308" y="17"/>
                    <a:pt x="306" y="16"/>
                    <a:pt x="304" y="16"/>
                  </a:cubicBezTo>
                  <a:cubicBezTo>
                    <a:pt x="302" y="16"/>
                    <a:pt x="302" y="16"/>
                    <a:pt x="300" y="17"/>
                  </a:cubicBezTo>
                  <a:cubicBezTo>
                    <a:pt x="299" y="19"/>
                    <a:pt x="298" y="21"/>
                    <a:pt x="296" y="21"/>
                  </a:cubicBezTo>
                  <a:cubicBezTo>
                    <a:pt x="295" y="20"/>
                    <a:pt x="294" y="19"/>
                    <a:pt x="294" y="18"/>
                  </a:cubicBezTo>
                  <a:cubicBezTo>
                    <a:pt x="292" y="17"/>
                    <a:pt x="292" y="17"/>
                    <a:pt x="290" y="16"/>
                  </a:cubicBezTo>
                  <a:cubicBezTo>
                    <a:pt x="289" y="15"/>
                    <a:pt x="287" y="14"/>
                    <a:pt x="286" y="13"/>
                  </a:cubicBezTo>
                  <a:cubicBezTo>
                    <a:pt x="285" y="10"/>
                    <a:pt x="285" y="6"/>
                    <a:pt x="282" y="4"/>
                  </a:cubicBezTo>
                  <a:cubicBezTo>
                    <a:pt x="281" y="3"/>
                    <a:pt x="280" y="3"/>
                    <a:pt x="279" y="3"/>
                  </a:cubicBezTo>
                  <a:cubicBezTo>
                    <a:pt x="279" y="3"/>
                    <a:pt x="279" y="2"/>
                    <a:pt x="278" y="2"/>
                  </a:cubicBezTo>
                  <a:cubicBezTo>
                    <a:pt x="277" y="1"/>
                    <a:pt x="275" y="2"/>
                    <a:pt x="274" y="2"/>
                  </a:cubicBezTo>
                  <a:cubicBezTo>
                    <a:pt x="272" y="2"/>
                    <a:pt x="271" y="2"/>
                    <a:pt x="270" y="2"/>
                  </a:cubicBezTo>
                  <a:cubicBezTo>
                    <a:pt x="269" y="3"/>
                    <a:pt x="268" y="3"/>
                    <a:pt x="267" y="3"/>
                  </a:cubicBezTo>
                  <a:cubicBezTo>
                    <a:pt x="265" y="3"/>
                    <a:pt x="264" y="5"/>
                    <a:pt x="263" y="5"/>
                  </a:cubicBezTo>
                  <a:cubicBezTo>
                    <a:pt x="261" y="6"/>
                    <a:pt x="260" y="5"/>
                    <a:pt x="258" y="5"/>
                  </a:cubicBezTo>
                  <a:cubicBezTo>
                    <a:pt x="257" y="5"/>
                    <a:pt x="255" y="5"/>
                    <a:pt x="253" y="5"/>
                  </a:cubicBezTo>
                  <a:cubicBezTo>
                    <a:pt x="252" y="5"/>
                    <a:pt x="251" y="5"/>
                    <a:pt x="251" y="5"/>
                  </a:cubicBezTo>
                  <a:cubicBezTo>
                    <a:pt x="250" y="4"/>
                    <a:pt x="250" y="3"/>
                    <a:pt x="249" y="3"/>
                  </a:cubicBezTo>
                  <a:cubicBezTo>
                    <a:pt x="248" y="2"/>
                    <a:pt x="247" y="2"/>
                    <a:pt x="245" y="2"/>
                  </a:cubicBezTo>
                  <a:cubicBezTo>
                    <a:pt x="241" y="2"/>
                    <a:pt x="238" y="2"/>
                    <a:pt x="234" y="2"/>
                  </a:cubicBezTo>
                  <a:cubicBezTo>
                    <a:pt x="232" y="2"/>
                    <a:pt x="226" y="0"/>
                    <a:pt x="225" y="3"/>
                  </a:cubicBezTo>
                  <a:cubicBezTo>
                    <a:pt x="224" y="4"/>
                    <a:pt x="225" y="6"/>
                    <a:pt x="224" y="8"/>
                  </a:cubicBezTo>
                  <a:cubicBezTo>
                    <a:pt x="224" y="10"/>
                    <a:pt x="223" y="11"/>
                    <a:pt x="222" y="13"/>
                  </a:cubicBezTo>
                  <a:cubicBezTo>
                    <a:pt x="222" y="15"/>
                    <a:pt x="222" y="16"/>
                    <a:pt x="221" y="18"/>
                  </a:cubicBezTo>
                  <a:cubicBezTo>
                    <a:pt x="220" y="20"/>
                    <a:pt x="219" y="22"/>
                    <a:pt x="217" y="23"/>
                  </a:cubicBezTo>
                  <a:cubicBezTo>
                    <a:pt x="217" y="24"/>
                    <a:pt x="216" y="25"/>
                    <a:pt x="215" y="25"/>
                  </a:cubicBezTo>
                  <a:cubicBezTo>
                    <a:pt x="214" y="25"/>
                    <a:pt x="213" y="25"/>
                    <a:pt x="212" y="25"/>
                  </a:cubicBezTo>
                  <a:cubicBezTo>
                    <a:pt x="210" y="26"/>
                    <a:pt x="209" y="28"/>
                    <a:pt x="207" y="28"/>
                  </a:cubicBezTo>
                  <a:cubicBezTo>
                    <a:pt x="206" y="28"/>
                    <a:pt x="205" y="28"/>
                    <a:pt x="205" y="28"/>
                  </a:cubicBezTo>
                  <a:cubicBezTo>
                    <a:pt x="204" y="29"/>
                    <a:pt x="203" y="29"/>
                    <a:pt x="203" y="30"/>
                  </a:cubicBezTo>
                  <a:cubicBezTo>
                    <a:pt x="201" y="31"/>
                    <a:pt x="200" y="31"/>
                    <a:pt x="199" y="31"/>
                  </a:cubicBezTo>
                  <a:cubicBezTo>
                    <a:pt x="197" y="33"/>
                    <a:pt x="197" y="35"/>
                    <a:pt x="195" y="36"/>
                  </a:cubicBezTo>
                  <a:cubicBezTo>
                    <a:pt x="194" y="35"/>
                    <a:pt x="194" y="32"/>
                    <a:pt x="192" y="31"/>
                  </a:cubicBezTo>
                  <a:cubicBezTo>
                    <a:pt x="191" y="30"/>
                    <a:pt x="188" y="30"/>
                    <a:pt x="186" y="30"/>
                  </a:cubicBezTo>
                  <a:cubicBezTo>
                    <a:pt x="185" y="30"/>
                    <a:pt x="184" y="31"/>
                    <a:pt x="184" y="30"/>
                  </a:cubicBezTo>
                  <a:cubicBezTo>
                    <a:pt x="183" y="30"/>
                    <a:pt x="184" y="29"/>
                    <a:pt x="183" y="29"/>
                  </a:cubicBezTo>
                  <a:cubicBezTo>
                    <a:pt x="183" y="28"/>
                    <a:pt x="180" y="28"/>
                    <a:pt x="179" y="28"/>
                  </a:cubicBezTo>
                  <a:cubicBezTo>
                    <a:pt x="178" y="28"/>
                    <a:pt x="176" y="28"/>
                    <a:pt x="175" y="29"/>
                  </a:cubicBezTo>
                  <a:cubicBezTo>
                    <a:pt x="174" y="30"/>
                    <a:pt x="173" y="33"/>
                    <a:pt x="172" y="35"/>
                  </a:cubicBezTo>
                  <a:cubicBezTo>
                    <a:pt x="172" y="36"/>
                    <a:pt x="170" y="38"/>
                    <a:pt x="169" y="38"/>
                  </a:cubicBezTo>
                  <a:cubicBezTo>
                    <a:pt x="168" y="39"/>
                    <a:pt x="165" y="38"/>
                    <a:pt x="164" y="38"/>
                  </a:cubicBezTo>
                  <a:cubicBezTo>
                    <a:pt x="163" y="39"/>
                    <a:pt x="161" y="39"/>
                    <a:pt x="160" y="39"/>
                  </a:cubicBezTo>
                  <a:cubicBezTo>
                    <a:pt x="158" y="40"/>
                    <a:pt x="156" y="39"/>
                    <a:pt x="155" y="40"/>
                  </a:cubicBezTo>
                  <a:cubicBezTo>
                    <a:pt x="151" y="40"/>
                    <a:pt x="147" y="41"/>
                    <a:pt x="143" y="42"/>
                  </a:cubicBezTo>
                  <a:cubicBezTo>
                    <a:pt x="142" y="42"/>
                    <a:pt x="139" y="41"/>
                    <a:pt x="138" y="42"/>
                  </a:cubicBezTo>
                  <a:cubicBezTo>
                    <a:pt x="137" y="42"/>
                    <a:pt x="135" y="44"/>
                    <a:pt x="135" y="44"/>
                  </a:cubicBezTo>
                  <a:cubicBezTo>
                    <a:pt x="134" y="46"/>
                    <a:pt x="134" y="48"/>
                    <a:pt x="134" y="50"/>
                  </a:cubicBezTo>
                  <a:cubicBezTo>
                    <a:pt x="133" y="51"/>
                    <a:pt x="132" y="52"/>
                    <a:pt x="131" y="53"/>
                  </a:cubicBezTo>
                  <a:cubicBezTo>
                    <a:pt x="131" y="56"/>
                    <a:pt x="134" y="55"/>
                    <a:pt x="135" y="58"/>
                  </a:cubicBezTo>
                  <a:cubicBezTo>
                    <a:pt x="135" y="59"/>
                    <a:pt x="134" y="61"/>
                    <a:pt x="132" y="61"/>
                  </a:cubicBezTo>
                  <a:cubicBezTo>
                    <a:pt x="131" y="62"/>
                    <a:pt x="128" y="62"/>
                    <a:pt x="127" y="62"/>
                  </a:cubicBezTo>
                  <a:cubicBezTo>
                    <a:pt x="125" y="62"/>
                    <a:pt x="124" y="62"/>
                    <a:pt x="122" y="63"/>
                  </a:cubicBezTo>
                  <a:cubicBezTo>
                    <a:pt x="121" y="63"/>
                    <a:pt x="120" y="63"/>
                    <a:pt x="118" y="64"/>
                  </a:cubicBezTo>
                  <a:cubicBezTo>
                    <a:pt x="118" y="64"/>
                    <a:pt x="118" y="65"/>
                    <a:pt x="118" y="65"/>
                  </a:cubicBezTo>
                  <a:cubicBezTo>
                    <a:pt x="118" y="65"/>
                    <a:pt x="117" y="66"/>
                    <a:pt x="117" y="65"/>
                  </a:cubicBezTo>
                  <a:cubicBezTo>
                    <a:pt x="117" y="65"/>
                    <a:pt x="115" y="66"/>
                    <a:pt x="115" y="66"/>
                  </a:cubicBezTo>
                  <a:cubicBezTo>
                    <a:pt x="111" y="67"/>
                    <a:pt x="105" y="66"/>
                    <a:pt x="101" y="66"/>
                  </a:cubicBezTo>
                  <a:cubicBezTo>
                    <a:pt x="93" y="66"/>
                    <a:pt x="86" y="66"/>
                    <a:pt x="79" y="66"/>
                  </a:cubicBezTo>
                  <a:cubicBezTo>
                    <a:pt x="77" y="66"/>
                    <a:pt x="75" y="67"/>
                    <a:pt x="74" y="66"/>
                  </a:cubicBezTo>
                  <a:cubicBezTo>
                    <a:pt x="73" y="65"/>
                    <a:pt x="72" y="63"/>
                    <a:pt x="72" y="61"/>
                  </a:cubicBezTo>
                  <a:cubicBezTo>
                    <a:pt x="71" y="60"/>
                    <a:pt x="70" y="58"/>
                    <a:pt x="68" y="57"/>
                  </a:cubicBezTo>
                  <a:cubicBezTo>
                    <a:pt x="67" y="57"/>
                    <a:pt x="66" y="57"/>
                    <a:pt x="65" y="57"/>
                  </a:cubicBezTo>
                  <a:cubicBezTo>
                    <a:pt x="62" y="56"/>
                    <a:pt x="61" y="53"/>
                    <a:pt x="59" y="52"/>
                  </a:cubicBezTo>
                  <a:cubicBezTo>
                    <a:pt x="58" y="51"/>
                    <a:pt x="56" y="50"/>
                    <a:pt x="54" y="50"/>
                  </a:cubicBezTo>
                  <a:cubicBezTo>
                    <a:pt x="53" y="49"/>
                    <a:pt x="52" y="49"/>
                    <a:pt x="51" y="49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49" y="52"/>
                    <a:pt x="46" y="55"/>
                    <a:pt x="48" y="57"/>
                  </a:cubicBezTo>
                  <a:cubicBezTo>
                    <a:pt x="50" y="59"/>
                    <a:pt x="53" y="58"/>
                    <a:pt x="52" y="61"/>
                  </a:cubicBezTo>
                  <a:cubicBezTo>
                    <a:pt x="51" y="63"/>
                    <a:pt x="48" y="64"/>
                    <a:pt x="47" y="65"/>
                  </a:cubicBezTo>
                  <a:cubicBezTo>
                    <a:pt x="46" y="66"/>
                    <a:pt x="45" y="66"/>
                    <a:pt x="44" y="66"/>
                  </a:cubicBezTo>
                  <a:cubicBezTo>
                    <a:pt x="43" y="67"/>
                    <a:pt x="43" y="67"/>
                    <a:pt x="42" y="67"/>
                  </a:cubicBezTo>
                  <a:cubicBezTo>
                    <a:pt x="39" y="67"/>
                    <a:pt x="38" y="69"/>
                    <a:pt x="36" y="69"/>
                  </a:cubicBezTo>
                  <a:cubicBezTo>
                    <a:pt x="35" y="69"/>
                    <a:pt x="34" y="70"/>
                    <a:pt x="33" y="69"/>
                  </a:cubicBezTo>
                  <a:cubicBezTo>
                    <a:pt x="32" y="69"/>
                    <a:pt x="32" y="67"/>
                    <a:pt x="31" y="66"/>
                  </a:cubicBezTo>
                  <a:cubicBezTo>
                    <a:pt x="30" y="64"/>
                    <a:pt x="26" y="63"/>
                    <a:pt x="25" y="64"/>
                  </a:cubicBezTo>
                  <a:cubicBezTo>
                    <a:pt x="23" y="66"/>
                    <a:pt x="24" y="68"/>
                    <a:pt x="21" y="68"/>
                  </a:cubicBezTo>
                  <a:cubicBezTo>
                    <a:pt x="20" y="68"/>
                    <a:pt x="17" y="67"/>
                    <a:pt x="17" y="68"/>
                  </a:cubicBezTo>
                  <a:cubicBezTo>
                    <a:pt x="16" y="69"/>
                    <a:pt x="17" y="70"/>
                    <a:pt x="17" y="70"/>
                  </a:cubicBezTo>
                  <a:cubicBezTo>
                    <a:pt x="18" y="71"/>
                    <a:pt x="19" y="72"/>
                    <a:pt x="21" y="73"/>
                  </a:cubicBezTo>
                  <a:cubicBezTo>
                    <a:pt x="22" y="74"/>
                    <a:pt x="24" y="73"/>
                    <a:pt x="26" y="74"/>
                  </a:cubicBezTo>
                  <a:cubicBezTo>
                    <a:pt x="26" y="74"/>
                    <a:pt x="26" y="75"/>
                    <a:pt x="27" y="75"/>
                  </a:cubicBezTo>
                  <a:cubicBezTo>
                    <a:pt x="27" y="76"/>
                    <a:pt x="27" y="76"/>
                    <a:pt x="27" y="77"/>
                  </a:cubicBezTo>
                  <a:cubicBezTo>
                    <a:pt x="28" y="78"/>
                    <a:pt x="28" y="78"/>
                    <a:pt x="28" y="79"/>
                  </a:cubicBezTo>
                  <a:cubicBezTo>
                    <a:pt x="28" y="80"/>
                    <a:pt x="28" y="82"/>
                    <a:pt x="28" y="82"/>
                  </a:cubicBezTo>
                  <a:cubicBezTo>
                    <a:pt x="28" y="83"/>
                    <a:pt x="27" y="84"/>
                    <a:pt x="26" y="85"/>
                  </a:cubicBezTo>
                  <a:cubicBezTo>
                    <a:pt x="25" y="86"/>
                    <a:pt x="24" y="88"/>
                    <a:pt x="24" y="89"/>
                  </a:cubicBezTo>
                  <a:cubicBezTo>
                    <a:pt x="23" y="90"/>
                    <a:pt x="23" y="90"/>
                    <a:pt x="22" y="91"/>
                  </a:cubicBezTo>
                  <a:cubicBezTo>
                    <a:pt x="21" y="91"/>
                    <a:pt x="20" y="90"/>
                    <a:pt x="19" y="90"/>
                  </a:cubicBezTo>
                  <a:cubicBezTo>
                    <a:pt x="18" y="90"/>
                    <a:pt x="17" y="91"/>
                    <a:pt x="17" y="91"/>
                  </a:cubicBezTo>
                  <a:cubicBezTo>
                    <a:pt x="15" y="92"/>
                    <a:pt x="14" y="97"/>
                    <a:pt x="16" y="99"/>
                  </a:cubicBezTo>
                  <a:cubicBezTo>
                    <a:pt x="16" y="100"/>
                    <a:pt x="20" y="99"/>
                    <a:pt x="19" y="102"/>
                  </a:cubicBezTo>
                  <a:cubicBezTo>
                    <a:pt x="19" y="102"/>
                    <a:pt x="17" y="103"/>
                    <a:pt x="17" y="103"/>
                  </a:cubicBezTo>
                  <a:cubicBezTo>
                    <a:pt x="16" y="103"/>
                    <a:pt x="14" y="105"/>
                    <a:pt x="14" y="106"/>
                  </a:cubicBezTo>
                  <a:cubicBezTo>
                    <a:pt x="13" y="107"/>
                    <a:pt x="14" y="108"/>
                    <a:pt x="14" y="108"/>
                  </a:cubicBezTo>
                  <a:cubicBezTo>
                    <a:pt x="14" y="109"/>
                    <a:pt x="14" y="110"/>
                    <a:pt x="15" y="110"/>
                  </a:cubicBezTo>
                  <a:cubicBezTo>
                    <a:pt x="15" y="112"/>
                    <a:pt x="15" y="112"/>
                    <a:pt x="17" y="113"/>
                  </a:cubicBezTo>
                  <a:cubicBezTo>
                    <a:pt x="18" y="113"/>
                    <a:pt x="18" y="113"/>
                    <a:pt x="18" y="115"/>
                  </a:cubicBezTo>
                  <a:cubicBezTo>
                    <a:pt x="18" y="116"/>
                    <a:pt x="18" y="117"/>
                    <a:pt x="18" y="117"/>
                  </a:cubicBezTo>
                  <a:cubicBezTo>
                    <a:pt x="18" y="118"/>
                    <a:pt x="17" y="119"/>
                    <a:pt x="17" y="120"/>
                  </a:cubicBezTo>
                  <a:cubicBezTo>
                    <a:pt x="17" y="121"/>
                    <a:pt x="17" y="121"/>
                    <a:pt x="17" y="122"/>
                  </a:cubicBezTo>
                  <a:cubicBezTo>
                    <a:pt x="17" y="124"/>
                    <a:pt x="16" y="124"/>
                    <a:pt x="14" y="124"/>
                  </a:cubicBezTo>
                  <a:cubicBezTo>
                    <a:pt x="13" y="124"/>
                    <a:pt x="12" y="125"/>
                    <a:pt x="10" y="125"/>
                  </a:cubicBezTo>
                  <a:cubicBezTo>
                    <a:pt x="8" y="125"/>
                    <a:pt x="8" y="126"/>
                    <a:pt x="6" y="127"/>
                  </a:cubicBezTo>
                  <a:cubicBezTo>
                    <a:pt x="4" y="128"/>
                    <a:pt x="3" y="128"/>
                    <a:pt x="2" y="131"/>
                  </a:cubicBezTo>
                  <a:cubicBezTo>
                    <a:pt x="1" y="132"/>
                    <a:pt x="1" y="132"/>
                    <a:pt x="0" y="133"/>
                  </a:cubicBezTo>
                  <a:cubicBezTo>
                    <a:pt x="1" y="134"/>
                    <a:pt x="2" y="135"/>
                    <a:pt x="2" y="136"/>
                  </a:cubicBezTo>
                  <a:moveTo>
                    <a:pt x="51" y="49"/>
                  </a:moveTo>
                  <a:cubicBezTo>
                    <a:pt x="52" y="49"/>
                    <a:pt x="53" y="48"/>
                    <a:pt x="53" y="47"/>
                  </a:cubicBezTo>
                  <a:cubicBezTo>
                    <a:pt x="53" y="48"/>
                    <a:pt x="52" y="49"/>
                    <a:pt x="51" y="49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5" name="Freeform 25"/>
            <p:cNvSpPr>
              <a:spLocks/>
            </p:cNvSpPr>
            <p:nvPr/>
          </p:nvSpPr>
          <p:spPr bwMode="auto">
            <a:xfrm>
              <a:off x="4791075" y="5016500"/>
              <a:ext cx="311150" cy="225425"/>
            </a:xfrm>
            <a:custGeom>
              <a:avLst/>
              <a:gdLst/>
              <a:ahLst/>
              <a:cxnLst>
                <a:cxn ang="0">
                  <a:pos x="159" y="13"/>
                </a:cxn>
                <a:cxn ang="0">
                  <a:pos x="155" y="0"/>
                </a:cxn>
                <a:cxn ang="0">
                  <a:pos x="145" y="15"/>
                </a:cxn>
                <a:cxn ang="0">
                  <a:pos x="125" y="14"/>
                </a:cxn>
                <a:cxn ang="0">
                  <a:pos x="119" y="23"/>
                </a:cxn>
                <a:cxn ang="0">
                  <a:pos x="105" y="21"/>
                </a:cxn>
                <a:cxn ang="0">
                  <a:pos x="84" y="25"/>
                </a:cxn>
                <a:cxn ang="0">
                  <a:pos x="78" y="32"/>
                </a:cxn>
                <a:cxn ang="0">
                  <a:pos x="69" y="41"/>
                </a:cxn>
                <a:cxn ang="0">
                  <a:pos x="57" y="37"/>
                </a:cxn>
                <a:cxn ang="0">
                  <a:pos x="49" y="35"/>
                </a:cxn>
                <a:cxn ang="0">
                  <a:pos x="29" y="31"/>
                </a:cxn>
                <a:cxn ang="0">
                  <a:pos x="19" y="40"/>
                </a:cxn>
                <a:cxn ang="0">
                  <a:pos x="3" y="50"/>
                </a:cxn>
                <a:cxn ang="0">
                  <a:pos x="11" y="57"/>
                </a:cxn>
                <a:cxn ang="0">
                  <a:pos x="6" y="69"/>
                </a:cxn>
                <a:cxn ang="0">
                  <a:pos x="9" y="77"/>
                </a:cxn>
                <a:cxn ang="0">
                  <a:pos x="19" y="87"/>
                </a:cxn>
                <a:cxn ang="0">
                  <a:pos x="28" y="92"/>
                </a:cxn>
                <a:cxn ang="0">
                  <a:pos x="24" y="104"/>
                </a:cxn>
                <a:cxn ang="0">
                  <a:pos x="10" y="109"/>
                </a:cxn>
                <a:cxn ang="0">
                  <a:pos x="10" y="113"/>
                </a:cxn>
                <a:cxn ang="0">
                  <a:pos x="18" y="117"/>
                </a:cxn>
                <a:cxn ang="0">
                  <a:pos x="26" y="116"/>
                </a:cxn>
                <a:cxn ang="0">
                  <a:pos x="33" y="113"/>
                </a:cxn>
                <a:cxn ang="0">
                  <a:pos x="43" y="116"/>
                </a:cxn>
                <a:cxn ang="0">
                  <a:pos x="51" y="120"/>
                </a:cxn>
                <a:cxn ang="0">
                  <a:pos x="61" y="116"/>
                </a:cxn>
                <a:cxn ang="0">
                  <a:pos x="56" y="108"/>
                </a:cxn>
                <a:cxn ang="0">
                  <a:pos x="58" y="101"/>
                </a:cxn>
                <a:cxn ang="0">
                  <a:pos x="66" y="108"/>
                </a:cxn>
                <a:cxn ang="0">
                  <a:pos x="74" y="114"/>
                </a:cxn>
                <a:cxn ang="0">
                  <a:pos x="80" y="112"/>
                </a:cxn>
                <a:cxn ang="0">
                  <a:pos x="90" y="119"/>
                </a:cxn>
                <a:cxn ang="0">
                  <a:pos x="95" y="117"/>
                </a:cxn>
                <a:cxn ang="0">
                  <a:pos x="99" y="109"/>
                </a:cxn>
                <a:cxn ang="0">
                  <a:pos x="102" y="99"/>
                </a:cxn>
                <a:cxn ang="0">
                  <a:pos x="104" y="90"/>
                </a:cxn>
                <a:cxn ang="0">
                  <a:pos x="113" y="88"/>
                </a:cxn>
                <a:cxn ang="0">
                  <a:pos x="120" y="87"/>
                </a:cxn>
                <a:cxn ang="0">
                  <a:pos x="133" y="91"/>
                </a:cxn>
                <a:cxn ang="0">
                  <a:pos x="132" y="82"/>
                </a:cxn>
                <a:cxn ang="0">
                  <a:pos x="126" y="75"/>
                </a:cxn>
                <a:cxn ang="0">
                  <a:pos x="121" y="70"/>
                </a:cxn>
                <a:cxn ang="0">
                  <a:pos x="116" y="65"/>
                </a:cxn>
                <a:cxn ang="0">
                  <a:pos x="121" y="58"/>
                </a:cxn>
                <a:cxn ang="0">
                  <a:pos x="128" y="53"/>
                </a:cxn>
                <a:cxn ang="0">
                  <a:pos x="137" y="47"/>
                </a:cxn>
                <a:cxn ang="0">
                  <a:pos x="144" y="43"/>
                </a:cxn>
                <a:cxn ang="0">
                  <a:pos x="152" y="40"/>
                </a:cxn>
                <a:cxn ang="0">
                  <a:pos x="151" y="33"/>
                </a:cxn>
                <a:cxn ang="0">
                  <a:pos x="165" y="33"/>
                </a:cxn>
                <a:cxn ang="0">
                  <a:pos x="163" y="22"/>
                </a:cxn>
              </a:cxnLst>
              <a:rect l="0" t="0" r="r" b="b"/>
              <a:pathLst>
                <a:path w="167" h="120">
                  <a:moveTo>
                    <a:pt x="163" y="22"/>
                  </a:moveTo>
                  <a:cubicBezTo>
                    <a:pt x="162" y="21"/>
                    <a:pt x="161" y="21"/>
                    <a:pt x="160" y="20"/>
                  </a:cubicBezTo>
                  <a:cubicBezTo>
                    <a:pt x="158" y="19"/>
                    <a:pt x="158" y="19"/>
                    <a:pt x="158" y="17"/>
                  </a:cubicBezTo>
                  <a:cubicBezTo>
                    <a:pt x="158" y="15"/>
                    <a:pt x="158" y="14"/>
                    <a:pt x="159" y="13"/>
                  </a:cubicBezTo>
                  <a:cubicBezTo>
                    <a:pt x="159" y="11"/>
                    <a:pt x="160" y="10"/>
                    <a:pt x="160" y="8"/>
                  </a:cubicBezTo>
                  <a:cubicBezTo>
                    <a:pt x="160" y="6"/>
                    <a:pt x="159" y="5"/>
                    <a:pt x="157" y="3"/>
                  </a:cubicBezTo>
                  <a:cubicBezTo>
                    <a:pt x="157" y="2"/>
                    <a:pt x="156" y="1"/>
                    <a:pt x="15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4" y="0"/>
                    <a:pt x="154" y="1"/>
                    <a:pt x="153" y="1"/>
                  </a:cubicBezTo>
                  <a:cubicBezTo>
                    <a:pt x="152" y="3"/>
                    <a:pt x="150" y="2"/>
                    <a:pt x="149" y="3"/>
                  </a:cubicBezTo>
                  <a:cubicBezTo>
                    <a:pt x="147" y="4"/>
                    <a:pt x="146" y="6"/>
                    <a:pt x="146" y="9"/>
                  </a:cubicBezTo>
                  <a:cubicBezTo>
                    <a:pt x="146" y="11"/>
                    <a:pt x="146" y="13"/>
                    <a:pt x="145" y="15"/>
                  </a:cubicBezTo>
                  <a:cubicBezTo>
                    <a:pt x="144" y="18"/>
                    <a:pt x="141" y="18"/>
                    <a:pt x="138" y="18"/>
                  </a:cubicBezTo>
                  <a:cubicBezTo>
                    <a:pt x="136" y="17"/>
                    <a:pt x="133" y="18"/>
                    <a:pt x="131" y="17"/>
                  </a:cubicBezTo>
                  <a:cubicBezTo>
                    <a:pt x="129" y="15"/>
                    <a:pt x="131" y="12"/>
                    <a:pt x="129" y="11"/>
                  </a:cubicBezTo>
                  <a:cubicBezTo>
                    <a:pt x="128" y="10"/>
                    <a:pt x="126" y="13"/>
                    <a:pt x="125" y="14"/>
                  </a:cubicBezTo>
                  <a:cubicBezTo>
                    <a:pt x="124" y="15"/>
                    <a:pt x="125" y="14"/>
                    <a:pt x="124" y="15"/>
                  </a:cubicBezTo>
                  <a:cubicBezTo>
                    <a:pt x="124" y="15"/>
                    <a:pt x="123" y="15"/>
                    <a:pt x="123" y="15"/>
                  </a:cubicBezTo>
                  <a:cubicBezTo>
                    <a:pt x="122" y="15"/>
                    <a:pt x="122" y="15"/>
                    <a:pt x="122" y="16"/>
                  </a:cubicBezTo>
                  <a:cubicBezTo>
                    <a:pt x="121" y="18"/>
                    <a:pt x="119" y="20"/>
                    <a:pt x="119" y="23"/>
                  </a:cubicBezTo>
                  <a:cubicBezTo>
                    <a:pt x="118" y="23"/>
                    <a:pt x="118" y="22"/>
                    <a:pt x="116" y="22"/>
                  </a:cubicBezTo>
                  <a:cubicBezTo>
                    <a:pt x="115" y="21"/>
                    <a:pt x="113" y="22"/>
                    <a:pt x="112" y="22"/>
                  </a:cubicBezTo>
                  <a:cubicBezTo>
                    <a:pt x="111" y="22"/>
                    <a:pt x="111" y="22"/>
                    <a:pt x="111" y="21"/>
                  </a:cubicBezTo>
                  <a:cubicBezTo>
                    <a:pt x="109" y="21"/>
                    <a:pt x="107" y="21"/>
                    <a:pt x="105" y="21"/>
                  </a:cubicBezTo>
                  <a:cubicBezTo>
                    <a:pt x="104" y="21"/>
                    <a:pt x="103" y="20"/>
                    <a:pt x="102" y="20"/>
                  </a:cubicBezTo>
                  <a:cubicBezTo>
                    <a:pt x="100" y="19"/>
                    <a:pt x="99" y="20"/>
                    <a:pt x="97" y="21"/>
                  </a:cubicBezTo>
                  <a:cubicBezTo>
                    <a:pt x="95" y="22"/>
                    <a:pt x="93" y="22"/>
                    <a:pt x="90" y="23"/>
                  </a:cubicBezTo>
                  <a:cubicBezTo>
                    <a:pt x="88" y="23"/>
                    <a:pt x="85" y="23"/>
                    <a:pt x="84" y="25"/>
                  </a:cubicBezTo>
                  <a:cubicBezTo>
                    <a:pt x="84" y="26"/>
                    <a:pt x="83" y="27"/>
                    <a:pt x="83" y="27"/>
                  </a:cubicBezTo>
                  <a:cubicBezTo>
                    <a:pt x="83" y="28"/>
                    <a:pt x="82" y="28"/>
                    <a:pt x="82" y="28"/>
                  </a:cubicBezTo>
                  <a:cubicBezTo>
                    <a:pt x="81" y="29"/>
                    <a:pt x="81" y="29"/>
                    <a:pt x="81" y="30"/>
                  </a:cubicBezTo>
                  <a:cubicBezTo>
                    <a:pt x="80" y="31"/>
                    <a:pt x="79" y="32"/>
                    <a:pt x="78" y="32"/>
                  </a:cubicBezTo>
                  <a:cubicBezTo>
                    <a:pt x="77" y="32"/>
                    <a:pt x="76" y="31"/>
                    <a:pt x="76" y="32"/>
                  </a:cubicBezTo>
                  <a:cubicBezTo>
                    <a:pt x="75" y="32"/>
                    <a:pt x="74" y="33"/>
                    <a:pt x="74" y="33"/>
                  </a:cubicBezTo>
                  <a:cubicBezTo>
                    <a:pt x="73" y="34"/>
                    <a:pt x="73" y="35"/>
                    <a:pt x="72" y="35"/>
                  </a:cubicBezTo>
                  <a:cubicBezTo>
                    <a:pt x="71" y="37"/>
                    <a:pt x="72" y="40"/>
                    <a:pt x="69" y="41"/>
                  </a:cubicBezTo>
                  <a:cubicBezTo>
                    <a:pt x="67" y="41"/>
                    <a:pt x="65" y="40"/>
                    <a:pt x="63" y="39"/>
                  </a:cubicBezTo>
                  <a:cubicBezTo>
                    <a:pt x="62" y="39"/>
                    <a:pt x="61" y="39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59" y="37"/>
                    <a:pt x="57" y="38"/>
                    <a:pt x="57" y="37"/>
                  </a:cubicBezTo>
                  <a:cubicBezTo>
                    <a:pt x="55" y="37"/>
                    <a:pt x="52" y="37"/>
                    <a:pt x="50" y="36"/>
                  </a:cubicBezTo>
                  <a:cubicBezTo>
                    <a:pt x="49" y="36"/>
                    <a:pt x="48" y="36"/>
                    <a:pt x="47" y="36"/>
                  </a:cubicBezTo>
                  <a:cubicBezTo>
                    <a:pt x="48" y="36"/>
                    <a:pt x="48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3" y="33"/>
                    <a:pt x="38" y="34"/>
                    <a:pt x="33" y="32"/>
                  </a:cubicBezTo>
                  <a:cubicBezTo>
                    <a:pt x="32" y="32"/>
                    <a:pt x="31" y="31"/>
                    <a:pt x="29" y="31"/>
                  </a:cubicBezTo>
                  <a:cubicBezTo>
                    <a:pt x="29" y="30"/>
                    <a:pt x="28" y="31"/>
                    <a:pt x="28" y="31"/>
                  </a:cubicBezTo>
                  <a:cubicBezTo>
                    <a:pt x="27" y="30"/>
                    <a:pt x="26" y="30"/>
                    <a:pt x="25" y="30"/>
                  </a:cubicBezTo>
                  <a:cubicBezTo>
                    <a:pt x="24" y="30"/>
                    <a:pt x="22" y="29"/>
                    <a:pt x="21" y="29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17" y="41"/>
                    <a:pt x="15" y="41"/>
                    <a:pt x="13" y="41"/>
                  </a:cubicBezTo>
                  <a:cubicBezTo>
                    <a:pt x="10" y="41"/>
                    <a:pt x="8" y="42"/>
                    <a:pt x="6" y="44"/>
                  </a:cubicBezTo>
                  <a:cubicBezTo>
                    <a:pt x="5" y="45"/>
                    <a:pt x="5" y="46"/>
                    <a:pt x="5" y="48"/>
                  </a:cubicBezTo>
                  <a:cubicBezTo>
                    <a:pt x="5" y="49"/>
                    <a:pt x="5" y="49"/>
                    <a:pt x="3" y="50"/>
                  </a:cubicBezTo>
                  <a:cubicBezTo>
                    <a:pt x="2" y="51"/>
                    <a:pt x="1" y="51"/>
                    <a:pt x="1" y="52"/>
                  </a:cubicBezTo>
                  <a:cubicBezTo>
                    <a:pt x="0" y="53"/>
                    <a:pt x="0" y="54"/>
                    <a:pt x="0" y="55"/>
                  </a:cubicBezTo>
                  <a:cubicBezTo>
                    <a:pt x="2" y="55"/>
                    <a:pt x="4" y="56"/>
                    <a:pt x="7" y="56"/>
                  </a:cubicBezTo>
                  <a:cubicBezTo>
                    <a:pt x="8" y="56"/>
                    <a:pt x="9" y="57"/>
                    <a:pt x="11" y="57"/>
                  </a:cubicBezTo>
                  <a:cubicBezTo>
                    <a:pt x="12" y="58"/>
                    <a:pt x="15" y="59"/>
                    <a:pt x="16" y="60"/>
                  </a:cubicBezTo>
                  <a:cubicBezTo>
                    <a:pt x="17" y="62"/>
                    <a:pt x="14" y="62"/>
                    <a:pt x="13" y="62"/>
                  </a:cubicBezTo>
                  <a:cubicBezTo>
                    <a:pt x="11" y="63"/>
                    <a:pt x="10" y="65"/>
                    <a:pt x="9" y="66"/>
                  </a:cubicBezTo>
                  <a:cubicBezTo>
                    <a:pt x="7" y="67"/>
                    <a:pt x="7" y="68"/>
                    <a:pt x="6" y="69"/>
                  </a:cubicBezTo>
                  <a:cubicBezTo>
                    <a:pt x="3" y="73"/>
                    <a:pt x="8" y="72"/>
                    <a:pt x="11" y="73"/>
                  </a:cubicBezTo>
                  <a:cubicBezTo>
                    <a:pt x="11" y="73"/>
                    <a:pt x="11" y="74"/>
                    <a:pt x="11" y="74"/>
                  </a:cubicBezTo>
                  <a:cubicBezTo>
                    <a:pt x="11" y="76"/>
                    <a:pt x="11" y="75"/>
                    <a:pt x="10" y="76"/>
                  </a:cubicBezTo>
                  <a:cubicBezTo>
                    <a:pt x="10" y="76"/>
                    <a:pt x="9" y="76"/>
                    <a:pt x="9" y="77"/>
                  </a:cubicBezTo>
                  <a:cubicBezTo>
                    <a:pt x="9" y="78"/>
                    <a:pt x="9" y="78"/>
                    <a:pt x="9" y="78"/>
                  </a:cubicBezTo>
                  <a:cubicBezTo>
                    <a:pt x="10" y="79"/>
                    <a:pt x="11" y="81"/>
                    <a:pt x="12" y="82"/>
                  </a:cubicBezTo>
                  <a:cubicBezTo>
                    <a:pt x="13" y="84"/>
                    <a:pt x="13" y="85"/>
                    <a:pt x="15" y="86"/>
                  </a:cubicBezTo>
                  <a:cubicBezTo>
                    <a:pt x="16" y="87"/>
                    <a:pt x="18" y="87"/>
                    <a:pt x="19" y="87"/>
                  </a:cubicBezTo>
                  <a:cubicBezTo>
                    <a:pt x="20" y="87"/>
                    <a:pt x="21" y="87"/>
                    <a:pt x="22" y="87"/>
                  </a:cubicBezTo>
                  <a:cubicBezTo>
                    <a:pt x="23" y="87"/>
                    <a:pt x="23" y="88"/>
                    <a:pt x="24" y="89"/>
                  </a:cubicBezTo>
                  <a:cubicBezTo>
                    <a:pt x="25" y="90"/>
                    <a:pt x="27" y="90"/>
                    <a:pt x="27" y="91"/>
                  </a:cubicBezTo>
                  <a:cubicBezTo>
                    <a:pt x="28" y="92"/>
                    <a:pt x="27" y="92"/>
                    <a:pt x="28" y="92"/>
                  </a:cubicBezTo>
                  <a:cubicBezTo>
                    <a:pt x="28" y="94"/>
                    <a:pt x="28" y="94"/>
                    <a:pt x="28" y="95"/>
                  </a:cubicBezTo>
                  <a:cubicBezTo>
                    <a:pt x="28" y="98"/>
                    <a:pt x="28" y="99"/>
                    <a:pt x="27" y="101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5" y="103"/>
                    <a:pt x="25" y="103"/>
                    <a:pt x="24" y="104"/>
                  </a:cubicBezTo>
                  <a:cubicBezTo>
                    <a:pt x="23" y="105"/>
                    <a:pt x="22" y="106"/>
                    <a:pt x="20" y="107"/>
                  </a:cubicBezTo>
                  <a:cubicBezTo>
                    <a:pt x="19" y="107"/>
                    <a:pt x="16" y="107"/>
                    <a:pt x="14" y="107"/>
                  </a:cubicBezTo>
                  <a:cubicBezTo>
                    <a:pt x="14" y="108"/>
                    <a:pt x="13" y="108"/>
                    <a:pt x="12" y="108"/>
                  </a:cubicBezTo>
                  <a:cubicBezTo>
                    <a:pt x="12" y="109"/>
                    <a:pt x="11" y="108"/>
                    <a:pt x="10" y="109"/>
                  </a:cubicBezTo>
                  <a:cubicBezTo>
                    <a:pt x="9" y="109"/>
                    <a:pt x="8" y="110"/>
                    <a:pt x="7" y="110"/>
                  </a:cubicBezTo>
                  <a:cubicBezTo>
                    <a:pt x="8" y="110"/>
                    <a:pt x="8" y="111"/>
                    <a:pt x="8" y="112"/>
                  </a:cubicBezTo>
                  <a:cubicBezTo>
                    <a:pt x="9" y="112"/>
                    <a:pt x="9" y="112"/>
                    <a:pt x="9" y="112"/>
                  </a:cubicBezTo>
                  <a:cubicBezTo>
                    <a:pt x="10" y="113"/>
                    <a:pt x="9" y="113"/>
                    <a:pt x="10" y="113"/>
                  </a:cubicBezTo>
                  <a:cubicBezTo>
                    <a:pt x="10" y="114"/>
                    <a:pt x="11" y="115"/>
                    <a:pt x="11" y="116"/>
                  </a:cubicBezTo>
                  <a:cubicBezTo>
                    <a:pt x="12" y="116"/>
                    <a:pt x="13" y="116"/>
                    <a:pt x="13" y="116"/>
                  </a:cubicBezTo>
                  <a:cubicBezTo>
                    <a:pt x="14" y="117"/>
                    <a:pt x="15" y="117"/>
                    <a:pt x="15" y="117"/>
                  </a:cubicBezTo>
                  <a:cubicBezTo>
                    <a:pt x="16" y="117"/>
                    <a:pt x="17" y="117"/>
                    <a:pt x="18" y="117"/>
                  </a:cubicBezTo>
                  <a:cubicBezTo>
                    <a:pt x="19" y="117"/>
                    <a:pt x="20" y="117"/>
                    <a:pt x="21" y="118"/>
                  </a:cubicBezTo>
                  <a:cubicBezTo>
                    <a:pt x="21" y="118"/>
                    <a:pt x="22" y="119"/>
                    <a:pt x="22" y="119"/>
                  </a:cubicBezTo>
                  <a:cubicBezTo>
                    <a:pt x="24" y="119"/>
                    <a:pt x="25" y="117"/>
                    <a:pt x="26" y="116"/>
                  </a:cubicBezTo>
                  <a:cubicBezTo>
                    <a:pt x="26" y="116"/>
                    <a:pt x="26" y="116"/>
                    <a:pt x="26" y="116"/>
                  </a:cubicBezTo>
                  <a:cubicBezTo>
                    <a:pt x="26" y="115"/>
                    <a:pt x="26" y="115"/>
                    <a:pt x="27" y="115"/>
                  </a:cubicBezTo>
                  <a:cubicBezTo>
                    <a:pt x="27" y="114"/>
                    <a:pt x="29" y="112"/>
                    <a:pt x="30" y="112"/>
                  </a:cubicBezTo>
                  <a:cubicBezTo>
                    <a:pt x="30" y="112"/>
                    <a:pt x="31" y="111"/>
                    <a:pt x="31" y="112"/>
                  </a:cubicBezTo>
                  <a:cubicBezTo>
                    <a:pt x="32" y="112"/>
                    <a:pt x="32" y="112"/>
                    <a:pt x="33" y="113"/>
                  </a:cubicBezTo>
                  <a:cubicBezTo>
                    <a:pt x="34" y="113"/>
                    <a:pt x="34" y="113"/>
                    <a:pt x="35" y="113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37" y="114"/>
                    <a:pt x="39" y="113"/>
                    <a:pt x="41" y="114"/>
                  </a:cubicBezTo>
                  <a:cubicBezTo>
                    <a:pt x="42" y="115"/>
                    <a:pt x="42" y="116"/>
                    <a:pt x="43" y="116"/>
                  </a:cubicBezTo>
                  <a:cubicBezTo>
                    <a:pt x="44" y="117"/>
                    <a:pt x="45" y="117"/>
                    <a:pt x="46" y="118"/>
                  </a:cubicBezTo>
                  <a:cubicBezTo>
                    <a:pt x="47" y="118"/>
                    <a:pt x="48" y="119"/>
                    <a:pt x="49" y="119"/>
                  </a:cubicBezTo>
                  <a:cubicBezTo>
                    <a:pt x="49" y="120"/>
                    <a:pt x="50" y="120"/>
                    <a:pt x="50" y="120"/>
                  </a:cubicBezTo>
                  <a:cubicBezTo>
                    <a:pt x="50" y="120"/>
                    <a:pt x="51" y="120"/>
                    <a:pt x="51" y="120"/>
                  </a:cubicBezTo>
                  <a:cubicBezTo>
                    <a:pt x="52" y="120"/>
                    <a:pt x="52" y="120"/>
                    <a:pt x="52" y="120"/>
                  </a:cubicBezTo>
                  <a:cubicBezTo>
                    <a:pt x="53" y="119"/>
                    <a:pt x="53" y="119"/>
                    <a:pt x="53" y="118"/>
                  </a:cubicBezTo>
                  <a:cubicBezTo>
                    <a:pt x="54" y="118"/>
                    <a:pt x="55" y="119"/>
                    <a:pt x="56" y="119"/>
                  </a:cubicBezTo>
                  <a:cubicBezTo>
                    <a:pt x="57" y="119"/>
                    <a:pt x="60" y="117"/>
                    <a:pt x="61" y="116"/>
                  </a:cubicBezTo>
                  <a:cubicBezTo>
                    <a:pt x="61" y="115"/>
                    <a:pt x="61" y="114"/>
                    <a:pt x="60" y="114"/>
                  </a:cubicBezTo>
                  <a:cubicBezTo>
                    <a:pt x="59" y="113"/>
                    <a:pt x="59" y="112"/>
                    <a:pt x="58" y="112"/>
                  </a:cubicBezTo>
                  <a:cubicBezTo>
                    <a:pt x="58" y="111"/>
                    <a:pt x="57" y="110"/>
                    <a:pt x="57" y="109"/>
                  </a:cubicBezTo>
                  <a:cubicBezTo>
                    <a:pt x="57" y="108"/>
                    <a:pt x="57" y="108"/>
                    <a:pt x="56" y="108"/>
                  </a:cubicBezTo>
                  <a:cubicBezTo>
                    <a:pt x="56" y="108"/>
                    <a:pt x="56" y="107"/>
                    <a:pt x="56" y="107"/>
                  </a:cubicBezTo>
                  <a:cubicBezTo>
                    <a:pt x="55" y="106"/>
                    <a:pt x="56" y="105"/>
                    <a:pt x="56" y="104"/>
                  </a:cubicBezTo>
                  <a:cubicBezTo>
                    <a:pt x="57" y="103"/>
                    <a:pt x="57" y="103"/>
                    <a:pt x="58" y="102"/>
                  </a:cubicBezTo>
                  <a:cubicBezTo>
                    <a:pt x="58" y="102"/>
                    <a:pt x="58" y="101"/>
                    <a:pt x="58" y="101"/>
                  </a:cubicBezTo>
                  <a:cubicBezTo>
                    <a:pt x="59" y="101"/>
                    <a:pt x="58" y="102"/>
                    <a:pt x="59" y="103"/>
                  </a:cubicBezTo>
                  <a:cubicBezTo>
                    <a:pt x="60" y="104"/>
                    <a:pt x="61" y="104"/>
                    <a:pt x="62" y="105"/>
                  </a:cubicBezTo>
                  <a:cubicBezTo>
                    <a:pt x="63" y="105"/>
                    <a:pt x="64" y="106"/>
                    <a:pt x="64" y="107"/>
                  </a:cubicBezTo>
                  <a:cubicBezTo>
                    <a:pt x="65" y="107"/>
                    <a:pt x="66" y="108"/>
                    <a:pt x="66" y="108"/>
                  </a:cubicBezTo>
                  <a:cubicBezTo>
                    <a:pt x="67" y="108"/>
                    <a:pt x="67" y="108"/>
                    <a:pt x="68" y="109"/>
                  </a:cubicBezTo>
                  <a:cubicBezTo>
                    <a:pt x="68" y="110"/>
                    <a:pt x="69" y="111"/>
                    <a:pt x="69" y="112"/>
                  </a:cubicBezTo>
                  <a:cubicBezTo>
                    <a:pt x="69" y="112"/>
                    <a:pt x="70" y="113"/>
                    <a:pt x="70" y="114"/>
                  </a:cubicBezTo>
                  <a:cubicBezTo>
                    <a:pt x="71" y="114"/>
                    <a:pt x="73" y="114"/>
                    <a:pt x="74" y="114"/>
                  </a:cubicBezTo>
                  <a:cubicBezTo>
                    <a:pt x="75" y="114"/>
                    <a:pt x="75" y="114"/>
                    <a:pt x="75" y="113"/>
                  </a:cubicBezTo>
                  <a:cubicBezTo>
                    <a:pt x="76" y="112"/>
                    <a:pt x="77" y="112"/>
                    <a:pt x="77" y="111"/>
                  </a:cubicBezTo>
                  <a:cubicBezTo>
                    <a:pt x="77" y="110"/>
                    <a:pt x="77" y="109"/>
                    <a:pt x="78" y="110"/>
                  </a:cubicBezTo>
                  <a:cubicBezTo>
                    <a:pt x="79" y="111"/>
                    <a:pt x="79" y="112"/>
                    <a:pt x="80" y="112"/>
                  </a:cubicBezTo>
                  <a:cubicBezTo>
                    <a:pt x="80" y="113"/>
                    <a:pt x="80" y="113"/>
                    <a:pt x="81" y="113"/>
                  </a:cubicBezTo>
                  <a:cubicBezTo>
                    <a:pt x="81" y="113"/>
                    <a:pt x="81" y="113"/>
                    <a:pt x="82" y="113"/>
                  </a:cubicBezTo>
                  <a:cubicBezTo>
                    <a:pt x="82" y="114"/>
                    <a:pt x="83" y="115"/>
                    <a:pt x="83" y="115"/>
                  </a:cubicBezTo>
                  <a:cubicBezTo>
                    <a:pt x="85" y="117"/>
                    <a:pt x="87" y="119"/>
                    <a:pt x="90" y="119"/>
                  </a:cubicBezTo>
                  <a:cubicBezTo>
                    <a:pt x="91" y="119"/>
                    <a:pt x="91" y="119"/>
                    <a:pt x="92" y="119"/>
                  </a:cubicBezTo>
                  <a:cubicBezTo>
                    <a:pt x="92" y="119"/>
                    <a:pt x="92" y="118"/>
                    <a:pt x="93" y="118"/>
                  </a:cubicBezTo>
                  <a:cubicBezTo>
                    <a:pt x="93" y="118"/>
                    <a:pt x="93" y="117"/>
                    <a:pt x="93" y="117"/>
                  </a:cubicBezTo>
                  <a:cubicBezTo>
                    <a:pt x="94" y="116"/>
                    <a:pt x="94" y="117"/>
                    <a:pt x="95" y="117"/>
                  </a:cubicBezTo>
                  <a:cubicBezTo>
                    <a:pt x="97" y="117"/>
                    <a:pt x="99" y="115"/>
                    <a:pt x="100" y="114"/>
                  </a:cubicBezTo>
                  <a:cubicBezTo>
                    <a:pt x="101" y="113"/>
                    <a:pt x="101" y="113"/>
                    <a:pt x="100" y="112"/>
                  </a:cubicBezTo>
                  <a:cubicBezTo>
                    <a:pt x="99" y="111"/>
                    <a:pt x="99" y="111"/>
                    <a:pt x="99" y="111"/>
                  </a:cubicBezTo>
                  <a:cubicBezTo>
                    <a:pt x="99" y="110"/>
                    <a:pt x="99" y="110"/>
                    <a:pt x="99" y="109"/>
                  </a:cubicBezTo>
                  <a:cubicBezTo>
                    <a:pt x="99" y="108"/>
                    <a:pt x="99" y="107"/>
                    <a:pt x="99" y="106"/>
                  </a:cubicBezTo>
                  <a:cubicBezTo>
                    <a:pt x="99" y="105"/>
                    <a:pt x="99" y="104"/>
                    <a:pt x="99" y="103"/>
                  </a:cubicBezTo>
                  <a:cubicBezTo>
                    <a:pt x="99" y="103"/>
                    <a:pt x="99" y="103"/>
                    <a:pt x="99" y="102"/>
                  </a:cubicBezTo>
                  <a:cubicBezTo>
                    <a:pt x="99" y="100"/>
                    <a:pt x="100" y="100"/>
                    <a:pt x="102" y="99"/>
                  </a:cubicBezTo>
                  <a:cubicBezTo>
                    <a:pt x="102" y="98"/>
                    <a:pt x="102" y="98"/>
                    <a:pt x="102" y="98"/>
                  </a:cubicBezTo>
                  <a:cubicBezTo>
                    <a:pt x="102" y="96"/>
                    <a:pt x="100" y="96"/>
                    <a:pt x="100" y="94"/>
                  </a:cubicBezTo>
                  <a:cubicBezTo>
                    <a:pt x="100" y="94"/>
                    <a:pt x="101" y="93"/>
                    <a:pt x="102" y="93"/>
                  </a:cubicBezTo>
                  <a:cubicBezTo>
                    <a:pt x="102" y="92"/>
                    <a:pt x="103" y="91"/>
                    <a:pt x="104" y="90"/>
                  </a:cubicBezTo>
                  <a:cubicBezTo>
                    <a:pt x="105" y="90"/>
                    <a:pt x="105" y="89"/>
                    <a:pt x="106" y="89"/>
                  </a:cubicBezTo>
                  <a:cubicBezTo>
                    <a:pt x="107" y="88"/>
                    <a:pt x="108" y="88"/>
                    <a:pt x="109" y="88"/>
                  </a:cubicBezTo>
                  <a:cubicBezTo>
                    <a:pt x="110" y="87"/>
                    <a:pt x="110" y="87"/>
                    <a:pt x="111" y="87"/>
                  </a:cubicBezTo>
                  <a:cubicBezTo>
                    <a:pt x="112" y="87"/>
                    <a:pt x="112" y="87"/>
                    <a:pt x="113" y="88"/>
                  </a:cubicBezTo>
                  <a:cubicBezTo>
                    <a:pt x="114" y="88"/>
                    <a:pt x="113" y="88"/>
                    <a:pt x="114" y="88"/>
                  </a:cubicBezTo>
                  <a:cubicBezTo>
                    <a:pt x="116" y="87"/>
                    <a:pt x="117" y="89"/>
                    <a:pt x="119" y="89"/>
                  </a:cubicBezTo>
                  <a:cubicBezTo>
                    <a:pt x="119" y="88"/>
                    <a:pt x="119" y="87"/>
                    <a:pt x="119" y="87"/>
                  </a:cubicBezTo>
                  <a:cubicBezTo>
                    <a:pt x="119" y="87"/>
                    <a:pt x="120" y="87"/>
                    <a:pt x="120" y="87"/>
                  </a:cubicBezTo>
                  <a:cubicBezTo>
                    <a:pt x="120" y="86"/>
                    <a:pt x="123" y="87"/>
                    <a:pt x="123" y="88"/>
                  </a:cubicBezTo>
                  <a:cubicBezTo>
                    <a:pt x="124" y="88"/>
                    <a:pt x="125" y="89"/>
                    <a:pt x="126" y="89"/>
                  </a:cubicBezTo>
                  <a:cubicBezTo>
                    <a:pt x="127" y="90"/>
                    <a:pt x="129" y="91"/>
                    <a:pt x="131" y="91"/>
                  </a:cubicBezTo>
                  <a:cubicBezTo>
                    <a:pt x="132" y="91"/>
                    <a:pt x="133" y="91"/>
                    <a:pt x="133" y="91"/>
                  </a:cubicBezTo>
                  <a:cubicBezTo>
                    <a:pt x="135" y="91"/>
                    <a:pt x="137" y="91"/>
                    <a:pt x="137" y="89"/>
                  </a:cubicBezTo>
                  <a:cubicBezTo>
                    <a:pt x="138" y="88"/>
                    <a:pt x="136" y="86"/>
                    <a:pt x="135" y="84"/>
                  </a:cubicBezTo>
                  <a:cubicBezTo>
                    <a:pt x="135" y="84"/>
                    <a:pt x="135" y="82"/>
                    <a:pt x="135" y="82"/>
                  </a:cubicBezTo>
                  <a:cubicBezTo>
                    <a:pt x="134" y="82"/>
                    <a:pt x="133" y="82"/>
                    <a:pt x="132" y="82"/>
                  </a:cubicBezTo>
                  <a:cubicBezTo>
                    <a:pt x="132" y="81"/>
                    <a:pt x="132" y="82"/>
                    <a:pt x="132" y="81"/>
                  </a:cubicBezTo>
                  <a:cubicBezTo>
                    <a:pt x="131" y="81"/>
                    <a:pt x="131" y="80"/>
                    <a:pt x="131" y="79"/>
                  </a:cubicBezTo>
                  <a:cubicBezTo>
                    <a:pt x="130" y="78"/>
                    <a:pt x="130" y="76"/>
                    <a:pt x="128" y="75"/>
                  </a:cubicBezTo>
                  <a:cubicBezTo>
                    <a:pt x="128" y="75"/>
                    <a:pt x="127" y="76"/>
                    <a:pt x="126" y="75"/>
                  </a:cubicBezTo>
                  <a:cubicBezTo>
                    <a:pt x="125" y="75"/>
                    <a:pt x="125" y="73"/>
                    <a:pt x="124" y="73"/>
                  </a:cubicBezTo>
                  <a:cubicBezTo>
                    <a:pt x="123" y="72"/>
                    <a:pt x="123" y="71"/>
                    <a:pt x="122" y="71"/>
                  </a:cubicBezTo>
                  <a:cubicBezTo>
                    <a:pt x="122" y="71"/>
                    <a:pt x="122" y="71"/>
                    <a:pt x="121" y="70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0" y="70"/>
                    <a:pt x="119" y="70"/>
                    <a:pt x="119" y="69"/>
                  </a:cubicBezTo>
                  <a:cubicBezTo>
                    <a:pt x="119" y="69"/>
                    <a:pt x="118" y="68"/>
                    <a:pt x="118" y="68"/>
                  </a:cubicBezTo>
                  <a:cubicBezTo>
                    <a:pt x="118" y="68"/>
                    <a:pt x="118" y="68"/>
                    <a:pt x="118" y="68"/>
                  </a:cubicBezTo>
                  <a:cubicBezTo>
                    <a:pt x="117" y="67"/>
                    <a:pt x="117" y="66"/>
                    <a:pt x="116" y="65"/>
                  </a:cubicBezTo>
                  <a:cubicBezTo>
                    <a:pt x="116" y="65"/>
                    <a:pt x="115" y="64"/>
                    <a:pt x="115" y="64"/>
                  </a:cubicBezTo>
                  <a:cubicBezTo>
                    <a:pt x="115" y="62"/>
                    <a:pt x="116" y="61"/>
                    <a:pt x="117" y="60"/>
                  </a:cubicBezTo>
                  <a:cubicBezTo>
                    <a:pt x="118" y="59"/>
                    <a:pt x="118" y="58"/>
                    <a:pt x="119" y="58"/>
                  </a:cubicBezTo>
                  <a:cubicBezTo>
                    <a:pt x="120" y="57"/>
                    <a:pt x="121" y="58"/>
                    <a:pt x="121" y="58"/>
                  </a:cubicBezTo>
                  <a:cubicBezTo>
                    <a:pt x="122" y="58"/>
                    <a:pt x="123" y="58"/>
                    <a:pt x="123" y="58"/>
                  </a:cubicBezTo>
                  <a:cubicBezTo>
                    <a:pt x="124" y="57"/>
                    <a:pt x="124" y="55"/>
                    <a:pt x="125" y="55"/>
                  </a:cubicBezTo>
                  <a:cubicBezTo>
                    <a:pt x="126" y="54"/>
                    <a:pt x="125" y="54"/>
                    <a:pt x="126" y="54"/>
                  </a:cubicBezTo>
                  <a:cubicBezTo>
                    <a:pt x="127" y="54"/>
                    <a:pt x="128" y="54"/>
                    <a:pt x="128" y="53"/>
                  </a:cubicBezTo>
                  <a:cubicBezTo>
                    <a:pt x="129" y="53"/>
                    <a:pt x="129" y="53"/>
                    <a:pt x="130" y="52"/>
                  </a:cubicBezTo>
                  <a:cubicBezTo>
                    <a:pt x="130" y="51"/>
                    <a:pt x="132" y="50"/>
                    <a:pt x="133" y="50"/>
                  </a:cubicBezTo>
                  <a:cubicBezTo>
                    <a:pt x="134" y="50"/>
                    <a:pt x="135" y="50"/>
                    <a:pt x="136" y="50"/>
                  </a:cubicBezTo>
                  <a:cubicBezTo>
                    <a:pt x="137" y="49"/>
                    <a:pt x="136" y="47"/>
                    <a:pt x="137" y="47"/>
                  </a:cubicBezTo>
                  <a:cubicBezTo>
                    <a:pt x="138" y="46"/>
                    <a:pt x="140" y="47"/>
                    <a:pt x="141" y="47"/>
                  </a:cubicBezTo>
                  <a:cubicBezTo>
                    <a:pt x="142" y="47"/>
                    <a:pt x="142" y="47"/>
                    <a:pt x="142" y="46"/>
                  </a:cubicBezTo>
                  <a:cubicBezTo>
                    <a:pt x="142" y="46"/>
                    <a:pt x="142" y="45"/>
                    <a:pt x="142" y="45"/>
                  </a:cubicBezTo>
                  <a:cubicBezTo>
                    <a:pt x="142" y="44"/>
                    <a:pt x="143" y="44"/>
                    <a:pt x="144" y="43"/>
                  </a:cubicBezTo>
                  <a:cubicBezTo>
                    <a:pt x="146" y="43"/>
                    <a:pt x="148" y="42"/>
                    <a:pt x="150" y="43"/>
                  </a:cubicBezTo>
                  <a:cubicBezTo>
                    <a:pt x="151" y="43"/>
                    <a:pt x="152" y="43"/>
                    <a:pt x="152" y="43"/>
                  </a:cubicBezTo>
                  <a:cubicBezTo>
                    <a:pt x="153" y="43"/>
                    <a:pt x="153" y="42"/>
                    <a:pt x="153" y="42"/>
                  </a:cubicBezTo>
                  <a:cubicBezTo>
                    <a:pt x="153" y="41"/>
                    <a:pt x="152" y="41"/>
                    <a:pt x="152" y="40"/>
                  </a:cubicBezTo>
                  <a:cubicBezTo>
                    <a:pt x="151" y="39"/>
                    <a:pt x="151" y="38"/>
                    <a:pt x="150" y="37"/>
                  </a:cubicBezTo>
                  <a:cubicBezTo>
                    <a:pt x="150" y="37"/>
                    <a:pt x="149" y="36"/>
                    <a:pt x="148" y="35"/>
                  </a:cubicBezTo>
                  <a:cubicBezTo>
                    <a:pt x="148" y="35"/>
                    <a:pt x="148" y="34"/>
                    <a:pt x="149" y="34"/>
                  </a:cubicBezTo>
                  <a:cubicBezTo>
                    <a:pt x="149" y="33"/>
                    <a:pt x="150" y="33"/>
                    <a:pt x="151" y="33"/>
                  </a:cubicBezTo>
                  <a:cubicBezTo>
                    <a:pt x="152" y="33"/>
                    <a:pt x="152" y="33"/>
                    <a:pt x="153" y="33"/>
                  </a:cubicBezTo>
                  <a:cubicBezTo>
                    <a:pt x="153" y="32"/>
                    <a:pt x="154" y="31"/>
                    <a:pt x="155" y="31"/>
                  </a:cubicBezTo>
                  <a:cubicBezTo>
                    <a:pt x="156" y="30"/>
                    <a:pt x="159" y="32"/>
                    <a:pt x="160" y="33"/>
                  </a:cubicBezTo>
                  <a:cubicBezTo>
                    <a:pt x="162" y="33"/>
                    <a:pt x="163" y="33"/>
                    <a:pt x="165" y="33"/>
                  </a:cubicBezTo>
                  <a:cubicBezTo>
                    <a:pt x="165" y="33"/>
                    <a:pt x="166" y="33"/>
                    <a:pt x="167" y="33"/>
                  </a:cubicBezTo>
                  <a:cubicBezTo>
                    <a:pt x="167" y="32"/>
                    <a:pt x="167" y="32"/>
                    <a:pt x="167" y="32"/>
                  </a:cubicBezTo>
                  <a:cubicBezTo>
                    <a:pt x="166" y="32"/>
                    <a:pt x="165" y="32"/>
                    <a:pt x="165" y="32"/>
                  </a:cubicBezTo>
                  <a:cubicBezTo>
                    <a:pt x="161" y="29"/>
                    <a:pt x="164" y="26"/>
                    <a:pt x="163" y="2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6" name="Freeform 26"/>
            <p:cNvSpPr>
              <a:spLocks noEditPoints="1"/>
            </p:cNvSpPr>
            <p:nvPr/>
          </p:nvSpPr>
          <p:spPr bwMode="auto">
            <a:xfrm>
              <a:off x="4795838" y="5073650"/>
              <a:ext cx="584200" cy="542925"/>
            </a:xfrm>
            <a:custGeom>
              <a:avLst/>
              <a:gdLst/>
              <a:ahLst/>
              <a:cxnLst>
                <a:cxn ang="0">
                  <a:pos x="261" y="120"/>
                </a:cxn>
                <a:cxn ang="0">
                  <a:pos x="275" y="132"/>
                </a:cxn>
                <a:cxn ang="0">
                  <a:pos x="294" y="124"/>
                </a:cxn>
                <a:cxn ang="0">
                  <a:pos x="305" y="104"/>
                </a:cxn>
                <a:cxn ang="0">
                  <a:pos x="291" y="87"/>
                </a:cxn>
                <a:cxn ang="0">
                  <a:pos x="288" y="72"/>
                </a:cxn>
                <a:cxn ang="0">
                  <a:pos x="284" y="56"/>
                </a:cxn>
                <a:cxn ang="0">
                  <a:pos x="275" y="56"/>
                </a:cxn>
                <a:cxn ang="0">
                  <a:pos x="244" y="63"/>
                </a:cxn>
                <a:cxn ang="0">
                  <a:pos x="223" y="58"/>
                </a:cxn>
                <a:cxn ang="0">
                  <a:pos x="201" y="40"/>
                </a:cxn>
                <a:cxn ang="0">
                  <a:pos x="194" y="29"/>
                </a:cxn>
                <a:cxn ang="0">
                  <a:pos x="169" y="7"/>
                </a:cxn>
                <a:cxn ang="0">
                  <a:pos x="152" y="1"/>
                </a:cxn>
                <a:cxn ang="0">
                  <a:pos x="149" y="10"/>
                </a:cxn>
                <a:cxn ang="0">
                  <a:pos x="139" y="16"/>
                </a:cxn>
                <a:cxn ang="0">
                  <a:pos x="125" y="23"/>
                </a:cxn>
                <a:cxn ang="0">
                  <a:pos x="114" y="30"/>
                </a:cxn>
                <a:cxn ang="0">
                  <a:pos x="118" y="40"/>
                </a:cxn>
                <a:cxn ang="0">
                  <a:pos x="128" y="49"/>
                </a:cxn>
                <a:cxn ang="0">
                  <a:pos x="130" y="61"/>
                </a:cxn>
                <a:cxn ang="0">
                  <a:pos x="116" y="59"/>
                </a:cxn>
                <a:cxn ang="0">
                  <a:pos x="101" y="60"/>
                </a:cxn>
                <a:cxn ang="0">
                  <a:pos x="96" y="73"/>
                </a:cxn>
                <a:cxn ang="0">
                  <a:pos x="92" y="87"/>
                </a:cxn>
                <a:cxn ang="0">
                  <a:pos x="79" y="83"/>
                </a:cxn>
                <a:cxn ang="0">
                  <a:pos x="71" y="84"/>
                </a:cxn>
                <a:cxn ang="0">
                  <a:pos x="59" y="75"/>
                </a:cxn>
                <a:cxn ang="0">
                  <a:pos x="53" y="78"/>
                </a:cxn>
                <a:cxn ang="0">
                  <a:pos x="50" y="88"/>
                </a:cxn>
                <a:cxn ang="0">
                  <a:pos x="40" y="86"/>
                </a:cxn>
                <a:cxn ang="0">
                  <a:pos x="27" y="82"/>
                </a:cxn>
                <a:cxn ang="0">
                  <a:pos x="15" y="87"/>
                </a:cxn>
                <a:cxn ang="0">
                  <a:pos x="5" y="82"/>
                </a:cxn>
                <a:cxn ang="0">
                  <a:pos x="1" y="87"/>
                </a:cxn>
                <a:cxn ang="0">
                  <a:pos x="16" y="127"/>
                </a:cxn>
                <a:cxn ang="0">
                  <a:pos x="25" y="131"/>
                </a:cxn>
                <a:cxn ang="0">
                  <a:pos x="37" y="109"/>
                </a:cxn>
                <a:cxn ang="0">
                  <a:pos x="54" y="109"/>
                </a:cxn>
                <a:cxn ang="0">
                  <a:pos x="64" y="125"/>
                </a:cxn>
                <a:cxn ang="0">
                  <a:pos x="70" y="130"/>
                </a:cxn>
                <a:cxn ang="0">
                  <a:pos x="75" y="151"/>
                </a:cxn>
                <a:cxn ang="0">
                  <a:pos x="93" y="179"/>
                </a:cxn>
                <a:cxn ang="0">
                  <a:pos x="95" y="203"/>
                </a:cxn>
                <a:cxn ang="0">
                  <a:pos x="106" y="217"/>
                </a:cxn>
                <a:cxn ang="0">
                  <a:pos x="119" y="235"/>
                </a:cxn>
                <a:cxn ang="0">
                  <a:pos x="134" y="242"/>
                </a:cxn>
                <a:cxn ang="0">
                  <a:pos x="157" y="246"/>
                </a:cxn>
                <a:cxn ang="0">
                  <a:pos x="200" y="287"/>
                </a:cxn>
                <a:cxn ang="0">
                  <a:pos x="202" y="278"/>
                </a:cxn>
                <a:cxn ang="0">
                  <a:pos x="195" y="264"/>
                </a:cxn>
                <a:cxn ang="0">
                  <a:pos x="192" y="250"/>
                </a:cxn>
                <a:cxn ang="0">
                  <a:pos x="169" y="224"/>
                </a:cxn>
                <a:cxn ang="0">
                  <a:pos x="142" y="196"/>
                </a:cxn>
                <a:cxn ang="0">
                  <a:pos x="135" y="175"/>
                </a:cxn>
                <a:cxn ang="0">
                  <a:pos x="131" y="151"/>
                </a:cxn>
                <a:cxn ang="0">
                  <a:pos x="118" y="134"/>
                </a:cxn>
                <a:cxn ang="0">
                  <a:pos x="133" y="107"/>
                </a:cxn>
                <a:cxn ang="0">
                  <a:pos x="150" y="118"/>
                </a:cxn>
                <a:cxn ang="0">
                  <a:pos x="174" y="105"/>
                </a:cxn>
                <a:cxn ang="0">
                  <a:pos x="192" y="114"/>
                </a:cxn>
                <a:cxn ang="0">
                  <a:pos x="221" y="116"/>
                </a:cxn>
                <a:cxn ang="0">
                  <a:pos x="237" y="114"/>
                </a:cxn>
              </a:cxnLst>
              <a:rect l="0" t="0" r="r" b="b"/>
              <a:pathLst>
                <a:path w="312" h="291">
                  <a:moveTo>
                    <a:pt x="9" y="78"/>
                  </a:moveTo>
                  <a:cubicBezTo>
                    <a:pt x="9" y="78"/>
                    <a:pt x="9" y="78"/>
                    <a:pt x="9" y="78"/>
                  </a:cubicBezTo>
                  <a:cubicBezTo>
                    <a:pt x="9" y="78"/>
                    <a:pt x="9" y="78"/>
                    <a:pt x="9" y="78"/>
                  </a:cubicBezTo>
                  <a:moveTo>
                    <a:pt x="255" y="117"/>
                  </a:moveTo>
                  <a:cubicBezTo>
                    <a:pt x="256" y="117"/>
                    <a:pt x="257" y="118"/>
                    <a:pt x="259" y="118"/>
                  </a:cubicBezTo>
                  <a:cubicBezTo>
                    <a:pt x="259" y="119"/>
                    <a:pt x="260" y="120"/>
                    <a:pt x="261" y="120"/>
                  </a:cubicBezTo>
                  <a:cubicBezTo>
                    <a:pt x="263" y="121"/>
                    <a:pt x="266" y="121"/>
                    <a:pt x="267" y="121"/>
                  </a:cubicBezTo>
                  <a:cubicBezTo>
                    <a:pt x="268" y="118"/>
                    <a:pt x="272" y="120"/>
                    <a:pt x="273" y="122"/>
                  </a:cubicBezTo>
                  <a:cubicBezTo>
                    <a:pt x="273" y="122"/>
                    <a:pt x="273" y="123"/>
                    <a:pt x="273" y="124"/>
                  </a:cubicBezTo>
                  <a:cubicBezTo>
                    <a:pt x="273" y="124"/>
                    <a:pt x="274" y="125"/>
                    <a:pt x="274" y="125"/>
                  </a:cubicBezTo>
                  <a:cubicBezTo>
                    <a:pt x="275" y="126"/>
                    <a:pt x="277" y="127"/>
                    <a:pt x="277" y="128"/>
                  </a:cubicBezTo>
                  <a:cubicBezTo>
                    <a:pt x="276" y="130"/>
                    <a:pt x="275" y="130"/>
                    <a:pt x="275" y="132"/>
                  </a:cubicBezTo>
                  <a:cubicBezTo>
                    <a:pt x="275" y="134"/>
                    <a:pt x="276" y="136"/>
                    <a:pt x="278" y="137"/>
                  </a:cubicBezTo>
                  <a:cubicBezTo>
                    <a:pt x="279" y="137"/>
                    <a:pt x="278" y="137"/>
                    <a:pt x="280" y="138"/>
                  </a:cubicBezTo>
                  <a:cubicBezTo>
                    <a:pt x="281" y="138"/>
                    <a:pt x="282" y="138"/>
                    <a:pt x="282" y="138"/>
                  </a:cubicBezTo>
                  <a:cubicBezTo>
                    <a:pt x="284" y="137"/>
                    <a:pt x="286" y="137"/>
                    <a:pt x="288" y="136"/>
                  </a:cubicBezTo>
                  <a:cubicBezTo>
                    <a:pt x="290" y="135"/>
                    <a:pt x="297" y="134"/>
                    <a:pt x="295" y="131"/>
                  </a:cubicBezTo>
                  <a:cubicBezTo>
                    <a:pt x="294" y="128"/>
                    <a:pt x="291" y="126"/>
                    <a:pt x="294" y="124"/>
                  </a:cubicBezTo>
                  <a:cubicBezTo>
                    <a:pt x="294" y="123"/>
                    <a:pt x="296" y="122"/>
                    <a:pt x="296" y="121"/>
                  </a:cubicBezTo>
                  <a:cubicBezTo>
                    <a:pt x="296" y="120"/>
                    <a:pt x="295" y="119"/>
                    <a:pt x="296" y="118"/>
                  </a:cubicBezTo>
                  <a:cubicBezTo>
                    <a:pt x="297" y="116"/>
                    <a:pt x="301" y="115"/>
                    <a:pt x="303" y="114"/>
                  </a:cubicBezTo>
                  <a:cubicBezTo>
                    <a:pt x="305" y="114"/>
                    <a:pt x="312" y="114"/>
                    <a:pt x="310" y="110"/>
                  </a:cubicBezTo>
                  <a:cubicBezTo>
                    <a:pt x="310" y="109"/>
                    <a:pt x="309" y="109"/>
                    <a:pt x="308" y="108"/>
                  </a:cubicBezTo>
                  <a:cubicBezTo>
                    <a:pt x="307" y="107"/>
                    <a:pt x="306" y="105"/>
                    <a:pt x="305" y="104"/>
                  </a:cubicBezTo>
                  <a:cubicBezTo>
                    <a:pt x="303" y="102"/>
                    <a:pt x="303" y="102"/>
                    <a:pt x="301" y="102"/>
                  </a:cubicBezTo>
                  <a:cubicBezTo>
                    <a:pt x="297" y="101"/>
                    <a:pt x="294" y="99"/>
                    <a:pt x="292" y="98"/>
                  </a:cubicBezTo>
                  <a:cubicBezTo>
                    <a:pt x="291" y="98"/>
                    <a:pt x="290" y="97"/>
                    <a:pt x="290" y="96"/>
                  </a:cubicBezTo>
                  <a:cubicBezTo>
                    <a:pt x="288" y="94"/>
                    <a:pt x="292" y="93"/>
                    <a:pt x="292" y="90"/>
                  </a:cubicBezTo>
                  <a:cubicBezTo>
                    <a:pt x="291" y="89"/>
                    <a:pt x="290" y="89"/>
                    <a:pt x="290" y="88"/>
                  </a:cubicBezTo>
                  <a:cubicBezTo>
                    <a:pt x="290" y="87"/>
                    <a:pt x="291" y="87"/>
                    <a:pt x="291" y="87"/>
                  </a:cubicBezTo>
                  <a:cubicBezTo>
                    <a:pt x="292" y="85"/>
                    <a:pt x="291" y="84"/>
                    <a:pt x="290" y="83"/>
                  </a:cubicBezTo>
                  <a:cubicBezTo>
                    <a:pt x="290" y="82"/>
                    <a:pt x="290" y="82"/>
                    <a:pt x="289" y="82"/>
                  </a:cubicBezTo>
                  <a:cubicBezTo>
                    <a:pt x="288" y="80"/>
                    <a:pt x="288" y="81"/>
                    <a:pt x="286" y="80"/>
                  </a:cubicBezTo>
                  <a:cubicBezTo>
                    <a:pt x="286" y="79"/>
                    <a:pt x="286" y="78"/>
                    <a:pt x="286" y="76"/>
                  </a:cubicBezTo>
                  <a:cubicBezTo>
                    <a:pt x="286" y="75"/>
                    <a:pt x="287" y="75"/>
                    <a:pt x="287" y="74"/>
                  </a:cubicBezTo>
                  <a:cubicBezTo>
                    <a:pt x="287" y="73"/>
                    <a:pt x="288" y="73"/>
                    <a:pt x="288" y="72"/>
                  </a:cubicBezTo>
                  <a:cubicBezTo>
                    <a:pt x="288" y="70"/>
                    <a:pt x="286" y="70"/>
                    <a:pt x="286" y="68"/>
                  </a:cubicBezTo>
                  <a:cubicBezTo>
                    <a:pt x="286" y="67"/>
                    <a:pt x="286" y="65"/>
                    <a:pt x="286" y="64"/>
                  </a:cubicBezTo>
                  <a:cubicBezTo>
                    <a:pt x="286" y="64"/>
                    <a:pt x="286" y="63"/>
                    <a:pt x="286" y="63"/>
                  </a:cubicBezTo>
                  <a:cubicBezTo>
                    <a:pt x="286" y="62"/>
                    <a:pt x="285" y="62"/>
                    <a:pt x="285" y="62"/>
                  </a:cubicBezTo>
                  <a:cubicBezTo>
                    <a:pt x="285" y="62"/>
                    <a:pt x="285" y="61"/>
                    <a:pt x="284" y="60"/>
                  </a:cubicBezTo>
                  <a:cubicBezTo>
                    <a:pt x="284" y="59"/>
                    <a:pt x="284" y="58"/>
                    <a:pt x="284" y="56"/>
                  </a:cubicBezTo>
                  <a:cubicBezTo>
                    <a:pt x="284" y="54"/>
                    <a:pt x="284" y="52"/>
                    <a:pt x="284" y="50"/>
                  </a:cubicBezTo>
                  <a:cubicBezTo>
                    <a:pt x="284" y="50"/>
                    <a:pt x="284" y="50"/>
                    <a:pt x="284" y="51"/>
                  </a:cubicBezTo>
                  <a:cubicBezTo>
                    <a:pt x="283" y="51"/>
                    <a:pt x="283" y="52"/>
                    <a:pt x="282" y="52"/>
                  </a:cubicBezTo>
                  <a:cubicBezTo>
                    <a:pt x="282" y="52"/>
                    <a:pt x="281" y="52"/>
                    <a:pt x="281" y="51"/>
                  </a:cubicBezTo>
                  <a:cubicBezTo>
                    <a:pt x="279" y="50"/>
                    <a:pt x="278" y="54"/>
                    <a:pt x="277" y="55"/>
                  </a:cubicBezTo>
                  <a:cubicBezTo>
                    <a:pt x="277" y="55"/>
                    <a:pt x="275" y="56"/>
                    <a:pt x="275" y="56"/>
                  </a:cubicBezTo>
                  <a:cubicBezTo>
                    <a:pt x="274" y="56"/>
                    <a:pt x="272" y="57"/>
                    <a:pt x="271" y="57"/>
                  </a:cubicBezTo>
                  <a:cubicBezTo>
                    <a:pt x="270" y="58"/>
                    <a:pt x="269" y="58"/>
                    <a:pt x="269" y="59"/>
                  </a:cubicBezTo>
                  <a:cubicBezTo>
                    <a:pt x="268" y="60"/>
                    <a:pt x="268" y="62"/>
                    <a:pt x="268" y="63"/>
                  </a:cubicBezTo>
                  <a:cubicBezTo>
                    <a:pt x="265" y="65"/>
                    <a:pt x="259" y="62"/>
                    <a:pt x="256" y="63"/>
                  </a:cubicBezTo>
                  <a:cubicBezTo>
                    <a:pt x="253" y="63"/>
                    <a:pt x="251" y="63"/>
                    <a:pt x="249" y="63"/>
                  </a:cubicBezTo>
                  <a:cubicBezTo>
                    <a:pt x="247" y="63"/>
                    <a:pt x="246" y="63"/>
                    <a:pt x="244" y="63"/>
                  </a:cubicBezTo>
                  <a:cubicBezTo>
                    <a:pt x="244" y="63"/>
                    <a:pt x="243" y="63"/>
                    <a:pt x="242" y="63"/>
                  </a:cubicBezTo>
                  <a:cubicBezTo>
                    <a:pt x="241" y="62"/>
                    <a:pt x="241" y="62"/>
                    <a:pt x="240" y="62"/>
                  </a:cubicBezTo>
                  <a:cubicBezTo>
                    <a:pt x="239" y="61"/>
                    <a:pt x="237" y="62"/>
                    <a:pt x="236" y="61"/>
                  </a:cubicBezTo>
                  <a:cubicBezTo>
                    <a:pt x="234" y="61"/>
                    <a:pt x="232" y="60"/>
                    <a:pt x="230" y="60"/>
                  </a:cubicBezTo>
                  <a:cubicBezTo>
                    <a:pt x="229" y="60"/>
                    <a:pt x="227" y="60"/>
                    <a:pt x="225" y="60"/>
                  </a:cubicBezTo>
                  <a:cubicBezTo>
                    <a:pt x="224" y="59"/>
                    <a:pt x="224" y="59"/>
                    <a:pt x="223" y="58"/>
                  </a:cubicBezTo>
                  <a:cubicBezTo>
                    <a:pt x="222" y="56"/>
                    <a:pt x="220" y="55"/>
                    <a:pt x="218" y="54"/>
                  </a:cubicBezTo>
                  <a:cubicBezTo>
                    <a:pt x="218" y="53"/>
                    <a:pt x="218" y="53"/>
                    <a:pt x="217" y="52"/>
                  </a:cubicBezTo>
                  <a:cubicBezTo>
                    <a:pt x="216" y="52"/>
                    <a:pt x="216" y="52"/>
                    <a:pt x="215" y="52"/>
                  </a:cubicBezTo>
                  <a:cubicBezTo>
                    <a:pt x="212" y="52"/>
                    <a:pt x="212" y="51"/>
                    <a:pt x="210" y="50"/>
                  </a:cubicBezTo>
                  <a:cubicBezTo>
                    <a:pt x="208" y="49"/>
                    <a:pt x="205" y="49"/>
                    <a:pt x="203" y="47"/>
                  </a:cubicBezTo>
                  <a:cubicBezTo>
                    <a:pt x="202" y="45"/>
                    <a:pt x="202" y="42"/>
                    <a:pt x="201" y="40"/>
                  </a:cubicBezTo>
                  <a:cubicBezTo>
                    <a:pt x="200" y="38"/>
                    <a:pt x="199" y="38"/>
                    <a:pt x="198" y="36"/>
                  </a:cubicBezTo>
                  <a:cubicBezTo>
                    <a:pt x="197" y="36"/>
                    <a:pt x="197" y="35"/>
                    <a:pt x="196" y="35"/>
                  </a:cubicBezTo>
                  <a:cubicBezTo>
                    <a:pt x="196" y="34"/>
                    <a:pt x="196" y="34"/>
                    <a:pt x="195" y="34"/>
                  </a:cubicBezTo>
                  <a:cubicBezTo>
                    <a:pt x="196" y="33"/>
                    <a:pt x="196" y="33"/>
                    <a:pt x="195" y="33"/>
                  </a:cubicBezTo>
                  <a:cubicBezTo>
                    <a:pt x="195" y="32"/>
                    <a:pt x="194" y="31"/>
                    <a:pt x="193" y="30"/>
                  </a:cubicBezTo>
                  <a:cubicBezTo>
                    <a:pt x="193" y="30"/>
                    <a:pt x="193" y="29"/>
                    <a:pt x="194" y="29"/>
                  </a:cubicBezTo>
                  <a:cubicBezTo>
                    <a:pt x="192" y="30"/>
                    <a:pt x="191" y="28"/>
                    <a:pt x="190" y="28"/>
                  </a:cubicBezTo>
                  <a:cubicBezTo>
                    <a:pt x="189" y="27"/>
                    <a:pt x="187" y="27"/>
                    <a:pt x="186" y="26"/>
                  </a:cubicBezTo>
                  <a:cubicBezTo>
                    <a:pt x="183" y="24"/>
                    <a:pt x="183" y="23"/>
                    <a:pt x="184" y="20"/>
                  </a:cubicBezTo>
                  <a:cubicBezTo>
                    <a:pt x="182" y="20"/>
                    <a:pt x="180" y="19"/>
                    <a:pt x="179" y="18"/>
                  </a:cubicBezTo>
                  <a:cubicBezTo>
                    <a:pt x="178" y="17"/>
                    <a:pt x="178" y="15"/>
                    <a:pt x="177" y="14"/>
                  </a:cubicBezTo>
                  <a:cubicBezTo>
                    <a:pt x="175" y="11"/>
                    <a:pt x="172" y="9"/>
                    <a:pt x="169" y="7"/>
                  </a:cubicBezTo>
                  <a:cubicBezTo>
                    <a:pt x="167" y="6"/>
                    <a:pt x="166" y="5"/>
                    <a:pt x="165" y="4"/>
                  </a:cubicBezTo>
                  <a:cubicBezTo>
                    <a:pt x="165" y="4"/>
                    <a:pt x="164" y="2"/>
                    <a:pt x="164" y="2"/>
                  </a:cubicBezTo>
                  <a:cubicBezTo>
                    <a:pt x="164" y="2"/>
                    <a:pt x="164" y="2"/>
                    <a:pt x="164" y="3"/>
                  </a:cubicBezTo>
                  <a:cubicBezTo>
                    <a:pt x="163" y="3"/>
                    <a:pt x="162" y="3"/>
                    <a:pt x="162" y="3"/>
                  </a:cubicBezTo>
                  <a:cubicBezTo>
                    <a:pt x="160" y="3"/>
                    <a:pt x="159" y="3"/>
                    <a:pt x="157" y="3"/>
                  </a:cubicBezTo>
                  <a:cubicBezTo>
                    <a:pt x="156" y="2"/>
                    <a:pt x="153" y="0"/>
                    <a:pt x="152" y="1"/>
                  </a:cubicBezTo>
                  <a:cubicBezTo>
                    <a:pt x="151" y="1"/>
                    <a:pt x="150" y="2"/>
                    <a:pt x="150" y="3"/>
                  </a:cubicBezTo>
                  <a:cubicBezTo>
                    <a:pt x="149" y="3"/>
                    <a:pt x="149" y="3"/>
                    <a:pt x="148" y="3"/>
                  </a:cubicBezTo>
                  <a:cubicBezTo>
                    <a:pt x="147" y="3"/>
                    <a:pt x="146" y="3"/>
                    <a:pt x="146" y="4"/>
                  </a:cubicBezTo>
                  <a:cubicBezTo>
                    <a:pt x="145" y="4"/>
                    <a:pt x="145" y="5"/>
                    <a:pt x="145" y="5"/>
                  </a:cubicBezTo>
                  <a:cubicBezTo>
                    <a:pt x="146" y="6"/>
                    <a:pt x="147" y="7"/>
                    <a:pt x="147" y="7"/>
                  </a:cubicBezTo>
                  <a:cubicBezTo>
                    <a:pt x="148" y="8"/>
                    <a:pt x="148" y="9"/>
                    <a:pt x="149" y="10"/>
                  </a:cubicBezTo>
                  <a:cubicBezTo>
                    <a:pt x="149" y="11"/>
                    <a:pt x="150" y="11"/>
                    <a:pt x="150" y="12"/>
                  </a:cubicBezTo>
                  <a:cubicBezTo>
                    <a:pt x="150" y="12"/>
                    <a:pt x="150" y="13"/>
                    <a:pt x="149" y="13"/>
                  </a:cubicBezTo>
                  <a:cubicBezTo>
                    <a:pt x="149" y="13"/>
                    <a:pt x="148" y="13"/>
                    <a:pt x="147" y="13"/>
                  </a:cubicBezTo>
                  <a:cubicBezTo>
                    <a:pt x="145" y="12"/>
                    <a:pt x="143" y="13"/>
                    <a:pt x="141" y="13"/>
                  </a:cubicBezTo>
                  <a:cubicBezTo>
                    <a:pt x="140" y="14"/>
                    <a:pt x="139" y="14"/>
                    <a:pt x="139" y="15"/>
                  </a:cubicBezTo>
                  <a:cubicBezTo>
                    <a:pt x="139" y="15"/>
                    <a:pt x="139" y="16"/>
                    <a:pt x="139" y="16"/>
                  </a:cubicBezTo>
                  <a:cubicBezTo>
                    <a:pt x="139" y="17"/>
                    <a:pt x="139" y="17"/>
                    <a:pt x="138" y="17"/>
                  </a:cubicBezTo>
                  <a:cubicBezTo>
                    <a:pt x="137" y="17"/>
                    <a:pt x="135" y="16"/>
                    <a:pt x="134" y="17"/>
                  </a:cubicBezTo>
                  <a:cubicBezTo>
                    <a:pt x="133" y="17"/>
                    <a:pt x="134" y="19"/>
                    <a:pt x="133" y="20"/>
                  </a:cubicBezTo>
                  <a:cubicBezTo>
                    <a:pt x="132" y="20"/>
                    <a:pt x="131" y="20"/>
                    <a:pt x="130" y="20"/>
                  </a:cubicBezTo>
                  <a:cubicBezTo>
                    <a:pt x="129" y="20"/>
                    <a:pt x="127" y="21"/>
                    <a:pt x="127" y="22"/>
                  </a:cubicBezTo>
                  <a:cubicBezTo>
                    <a:pt x="126" y="23"/>
                    <a:pt x="126" y="23"/>
                    <a:pt x="125" y="23"/>
                  </a:cubicBezTo>
                  <a:cubicBezTo>
                    <a:pt x="125" y="24"/>
                    <a:pt x="124" y="24"/>
                    <a:pt x="123" y="24"/>
                  </a:cubicBezTo>
                  <a:cubicBezTo>
                    <a:pt x="122" y="24"/>
                    <a:pt x="123" y="24"/>
                    <a:pt x="122" y="25"/>
                  </a:cubicBezTo>
                  <a:cubicBezTo>
                    <a:pt x="121" y="25"/>
                    <a:pt x="121" y="27"/>
                    <a:pt x="120" y="28"/>
                  </a:cubicBezTo>
                  <a:cubicBezTo>
                    <a:pt x="120" y="28"/>
                    <a:pt x="119" y="28"/>
                    <a:pt x="118" y="28"/>
                  </a:cubicBezTo>
                  <a:cubicBezTo>
                    <a:pt x="118" y="28"/>
                    <a:pt x="117" y="27"/>
                    <a:pt x="116" y="28"/>
                  </a:cubicBezTo>
                  <a:cubicBezTo>
                    <a:pt x="115" y="28"/>
                    <a:pt x="115" y="29"/>
                    <a:pt x="114" y="30"/>
                  </a:cubicBezTo>
                  <a:cubicBezTo>
                    <a:pt x="113" y="31"/>
                    <a:pt x="112" y="32"/>
                    <a:pt x="112" y="34"/>
                  </a:cubicBezTo>
                  <a:cubicBezTo>
                    <a:pt x="112" y="34"/>
                    <a:pt x="113" y="35"/>
                    <a:pt x="113" y="35"/>
                  </a:cubicBezTo>
                  <a:cubicBezTo>
                    <a:pt x="114" y="36"/>
                    <a:pt x="114" y="37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5" y="38"/>
                    <a:pt x="116" y="39"/>
                    <a:pt x="116" y="39"/>
                  </a:cubicBezTo>
                  <a:cubicBezTo>
                    <a:pt x="116" y="40"/>
                    <a:pt x="117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20" y="41"/>
                    <a:pt x="120" y="42"/>
                    <a:pt x="121" y="43"/>
                  </a:cubicBezTo>
                  <a:cubicBezTo>
                    <a:pt x="122" y="43"/>
                    <a:pt x="122" y="45"/>
                    <a:pt x="123" y="45"/>
                  </a:cubicBezTo>
                  <a:cubicBezTo>
                    <a:pt x="124" y="46"/>
                    <a:pt x="125" y="45"/>
                    <a:pt x="125" y="45"/>
                  </a:cubicBezTo>
                  <a:cubicBezTo>
                    <a:pt x="127" y="46"/>
                    <a:pt x="127" y="48"/>
                    <a:pt x="128" y="49"/>
                  </a:cubicBezTo>
                  <a:cubicBezTo>
                    <a:pt x="128" y="50"/>
                    <a:pt x="128" y="51"/>
                    <a:pt x="129" y="51"/>
                  </a:cubicBezTo>
                  <a:cubicBezTo>
                    <a:pt x="129" y="52"/>
                    <a:pt x="129" y="51"/>
                    <a:pt x="129" y="52"/>
                  </a:cubicBezTo>
                  <a:cubicBezTo>
                    <a:pt x="130" y="52"/>
                    <a:pt x="131" y="52"/>
                    <a:pt x="132" y="52"/>
                  </a:cubicBezTo>
                  <a:cubicBezTo>
                    <a:pt x="132" y="52"/>
                    <a:pt x="132" y="54"/>
                    <a:pt x="132" y="54"/>
                  </a:cubicBezTo>
                  <a:cubicBezTo>
                    <a:pt x="133" y="56"/>
                    <a:pt x="135" y="58"/>
                    <a:pt x="134" y="59"/>
                  </a:cubicBezTo>
                  <a:cubicBezTo>
                    <a:pt x="134" y="61"/>
                    <a:pt x="132" y="61"/>
                    <a:pt x="130" y="61"/>
                  </a:cubicBezTo>
                  <a:cubicBezTo>
                    <a:pt x="130" y="61"/>
                    <a:pt x="129" y="61"/>
                    <a:pt x="128" y="61"/>
                  </a:cubicBezTo>
                  <a:cubicBezTo>
                    <a:pt x="126" y="61"/>
                    <a:pt x="124" y="60"/>
                    <a:pt x="123" y="59"/>
                  </a:cubicBezTo>
                  <a:cubicBezTo>
                    <a:pt x="122" y="59"/>
                    <a:pt x="121" y="58"/>
                    <a:pt x="120" y="58"/>
                  </a:cubicBezTo>
                  <a:cubicBezTo>
                    <a:pt x="120" y="57"/>
                    <a:pt x="117" y="56"/>
                    <a:pt x="117" y="57"/>
                  </a:cubicBezTo>
                  <a:cubicBezTo>
                    <a:pt x="117" y="57"/>
                    <a:pt x="116" y="57"/>
                    <a:pt x="116" y="57"/>
                  </a:cubicBezTo>
                  <a:cubicBezTo>
                    <a:pt x="116" y="57"/>
                    <a:pt x="116" y="58"/>
                    <a:pt x="116" y="59"/>
                  </a:cubicBezTo>
                  <a:cubicBezTo>
                    <a:pt x="114" y="59"/>
                    <a:pt x="113" y="57"/>
                    <a:pt x="111" y="58"/>
                  </a:cubicBezTo>
                  <a:cubicBezTo>
                    <a:pt x="110" y="58"/>
                    <a:pt x="111" y="58"/>
                    <a:pt x="110" y="58"/>
                  </a:cubicBezTo>
                  <a:cubicBezTo>
                    <a:pt x="109" y="57"/>
                    <a:pt x="109" y="57"/>
                    <a:pt x="108" y="57"/>
                  </a:cubicBezTo>
                  <a:cubicBezTo>
                    <a:pt x="107" y="57"/>
                    <a:pt x="107" y="57"/>
                    <a:pt x="106" y="58"/>
                  </a:cubicBezTo>
                  <a:cubicBezTo>
                    <a:pt x="105" y="58"/>
                    <a:pt x="104" y="58"/>
                    <a:pt x="103" y="59"/>
                  </a:cubicBezTo>
                  <a:cubicBezTo>
                    <a:pt x="102" y="59"/>
                    <a:pt x="102" y="60"/>
                    <a:pt x="101" y="60"/>
                  </a:cubicBezTo>
                  <a:cubicBezTo>
                    <a:pt x="100" y="61"/>
                    <a:pt x="99" y="62"/>
                    <a:pt x="99" y="63"/>
                  </a:cubicBezTo>
                  <a:cubicBezTo>
                    <a:pt x="98" y="63"/>
                    <a:pt x="97" y="64"/>
                    <a:pt x="97" y="64"/>
                  </a:cubicBezTo>
                  <a:cubicBezTo>
                    <a:pt x="97" y="66"/>
                    <a:pt x="99" y="66"/>
                    <a:pt x="99" y="68"/>
                  </a:cubicBezTo>
                  <a:cubicBezTo>
                    <a:pt x="99" y="68"/>
                    <a:pt x="99" y="68"/>
                    <a:pt x="99" y="69"/>
                  </a:cubicBezTo>
                  <a:cubicBezTo>
                    <a:pt x="97" y="70"/>
                    <a:pt x="96" y="70"/>
                    <a:pt x="96" y="72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96" y="74"/>
                    <a:pt x="96" y="75"/>
                    <a:pt x="96" y="76"/>
                  </a:cubicBezTo>
                  <a:cubicBezTo>
                    <a:pt x="96" y="77"/>
                    <a:pt x="96" y="78"/>
                    <a:pt x="96" y="79"/>
                  </a:cubicBezTo>
                  <a:cubicBezTo>
                    <a:pt x="96" y="80"/>
                    <a:pt x="96" y="80"/>
                    <a:pt x="96" y="81"/>
                  </a:cubicBezTo>
                  <a:cubicBezTo>
                    <a:pt x="96" y="81"/>
                    <a:pt x="96" y="81"/>
                    <a:pt x="97" y="82"/>
                  </a:cubicBezTo>
                  <a:cubicBezTo>
                    <a:pt x="98" y="83"/>
                    <a:pt x="98" y="83"/>
                    <a:pt x="97" y="84"/>
                  </a:cubicBezTo>
                  <a:cubicBezTo>
                    <a:pt x="96" y="85"/>
                    <a:pt x="94" y="87"/>
                    <a:pt x="92" y="87"/>
                  </a:cubicBezTo>
                  <a:cubicBezTo>
                    <a:pt x="91" y="87"/>
                    <a:pt x="91" y="86"/>
                    <a:pt x="90" y="87"/>
                  </a:cubicBezTo>
                  <a:cubicBezTo>
                    <a:pt x="90" y="87"/>
                    <a:pt x="90" y="88"/>
                    <a:pt x="90" y="88"/>
                  </a:cubicBezTo>
                  <a:cubicBezTo>
                    <a:pt x="89" y="88"/>
                    <a:pt x="89" y="89"/>
                    <a:pt x="89" y="89"/>
                  </a:cubicBezTo>
                  <a:cubicBezTo>
                    <a:pt x="88" y="89"/>
                    <a:pt x="88" y="89"/>
                    <a:pt x="87" y="89"/>
                  </a:cubicBezTo>
                  <a:cubicBezTo>
                    <a:pt x="84" y="89"/>
                    <a:pt x="82" y="87"/>
                    <a:pt x="80" y="85"/>
                  </a:cubicBezTo>
                  <a:cubicBezTo>
                    <a:pt x="80" y="85"/>
                    <a:pt x="79" y="84"/>
                    <a:pt x="79" y="83"/>
                  </a:cubicBezTo>
                  <a:cubicBezTo>
                    <a:pt x="78" y="83"/>
                    <a:pt x="78" y="83"/>
                    <a:pt x="78" y="83"/>
                  </a:cubicBezTo>
                  <a:cubicBezTo>
                    <a:pt x="77" y="83"/>
                    <a:pt x="77" y="83"/>
                    <a:pt x="77" y="82"/>
                  </a:cubicBezTo>
                  <a:cubicBezTo>
                    <a:pt x="76" y="82"/>
                    <a:pt x="76" y="81"/>
                    <a:pt x="75" y="80"/>
                  </a:cubicBezTo>
                  <a:cubicBezTo>
                    <a:pt x="74" y="79"/>
                    <a:pt x="74" y="80"/>
                    <a:pt x="74" y="81"/>
                  </a:cubicBezTo>
                  <a:cubicBezTo>
                    <a:pt x="74" y="82"/>
                    <a:pt x="73" y="82"/>
                    <a:pt x="72" y="83"/>
                  </a:cubicBezTo>
                  <a:cubicBezTo>
                    <a:pt x="72" y="84"/>
                    <a:pt x="72" y="84"/>
                    <a:pt x="71" y="84"/>
                  </a:cubicBezTo>
                  <a:cubicBezTo>
                    <a:pt x="70" y="84"/>
                    <a:pt x="68" y="84"/>
                    <a:pt x="67" y="84"/>
                  </a:cubicBezTo>
                  <a:cubicBezTo>
                    <a:pt x="67" y="83"/>
                    <a:pt x="66" y="82"/>
                    <a:pt x="66" y="82"/>
                  </a:cubicBezTo>
                  <a:cubicBezTo>
                    <a:pt x="66" y="81"/>
                    <a:pt x="65" y="80"/>
                    <a:pt x="65" y="79"/>
                  </a:cubicBezTo>
                  <a:cubicBezTo>
                    <a:pt x="64" y="78"/>
                    <a:pt x="64" y="78"/>
                    <a:pt x="63" y="78"/>
                  </a:cubicBezTo>
                  <a:cubicBezTo>
                    <a:pt x="63" y="78"/>
                    <a:pt x="62" y="77"/>
                    <a:pt x="61" y="77"/>
                  </a:cubicBezTo>
                  <a:cubicBezTo>
                    <a:pt x="61" y="76"/>
                    <a:pt x="60" y="75"/>
                    <a:pt x="59" y="75"/>
                  </a:cubicBezTo>
                  <a:cubicBezTo>
                    <a:pt x="58" y="74"/>
                    <a:pt x="57" y="74"/>
                    <a:pt x="56" y="73"/>
                  </a:cubicBezTo>
                  <a:cubicBezTo>
                    <a:pt x="55" y="72"/>
                    <a:pt x="56" y="71"/>
                    <a:pt x="55" y="71"/>
                  </a:cubicBezTo>
                  <a:cubicBezTo>
                    <a:pt x="55" y="71"/>
                    <a:pt x="55" y="72"/>
                    <a:pt x="55" y="72"/>
                  </a:cubicBezTo>
                  <a:cubicBezTo>
                    <a:pt x="54" y="73"/>
                    <a:pt x="54" y="73"/>
                    <a:pt x="53" y="74"/>
                  </a:cubicBezTo>
                  <a:cubicBezTo>
                    <a:pt x="53" y="75"/>
                    <a:pt x="52" y="76"/>
                    <a:pt x="53" y="77"/>
                  </a:cubicBezTo>
                  <a:cubicBezTo>
                    <a:pt x="53" y="77"/>
                    <a:pt x="53" y="78"/>
                    <a:pt x="53" y="78"/>
                  </a:cubicBezTo>
                  <a:cubicBezTo>
                    <a:pt x="54" y="78"/>
                    <a:pt x="54" y="78"/>
                    <a:pt x="54" y="79"/>
                  </a:cubicBezTo>
                  <a:cubicBezTo>
                    <a:pt x="54" y="80"/>
                    <a:pt x="55" y="81"/>
                    <a:pt x="55" y="82"/>
                  </a:cubicBezTo>
                  <a:cubicBezTo>
                    <a:pt x="56" y="82"/>
                    <a:pt x="56" y="83"/>
                    <a:pt x="57" y="84"/>
                  </a:cubicBezTo>
                  <a:cubicBezTo>
                    <a:pt x="58" y="84"/>
                    <a:pt x="58" y="85"/>
                    <a:pt x="58" y="86"/>
                  </a:cubicBezTo>
                  <a:cubicBezTo>
                    <a:pt x="57" y="87"/>
                    <a:pt x="54" y="89"/>
                    <a:pt x="53" y="89"/>
                  </a:cubicBezTo>
                  <a:cubicBezTo>
                    <a:pt x="52" y="89"/>
                    <a:pt x="51" y="88"/>
                    <a:pt x="50" y="88"/>
                  </a:cubicBezTo>
                  <a:cubicBezTo>
                    <a:pt x="50" y="89"/>
                    <a:pt x="50" y="89"/>
                    <a:pt x="49" y="90"/>
                  </a:cubicBezTo>
                  <a:cubicBezTo>
                    <a:pt x="49" y="90"/>
                    <a:pt x="49" y="90"/>
                    <a:pt x="48" y="90"/>
                  </a:cubicBezTo>
                  <a:cubicBezTo>
                    <a:pt x="48" y="90"/>
                    <a:pt x="47" y="90"/>
                    <a:pt x="47" y="90"/>
                  </a:cubicBezTo>
                  <a:cubicBezTo>
                    <a:pt x="47" y="90"/>
                    <a:pt x="46" y="90"/>
                    <a:pt x="46" y="89"/>
                  </a:cubicBezTo>
                  <a:cubicBezTo>
                    <a:pt x="45" y="89"/>
                    <a:pt x="44" y="88"/>
                    <a:pt x="43" y="88"/>
                  </a:cubicBezTo>
                  <a:cubicBezTo>
                    <a:pt x="42" y="87"/>
                    <a:pt x="41" y="87"/>
                    <a:pt x="40" y="86"/>
                  </a:cubicBezTo>
                  <a:cubicBezTo>
                    <a:pt x="39" y="86"/>
                    <a:pt x="39" y="85"/>
                    <a:pt x="38" y="84"/>
                  </a:cubicBezTo>
                  <a:cubicBezTo>
                    <a:pt x="36" y="83"/>
                    <a:pt x="34" y="84"/>
                    <a:pt x="32" y="83"/>
                  </a:cubicBezTo>
                  <a:cubicBezTo>
                    <a:pt x="32" y="83"/>
                    <a:pt x="32" y="83"/>
                    <a:pt x="32" y="83"/>
                  </a:cubicBezTo>
                  <a:cubicBezTo>
                    <a:pt x="31" y="83"/>
                    <a:pt x="31" y="83"/>
                    <a:pt x="30" y="83"/>
                  </a:cubicBezTo>
                  <a:cubicBezTo>
                    <a:pt x="29" y="82"/>
                    <a:pt x="29" y="82"/>
                    <a:pt x="28" y="82"/>
                  </a:cubicBezTo>
                  <a:cubicBezTo>
                    <a:pt x="28" y="81"/>
                    <a:pt x="27" y="82"/>
                    <a:pt x="27" y="82"/>
                  </a:cubicBezTo>
                  <a:cubicBezTo>
                    <a:pt x="26" y="82"/>
                    <a:pt x="24" y="84"/>
                    <a:pt x="24" y="85"/>
                  </a:cubicBezTo>
                  <a:cubicBezTo>
                    <a:pt x="23" y="85"/>
                    <a:pt x="23" y="85"/>
                    <a:pt x="23" y="86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2" y="87"/>
                    <a:pt x="21" y="89"/>
                    <a:pt x="19" y="89"/>
                  </a:cubicBezTo>
                  <a:cubicBezTo>
                    <a:pt x="19" y="89"/>
                    <a:pt x="18" y="88"/>
                    <a:pt x="18" y="88"/>
                  </a:cubicBezTo>
                  <a:cubicBezTo>
                    <a:pt x="17" y="87"/>
                    <a:pt x="16" y="87"/>
                    <a:pt x="15" y="87"/>
                  </a:cubicBezTo>
                  <a:cubicBezTo>
                    <a:pt x="14" y="87"/>
                    <a:pt x="13" y="87"/>
                    <a:pt x="12" y="87"/>
                  </a:cubicBezTo>
                  <a:cubicBezTo>
                    <a:pt x="12" y="87"/>
                    <a:pt x="11" y="87"/>
                    <a:pt x="10" y="86"/>
                  </a:cubicBezTo>
                  <a:cubicBezTo>
                    <a:pt x="10" y="86"/>
                    <a:pt x="9" y="86"/>
                    <a:pt x="8" y="86"/>
                  </a:cubicBezTo>
                  <a:cubicBezTo>
                    <a:pt x="8" y="85"/>
                    <a:pt x="7" y="84"/>
                    <a:pt x="7" y="83"/>
                  </a:cubicBezTo>
                  <a:cubicBezTo>
                    <a:pt x="6" y="83"/>
                    <a:pt x="7" y="83"/>
                    <a:pt x="6" y="82"/>
                  </a:cubicBezTo>
                  <a:cubicBezTo>
                    <a:pt x="6" y="82"/>
                    <a:pt x="6" y="82"/>
                    <a:pt x="5" y="82"/>
                  </a:cubicBezTo>
                  <a:cubicBezTo>
                    <a:pt x="5" y="81"/>
                    <a:pt x="5" y="80"/>
                    <a:pt x="4" y="80"/>
                  </a:cubicBezTo>
                  <a:cubicBezTo>
                    <a:pt x="5" y="80"/>
                    <a:pt x="6" y="79"/>
                    <a:pt x="6" y="79"/>
                  </a:cubicBezTo>
                  <a:cubicBezTo>
                    <a:pt x="5" y="79"/>
                    <a:pt x="4" y="79"/>
                    <a:pt x="4" y="80"/>
                  </a:cubicBezTo>
                  <a:cubicBezTo>
                    <a:pt x="3" y="80"/>
                    <a:pt x="3" y="81"/>
                    <a:pt x="2" y="81"/>
                  </a:cubicBezTo>
                  <a:cubicBezTo>
                    <a:pt x="2" y="82"/>
                    <a:pt x="2" y="82"/>
                    <a:pt x="2" y="83"/>
                  </a:cubicBezTo>
                  <a:cubicBezTo>
                    <a:pt x="2" y="85"/>
                    <a:pt x="1" y="85"/>
                    <a:pt x="1" y="87"/>
                  </a:cubicBezTo>
                  <a:cubicBezTo>
                    <a:pt x="0" y="89"/>
                    <a:pt x="0" y="93"/>
                    <a:pt x="2" y="93"/>
                  </a:cubicBezTo>
                  <a:cubicBezTo>
                    <a:pt x="3" y="94"/>
                    <a:pt x="2" y="96"/>
                    <a:pt x="3" y="98"/>
                  </a:cubicBezTo>
                  <a:cubicBezTo>
                    <a:pt x="3" y="99"/>
                    <a:pt x="4" y="100"/>
                    <a:pt x="4" y="101"/>
                  </a:cubicBezTo>
                  <a:cubicBezTo>
                    <a:pt x="4" y="105"/>
                    <a:pt x="3" y="107"/>
                    <a:pt x="1" y="110"/>
                  </a:cubicBezTo>
                  <a:cubicBezTo>
                    <a:pt x="0" y="112"/>
                    <a:pt x="2" y="113"/>
                    <a:pt x="4" y="114"/>
                  </a:cubicBezTo>
                  <a:cubicBezTo>
                    <a:pt x="8" y="119"/>
                    <a:pt x="13" y="121"/>
                    <a:pt x="16" y="127"/>
                  </a:cubicBezTo>
                  <a:cubicBezTo>
                    <a:pt x="18" y="129"/>
                    <a:pt x="19" y="131"/>
                    <a:pt x="19" y="133"/>
                  </a:cubicBezTo>
                  <a:cubicBezTo>
                    <a:pt x="20" y="134"/>
                    <a:pt x="20" y="137"/>
                    <a:pt x="20" y="137"/>
                  </a:cubicBezTo>
                  <a:cubicBezTo>
                    <a:pt x="21" y="137"/>
                    <a:pt x="23" y="137"/>
                    <a:pt x="24" y="137"/>
                  </a:cubicBezTo>
                  <a:cubicBezTo>
                    <a:pt x="24" y="136"/>
                    <a:pt x="23" y="136"/>
                    <a:pt x="23" y="136"/>
                  </a:cubicBezTo>
                  <a:cubicBezTo>
                    <a:pt x="23" y="135"/>
                    <a:pt x="23" y="135"/>
                    <a:pt x="23" y="134"/>
                  </a:cubicBezTo>
                  <a:cubicBezTo>
                    <a:pt x="22" y="132"/>
                    <a:pt x="23" y="132"/>
                    <a:pt x="25" y="131"/>
                  </a:cubicBezTo>
                  <a:cubicBezTo>
                    <a:pt x="26" y="129"/>
                    <a:pt x="27" y="128"/>
                    <a:pt x="27" y="126"/>
                  </a:cubicBezTo>
                  <a:cubicBezTo>
                    <a:pt x="28" y="125"/>
                    <a:pt x="28" y="123"/>
                    <a:pt x="30" y="124"/>
                  </a:cubicBezTo>
                  <a:cubicBezTo>
                    <a:pt x="30" y="125"/>
                    <a:pt x="30" y="128"/>
                    <a:pt x="32" y="128"/>
                  </a:cubicBezTo>
                  <a:cubicBezTo>
                    <a:pt x="33" y="127"/>
                    <a:pt x="32" y="126"/>
                    <a:pt x="32" y="125"/>
                  </a:cubicBezTo>
                  <a:cubicBezTo>
                    <a:pt x="31" y="122"/>
                    <a:pt x="33" y="118"/>
                    <a:pt x="34" y="115"/>
                  </a:cubicBezTo>
                  <a:cubicBezTo>
                    <a:pt x="35" y="113"/>
                    <a:pt x="36" y="111"/>
                    <a:pt x="37" y="109"/>
                  </a:cubicBezTo>
                  <a:cubicBezTo>
                    <a:pt x="39" y="106"/>
                    <a:pt x="41" y="104"/>
                    <a:pt x="42" y="101"/>
                  </a:cubicBezTo>
                  <a:cubicBezTo>
                    <a:pt x="44" y="98"/>
                    <a:pt x="45" y="96"/>
                    <a:pt x="48" y="96"/>
                  </a:cubicBezTo>
                  <a:cubicBezTo>
                    <a:pt x="48" y="97"/>
                    <a:pt x="47" y="98"/>
                    <a:pt x="47" y="99"/>
                  </a:cubicBezTo>
                  <a:cubicBezTo>
                    <a:pt x="47" y="101"/>
                    <a:pt x="49" y="101"/>
                    <a:pt x="50" y="102"/>
                  </a:cubicBezTo>
                  <a:cubicBezTo>
                    <a:pt x="52" y="103"/>
                    <a:pt x="54" y="104"/>
                    <a:pt x="54" y="106"/>
                  </a:cubicBezTo>
                  <a:cubicBezTo>
                    <a:pt x="54" y="107"/>
                    <a:pt x="54" y="108"/>
                    <a:pt x="54" y="109"/>
                  </a:cubicBezTo>
                  <a:cubicBezTo>
                    <a:pt x="54" y="109"/>
                    <a:pt x="52" y="111"/>
                    <a:pt x="52" y="112"/>
                  </a:cubicBezTo>
                  <a:cubicBezTo>
                    <a:pt x="52" y="112"/>
                    <a:pt x="51" y="113"/>
                    <a:pt x="51" y="114"/>
                  </a:cubicBezTo>
                  <a:cubicBezTo>
                    <a:pt x="50" y="115"/>
                    <a:pt x="50" y="115"/>
                    <a:pt x="49" y="116"/>
                  </a:cubicBezTo>
                  <a:cubicBezTo>
                    <a:pt x="48" y="119"/>
                    <a:pt x="50" y="119"/>
                    <a:pt x="53" y="121"/>
                  </a:cubicBezTo>
                  <a:cubicBezTo>
                    <a:pt x="55" y="122"/>
                    <a:pt x="57" y="123"/>
                    <a:pt x="59" y="123"/>
                  </a:cubicBezTo>
                  <a:cubicBezTo>
                    <a:pt x="61" y="124"/>
                    <a:pt x="63" y="125"/>
                    <a:pt x="64" y="125"/>
                  </a:cubicBezTo>
                  <a:cubicBezTo>
                    <a:pt x="65" y="124"/>
                    <a:pt x="65" y="123"/>
                    <a:pt x="67" y="122"/>
                  </a:cubicBezTo>
                  <a:cubicBezTo>
                    <a:pt x="68" y="122"/>
                    <a:pt x="70" y="122"/>
                    <a:pt x="71" y="123"/>
                  </a:cubicBezTo>
                  <a:cubicBezTo>
                    <a:pt x="72" y="123"/>
                    <a:pt x="72" y="123"/>
                    <a:pt x="72" y="124"/>
                  </a:cubicBezTo>
                  <a:cubicBezTo>
                    <a:pt x="72" y="124"/>
                    <a:pt x="72" y="124"/>
                    <a:pt x="73" y="124"/>
                  </a:cubicBezTo>
                  <a:cubicBezTo>
                    <a:pt x="73" y="125"/>
                    <a:pt x="73" y="124"/>
                    <a:pt x="73" y="125"/>
                  </a:cubicBezTo>
                  <a:cubicBezTo>
                    <a:pt x="74" y="128"/>
                    <a:pt x="70" y="129"/>
                    <a:pt x="70" y="130"/>
                  </a:cubicBezTo>
                  <a:cubicBezTo>
                    <a:pt x="70" y="131"/>
                    <a:pt x="71" y="132"/>
                    <a:pt x="71" y="133"/>
                  </a:cubicBezTo>
                  <a:cubicBezTo>
                    <a:pt x="71" y="134"/>
                    <a:pt x="71" y="136"/>
                    <a:pt x="71" y="137"/>
                  </a:cubicBezTo>
                  <a:cubicBezTo>
                    <a:pt x="71" y="138"/>
                    <a:pt x="70" y="139"/>
                    <a:pt x="70" y="140"/>
                  </a:cubicBezTo>
                  <a:cubicBezTo>
                    <a:pt x="70" y="141"/>
                    <a:pt x="71" y="143"/>
                    <a:pt x="72" y="144"/>
                  </a:cubicBezTo>
                  <a:cubicBezTo>
                    <a:pt x="72" y="146"/>
                    <a:pt x="73" y="148"/>
                    <a:pt x="74" y="150"/>
                  </a:cubicBezTo>
                  <a:cubicBezTo>
                    <a:pt x="74" y="150"/>
                    <a:pt x="75" y="150"/>
                    <a:pt x="75" y="151"/>
                  </a:cubicBezTo>
                  <a:cubicBezTo>
                    <a:pt x="75" y="151"/>
                    <a:pt x="75" y="152"/>
                    <a:pt x="76" y="153"/>
                  </a:cubicBezTo>
                  <a:cubicBezTo>
                    <a:pt x="77" y="157"/>
                    <a:pt x="80" y="160"/>
                    <a:pt x="82" y="163"/>
                  </a:cubicBezTo>
                  <a:cubicBezTo>
                    <a:pt x="83" y="165"/>
                    <a:pt x="84" y="166"/>
                    <a:pt x="85" y="167"/>
                  </a:cubicBezTo>
                  <a:cubicBezTo>
                    <a:pt x="86" y="168"/>
                    <a:pt x="89" y="169"/>
                    <a:pt x="90" y="172"/>
                  </a:cubicBezTo>
                  <a:cubicBezTo>
                    <a:pt x="90" y="173"/>
                    <a:pt x="89" y="174"/>
                    <a:pt x="90" y="175"/>
                  </a:cubicBezTo>
                  <a:cubicBezTo>
                    <a:pt x="90" y="176"/>
                    <a:pt x="94" y="177"/>
                    <a:pt x="93" y="179"/>
                  </a:cubicBezTo>
                  <a:cubicBezTo>
                    <a:pt x="93" y="180"/>
                    <a:pt x="92" y="180"/>
                    <a:pt x="92" y="181"/>
                  </a:cubicBezTo>
                  <a:cubicBezTo>
                    <a:pt x="91" y="181"/>
                    <a:pt x="92" y="182"/>
                    <a:pt x="91" y="182"/>
                  </a:cubicBezTo>
                  <a:cubicBezTo>
                    <a:pt x="90" y="184"/>
                    <a:pt x="87" y="183"/>
                    <a:pt x="85" y="184"/>
                  </a:cubicBezTo>
                  <a:cubicBezTo>
                    <a:pt x="82" y="186"/>
                    <a:pt x="85" y="189"/>
                    <a:pt x="86" y="190"/>
                  </a:cubicBezTo>
                  <a:cubicBezTo>
                    <a:pt x="88" y="193"/>
                    <a:pt x="90" y="197"/>
                    <a:pt x="92" y="200"/>
                  </a:cubicBezTo>
                  <a:cubicBezTo>
                    <a:pt x="93" y="201"/>
                    <a:pt x="94" y="202"/>
                    <a:pt x="95" y="203"/>
                  </a:cubicBezTo>
                  <a:cubicBezTo>
                    <a:pt x="96" y="203"/>
                    <a:pt x="96" y="204"/>
                    <a:pt x="97" y="205"/>
                  </a:cubicBezTo>
                  <a:cubicBezTo>
                    <a:pt x="98" y="206"/>
                    <a:pt x="98" y="207"/>
                    <a:pt x="99" y="208"/>
                  </a:cubicBezTo>
                  <a:cubicBezTo>
                    <a:pt x="99" y="209"/>
                    <a:pt x="99" y="211"/>
                    <a:pt x="100" y="212"/>
                  </a:cubicBezTo>
                  <a:cubicBezTo>
                    <a:pt x="101" y="212"/>
                    <a:pt x="103" y="212"/>
                    <a:pt x="103" y="212"/>
                  </a:cubicBezTo>
                  <a:cubicBezTo>
                    <a:pt x="104" y="213"/>
                    <a:pt x="103" y="214"/>
                    <a:pt x="104" y="215"/>
                  </a:cubicBezTo>
                  <a:cubicBezTo>
                    <a:pt x="104" y="215"/>
                    <a:pt x="105" y="216"/>
                    <a:pt x="106" y="217"/>
                  </a:cubicBezTo>
                  <a:cubicBezTo>
                    <a:pt x="107" y="219"/>
                    <a:pt x="111" y="220"/>
                    <a:pt x="111" y="222"/>
                  </a:cubicBezTo>
                  <a:cubicBezTo>
                    <a:pt x="112" y="223"/>
                    <a:pt x="111" y="224"/>
                    <a:pt x="112" y="225"/>
                  </a:cubicBezTo>
                  <a:cubicBezTo>
                    <a:pt x="113" y="226"/>
                    <a:pt x="114" y="226"/>
                    <a:pt x="115" y="227"/>
                  </a:cubicBezTo>
                  <a:cubicBezTo>
                    <a:pt x="116" y="228"/>
                    <a:pt x="116" y="228"/>
                    <a:pt x="117" y="228"/>
                  </a:cubicBezTo>
                  <a:cubicBezTo>
                    <a:pt x="117" y="229"/>
                    <a:pt x="118" y="229"/>
                    <a:pt x="118" y="230"/>
                  </a:cubicBezTo>
                  <a:cubicBezTo>
                    <a:pt x="119" y="232"/>
                    <a:pt x="119" y="233"/>
                    <a:pt x="119" y="235"/>
                  </a:cubicBezTo>
                  <a:cubicBezTo>
                    <a:pt x="119" y="236"/>
                    <a:pt x="119" y="237"/>
                    <a:pt x="120" y="238"/>
                  </a:cubicBezTo>
                  <a:cubicBezTo>
                    <a:pt x="120" y="240"/>
                    <a:pt x="122" y="240"/>
                    <a:pt x="123" y="240"/>
                  </a:cubicBezTo>
                  <a:cubicBezTo>
                    <a:pt x="125" y="240"/>
                    <a:pt x="126" y="240"/>
                    <a:pt x="127" y="241"/>
                  </a:cubicBezTo>
                  <a:cubicBezTo>
                    <a:pt x="128" y="241"/>
                    <a:pt x="128" y="242"/>
                    <a:pt x="128" y="242"/>
                  </a:cubicBezTo>
                  <a:cubicBezTo>
                    <a:pt x="129" y="242"/>
                    <a:pt x="131" y="242"/>
                    <a:pt x="133" y="242"/>
                  </a:cubicBezTo>
                  <a:cubicBezTo>
                    <a:pt x="133" y="242"/>
                    <a:pt x="134" y="242"/>
                    <a:pt x="134" y="242"/>
                  </a:cubicBezTo>
                  <a:cubicBezTo>
                    <a:pt x="135" y="242"/>
                    <a:pt x="135" y="241"/>
                    <a:pt x="136" y="241"/>
                  </a:cubicBezTo>
                  <a:cubicBezTo>
                    <a:pt x="137" y="241"/>
                    <a:pt x="138" y="241"/>
                    <a:pt x="139" y="241"/>
                  </a:cubicBezTo>
                  <a:cubicBezTo>
                    <a:pt x="142" y="241"/>
                    <a:pt x="144" y="239"/>
                    <a:pt x="146" y="240"/>
                  </a:cubicBezTo>
                  <a:cubicBezTo>
                    <a:pt x="148" y="241"/>
                    <a:pt x="149" y="241"/>
                    <a:pt x="150" y="242"/>
                  </a:cubicBezTo>
                  <a:cubicBezTo>
                    <a:pt x="152" y="243"/>
                    <a:pt x="153" y="243"/>
                    <a:pt x="155" y="244"/>
                  </a:cubicBezTo>
                  <a:cubicBezTo>
                    <a:pt x="156" y="245"/>
                    <a:pt x="156" y="245"/>
                    <a:pt x="157" y="246"/>
                  </a:cubicBezTo>
                  <a:cubicBezTo>
                    <a:pt x="159" y="248"/>
                    <a:pt x="160" y="249"/>
                    <a:pt x="163" y="251"/>
                  </a:cubicBezTo>
                  <a:cubicBezTo>
                    <a:pt x="166" y="253"/>
                    <a:pt x="169" y="253"/>
                    <a:pt x="171" y="254"/>
                  </a:cubicBezTo>
                  <a:cubicBezTo>
                    <a:pt x="173" y="255"/>
                    <a:pt x="174" y="257"/>
                    <a:pt x="176" y="259"/>
                  </a:cubicBezTo>
                  <a:cubicBezTo>
                    <a:pt x="178" y="263"/>
                    <a:pt x="182" y="265"/>
                    <a:pt x="185" y="269"/>
                  </a:cubicBezTo>
                  <a:cubicBezTo>
                    <a:pt x="187" y="271"/>
                    <a:pt x="188" y="273"/>
                    <a:pt x="190" y="275"/>
                  </a:cubicBezTo>
                  <a:cubicBezTo>
                    <a:pt x="194" y="278"/>
                    <a:pt x="198" y="282"/>
                    <a:pt x="200" y="287"/>
                  </a:cubicBezTo>
                  <a:cubicBezTo>
                    <a:pt x="201" y="288"/>
                    <a:pt x="202" y="291"/>
                    <a:pt x="204" y="291"/>
                  </a:cubicBezTo>
                  <a:cubicBezTo>
                    <a:pt x="205" y="291"/>
                    <a:pt x="209" y="291"/>
                    <a:pt x="210" y="290"/>
                  </a:cubicBezTo>
                  <a:cubicBezTo>
                    <a:pt x="209" y="290"/>
                    <a:pt x="209" y="289"/>
                    <a:pt x="209" y="289"/>
                  </a:cubicBezTo>
                  <a:cubicBezTo>
                    <a:pt x="209" y="289"/>
                    <a:pt x="208" y="288"/>
                    <a:pt x="208" y="288"/>
                  </a:cubicBezTo>
                  <a:cubicBezTo>
                    <a:pt x="207" y="287"/>
                    <a:pt x="208" y="286"/>
                    <a:pt x="207" y="285"/>
                  </a:cubicBezTo>
                  <a:cubicBezTo>
                    <a:pt x="207" y="283"/>
                    <a:pt x="204" y="281"/>
                    <a:pt x="202" y="278"/>
                  </a:cubicBezTo>
                  <a:cubicBezTo>
                    <a:pt x="202" y="277"/>
                    <a:pt x="202" y="276"/>
                    <a:pt x="201" y="276"/>
                  </a:cubicBezTo>
                  <a:cubicBezTo>
                    <a:pt x="200" y="275"/>
                    <a:pt x="196" y="275"/>
                    <a:pt x="195" y="274"/>
                  </a:cubicBezTo>
                  <a:cubicBezTo>
                    <a:pt x="195" y="273"/>
                    <a:pt x="196" y="272"/>
                    <a:pt x="197" y="271"/>
                  </a:cubicBezTo>
                  <a:cubicBezTo>
                    <a:pt x="197" y="270"/>
                    <a:pt x="197" y="269"/>
                    <a:pt x="197" y="268"/>
                  </a:cubicBezTo>
                  <a:cubicBezTo>
                    <a:pt x="197" y="267"/>
                    <a:pt x="197" y="266"/>
                    <a:pt x="197" y="265"/>
                  </a:cubicBezTo>
                  <a:cubicBezTo>
                    <a:pt x="197" y="265"/>
                    <a:pt x="196" y="265"/>
                    <a:pt x="195" y="264"/>
                  </a:cubicBezTo>
                  <a:cubicBezTo>
                    <a:pt x="195" y="264"/>
                    <a:pt x="195" y="264"/>
                    <a:pt x="195" y="263"/>
                  </a:cubicBezTo>
                  <a:cubicBezTo>
                    <a:pt x="195" y="263"/>
                    <a:pt x="195" y="262"/>
                    <a:pt x="194" y="261"/>
                  </a:cubicBezTo>
                  <a:cubicBezTo>
                    <a:pt x="194" y="261"/>
                    <a:pt x="193" y="260"/>
                    <a:pt x="193" y="260"/>
                  </a:cubicBezTo>
                  <a:cubicBezTo>
                    <a:pt x="193" y="259"/>
                    <a:pt x="193" y="258"/>
                    <a:pt x="193" y="258"/>
                  </a:cubicBezTo>
                  <a:cubicBezTo>
                    <a:pt x="192" y="256"/>
                    <a:pt x="192" y="255"/>
                    <a:pt x="192" y="253"/>
                  </a:cubicBezTo>
                  <a:cubicBezTo>
                    <a:pt x="192" y="252"/>
                    <a:pt x="192" y="251"/>
                    <a:pt x="192" y="250"/>
                  </a:cubicBezTo>
                  <a:cubicBezTo>
                    <a:pt x="192" y="249"/>
                    <a:pt x="192" y="248"/>
                    <a:pt x="191" y="247"/>
                  </a:cubicBezTo>
                  <a:cubicBezTo>
                    <a:pt x="191" y="246"/>
                    <a:pt x="189" y="246"/>
                    <a:pt x="188" y="245"/>
                  </a:cubicBezTo>
                  <a:cubicBezTo>
                    <a:pt x="185" y="242"/>
                    <a:pt x="182" y="239"/>
                    <a:pt x="179" y="237"/>
                  </a:cubicBezTo>
                  <a:cubicBezTo>
                    <a:pt x="179" y="236"/>
                    <a:pt x="178" y="235"/>
                    <a:pt x="178" y="234"/>
                  </a:cubicBezTo>
                  <a:cubicBezTo>
                    <a:pt x="177" y="233"/>
                    <a:pt x="176" y="232"/>
                    <a:pt x="174" y="231"/>
                  </a:cubicBezTo>
                  <a:cubicBezTo>
                    <a:pt x="172" y="229"/>
                    <a:pt x="171" y="226"/>
                    <a:pt x="169" y="224"/>
                  </a:cubicBezTo>
                  <a:cubicBezTo>
                    <a:pt x="169" y="223"/>
                    <a:pt x="168" y="222"/>
                    <a:pt x="167" y="221"/>
                  </a:cubicBezTo>
                  <a:cubicBezTo>
                    <a:pt x="166" y="220"/>
                    <a:pt x="165" y="219"/>
                    <a:pt x="165" y="219"/>
                  </a:cubicBezTo>
                  <a:cubicBezTo>
                    <a:pt x="164" y="218"/>
                    <a:pt x="163" y="215"/>
                    <a:pt x="163" y="214"/>
                  </a:cubicBezTo>
                  <a:cubicBezTo>
                    <a:pt x="161" y="210"/>
                    <a:pt x="159" y="207"/>
                    <a:pt x="155" y="206"/>
                  </a:cubicBezTo>
                  <a:cubicBezTo>
                    <a:pt x="151" y="205"/>
                    <a:pt x="147" y="202"/>
                    <a:pt x="144" y="199"/>
                  </a:cubicBezTo>
                  <a:cubicBezTo>
                    <a:pt x="143" y="198"/>
                    <a:pt x="142" y="197"/>
                    <a:pt x="142" y="196"/>
                  </a:cubicBezTo>
                  <a:cubicBezTo>
                    <a:pt x="142" y="195"/>
                    <a:pt x="142" y="194"/>
                    <a:pt x="142" y="193"/>
                  </a:cubicBezTo>
                  <a:cubicBezTo>
                    <a:pt x="141" y="191"/>
                    <a:pt x="141" y="189"/>
                    <a:pt x="140" y="188"/>
                  </a:cubicBezTo>
                  <a:cubicBezTo>
                    <a:pt x="139" y="186"/>
                    <a:pt x="137" y="184"/>
                    <a:pt x="137" y="182"/>
                  </a:cubicBezTo>
                  <a:cubicBezTo>
                    <a:pt x="137" y="181"/>
                    <a:pt x="137" y="180"/>
                    <a:pt x="137" y="179"/>
                  </a:cubicBezTo>
                  <a:cubicBezTo>
                    <a:pt x="136" y="178"/>
                    <a:pt x="135" y="178"/>
                    <a:pt x="135" y="177"/>
                  </a:cubicBezTo>
                  <a:cubicBezTo>
                    <a:pt x="135" y="177"/>
                    <a:pt x="135" y="176"/>
                    <a:pt x="135" y="175"/>
                  </a:cubicBezTo>
                  <a:cubicBezTo>
                    <a:pt x="135" y="172"/>
                    <a:pt x="135" y="169"/>
                    <a:pt x="135" y="165"/>
                  </a:cubicBezTo>
                  <a:cubicBezTo>
                    <a:pt x="135" y="165"/>
                    <a:pt x="135" y="164"/>
                    <a:pt x="135" y="163"/>
                  </a:cubicBezTo>
                  <a:cubicBezTo>
                    <a:pt x="135" y="163"/>
                    <a:pt x="134" y="162"/>
                    <a:pt x="134" y="162"/>
                  </a:cubicBezTo>
                  <a:cubicBezTo>
                    <a:pt x="134" y="161"/>
                    <a:pt x="134" y="160"/>
                    <a:pt x="134" y="160"/>
                  </a:cubicBezTo>
                  <a:cubicBezTo>
                    <a:pt x="134" y="157"/>
                    <a:pt x="134" y="155"/>
                    <a:pt x="133" y="153"/>
                  </a:cubicBezTo>
                  <a:cubicBezTo>
                    <a:pt x="132" y="152"/>
                    <a:pt x="132" y="151"/>
                    <a:pt x="131" y="151"/>
                  </a:cubicBezTo>
                  <a:cubicBezTo>
                    <a:pt x="131" y="151"/>
                    <a:pt x="130" y="151"/>
                    <a:pt x="130" y="151"/>
                  </a:cubicBezTo>
                  <a:cubicBezTo>
                    <a:pt x="127" y="151"/>
                    <a:pt x="125" y="147"/>
                    <a:pt x="123" y="145"/>
                  </a:cubicBezTo>
                  <a:cubicBezTo>
                    <a:pt x="123" y="145"/>
                    <a:pt x="122" y="144"/>
                    <a:pt x="122" y="144"/>
                  </a:cubicBezTo>
                  <a:cubicBezTo>
                    <a:pt x="122" y="143"/>
                    <a:pt x="121" y="143"/>
                    <a:pt x="121" y="142"/>
                  </a:cubicBezTo>
                  <a:cubicBezTo>
                    <a:pt x="120" y="141"/>
                    <a:pt x="119" y="140"/>
                    <a:pt x="119" y="139"/>
                  </a:cubicBezTo>
                  <a:cubicBezTo>
                    <a:pt x="118" y="137"/>
                    <a:pt x="118" y="136"/>
                    <a:pt x="118" y="134"/>
                  </a:cubicBezTo>
                  <a:cubicBezTo>
                    <a:pt x="118" y="133"/>
                    <a:pt x="117" y="133"/>
                    <a:pt x="117" y="132"/>
                  </a:cubicBezTo>
                  <a:cubicBezTo>
                    <a:pt x="116" y="129"/>
                    <a:pt x="117" y="126"/>
                    <a:pt x="118" y="124"/>
                  </a:cubicBezTo>
                  <a:cubicBezTo>
                    <a:pt x="119" y="120"/>
                    <a:pt x="118" y="116"/>
                    <a:pt x="118" y="112"/>
                  </a:cubicBezTo>
                  <a:cubicBezTo>
                    <a:pt x="118" y="109"/>
                    <a:pt x="121" y="106"/>
                    <a:pt x="125" y="105"/>
                  </a:cubicBezTo>
                  <a:cubicBezTo>
                    <a:pt x="126" y="105"/>
                    <a:pt x="128" y="106"/>
                    <a:pt x="129" y="106"/>
                  </a:cubicBezTo>
                  <a:cubicBezTo>
                    <a:pt x="131" y="106"/>
                    <a:pt x="132" y="106"/>
                    <a:pt x="133" y="107"/>
                  </a:cubicBezTo>
                  <a:cubicBezTo>
                    <a:pt x="134" y="108"/>
                    <a:pt x="134" y="109"/>
                    <a:pt x="135" y="110"/>
                  </a:cubicBezTo>
                  <a:cubicBezTo>
                    <a:pt x="136" y="112"/>
                    <a:pt x="136" y="113"/>
                    <a:pt x="137" y="114"/>
                  </a:cubicBezTo>
                  <a:cubicBezTo>
                    <a:pt x="138" y="116"/>
                    <a:pt x="140" y="117"/>
                    <a:pt x="141" y="119"/>
                  </a:cubicBezTo>
                  <a:cubicBezTo>
                    <a:pt x="142" y="122"/>
                    <a:pt x="143" y="124"/>
                    <a:pt x="146" y="124"/>
                  </a:cubicBezTo>
                  <a:cubicBezTo>
                    <a:pt x="147" y="123"/>
                    <a:pt x="148" y="122"/>
                    <a:pt x="149" y="121"/>
                  </a:cubicBezTo>
                  <a:cubicBezTo>
                    <a:pt x="150" y="120"/>
                    <a:pt x="150" y="119"/>
                    <a:pt x="150" y="118"/>
                  </a:cubicBezTo>
                  <a:cubicBezTo>
                    <a:pt x="151" y="116"/>
                    <a:pt x="152" y="115"/>
                    <a:pt x="152" y="114"/>
                  </a:cubicBezTo>
                  <a:cubicBezTo>
                    <a:pt x="153" y="112"/>
                    <a:pt x="154" y="111"/>
                    <a:pt x="154" y="110"/>
                  </a:cubicBezTo>
                  <a:cubicBezTo>
                    <a:pt x="155" y="109"/>
                    <a:pt x="156" y="108"/>
                    <a:pt x="158" y="107"/>
                  </a:cubicBezTo>
                  <a:cubicBezTo>
                    <a:pt x="160" y="107"/>
                    <a:pt x="162" y="107"/>
                    <a:pt x="164" y="107"/>
                  </a:cubicBezTo>
                  <a:cubicBezTo>
                    <a:pt x="167" y="107"/>
                    <a:pt x="171" y="109"/>
                    <a:pt x="174" y="109"/>
                  </a:cubicBezTo>
                  <a:cubicBezTo>
                    <a:pt x="174" y="108"/>
                    <a:pt x="174" y="106"/>
                    <a:pt x="174" y="105"/>
                  </a:cubicBezTo>
                  <a:cubicBezTo>
                    <a:pt x="175" y="103"/>
                    <a:pt x="178" y="105"/>
                    <a:pt x="179" y="106"/>
                  </a:cubicBezTo>
                  <a:cubicBezTo>
                    <a:pt x="180" y="107"/>
                    <a:pt x="180" y="107"/>
                    <a:pt x="182" y="107"/>
                  </a:cubicBezTo>
                  <a:cubicBezTo>
                    <a:pt x="183" y="107"/>
                    <a:pt x="185" y="107"/>
                    <a:pt x="186" y="107"/>
                  </a:cubicBezTo>
                  <a:cubicBezTo>
                    <a:pt x="186" y="108"/>
                    <a:pt x="186" y="108"/>
                    <a:pt x="186" y="109"/>
                  </a:cubicBezTo>
                  <a:cubicBezTo>
                    <a:pt x="187" y="110"/>
                    <a:pt x="188" y="110"/>
                    <a:pt x="189" y="112"/>
                  </a:cubicBezTo>
                  <a:cubicBezTo>
                    <a:pt x="191" y="113"/>
                    <a:pt x="190" y="114"/>
                    <a:pt x="192" y="114"/>
                  </a:cubicBezTo>
                  <a:cubicBezTo>
                    <a:pt x="196" y="115"/>
                    <a:pt x="195" y="111"/>
                    <a:pt x="197" y="109"/>
                  </a:cubicBezTo>
                  <a:cubicBezTo>
                    <a:pt x="199" y="109"/>
                    <a:pt x="198" y="111"/>
                    <a:pt x="199" y="112"/>
                  </a:cubicBezTo>
                  <a:cubicBezTo>
                    <a:pt x="200" y="113"/>
                    <a:pt x="200" y="113"/>
                    <a:pt x="201" y="113"/>
                  </a:cubicBezTo>
                  <a:cubicBezTo>
                    <a:pt x="203" y="113"/>
                    <a:pt x="204" y="113"/>
                    <a:pt x="205" y="115"/>
                  </a:cubicBezTo>
                  <a:cubicBezTo>
                    <a:pt x="205" y="115"/>
                    <a:pt x="205" y="116"/>
                    <a:pt x="205" y="117"/>
                  </a:cubicBezTo>
                  <a:cubicBezTo>
                    <a:pt x="210" y="117"/>
                    <a:pt x="215" y="115"/>
                    <a:pt x="221" y="116"/>
                  </a:cubicBezTo>
                  <a:cubicBezTo>
                    <a:pt x="223" y="116"/>
                    <a:pt x="224" y="118"/>
                    <a:pt x="225" y="120"/>
                  </a:cubicBezTo>
                  <a:cubicBezTo>
                    <a:pt x="227" y="120"/>
                    <a:pt x="228" y="119"/>
                    <a:pt x="229" y="119"/>
                  </a:cubicBezTo>
                  <a:cubicBezTo>
                    <a:pt x="231" y="119"/>
                    <a:pt x="232" y="119"/>
                    <a:pt x="233" y="118"/>
                  </a:cubicBezTo>
                  <a:cubicBezTo>
                    <a:pt x="233" y="118"/>
                    <a:pt x="233" y="117"/>
                    <a:pt x="233" y="116"/>
                  </a:cubicBezTo>
                  <a:cubicBezTo>
                    <a:pt x="233" y="116"/>
                    <a:pt x="234" y="116"/>
                    <a:pt x="234" y="115"/>
                  </a:cubicBezTo>
                  <a:cubicBezTo>
                    <a:pt x="235" y="114"/>
                    <a:pt x="236" y="113"/>
                    <a:pt x="237" y="114"/>
                  </a:cubicBezTo>
                  <a:cubicBezTo>
                    <a:pt x="239" y="114"/>
                    <a:pt x="239" y="116"/>
                    <a:pt x="240" y="117"/>
                  </a:cubicBezTo>
                  <a:cubicBezTo>
                    <a:pt x="241" y="119"/>
                    <a:pt x="244" y="120"/>
                    <a:pt x="246" y="120"/>
                  </a:cubicBezTo>
                  <a:cubicBezTo>
                    <a:pt x="246" y="118"/>
                    <a:pt x="245" y="116"/>
                    <a:pt x="246" y="115"/>
                  </a:cubicBezTo>
                  <a:cubicBezTo>
                    <a:pt x="249" y="114"/>
                    <a:pt x="252" y="116"/>
                    <a:pt x="255" y="117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7" name="Freeform 27"/>
            <p:cNvSpPr>
              <a:spLocks/>
            </p:cNvSpPr>
            <p:nvPr/>
          </p:nvSpPr>
          <p:spPr bwMode="auto">
            <a:xfrm>
              <a:off x="5013325" y="5265738"/>
              <a:ext cx="381000" cy="420688"/>
            </a:xfrm>
            <a:custGeom>
              <a:avLst/>
              <a:gdLst/>
              <a:ahLst/>
              <a:cxnLst>
                <a:cxn ang="0">
                  <a:pos x="193" y="94"/>
                </a:cxn>
                <a:cxn ang="0">
                  <a:pos x="188" y="87"/>
                </a:cxn>
                <a:cxn ang="0">
                  <a:pos x="192" y="80"/>
                </a:cxn>
                <a:cxn ang="0">
                  <a:pos x="181" y="74"/>
                </a:cxn>
                <a:cxn ang="0">
                  <a:pos x="179" y="68"/>
                </a:cxn>
                <a:cxn ang="0">
                  <a:pos x="191" y="41"/>
                </a:cxn>
                <a:cxn ang="0">
                  <a:pos x="164" y="35"/>
                </a:cxn>
                <a:cxn ang="0">
                  <a:pos x="158" y="22"/>
                </a:cxn>
                <a:cxn ang="0">
                  <a:pos x="145" y="17"/>
                </a:cxn>
                <a:cxn ang="0">
                  <a:pos x="130" y="17"/>
                </a:cxn>
                <a:cxn ang="0">
                  <a:pos x="117" y="13"/>
                </a:cxn>
                <a:cxn ang="0">
                  <a:pos x="105" y="13"/>
                </a:cxn>
                <a:cxn ang="0">
                  <a:pos x="83" y="9"/>
                </a:cxn>
                <a:cxn ang="0">
                  <a:pos x="70" y="6"/>
                </a:cxn>
                <a:cxn ang="0">
                  <a:pos x="58" y="2"/>
                </a:cxn>
                <a:cxn ang="0">
                  <a:pos x="38" y="7"/>
                </a:cxn>
                <a:cxn ang="0">
                  <a:pos x="30" y="21"/>
                </a:cxn>
                <a:cxn ang="0">
                  <a:pos x="17" y="4"/>
                </a:cxn>
                <a:cxn ang="0">
                  <a:pos x="2" y="21"/>
                </a:cxn>
                <a:cxn ang="0">
                  <a:pos x="5" y="39"/>
                </a:cxn>
                <a:cxn ang="0">
                  <a:pos x="15" y="48"/>
                </a:cxn>
                <a:cxn ang="0">
                  <a:pos x="19" y="60"/>
                </a:cxn>
                <a:cxn ang="0">
                  <a:pos x="21" y="76"/>
                </a:cxn>
                <a:cxn ang="0">
                  <a:pos x="26" y="93"/>
                </a:cxn>
                <a:cxn ang="0">
                  <a:pos x="49" y="116"/>
                </a:cxn>
                <a:cxn ang="0">
                  <a:pos x="62" y="131"/>
                </a:cxn>
                <a:cxn ang="0">
                  <a:pos x="76" y="147"/>
                </a:cxn>
                <a:cxn ang="0">
                  <a:pos x="78" y="158"/>
                </a:cxn>
                <a:cxn ang="0">
                  <a:pos x="81" y="165"/>
                </a:cxn>
                <a:cxn ang="0">
                  <a:pos x="86" y="175"/>
                </a:cxn>
                <a:cxn ang="0">
                  <a:pos x="94" y="187"/>
                </a:cxn>
                <a:cxn ang="0">
                  <a:pos x="98" y="191"/>
                </a:cxn>
                <a:cxn ang="0">
                  <a:pos x="104" y="192"/>
                </a:cxn>
                <a:cxn ang="0">
                  <a:pos x="112" y="203"/>
                </a:cxn>
                <a:cxn ang="0">
                  <a:pos x="131" y="214"/>
                </a:cxn>
                <a:cxn ang="0">
                  <a:pos x="140" y="223"/>
                </a:cxn>
                <a:cxn ang="0">
                  <a:pos x="143" y="209"/>
                </a:cxn>
                <a:cxn ang="0">
                  <a:pos x="140" y="200"/>
                </a:cxn>
                <a:cxn ang="0">
                  <a:pos x="143" y="189"/>
                </a:cxn>
                <a:cxn ang="0">
                  <a:pos x="147" y="180"/>
                </a:cxn>
                <a:cxn ang="0">
                  <a:pos x="150" y="167"/>
                </a:cxn>
                <a:cxn ang="0">
                  <a:pos x="163" y="158"/>
                </a:cxn>
                <a:cxn ang="0">
                  <a:pos x="171" y="164"/>
                </a:cxn>
                <a:cxn ang="0">
                  <a:pos x="168" y="151"/>
                </a:cxn>
                <a:cxn ang="0">
                  <a:pos x="166" y="142"/>
                </a:cxn>
                <a:cxn ang="0">
                  <a:pos x="178" y="144"/>
                </a:cxn>
                <a:cxn ang="0">
                  <a:pos x="184" y="138"/>
                </a:cxn>
                <a:cxn ang="0">
                  <a:pos x="193" y="143"/>
                </a:cxn>
                <a:cxn ang="0">
                  <a:pos x="197" y="133"/>
                </a:cxn>
                <a:cxn ang="0">
                  <a:pos x="189" y="117"/>
                </a:cxn>
                <a:cxn ang="0">
                  <a:pos x="183" y="105"/>
                </a:cxn>
                <a:cxn ang="0">
                  <a:pos x="203" y="106"/>
                </a:cxn>
              </a:cxnLst>
              <a:rect l="0" t="0" r="r" b="b"/>
              <a:pathLst>
                <a:path w="204" h="225">
                  <a:moveTo>
                    <a:pt x="204" y="100"/>
                  </a:moveTo>
                  <a:cubicBezTo>
                    <a:pt x="204" y="99"/>
                    <a:pt x="201" y="98"/>
                    <a:pt x="200" y="98"/>
                  </a:cubicBezTo>
                  <a:cubicBezTo>
                    <a:pt x="199" y="98"/>
                    <a:pt x="197" y="97"/>
                    <a:pt x="196" y="96"/>
                  </a:cubicBezTo>
                  <a:cubicBezTo>
                    <a:pt x="195" y="96"/>
                    <a:pt x="194" y="95"/>
                    <a:pt x="193" y="94"/>
                  </a:cubicBezTo>
                  <a:cubicBezTo>
                    <a:pt x="193" y="94"/>
                    <a:pt x="192" y="93"/>
                    <a:pt x="192" y="94"/>
                  </a:cubicBezTo>
                  <a:cubicBezTo>
                    <a:pt x="192" y="93"/>
                    <a:pt x="192" y="93"/>
                    <a:pt x="192" y="93"/>
                  </a:cubicBezTo>
                  <a:cubicBezTo>
                    <a:pt x="191" y="92"/>
                    <a:pt x="191" y="91"/>
                    <a:pt x="190" y="90"/>
                  </a:cubicBezTo>
                  <a:cubicBezTo>
                    <a:pt x="189" y="89"/>
                    <a:pt x="188" y="88"/>
                    <a:pt x="188" y="87"/>
                  </a:cubicBezTo>
                  <a:cubicBezTo>
                    <a:pt x="188" y="86"/>
                    <a:pt x="188" y="84"/>
                    <a:pt x="189" y="83"/>
                  </a:cubicBezTo>
                  <a:cubicBezTo>
                    <a:pt x="190" y="83"/>
                    <a:pt x="191" y="83"/>
                    <a:pt x="191" y="83"/>
                  </a:cubicBezTo>
                  <a:cubicBezTo>
                    <a:pt x="191" y="82"/>
                    <a:pt x="191" y="82"/>
                    <a:pt x="192" y="82"/>
                  </a:cubicBezTo>
                  <a:cubicBezTo>
                    <a:pt x="192" y="81"/>
                    <a:pt x="192" y="81"/>
                    <a:pt x="192" y="80"/>
                  </a:cubicBezTo>
                  <a:cubicBezTo>
                    <a:pt x="192" y="79"/>
                    <a:pt x="193" y="78"/>
                    <a:pt x="193" y="77"/>
                  </a:cubicBezTo>
                  <a:cubicBezTo>
                    <a:pt x="192" y="75"/>
                    <a:pt x="189" y="76"/>
                    <a:pt x="187" y="76"/>
                  </a:cubicBezTo>
                  <a:cubicBezTo>
                    <a:pt x="186" y="76"/>
                    <a:pt x="184" y="75"/>
                    <a:pt x="183" y="75"/>
                  </a:cubicBezTo>
                  <a:cubicBezTo>
                    <a:pt x="182" y="75"/>
                    <a:pt x="182" y="74"/>
                    <a:pt x="181" y="74"/>
                  </a:cubicBezTo>
                  <a:cubicBezTo>
                    <a:pt x="180" y="74"/>
                    <a:pt x="181" y="73"/>
                    <a:pt x="181" y="73"/>
                  </a:cubicBezTo>
                  <a:cubicBezTo>
                    <a:pt x="180" y="72"/>
                    <a:pt x="179" y="72"/>
                    <a:pt x="179" y="71"/>
                  </a:cubicBezTo>
                  <a:cubicBezTo>
                    <a:pt x="179" y="71"/>
                    <a:pt x="179" y="70"/>
                    <a:pt x="179" y="70"/>
                  </a:cubicBezTo>
                  <a:cubicBezTo>
                    <a:pt x="179" y="69"/>
                    <a:pt x="179" y="68"/>
                    <a:pt x="179" y="68"/>
                  </a:cubicBezTo>
                  <a:cubicBezTo>
                    <a:pt x="179" y="67"/>
                    <a:pt x="179" y="67"/>
                    <a:pt x="180" y="66"/>
                  </a:cubicBezTo>
                  <a:cubicBezTo>
                    <a:pt x="180" y="65"/>
                    <a:pt x="180" y="65"/>
                    <a:pt x="181" y="64"/>
                  </a:cubicBezTo>
                  <a:cubicBezTo>
                    <a:pt x="182" y="58"/>
                    <a:pt x="185" y="53"/>
                    <a:pt x="189" y="49"/>
                  </a:cubicBezTo>
                  <a:cubicBezTo>
                    <a:pt x="191" y="41"/>
                    <a:pt x="191" y="41"/>
                    <a:pt x="191" y="41"/>
                  </a:cubicBezTo>
                  <a:cubicBezTo>
                    <a:pt x="190" y="38"/>
                    <a:pt x="186" y="33"/>
                    <a:pt x="179" y="28"/>
                  </a:cubicBezTo>
                  <a:cubicBezTo>
                    <a:pt x="180" y="31"/>
                    <a:pt x="174" y="32"/>
                    <a:pt x="172" y="33"/>
                  </a:cubicBezTo>
                  <a:cubicBezTo>
                    <a:pt x="170" y="34"/>
                    <a:pt x="168" y="34"/>
                    <a:pt x="166" y="35"/>
                  </a:cubicBezTo>
                  <a:cubicBezTo>
                    <a:pt x="166" y="35"/>
                    <a:pt x="165" y="35"/>
                    <a:pt x="164" y="35"/>
                  </a:cubicBezTo>
                  <a:cubicBezTo>
                    <a:pt x="162" y="34"/>
                    <a:pt x="163" y="34"/>
                    <a:pt x="162" y="34"/>
                  </a:cubicBezTo>
                  <a:cubicBezTo>
                    <a:pt x="160" y="33"/>
                    <a:pt x="159" y="31"/>
                    <a:pt x="159" y="29"/>
                  </a:cubicBezTo>
                  <a:cubicBezTo>
                    <a:pt x="159" y="27"/>
                    <a:pt x="160" y="27"/>
                    <a:pt x="161" y="25"/>
                  </a:cubicBezTo>
                  <a:cubicBezTo>
                    <a:pt x="161" y="24"/>
                    <a:pt x="159" y="23"/>
                    <a:pt x="158" y="22"/>
                  </a:cubicBezTo>
                  <a:cubicBezTo>
                    <a:pt x="158" y="22"/>
                    <a:pt x="157" y="21"/>
                    <a:pt x="157" y="21"/>
                  </a:cubicBezTo>
                  <a:cubicBezTo>
                    <a:pt x="157" y="20"/>
                    <a:pt x="157" y="19"/>
                    <a:pt x="157" y="19"/>
                  </a:cubicBezTo>
                  <a:cubicBezTo>
                    <a:pt x="156" y="17"/>
                    <a:pt x="152" y="15"/>
                    <a:pt x="151" y="18"/>
                  </a:cubicBezTo>
                  <a:cubicBezTo>
                    <a:pt x="150" y="18"/>
                    <a:pt x="147" y="18"/>
                    <a:pt x="145" y="17"/>
                  </a:cubicBezTo>
                  <a:cubicBezTo>
                    <a:pt x="144" y="17"/>
                    <a:pt x="143" y="16"/>
                    <a:pt x="143" y="15"/>
                  </a:cubicBezTo>
                  <a:cubicBezTo>
                    <a:pt x="141" y="15"/>
                    <a:pt x="140" y="14"/>
                    <a:pt x="139" y="14"/>
                  </a:cubicBezTo>
                  <a:cubicBezTo>
                    <a:pt x="136" y="13"/>
                    <a:pt x="133" y="11"/>
                    <a:pt x="130" y="12"/>
                  </a:cubicBezTo>
                  <a:cubicBezTo>
                    <a:pt x="129" y="13"/>
                    <a:pt x="130" y="15"/>
                    <a:pt x="130" y="17"/>
                  </a:cubicBezTo>
                  <a:cubicBezTo>
                    <a:pt x="128" y="17"/>
                    <a:pt x="125" y="16"/>
                    <a:pt x="124" y="14"/>
                  </a:cubicBezTo>
                  <a:cubicBezTo>
                    <a:pt x="123" y="13"/>
                    <a:pt x="123" y="11"/>
                    <a:pt x="121" y="11"/>
                  </a:cubicBezTo>
                  <a:cubicBezTo>
                    <a:pt x="120" y="10"/>
                    <a:pt x="119" y="11"/>
                    <a:pt x="118" y="12"/>
                  </a:cubicBezTo>
                  <a:cubicBezTo>
                    <a:pt x="118" y="13"/>
                    <a:pt x="117" y="13"/>
                    <a:pt x="117" y="13"/>
                  </a:cubicBezTo>
                  <a:cubicBezTo>
                    <a:pt x="117" y="14"/>
                    <a:pt x="117" y="15"/>
                    <a:pt x="117" y="15"/>
                  </a:cubicBezTo>
                  <a:cubicBezTo>
                    <a:pt x="116" y="16"/>
                    <a:pt x="115" y="16"/>
                    <a:pt x="113" y="16"/>
                  </a:cubicBezTo>
                  <a:cubicBezTo>
                    <a:pt x="112" y="16"/>
                    <a:pt x="111" y="17"/>
                    <a:pt x="109" y="17"/>
                  </a:cubicBezTo>
                  <a:cubicBezTo>
                    <a:pt x="108" y="15"/>
                    <a:pt x="107" y="13"/>
                    <a:pt x="105" y="13"/>
                  </a:cubicBezTo>
                  <a:cubicBezTo>
                    <a:pt x="99" y="12"/>
                    <a:pt x="94" y="14"/>
                    <a:pt x="89" y="14"/>
                  </a:cubicBezTo>
                  <a:cubicBezTo>
                    <a:pt x="89" y="13"/>
                    <a:pt x="89" y="12"/>
                    <a:pt x="89" y="12"/>
                  </a:cubicBezTo>
                  <a:cubicBezTo>
                    <a:pt x="88" y="10"/>
                    <a:pt x="87" y="10"/>
                    <a:pt x="85" y="10"/>
                  </a:cubicBezTo>
                  <a:cubicBezTo>
                    <a:pt x="84" y="10"/>
                    <a:pt x="84" y="10"/>
                    <a:pt x="83" y="9"/>
                  </a:cubicBezTo>
                  <a:cubicBezTo>
                    <a:pt x="82" y="8"/>
                    <a:pt x="83" y="6"/>
                    <a:pt x="81" y="6"/>
                  </a:cubicBezTo>
                  <a:cubicBezTo>
                    <a:pt x="79" y="8"/>
                    <a:pt x="80" y="12"/>
                    <a:pt x="76" y="11"/>
                  </a:cubicBezTo>
                  <a:cubicBezTo>
                    <a:pt x="74" y="11"/>
                    <a:pt x="75" y="10"/>
                    <a:pt x="73" y="9"/>
                  </a:cubicBezTo>
                  <a:cubicBezTo>
                    <a:pt x="72" y="7"/>
                    <a:pt x="71" y="7"/>
                    <a:pt x="70" y="6"/>
                  </a:cubicBezTo>
                  <a:cubicBezTo>
                    <a:pt x="70" y="5"/>
                    <a:pt x="70" y="5"/>
                    <a:pt x="70" y="4"/>
                  </a:cubicBezTo>
                  <a:cubicBezTo>
                    <a:pt x="69" y="4"/>
                    <a:pt x="67" y="4"/>
                    <a:pt x="66" y="4"/>
                  </a:cubicBezTo>
                  <a:cubicBezTo>
                    <a:pt x="64" y="4"/>
                    <a:pt x="64" y="4"/>
                    <a:pt x="63" y="3"/>
                  </a:cubicBezTo>
                  <a:cubicBezTo>
                    <a:pt x="62" y="2"/>
                    <a:pt x="59" y="0"/>
                    <a:pt x="58" y="2"/>
                  </a:cubicBezTo>
                  <a:cubicBezTo>
                    <a:pt x="58" y="3"/>
                    <a:pt x="58" y="5"/>
                    <a:pt x="58" y="6"/>
                  </a:cubicBezTo>
                  <a:cubicBezTo>
                    <a:pt x="55" y="6"/>
                    <a:pt x="51" y="4"/>
                    <a:pt x="48" y="4"/>
                  </a:cubicBezTo>
                  <a:cubicBezTo>
                    <a:pt x="46" y="4"/>
                    <a:pt x="44" y="4"/>
                    <a:pt x="42" y="4"/>
                  </a:cubicBezTo>
                  <a:cubicBezTo>
                    <a:pt x="40" y="5"/>
                    <a:pt x="39" y="6"/>
                    <a:pt x="38" y="7"/>
                  </a:cubicBezTo>
                  <a:cubicBezTo>
                    <a:pt x="38" y="8"/>
                    <a:pt x="37" y="9"/>
                    <a:pt x="36" y="11"/>
                  </a:cubicBezTo>
                  <a:cubicBezTo>
                    <a:pt x="36" y="12"/>
                    <a:pt x="35" y="13"/>
                    <a:pt x="34" y="15"/>
                  </a:cubicBezTo>
                  <a:cubicBezTo>
                    <a:pt x="34" y="16"/>
                    <a:pt x="34" y="17"/>
                    <a:pt x="33" y="18"/>
                  </a:cubicBezTo>
                  <a:cubicBezTo>
                    <a:pt x="32" y="19"/>
                    <a:pt x="31" y="20"/>
                    <a:pt x="30" y="21"/>
                  </a:cubicBezTo>
                  <a:cubicBezTo>
                    <a:pt x="27" y="21"/>
                    <a:pt x="26" y="19"/>
                    <a:pt x="25" y="16"/>
                  </a:cubicBezTo>
                  <a:cubicBezTo>
                    <a:pt x="24" y="14"/>
                    <a:pt x="22" y="13"/>
                    <a:pt x="21" y="11"/>
                  </a:cubicBezTo>
                  <a:cubicBezTo>
                    <a:pt x="20" y="10"/>
                    <a:pt x="20" y="9"/>
                    <a:pt x="19" y="7"/>
                  </a:cubicBezTo>
                  <a:cubicBezTo>
                    <a:pt x="18" y="6"/>
                    <a:pt x="18" y="5"/>
                    <a:pt x="17" y="4"/>
                  </a:cubicBezTo>
                  <a:cubicBezTo>
                    <a:pt x="16" y="3"/>
                    <a:pt x="15" y="3"/>
                    <a:pt x="13" y="3"/>
                  </a:cubicBezTo>
                  <a:cubicBezTo>
                    <a:pt x="12" y="3"/>
                    <a:pt x="10" y="2"/>
                    <a:pt x="9" y="2"/>
                  </a:cubicBezTo>
                  <a:cubicBezTo>
                    <a:pt x="5" y="3"/>
                    <a:pt x="2" y="6"/>
                    <a:pt x="2" y="9"/>
                  </a:cubicBezTo>
                  <a:cubicBezTo>
                    <a:pt x="2" y="13"/>
                    <a:pt x="3" y="17"/>
                    <a:pt x="2" y="21"/>
                  </a:cubicBezTo>
                  <a:cubicBezTo>
                    <a:pt x="1" y="23"/>
                    <a:pt x="0" y="26"/>
                    <a:pt x="1" y="29"/>
                  </a:cubicBezTo>
                  <a:cubicBezTo>
                    <a:pt x="1" y="30"/>
                    <a:pt x="2" y="30"/>
                    <a:pt x="2" y="31"/>
                  </a:cubicBezTo>
                  <a:cubicBezTo>
                    <a:pt x="2" y="33"/>
                    <a:pt x="2" y="34"/>
                    <a:pt x="3" y="36"/>
                  </a:cubicBezTo>
                  <a:cubicBezTo>
                    <a:pt x="3" y="37"/>
                    <a:pt x="4" y="38"/>
                    <a:pt x="5" y="39"/>
                  </a:cubicBezTo>
                  <a:cubicBezTo>
                    <a:pt x="5" y="40"/>
                    <a:pt x="6" y="40"/>
                    <a:pt x="6" y="41"/>
                  </a:cubicBezTo>
                  <a:cubicBezTo>
                    <a:pt x="6" y="41"/>
                    <a:pt x="7" y="42"/>
                    <a:pt x="7" y="42"/>
                  </a:cubicBezTo>
                  <a:cubicBezTo>
                    <a:pt x="9" y="44"/>
                    <a:pt x="11" y="48"/>
                    <a:pt x="14" y="48"/>
                  </a:cubicBezTo>
                  <a:cubicBezTo>
                    <a:pt x="14" y="48"/>
                    <a:pt x="14" y="48"/>
                    <a:pt x="15" y="48"/>
                  </a:cubicBezTo>
                  <a:cubicBezTo>
                    <a:pt x="16" y="48"/>
                    <a:pt x="16" y="49"/>
                    <a:pt x="17" y="50"/>
                  </a:cubicBezTo>
                  <a:cubicBezTo>
                    <a:pt x="18" y="52"/>
                    <a:pt x="18" y="54"/>
                    <a:pt x="18" y="57"/>
                  </a:cubicBezTo>
                  <a:cubicBezTo>
                    <a:pt x="18" y="57"/>
                    <a:pt x="18" y="58"/>
                    <a:pt x="18" y="59"/>
                  </a:cubicBezTo>
                  <a:cubicBezTo>
                    <a:pt x="18" y="59"/>
                    <a:pt x="19" y="60"/>
                    <a:pt x="19" y="60"/>
                  </a:cubicBezTo>
                  <a:cubicBezTo>
                    <a:pt x="19" y="61"/>
                    <a:pt x="19" y="62"/>
                    <a:pt x="19" y="62"/>
                  </a:cubicBezTo>
                  <a:cubicBezTo>
                    <a:pt x="19" y="66"/>
                    <a:pt x="19" y="69"/>
                    <a:pt x="19" y="72"/>
                  </a:cubicBezTo>
                  <a:cubicBezTo>
                    <a:pt x="19" y="73"/>
                    <a:pt x="19" y="74"/>
                    <a:pt x="19" y="74"/>
                  </a:cubicBezTo>
                  <a:cubicBezTo>
                    <a:pt x="19" y="75"/>
                    <a:pt x="20" y="75"/>
                    <a:pt x="21" y="76"/>
                  </a:cubicBezTo>
                  <a:cubicBezTo>
                    <a:pt x="21" y="77"/>
                    <a:pt x="21" y="78"/>
                    <a:pt x="21" y="79"/>
                  </a:cubicBezTo>
                  <a:cubicBezTo>
                    <a:pt x="21" y="81"/>
                    <a:pt x="23" y="83"/>
                    <a:pt x="24" y="85"/>
                  </a:cubicBezTo>
                  <a:cubicBezTo>
                    <a:pt x="25" y="86"/>
                    <a:pt x="25" y="88"/>
                    <a:pt x="26" y="90"/>
                  </a:cubicBezTo>
                  <a:cubicBezTo>
                    <a:pt x="26" y="91"/>
                    <a:pt x="26" y="92"/>
                    <a:pt x="26" y="93"/>
                  </a:cubicBezTo>
                  <a:cubicBezTo>
                    <a:pt x="26" y="94"/>
                    <a:pt x="27" y="95"/>
                    <a:pt x="28" y="96"/>
                  </a:cubicBezTo>
                  <a:cubicBezTo>
                    <a:pt x="31" y="99"/>
                    <a:pt x="35" y="102"/>
                    <a:pt x="39" y="103"/>
                  </a:cubicBezTo>
                  <a:cubicBezTo>
                    <a:pt x="43" y="104"/>
                    <a:pt x="45" y="107"/>
                    <a:pt x="47" y="111"/>
                  </a:cubicBezTo>
                  <a:cubicBezTo>
                    <a:pt x="47" y="112"/>
                    <a:pt x="48" y="115"/>
                    <a:pt x="49" y="116"/>
                  </a:cubicBezTo>
                  <a:cubicBezTo>
                    <a:pt x="49" y="116"/>
                    <a:pt x="50" y="117"/>
                    <a:pt x="51" y="118"/>
                  </a:cubicBezTo>
                  <a:cubicBezTo>
                    <a:pt x="52" y="119"/>
                    <a:pt x="53" y="120"/>
                    <a:pt x="53" y="121"/>
                  </a:cubicBezTo>
                  <a:cubicBezTo>
                    <a:pt x="55" y="123"/>
                    <a:pt x="56" y="126"/>
                    <a:pt x="58" y="128"/>
                  </a:cubicBezTo>
                  <a:cubicBezTo>
                    <a:pt x="60" y="129"/>
                    <a:pt x="61" y="130"/>
                    <a:pt x="62" y="131"/>
                  </a:cubicBezTo>
                  <a:cubicBezTo>
                    <a:pt x="62" y="132"/>
                    <a:pt x="63" y="133"/>
                    <a:pt x="63" y="134"/>
                  </a:cubicBezTo>
                  <a:cubicBezTo>
                    <a:pt x="66" y="136"/>
                    <a:pt x="69" y="139"/>
                    <a:pt x="72" y="142"/>
                  </a:cubicBezTo>
                  <a:cubicBezTo>
                    <a:pt x="73" y="143"/>
                    <a:pt x="75" y="143"/>
                    <a:pt x="75" y="144"/>
                  </a:cubicBezTo>
                  <a:cubicBezTo>
                    <a:pt x="76" y="145"/>
                    <a:pt x="76" y="146"/>
                    <a:pt x="76" y="147"/>
                  </a:cubicBezTo>
                  <a:cubicBezTo>
                    <a:pt x="76" y="148"/>
                    <a:pt x="76" y="149"/>
                    <a:pt x="76" y="150"/>
                  </a:cubicBezTo>
                  <a:cubicBezTo>
                    <a:pt x="76" y="152"/>
                    <a:pt x="76" y="153"/>
                    <a:pt x="77" y="155"/>
                  </a:cubicBezTo>
                  <a:cubicBezTo>
                    <a:pt x="77" y="155"/>
                    <a:pt x="77" y="156"/>
                    <a:pt x="77" y="157"/>
                  </a:cubicBezTo>
                  <a:cubicBezTo>
                    <a:pt x="77" y="157"/>
                    <a:pt x="78" y="158"/>
                    <a:pt x="78" y="158"/>
                  </a:cubicBezTo>
                  <a:cubicBezTo>
                    <a:pt x="79" y="159"/>
                    <a:pt x="79" y="160"/>
                    <a:pt x="79" y="160"/>
                  </a:cubicBezTo>
                  <a:cubicBezTo>
                    <a:pt x="79" y="161"/>
                    <a:pt x="79" y="161"/>
                    <a:pt x="79" y="161"/>
                  </a:cubicBezTo>
                  <a:cubicBezTo>
                    <a:pt x="80" y="162"/>
                    <a:pt x="81" y="162"/>
                    <a:pt x="81" y="162"/>
                  </a:cubicBezTo>
                  <a:cubicBezTo>
                    <a:pt x="81" y="163"/>
                    <a:pt x="81" y="164"/>
                    <a:pt x="81" y="165"/>
                  </a:cubicBezTo>
                  <a:cubicBezTo>
                    <a:pt x="81" y="166"/>
                    <a:pt x="81" y="167"/>
                    <a:pt x="81" y="168"/>
                  </a:cubicBezTo>
                  <a:cubicBezTo>
                    <a:pt x="80" y="169"/>
                    <a:pt x="79" y="170"/>
                    <a:pt x="79" y="171"/>
                  </a:cubicBezTo>
                  <a:cubicBezTo>
                    <a:pt x="80" y="172"/>
                    <a:pt x="84" y="172"/>
                    <a:pt x="85" y="173"/>
                  </a:cubicBezTo>
                  <a:cubicBezTo>
                    <a:pt x="86" y="173"/>
                    <a:pt x="86" y="174"/>
                    <a:pt x="86" y="175"/>
                  </a:cubicBezTo>
                  <a:cubicBezTo>
                    <a:pt x="88" y="178"/>
                    <a:pt x="91" y="180"/>
                    <a:pt x="91" y="182"/>
                  </a:cubicBezTo>
                  <a:cubicBezTo>
                    <a:pt x="92" y="183"/>
                    <a:pt x="91" y="184"/>
                    <a:pt x="92" y="185"/>
                  </a:cubicBezTo>
                  <a:cubicBezTo>
                    <a:pt x="92" y="185"/>
                    <a:pt x="93" y="186"/>
                    <a:pt x="93" y="186"/>
                  </a:cubicBezTo>
                  <a:cubicBezTo>
                    <a:pt x="93" y="186"/>
                    <a:pt x="93" y="187"/>
                    <a:pt x="94" y="187"/>
                  </a:cubicBezTo>
                  <a:cubicBezTo>
                    <a:pt x="93" y="188"/>
                    <a:pt x="89" y="188"/>
                    <a:pt x="88" y="188"/>
                  </a:cubicBezTo>
                  <a:cubicBezTo>
                    <a:pt x="88" y="189"/>
                    <a:pt x="89" y="190"/>
                    <a:pt x="90" y="191"/>
                  </a:cubicBezTo>
                  <a:cubicBezTo>
                    <a:pt x="90" y="192"/>
                    <a:pt x="91" y="194"/>
                    <a:pt x="92" y="194"/>
                  </a:cubicBezTo>
                  <a:cubicBezTo>
                    <a:pt x="93" y="192"/>
                    <a:pt x="97" y="191"/>
                    <a:pt x="98" y="191"/>
                  </a:cubicBezTo>
                  <a:cubicBezTo>
                    <a:pt x="99" y="191"/>
                    <a:pt x="100" y="190"/>
                    <a:pt x="100" y="190"/>
                  </a:cubicBezTo>
                  <a:cubicBezTo>
                    <a:pt x="101" y="190"/>
                    <a:pt x="102" y="189"/>
                    <a:pt x="103" y="190"/>
                  </a:cubicBezTo>
                  <a:cubicBezTo>
                    <a:pt x="103" y="190"/>
                    <a:pt x="103" y="191"/>
                    <a:pt x="103" y="191"/>
                  </a:cubicBezTo>
                  <a:cubicBezTo>
                    <a:pt x="103" y="191"/>
                    <a:pt x="104" y="191"/>
                    <a:pt x="104" y="192"/>
                  </a:cubicBezTo>
                  <a:cubicBezTo>
                    <a:pt x="104" y="192"/>
                    <a:pt x="104" y="192"/>
                    <a:pt x="104" y="193"/>
                  </a:cubicBezTo>
                  <a:cubicBezTo>
                    <a:pt x="105" y="194"/>
                    <a:pt x="106" y="195"/>
                    <a:pt x="107" y="196"/>
                  </a:cubicBezTo>
                  <a:cubicBezTo>
                    <a:pt x="108" y="197"/>
                    <a:pt x="108" y="198"/>
                    <a:pt x="108" y="199"/>
                  </a:cubicBezTo>
                  <a:cubicBezTo>
                    <a:pt x="109" y="200"/>
                    <a:pt x="110" y="202"/>
                    <a:pt x="112" y="203"/>
                  </a:cubicBezTo>
                  <a:cubicBezTo>
                    <a:pt x="113" y="204"/>
                    <a:pt x="115" y="206"/>
                    <a:pt x="117" y="207"/>
                  </a:cubicBezTo>
                  <a:cubicBezTo>
                    <a:pt x="119" y="209"/>
                    <a:pt x="121" y="210"/>
                    <a:pt x="122" y="211"/>
                  </a:cubicBezTo>
                  <a:cubicBezTo>
                    <a:pt x="123" y="211"/>
                    <a:pt x="124" y="212"/>
                    <a:pt x="125" y="213"/>
                  </a:cubicBezTo>
                  <a:cubicBezTo>
                    <a:pt x="125" y="215"/>
                    <a:pt x="130" y="214"/>
                    <a:pt x="131" y="214"/>
                  </a:cubicBezTo>
                  <a:cubicBezTo>
                    <a:pt x="132" y="214"/>
                    <a:pt x="133" y="216"/>
                    <a:pt x="134" y="217"/>
                  </a:cubicBezTo>
                  <a:cubicBezTo>
                    <a:pt x="135" y="218"/>
                    <a:pt x="135" y="219"/>
                    <a:pt x="135" y="220"/>
                  </a:cubicBezTo>
                  <a:cubicBezTo>
                    <a:pt x="136" y="221"/>
                    <a:pt x="137" y="223"/>
                    <a:pt x="138" y="224"/>
                  </a:cubicBezTo>
                  <a:cubicBezTo>
                    <a:pt x="139" y="225"/>
                    <a:pt x="139" y="224"/>
                    <a:pt x="140" y="223"/>
                  </a:cubicBezTo>
                  <a:cubicBezTo>
                    <a:pt x="140" y="223"/>
                    <a:pt x="140" y="222"/>
                    <a:pt x="140" y="222"/>
                  </a:cubicBezTo>
                  <a:cubicBezTo>
                    <a:pt x="141" y="222"/>
                    <a:pt x="141" y="221"/>
                    <a:pt x="141" y="221"/>
                  </a:cubicBezTo>
                  <a:cubicBezTo>
                    <a:pt x="143" y="219"/>
                    <a:pt x="143" y="214"/>
                    <a:pt x="143" y="211"/>
                  </a:cubicBezTo>
                  <a:cubicBezTo>
                    <a:pt x="143" y="210"/>
                    <a:pt x="143" y="209"/>
                    <a:pt x="143" y="209"/>
                  </a:cubicBezTo>
                  <a:cubicBezTo>
                    <a:pt x="143" y="208"/>
                    <a:pt x="142" y="207"/>
                    <a:pt x="142" y="207"/>
                  </a:cubicBezTo>
                  <a:cubicBezTo>
                    <a:pt x="142" y="206"/>
                    <a:pt x="142" y="206"/>
                    <a:pt x="141" y="206"/>
                  </a:cubicBezTo>
                  <a:cubicBezTo>
                    <a:pt x="141" y="206"/>
                    <a:pt x="141" y="204"/>
                    <a:pt x="140" y="204"/>
                  </a:cubicBezTo>
                  <a:cubicBezTo>
                    <a:pt x="140" y="202"/>
                    <a:pt x="140" y="201"/>
                    <a:pt x="140" y="200"/>
                  </a:cubicBezTo>
                  <a:cubicBezTo>
                    <a:pt x="140" y="198"/>
                    <a:pt x="139" y="198"/>
                    <a:pt x="139" y="197"/>
                  </a:cubicBezTo>
                  <a:cubicBezTo>
                    <a:pt x="139" y="196"/>
                    <a:pt x="140" y="195"/>
                    <a:pt x="140" y="195"/>
                  </a:cubicBezTo>
                  <a:cubicBezTo>
                    <a:pt x="141" y="193"/>
                    <a:pt x="142" y="192"/>
                    <a:pt x="143" y="190"/>
                  </a:cubicBezTo>
                  <a:cubicBezTo>
                    <a:pt x="143" y="190"/>
                    <a:pt x="143" y="189"/>
                    <a:pt x="143" y="189"/>
                  </a:cubicBezTo>
                  <a:cubicBezTo>
                    <a:pt x="143" y="188"/>
                    <a:pt x="143" y="188"/>
                    <a:pt x="143" y="188"/>
                  </a:cubicBezTo>
                  <a:cubicBezTo>
                    <a:pt x="144" y="187"/>
                    <a:pt x="144" y="185"/>
                    <a:pt x="144" y="184"/>
                  </a:cubicBezTo>
                  <a:cubicBezTo>
                    <a:pt x="145" y="183"/>
                    <a:pt x="147" y="183"/>
                    <a:pt x="147" y="182"/>
                  </a:cubicBezTo>
                  <a:cubicBezTo>
                    <a:pt x="148" y="181"/>
                    <a:pt x="147" y="181"/>
                    <a:pt x="147" y="180"/>
                  </a:cubicBezTo>
                  <a:cubicBezTo>
                    <a:pt x="148" y="179"/>
                    <a:pt x="148" y="178"/>
                    <a:pt x="148" y="177"/>
                  </a:cubicBezTo>
                  <a:cubicBezTo>
                    <a:pt x="149" y="176"/>
                    <a:pt x="149" y="175"/>
                    <a:pt x="149" y="173"/>
                  </a:cubicBezTo>
                  <a:cubicBezTo>
                    <a:pt x="149" y="172"/>
                    <a:pt x="148" y="171"/>
                    <a:pt x="148" y="170"/>
                  </a:cubicBezTo>
                  <a:cubicBezTo>
                    <a:pt x="148" y="169"/>
                    <a:pt x="149" y="168"/>
                    <a:pt x="150" y="167"/>
                  </a:cubicBezTo>
                  <a:cubicBezTo>
                    <a:pt x="152" y="166"/>
                    <a:pt x="154" y="164"/>
                    <a:pt x="155" y="163"/>
                  </a:cubicBezTo>
                  <a:cubicBezTo>
                    <a:pt x="155" y="162"/>
                    <a:pt x="155" y="162"/>
                    <a:pt x="156" y="162"/>
                  </a:cubicBezTo>
                  <a:cubicBezTo>
                    <a:pt x="156" y="161"/>
                    <a:pt x="157" y="161"/>
                    <a:pt x="157" y="161"/>
                  </a:cubicBezTo>
                  <a:cubicBezTo>
                    <a:pt x="159" y="160"/>
                    <a:pt x="161" y="158"/>
                    <a:pt x="163" y="158"/>
                  </a:cubicBezTo>
                  <a:cubicBezTo>
                    <a:pt x="165" y="158"/>
                    <a:pt x="166" y="159"/>
                    <a:pt x="167" y="161"/>
                  </a:cubicBezTo>
                  <a:cubicBezTo>
                    <a:pt x="167" y="162"/>
                    <a:pt x="167" y="163"/>
                    <a:pt x="168" y="164"/>
                  </a:cubicBezTo>
                  <a:cubicBezTo>
                    <a:pt x="168" y="164"/>
                    <a:pt x="169" y="165"/>
                    <a:pt x="170" y="165"/>
                  </a:cubicBezTo>
                  <a:cubicBezTo>
                    <a:pt x="170" y="164"/>
                    <a:pt x="171" y="165"/>
                    <a:pt x="171" y="164"/>
                  </a:cubicBezTo>
                  <a:cubicBezTo>
                    <a:pt x="172" y="164"/>
                    <a:pt x="172" y="163"/>
                    <a:pt x="172" y="163"/>
                  </a:cubicBezTo>
                  <a:cubicBezTo>
                    <a:pt x="174" y="161"/>
                    <a:pt x="173" y="160"/>
                    <a:pt x="172" y="158"/>
                  </a:cubicBezTo>
                  <a:cubicBezTo>
                    <a:pt x="172" y="157"/>
                    <a:pt x="172" y="156"/>
                    <a:pt x="171" y="155"/>
                  </a:cubicBezTo>
                  <a:cubicBezTo>
                    <a:pt x="170" y="154"/>
                    <a:pt x="169" y="152"/>
                    <a:pt x="168" y="151"/>
                  </a:cubicBezTo>
                  <a:cubicBezTo>
                    <a:pt x="167" y="150"/>
                    <a:pt x="166" y="150"/>
                    <a:pt x="166" y="148"/>
                  </a:cubicBezTo>
                  <a:cubicBezTo>
                    <a:pt x="166" y="147"/>
                    <a:pt x="165" y="145"/>
                    <a:pt x="166" y="144"/>
                  </a:cubicBezTo>
                  <a:cubicBezTo>
                    <a:pt x="166" y="144"/>
                    <a:pt x="166" y="144"/>
                    <a:pt x="167" y="143"/>
                  </a:cubicBezTo>
                  <a:cubicBezTo>
                    <a:pt x="167" y="143"/>
                    <a:pt x="166" y="142"/>
                    <a:pt x="166" y="142"/>
                  </a:cubicBezTo>
                  <a:cubicBezTo>
                    <a:pt x="167" y="141"/>
                    <a:pt x="167" y="141"/>
                    <a:pt x="168" y="141"/>
                  </a:cubicBezTo>
                  <a:cubicBezTo>
                    <a:pt x="170" y="140"/>
                    <a:pt x="172" y="143"/>
                    <a:pt x="173" y="144"/>
                  </a:cubicBezTo>
                  <a:cubicBezTo>
                    <a:pt x="174" y="145"/>
                    <a:pt x="175" y="145"/>
                    <a:pt x="176" y="145"/>
                  </a:cubicBezTo>
                  <a:cubicBezTo>
                    <a:pt x="177" y="144"/>
                    <a:pt x="178" y="144"/>
                    <a:pt x="178" y="144"/>
                  </a:cubicBezTo>
                  <a:cubicBezTo>
                    <a:pt x="179" y="144"/>
                    <a:pt x="180" y="144"/>
                    <a:pt x="180" y="143"/>
                  </a:cubicBezTo>
                  <a:cubicBezTo>
                    <a:pt x="181" y="143"/>
                    <a:pt x="181" y="142"/>
                    <a:pt x="181" y="141"/>
                  </a:cubicBezTo>
                  <a:cubicBezTo>
                    <a:pt x="181" y="140"/>
                    <a:pt x="182" y="140"/>
                    <a:pt x="183" y="139"/>
                  </a:cubicBezTo>
                  <a:cubicBezTo>
                    <a:pt x="184" y="139"/>
                    <a:pt x="184" y="138"/>
                    <a:pt x="184" y="138"/>
                  </a:cubicBezTo>
                  <a:cubicBezTo>
                    <a:pt x="185" y="137"/>
                    <a:pt x="187" y="135"/>
                    <a:pt x="188" y="136"/>
                  </a:cubicBezTo>
                  <a:cubicBezTo>
                    <a:pt x="188" y="136"/>
                    <a:pt x="188" y="138"/>
                    <a:pt x="189" y="139"/>
                  </a:cubicBezTo>
                  <a:cubicBezTo>
                    <a:pt x="190" y="140"/>
                    <a:pt x="191" y="141"/>
                    <a:pt x="191" y="143"/>
                  </a:cubicBezTo>
                  <a:cubicBezTo>
                    <a:pt x="192" y="143"/>
                    <a:pt x="192" y="144"/>
                    <a:pt x="193" y="143"/>
                  </a:cubicBezTo>
                  <a:cubicBezTo>
                    <a:pt x="194" y="143"/>
                    <a:pt x="193" y="143"/>
                    <a:pt x="194" y="142"/>
                  </a:cubicBezTo>
                  <a:cubicBezTo>
                    <a:pt x="194" y="141"/>
                    <a:pt x="195" y="141"/>
                    <a:pt x="196" y="140"/>
                  </a:cubicBezTo>
                  <a:cubicBezTo>
                    <a:pt x="196" y="139"/>
                    <a:pt x="196" y="138"/>
                    <a:pt x="196" y="137"/>
                  </a:cubicBezTo>
                  <a:cubicBezTo>
                    <a:pt x="196" y="135"/>
                    <a:pt x="197" y="134"/>
                    <a:pt x="197" y="133"/>
                  </a:cubicBezTo>
                  <a:cubicBezTo>
                    <a:pt x="197" y="132"/>
                    <a:pt x="196" y="132"/>
                    <a:pt x="196" y="131"/>
                  </a:cubicBezTo>
                  <a:cubicBezTo>
                    <a:pt x="196" y="131"/>
                    <a:pt x="196" y="130"/>
                    <a:pt x="196" y="130"/>
                  </a:cubicBezTo>
                  <a:cubicBezTo>
                    <a:pt x="196" y="128"/>
                    <a:pt x="195" y="127"/>
                    <a:pt x="194" y="125"/>
                  </a:cubicBezTo>
                  <a:cubicBezTo>
                    <a:pt x="192" y="122"/>
                    <a:pt x="190" y="120"/>
                    <a:pt x="189" y="117"/>
                  </a:cubicBezTo>
                  <a:cubicBezTo>
                    <a:pt x="188" y="116"/>
                    <a:pt x="188" y="115"/>
                    <a:pt x="187" y="114"/>
                  </a:cubicBezTo>
                  <a:cubicBezTo>
                    <a:pt x="186" y="112"/>
                    <a:pt x="186" y="113"/>
                    <a:pt x="184" y="112"/>
                  </a:cubicBezTo>
                  <a:cubicBezTo>
                    <a:pt x="183" y="112"/>
                    <a:pt x="182" y="111"/>
                    <a:pt x="182" y="110"/>
                  </a:cubicBezTo>
                  <a:cubicBezTo>
                    <a:pt x="181" y="109"/>
                    <a:pt x="182" y="106"/>
                    <a:pt x="183" y="105"/>
                  </a:cubicBezTo>
                  <a:cubicBezTo>
                    <a:pt x="184" y="106"/>
                    <a:pt x="185" y="107"/>
                    <a:pt x="186" y="107"/>
                  </a:cubicBezTo>
                  <a:cubicBezTo>
                    <a:pt x="188" y="109"/>
                    <a:pt x="192" y="109"/>
                    <a:pt x="195" y="109"/>
                  </a:cubicBezTo>
                  <a:cubicBezTo>
                    <a:pt x="197" y="109"/>
                    <a:pt x="200" y="109"/>
                    <a:pt x="201" y="108"/>
                  </a:cubicBezTo>
                  <a:cubicBezTo>
                    <a:pt x="202" y="107"/>
                    <a:pt x="202" y="107"/>
                    <a:pt x="203" y="106"/>
                  </a:cubicBezTo>
                  <a:cubicBezTo>
                    <a:pt x="204" y="105"/>
                    <a:pt x="204" y="105"/>
                    <a:pt x="204" y="104"/>
                  </a:cubicBezTo>
                  <a:cubicBezTo>
                    <a:pt x="204" y="104"/>
                    <a:pt x="204" y="103"/>
                    <a:pt x="204" y="102"/>
                  </a:cubicBezTo>
                  <a:cubicBezTo>
                    <a:pt x="204" y="102"/>
                    <a:pt x="204" y="100"/>
                    <a:pt x="204" y="10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8" name="Freeform 28"/>
            <p:cNvSpPr>
              <a:spLocks/>
            </p:cNvSpPr>
            <p:nvPr/>
          </p:nvSpPr>
          <p:spPr bwMode="auto">
            <a:xfrm>
              <a:off x="5184775" y="5527675"/>
              <a:ext cx="280988" cy="252413"/>
            </a:xfrm>
            <a:custGeom>
              <a:avLst/>
              <a:gdLst/>
              <a:ahLst/>
              <a:cxnLst>
                <a:cxn ang="0">
                  <a:pos x="145" y="47"/>
                </a:cxn>
                <a:cxn ang="0">
                  <a:pos x="135" y="45"/>
                </a:cxn>
                <a:cxn ang="0">
                  <a:pos x="132" y="40"/>
                </a:cxn>
                <a:cxn ang="0">
                  <a:pos x="121" y="36"/>
                </a:cxn>
                <a:cxn ang="0">
                  <a:pos x="116" y="31"/>
                </a:cxn>
                <a:cxn ang="0">
                  <a:pos x="110" y="28"/>
                </a:cxn>
                <a:cxn ang="0">
                  <a:pos x="105" y="20"/>
                </a:cxn>
                <a:cxn ang="0">
                  <a:pos x="94" y="10"/>
                </a:cxn>
                <a:cxn ang="0">
                  <a:pos x="88" y="3"/>
                </a:cxn>
                <a:cxn ang="0">
                  <a:pos x="84" y="5"/>
                </a:cxn>
                <a:cxn ang="0">
                  <a:pos x="74" y="2"/>
                </a:cxn>
                <a:cxn ang="0">
                  <a:pos x="74" y="8"/>
                </a:cxn>
                <a:cxn ang="0">
                  <a:pos x="80" y="18"/>
                </a:cxn>
                <a:cxn ang="0">
                  <a:pos x="78" y="25"/>
                </a:cxn>
                <a:cxn ang="0">
                  <a:pos x="71" y="18"/>
                </a:cxn>
                <a:cxn ang="0">
                  <a:pos x="63" y="23"/>
                </a:cxn>
                <a:cxn ang="0">
                  <a:pos x="57" y="33"/>
                </a:cxn>
                <a:cxn ang="0">
                  <a:pos x="55" y="42"/>
                </a:cxn>
                <a:cxn ang="0">
                  <a:pos x="51" y="49"/>
                </a:cxn>
                <a:cxn ang="0">
                  <a:pos x="47" y="57"/>
                </a:cxn>
                <a:cxn ang="0">
                  <a:pos x="49" y="66"/>
                </a:cxn>
                <a:cxn ang="0">
                  <a:pos x="51" y="71"/>
                </a:cxn>
                <a:cxn ang="0">
                  <a:pos x="48" y="83"/>
                </a:cxn>
                <a:cxn ang="0">
                  <a:pos x="42" y="77"/>
                </a:cxn>
                <a:cxn ang="0">
                  <a:pos x="30" y="71"/>
                </a:cxn>
                <a:cxn ang="0">
                  <a:pos x="16" y="59"/>
                </a:cxn>
                <a:cxn ang="0">
                  <a:pos x="12" y="52"/>
                </a:cxn>
                <a:cxn ang="0">
                  <a:pos x="8" y="50"/>
                </a:cxn>
                <a:cxn ang="0">
                  <a:pos x="0" y="54"/>
                </a:cxn>
                <a:cxn ang="0">
                  <a:pos x="5" y="59"/>
                </a:cxn>
                <a:cxn ang="0">
                  <a:pos x="12" y="62"/>
                </a:cxn>
                <a:cxn ang="0">
                  <a:pos x="17" y="66"/>
                </a:cxn>
                <a:cxn ang="0">
                  <a:pos x="26" y="75"/>
                </a:cxn>
                <a:cxn ang="0">
                  <a:pos x="34" y="82"/>
                </a:cxn>
                <a:cxn ang="0">
                  <a:pos x="53" y="94"/>
                </a:cxn>
                <a:cxn ang="0">
                  <a:pos x="62" y="104"/>
                </a:cxn>
                <a:cxn ang="0">
                  <a:pos x="68" y="106"/>
                </a:cxn>
                <a:cxn ang="0">
                  <a:pos x="76" y="116"/>
                </a:cxn>
                <a:cxn ang="0">
                  <a:pos x="82" y="131"/>
                </a:cxn>
                <a:cxn ang="0">
                  <a:pos x="91" y="133"/>
                </a:cxn>
                <a:cxn ang="0">
                  <a:pos x="90" y="111"/>
                </a:cxn>
                <a:cxn ang="0">
                  <a:pos x="95" y="98"/>
                </a:cxn>
                <a:cxn ang="0">
                  <a:pos x="101" y="88"/>
                </a:cxn>
                <a:cxn ang="0">
                  <a:pos x="109" y="76"/>
                </a:cxn>
                <a:cxn ang="0">
                  <a:pos x="113" y="81"/>
                </a:cxn>
                <a:cxn ang="0">
                  <a:pos x="126" y="88"/>
                </a:cxn>
                <a:cxn ang="0">
                  <a:pos x="132" y="81"/>
                </a:cxn>
                <a:cxn ang="0">
                  <a:pos x="132" y="70"/>
                </a:cxn>
                <a:cxn ang="0">
                  <a:pos x="133" y="64"/>
                </a:cxn>
                <a:cxn ang="0">
                  <a:pos x="142" y="62"/>
                </a:cxn>
                <a:cxn ang="0">
                  <a:pos x="148" y="59"/>
                </a:cxn>
              </a:cxnLst>
              <a:rect l="0" t="0" r="r" b="b"/>
              <a:pathLst>
                <a:path w="150" h="135">
                  <a:moveTo>
                    <a:pt x="147" y="51"/>
                  </a:moveTo>
                  <a:cubicBezTo>
                    <a:pt x="146" y="51"/>
                    <a:pt x="146" y="50"/>
                    <a:pt x="146" y="49"/>
                  </a:cubicBezTo>
                  <a:cubicBezTo>
                    <a:pt x="145" y="49"/>
                    <a:pt x="146" y="47"/>
                    <a:pt x="145" y="47"/>
                  </a:cubicBezTo>
                  <a:cubicBezTo>
                    <a:pt x="144" y="46"/>
                    <a:pt x="142" y="47"/>
                    <a:pt x="141" y="47"/>
                  </a:cubicBezTo>
                  <a:cubicBezTo>
                    <a:pt x="140" y="47"/>
                    <a:pt x="136" y="48"/>
                    <a:pt x="136" y="47"/>
                  </a:cubicBezTo>
                  <a:cubicBezTo>
                    <a:pt x="135" y="46"/>
                    <a:pt x="135" y="46"/>
                    <a:pt x="135" y="45"/>
                  </a:cubicBezTo>
                  <a:cubicBezTo>
                    <a:pt x="135" y="44"/>
                    <a:pt x="135" y="44"/>
                    <a:pt x="135" y="43"/>
                  </a:cubicBezTo>
                  <a:cubicBezTo>
                    <a:pt x="134" y="43"/>
                    <a:pt x="134" y="42"/>
                    <a:pt x="133" y="42"/>
                  </a:cubicBezTo>
                  <a:cubicBezTo>
                    <a:pt x="133" y="41"/>
                    <a:pt x="132" y="41"/>
                    <a:pt x="132" y="40"/>
                  </a:cubicBezTo>
                  <a:cubicBezTo>
                    <a:pt x="130" y="40"/>
                    <a:pt x="130" y="39"/>
                    <a:pt x="130" y="38"/>
                  </a:cubicBezTo>
                  <a:cubicBezTo>
                    <a:pt x="129" y="36"/>
                    <a:pt x="128" y="36"/>
                    <a:pt x="127" y="36"/>
                  </a:cubicBezTo>
                  <a:cubicBezTo>
                    <a:pt x="125" y="36"/>
                    <a:pt x="123" y="37"/>
                    <a:pt x="121" y="36"/>
                  </a:cubicBezTo>
                  <a:cubicBezTo>
                    <a:pt x="120" y="36"/>
                    <a:pt x="119" y="35"/>
                    <a:pt x="118" y="34"/>
                  </a:cubicBezTo>
                  <a:cubicBezTo>
                    <a:pt x="117" y="34"/>
                    <a:pt x="117" y="33"/>
                    <a:pt x="116" y="33"/>
                  </a:cubicBezTo>
                  <a:cubicBezTo>
                    <a:pt x="116" y="32"/>
                    <a:pt x="116" y="32"/>
                    <a:pt x="116" y="31"/>
                  </a:cubicBezTo>
                  <a:cubicBezTo>
                    <a:pt x="115" y="31"/>
                    <a:pt x="115" y="31"/>
                    <a:pt x="114" y="31"/>
                  </a:cubicBezTo>
                  <a:cubicBezTo>
                    <a:pt x="113" y="31"/>
                    <a:pt x="113" y="30"/>
                    <a:pt x="112" y="30"/>
                  </a:cubicBezTo>
                  <a:cubicBezTo>
                    <a:pt x="112" y="29"/>
                    <a:pt x="111" y="29"/>
                    <a:pt x="110" y="28"/>
                  </a:cubicBezTo>
                  <a:cubicBezTo>
                    <a:pt x="108" y="27"/>
                    <a:pt x="106" y="25"/>
                    <a:pt x="106" y="23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07" y="22"/>
                    <a:pt x="106" y="21"/>
                    <a:pt x="105" y="20"/>
                  </a:cubicBezTo>
                  <a:cubicBezTo>
                    <a:pt x="103" y="18"/>
                    <a:pt x="101" y="17"/>
                    <a:pt x="100" y="14"/>
                  </a:cubicBezTo>
                  <a:cubicBezTo>
                    <a:pt x="99" y="13"/>
                    <a:pt x="99" y="12"/>
                    <a:pt x="98" y="12"/>
                  </a:cubicBezTo>
                  <a:cubicBezTo>
                    <a:pt x="96" y="11"/>
                    <a:pt x="95" y="11"/>
                    <a:pt x="94" y="10"/>
                  </a:cubicBezTo>
                  <a:cubicBezTo>
                    <a:pt x="93" y="9"/>
                    <a:pt x="93" y="9"/>
                    <a:pt x="92" y="8"/>
                  </a:cubicBezTo>
                  <a:cubicBezTo>
                    <a:pt x="90" y="8"/>
                    <a:pt x="90" y="7"/>
                    <a:pt x="90" y="6"/>
                  </a:cubicBezTo>
                  <a:cubicBezTo>
                    <a:pt x="89" y="5"/>
                    <a:pt x="88" y="4"/>
                    <a:pt x="88" y="3"/>
                  </a:cubicBezTo>
                  <a:cubicBezTo>
                    <a:pt x="88" y="3"/>
                    <a:pt x="88" y="3"/>
                    <a:pt x="88" y="3"/>
                  </a:cubicBezTo>
                  <a:cubicBezTo>
                    <a:pt x="88" y="4"/>
                    <a:pt x="87" y="4"/>
                    <a:pt x="86" y="4"/>
                  </a:cubicBezTo>
                  <a:cubicBezTo>
                    <a:pt x="86" y="4"/>
                    <a:pt x="85" y="4"/>
                    <a:pt x="84" y="5"/>
                  </a:cubicBezTo>
                  <a:cubicBezTo>
                    <a:pt x="83" y="5"/>
                    <a:pt x="82" y="5"/>
                    <a:pt x="81" y="4"/>
                  </a:cubicBezTo>
                  <a:cubicBezTo>
                    <a:pt x="80" y="3"/>
                    <a:pt x="78" y="0"/>
                    <a:pt x="76" y="1"/>
                  </a:cubicBezTo>
                  <a:cubicBezTo>
                    <a:pt x="75" y="1"/>
                    <a:pt x="75" y="1"/>
                    <a:pt x="74" y="2"/>
                  </a:cubicBezTo>
                  <a:cubicBezTo>
                    <a:pt x="74" y="2"/>
                    <a:pt x="75" y="3"/>
                    <a:pt x="75" y="3"/>
                  </a:cubicBezTo>
                  <a:cubicBezTo>
                    <a:pt x="74" y="4"/>
                    <a:pt x="74" y="4"/>
                    <a:pt x="74" y="4"/>
                  </a:cubicBezTo>
                  <a:cubicBezTo>
                    <a:pt x="73" y="5"/>
                    <a:pt x="74" y="7"/>
                    <a:pt x="74" y="8"/>
                  </a:cubicBezTo>
                  <a:cubicBezTo>
                    <a:pt x="74" y="10"/>
                    <a:pt x="75" y="10"/>
                    <a:pt x="76" y="11"/>
                  </a:cubicBezTo>
                  <a:cubicBezTo>
                    <a:pt x="77" y="12"/>
                    <a:pt x="78" y="14"/>
                    <a:pt x="79" y="15"/>
                  </a:cubicBezTo>
                  <a:cubicBezTo>
                    <a:pt x="80" y="16"/>
                    <a:pt x="80" y="17"/>
                    <a:pt x="80" y="18"/>
                  </a:cubicBezTo>
                  <a:cubicBezTo>
                    <a:pt x="81" y="20"/>
                    <a:pt x="82" y="21"/>
                    <a:pt x="80" y="23"/>
                  </a:cubicBezTo>
                  <a:cubicBezTo>
                    <a:pt x="80" y="23"/>
                    <a:pt x="80" y="24"/>
                    <a:pt x="79" y="24"/>
                  </a:cubicBezTo>
                  <a:cubicBezTo>
                    <a:pt x="79" y="25"/>
                    <a:pt x="78" y="24"/>
                    <a:pt x="78" y="25"/>
                  </a:cubicBezTo>
                  <a:cubicBezTo>
                    <a:pt x="77" y="25"/>
                    <a:pt x="76" y="24"/>
                    <a:pt x="76" y="24"/>
                  </a:cubicBezTo>
                  <a:cubicBezTo>
                    <a:pt x="75" y="23"/>
                    <a:pt x="75" y="22"/>
                    <a:pt x="75" y="21"/>
                  </a:cubicBezTo>
                  <a:cubicBezTo>
                    <a:pt x="74" y="19"/>
                    <a:pt x="73" y="18"/>
                    <a:pt x="71" y="18"/>
                  </a:cubicBezTo>
                  <a:cubicBezTo>
                    <a:pt x="69" y="18"/>
                    <a:pt x="67" y="20"/>
                    <a:pt x="65" y="21"/>
                  </a:cubicBezTo>
                  <a:cubicBezTo>
                    <a:pt x="65" y="21"/>
                    <a:pt x="64" y="21"/>
                    <a:pt x="64" y="22"/>
                  </a:cubicBezTo>
                  <a:cubicBezTo>
                    <a:pt x="63" y="22"/>
                    <a:pt x="63" y="22"/>
                    <a:pt x="63" y="23"/>
                  </a:cubicBezTo>
                  <a:cubicBezTo>
                    <a:pt x="62" y="24"/>
                    <a:pt x="60" y="26"/>
                    <a:pt x="58" y="27"/>
                  </a:cubicBezTo>
                  <a:cubicBezTo>
                    <a:pt x="57" y="28"/>
                    <a:pt x="56" y="29"/>
                    <a:pt x="56" y="30"/>
                  </a:cubicBezTo>
                  <a:cubicBezTo>
                    <a:pt x="56" y="31"/>
                    <a:pt x="57" y="32"/>
                    <a:pt x="57" y="33"/>
                  </a:cubicBezTo>
                  <a:cubicBezTo>
                    <a:pt x="57" y="35"/>
                    <a:pt x="57" y="36"/>
                    <a:pt x="56" y="37"/>
                  </a:cubicBezTo>
                  <a:cubicBezTo>
                    <a:pt x="56" y="38"/>
                    <a:pt x="56" y="39"/>
                    <a:pt x="55" y="40"/>
                  </a:cubicBezTo>
                  <a:cubicBezTo>
                    <a:pt x="55" y="41"/>
                    <a:pt x="56" y="41"/>
                    <a:pt x="55" y="42"/>
                  </a:cubicBezTo>
                  <a:cubicBezTo>
                    <a:pt x="55" y="43"/>
                    <a:pt x="53" y="43"/>
                    <a:pt x="52" y="44"/>
                  </a:cubicBezTo>
                  <a:cubicBezTo>
                    <a:pt x="52" y="45"/>
                    <a:pt x="52" y="47"/>
                    <a:pt x="51" y="48"/>
                  </a:cubicBezTo>
                  <a:cubicBezTo>
                    <a:pt x="51" y="48"/>
                    <a:pt x="51" y="48"/>
                    <a:pt x="51" y="49"/>
                  </a:cubicBezTo>
                  <a:cubicBezTo>
                    <a:pt x="51" y="49"/>
                    <a:pt x="51" y="50"/>
                    <a:pt x="51" y="50"/>
                  </a:cubicBezTo>
                  <a:cubicBezTo>
                    <a:pt x="50" y="52"/>
                    <a:pt x="49" y="53"/>
                    <a:pt x="48" y="55"/>
                  </a:cubicBezTo>
                  <a:cubicBezTo>
                    <a:pt x="48" y="55"/>
                    <a:pt x="47" y="56"/>
                    <a:pt x="47" y="57"/>
                  </a:cubicBezTo>
                  <a:cubicBezTo>
                    <a:pt x="47" y="58"/>
                    <a:pt x="48" y="58"/>
                    <a:pt x="48" y="60"/>
                  </a:cubicBezTo>
                  <a:cubicBezTo>
                    <a:pt x="48" y="61"/>
                    <a:pt x="48" y="62"/>
                    <a:pt x="48" y="64"/>
                  </a:cubicBezTo>
                  <a:cubicBezTo>
                    <a:pt x="49" y="64"/>
                    <a:pt x="49" y="66"/>
                    <a:pt x="49" y="66"/>
                  </a:cubicBezTo>
                  <a:cubicBezTo>
                    <a:pt x="50" y="66"/>
                    <a:pt x="50" y="66"/>
                    <a:pt x="50" y="67"/>
                  </a:cubicBezTo>
                  <a:cubicBezTo>
                    <a:pt x="50" y="67"/>
                    <a:pt x="51" y="68"/>
                    <a:pt x="51" y="69"/>
                  </a:cubicBezTo>
                  <a:cubicBezTo>
                    <a:pt x="51" y="69"/>
                    <a:pt x="51" y="70"/>
                    <a:pt x="51" y="71"/>
                  </a:cubicBezTo>
                  <a:cubicBezTo>
                    <a:pt x="51" y="74"/>
                    <a:pt x="51" y="79"/>
                    <a:pt x="49" y="81"/>
                  </a:cubicBezTo>
                  <a:cubicBezTo>
                    <a:pt x="49" y="81"/>
                    <a:pt x="49" y="82"/>
                    <a:pt x="48" y="82"/>
                  </a:cubicBezTo>
                  <a:cubicBezTo>
                    <a:pt x="48" y="82"/>
                    <a:pt x="48" y="83"/>
                    <a:pt x="48" y="83"/>
                  </a:cubicBezTo>
                  <a:cubicBezTo>
                    <a:pt x="47" y="84"/>
                    <a:pt x="47" y="85"/>
                    <a:pt x="46" y="84"/>
                  </a:cubicBezTo>
                  <a:cubicBezTo>
                    <a:pt x="45" y="83"/>
                    <a:pt x="44" y="81"/>
                    <a:pt x="43" y="80"/>
                  </a:cubicBezTo>
                  <a:cubicBezTo>
                    <a:pt x="43" y="79"/>
                    <a:pt x="43" y="78"/>
                    <a:pt x="42" y="77"/>
                  </a:cubicBezTo>
                  <a:cubicBezTo>
                    <a:pt x="41" y="76"/>
                    <a:pt x="40" y="74"/>
                    <a:pt x="39" y="74"/>
                  </a:cubicBezTo>
                  <a:cubicBezTo>
                    <a:pt x="38" y="74"/>
                    <a:pt x="33" y="75"/>
                    <a:pt x="33" y="73"/>
                  </a:cubicBezTo>
                  <a:cubicBezTo>
                    <a:pt x="32" y="72"/>
                    <a:pt x="31" y="71"/>
                    <a:pt x="30" y="71"/>
                  </a:cubicBezTo>
                  <a:cubicBezTo>
                    <a:pt x="29" y="70"/>
                    <a:pt x="27" y="69"/>
                    <a:pt x="25" y="67"/>
                  </a:cubicBezTo>
                  <a:cubicBezTo>
                    <a:pt x="23" y="66"/>
                    <a:pt x="21" y="64"/>
                    <a:pt x="20" y="63"/>
                  </a:cubicBezTo>
                  <a:cubicBezTo>
                    <a:pt x="18" y="62"/>
                    <a:pt x="17" y="60"/>
                    <a:pt x="16" y="59"/>
                  </a:cubicBezTo>
                  <a:cubicBezTo>
                    <a:pt x="16" y="58"/>
                    <a:pt x="16" y="57"/>
                    <a:pt x="15" y="56"/>
                  </a:cubicBezTo>
                  <a:cubicBezTo>
                    <a:pt x="14" y="55"/>
                    <a:pt x="13" y="54"/>
                    <a:pt x="12" y="53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2" y="51"/>
                    <a:pt x="11" y="51"/>
                    <a:pt x="11" y="51"/>
                  </a:cubicBezTo>
                  <a:cubicBezTo>
                    <a:pt x="11" y="51"/>
                    <a:pt x="11" y="50"/>
                    <a:pt x="11" y="50"/>
                  </a:cubicBezTo>
                  <a:cubicBezTo>
                    <a:pt x="10" y="49"/>
                    <a:pt x="9" y="50"/>
                    <a:pt x="8" y="50"/>
                  </a:cubicBezTo>
                  <a:cubicBezTo>
                    <a:pt x="8" y="50"/>
                    <a:pt x="7" y="51"/>
                    <a:pt x="6" y="51"/>
                  </a:cubicBezTo>
                  <a:cubicBezTo>
                    <a:pt x="5" y="51"/>
                    <a:pt x="1" y="52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5"/>
                    <a:pt x="0" y="56"/>
                    <a:pt x="0" y="57"/>
                  </a:cubicBezTo>
                  <a:cubicBezTo>
                    <a:pt x="1" y="57"/>
                    <a:pt x="2" y="57"/>
                    <a:pt x="3" y="58"/>
                  </a:cubicBezTo>
                  <a:cubicBezTo>
                    <a:pt x="4" y="58"/>
                    <a:pt x="5" y="58"/>
                    <a:pt x="5" y="59"/>
                  </a:cubicBezTo>
                  <a:cubicBezTo>
                    <a:pt x="5" y="59"/>
                    <a:pt x="6" y="59"/>
                    <a:pt x="6" y="59"/>
                  </a:cubicBezTo>
                  <a:cubicBezTo>
                    <a:pt x="7" y="59"/>
                    <a:pt x="9" y="60"/>
                    <a:pt x="10" y="61"/>
                  </a:cubicBezTo>
                  <a:cubicBezTo>
                    <a:pt x="11" y="62"/>
                    <a:pt x="12" y="62"/>
                    <a:pt x="12" y="62"/>
                  </a:cubicBezTo>
                  <a:cubicBezTo>
                    <a:pt x="13" y="62"/>
                    <a:pt x="13" y="63"/>
                    <a:pt x="14" y="63"/>
                  </a:cubicBezTo>
                  <a:cubicBezTo>
                    <a:pt x="14" y="64"/>
                    <a:pt x="15" y="64"/>
                    <a:pt x="15" y="65"/>
                  </a:cubicBezTo>
                  <a:cubicBezTo>
                    <a:pt x="16" y="65"/>
                    <a:pt x="17" y="65"/>
                    <a:pt x="17" y="66"/>
                  </a:cubicBezTo>
                  <a:cubicBezTo>
                    <a:pt x="19" y="67"/>
                    <a:pt x="20" y="69"/>
                    <a:pt x="22" y="71"/>
                  </a:cubicBezTo>
                  <a:cubicBezTo>
                    <a:pt x="23" y="71"/>
                    <a:pt x="24" y="72"/>
                    <a:pt x="24" y="73"/>
                  </a:cubicBezTo>
                  <a:cubicBezTo>
                    <a:pt x="25" y="73"/>
                    <a:pt x="25" y="74"/>
                    <a:pt x="26" y="75"/>
                  </a:cubicBezTo>
                  <a:cubicBezTo>
                    <a:pt x="27" y="76"/>
                    <a:pt x="29" y="77"/>
                    <a:pt x="30" y="78"/>
                  </a:cubicBezTo>
                  <a:cubicBezTo>
                    <a:pt x="31" y="79"/>
                    <a:pt x="32" y="80"/>
                    <a:pt x="33" y="81"/>
                  </a:cubicBezTo>
                  <a:cubicBezTo>
                    <a:pt x="34" y="81"/>
                    <a:pt x="34" y="82"/>
                    <a:pt x="34" y="82"/>
                  </a:cubicBezTo>
                  <a:cubicBezTo>
                    <a:pt x="35" y="83"/>
                    <a:pt x="35" y="83"/>
                    <a:pt x="36" y="83"/>
                  </a:cubicBezTo>
                  <a:cubicBezTo>
                    <a:pt x="40" y="85"/>
                    <a:pt x="43" y="88"/>
                    <a:pt x="47" y="90"/>
                  </a:cubicBezTo>
                  <a:cubicBezTo>
                    <a:pt x="49" y="91"/>
                    <a:pt x="51" y="93"/>
                    <a:pt x="53" y="94"/>
                  </a:cubicBezTo>
                  <a:cubicBezTo>
                    <a:pt x="55" y="95"/>
                    <a:pt x="57" y="97"/>
                    <a:pt x="58" y="99"/>
                  </a:cubicBezTo>
                  <a:cubicBezTo>
                    <a:pt x="59" y="100"/>
                    <a:pt x="59" y="102"/>
                    <a:pt x="60" y="102"/>
                  </a:cubicBezTo>
                  <a:cubicBezTo>
                    <a:pt x="61" y="103"/>
                    <a:pt x="62" y="103"/>
                    <a:pt x="62" y="104"/>
                  </a:cubicBezTo>
                  <a:cubicBezTo>
                    <a:pt x="63" y="104"/>
                    <a:pt x="64" y="105"/>
                    <a:pt x="65" y="105"/>
                  </a:cubicBezTo>
                  <a:cubicBezTo>
                    <a:pt x="67" y="105"/>
                    <a:pt x="66" y="105"/>
                    <a:pt x="67" y="106"/>
                  </a:cubicBezTo>
                  <a:cubicBezTo>
                    <a:pt x="68" y="106"/>
                    <a:pt x="68" y="106"/>
                    <a:pt x="68" y="106"/>
                  </a:cubicBezTo>
                  <a:cubicBezTo>
                    <a:pt x="68" y="106"/>
                    <a:pt x="69" y="107"/>
                    <a:pt x="69" y="107"/>
                  </a:cubicBezTo>
                  <a:cubicBezTo>
                    <a:pt x="71" y="109"/>
                    <a:pt x="72" y="113"/>
                    <a:pt x="74" y="115"/>
                  </a:cubicBezTo>
                  <a:cubicBezTo>
                    <a:pt x="75" y="116"/>
                    <a:pt x="75" y="116"/>
                    <a:pt x="76" y="116"/>
                  </a:cubicBezTo>
                  <a:cubicBezTo>
                    <a:pt x="77" y="117"/>
                    <a:pt x="77" y="118"/>
                    <a:pt x="78" y="119"/>
                  </a:cubicBezTo>
                  <a:cubicBezTo>
                    <a:pt x="79" y="121"/>
                    <a:pt x="79" y="124"/>
                    <a:pt x="80" y="126"/>
                  </a:cubicBezTo>
                  <a:cubicBezTo>
                    <a:pt x="81" y="128"/>
                    <a:pt x="81" y="129"/>
                    <a:pt x="82" y="131"/>
                  </a:cubicBezTo>
                  <a:cubicBezTo>
                    <a:pt x="83" y="132"/>
                    <a:pt x="85" y="132"/>
                    <a:pt x="86" y="133"/>
                  </a:cubicBezTo>
                  <a:cubicBezTo>
                    <a:pt x="87" y="133"/>
                    <a:pt x="88" y="135"/>
                    <a:pt x="90" y="135"/>
                  </a:cubicBezTo>
                  <a:cubicBezTo>
                    <a:pt x="91" y="134"/>
                    <a:pt x="90" y="134"/>
                    <a:pt x="91" y="133"/>
                  </a:cubicBezTo>
                  <a:cubicBezTo>
                    <a:pt x="91" y="132"/>
                    <a:pt x="91" y="132"/>
                    <a:pt x="91" y="131"/>
                  </a:cubicBezTo>
                  <a:cubicBezTo>
                    <a:pt x="93" y="129"/>
                    <a:pt x="96" y="127"/>
                    <a:pt x="95" y="124"/>
                  </a:cubicBezTo>
                  <a:cubicBezTo>
                    <a:pt x="95" y="120"/>
                    <a:pt x="92" y="115"/>
                    <a:pt x="90" y="111"/>
                  </a:cubicBezTo>
                  <a:cubicBezTo>
                    <a:pt x="88" y="110"/>
                    <a:pt x="86" y="108"/>
                    <a:pt x="86" y="105"/>
                  </a:cubicBezTo>
                  <a:cubicBezTo>
                    <a:pt x="87" y="103"/>
                    <a:pt x="91" y="103"/>
                    <a:pt x="93" y="102"/>
                  </a:cubicBezTo>
                  <a:cubicBezTo>
                    <a:pt x="94" y="101"/>
                    <a:pt x="95" y="100"/>
                    <a:pt x="95" y="98"/>
                  </a:cubicBezTo>
                  <a:cubicBezTo>
                    <a:pt x="96" y="97"/>
                    <a:pt x="97" y="95"/>
                    <a:pt x="97" y="94"/>
                  </a:cubicBezTo>
                  <a:cubicBezTo>
                    <a:pt x="98" y="93"/>
                    <a:pt x="98" y="92"/>
                    <a:pt x="99" y="91"/>
                  </a:cubicBezTo>
                  <a:cubicBezTo>
                    <a:pt x="100" y="90"/>
                    <a:pt x="100" y="89"/>
                    <a:pt x="101" y="88"/>
                  </a:cubicBezTo>
                  <a:cubicBezTo>
                    <a:pt x="103" y="87"/>
                    <a:pt x="104" y="85"/>
                    <a:pt x="105" y="83"/>
                  </a:cubicBezTo>
                  <a:cubicBezTo>
                    <a:pt x="107" y="81"/>
                    <a:pt x="108" y="80"/>
                    <a:pt x="109" y="78"/>
                  </a:cubicBezTo>
                  <a:cubicBezTo>
                    <a:pt x="109" y="77"/>
                    <a:pt x="109" y="77"/>
                    <a:pt x="109" y="76"/>
                  </a:cubicBezTo>
                  <a:cubicBezTo>
                    <a:pt x="109" y="76"/>
                    <a:pt x="111" y="74"/>
                    <a:pt x="111" y="74"/>
                  </a:cubicBezTo>
                  <a:cubicBezTo>
                    <a:pt x="112" y="74"/>
                    <a:pt x="112" y="74"/>
                    <a:pt x="112" y="75"/>
                  </a:cubicBezTo>
                  <a:cubicBezTo>
                    <a:pt x="113" y="77"/>
                    <a:pt x="113" y="79"/>
                    <a:pt x="113" y="81"/>
                  </a:cubicBezTo>
                  <a:cubicBezTo>
                    <a:pt x="113" y="83"/>
                    <a:pt x="113" y="86"/>
                    <a:pt x="113" y="87"/>
                  </a:cubicBezTo>
                  <a:cubicBezTo>
                    <a:pt x="114" y="90"/>
                    <a:pt x="116" y="89"/>
                    <a:pt x="118" y="89"/>
                  </a:cubicBezTo>
                  <a:cubicBezTo>
                    <a:pt x="121" y="89"/>
                    <a:pt x="123" y="89"/>
                    <a:pt x="126" y="88"/>
                  </a:cubicBezTo>
                  <a:cubicBezTo>
                    <a:pt x="127" y="87"/>
                    <a:pt x="129" y="87"/>
                    <a:pt x="130" y="85"/>
                  </a:cubicBezTo>
                  <a:cubicBezTo>
                    <a:pt x="131" y="85"/>
                    <a:pt x="131" y="84"/>
                    <a:pt x="131" y="83"/>
                  </a:cubicBezTo>
                  <a:cubicBezTo>
                    <a:pt x="131" y="82"/>
                    <a:pt x="132" y="82"/>
                    <a:pt x="132" y="81"/>
                  </a:cubicBezTo>
                  <a:cubicBezTo>
                    <a:pt x="133" y="80"/>
                    <a:pt x="133" y="79"/>
                    <a:pt x="133" y="78"/>
                  </a:cubicBezTo>
                  <a:cubicBezTo>
                    <a:pt x="134" y="76"/>
                    <a:pt x="135" y="73"/>
                    <a:pt x="134" y="71"/>
                  </a:cubicBezTo>
                  <a:cubicBezTo>
                    <a:pt x="134" y="71"/>
                    <a:pt x="133" y="70"/>
                    <a:pt x="132" y="70"/>
                  </a:cubicBezTo>
                  <a:cubicBezTo>
                    <a:pt x="132" y="69"/>
                    <a:pt x="131" y="69"/>
                    <a:pt x="130" y="69"/>
                  </a:cubicBezTo>
                  <a:cubicBezTo>
                    <a:pt x="129" y="69"/>
                    <a:pt x="129" y="68"/>
                    <a:pt x="129" y="68"/>
                  </a:cubicBezTo>
                  <a:cubicBezTo>
                    <a:pt x="128" y="66"/>
                    <a:pt x="131" y="64"/>
                    <a:pt x="133" y="64"/>
                  </a:cubicBezTo>
                  <a:cubicBezTo>
                    <a:pt x="134" y="65"/>
                    <a:pt x="135" y="65"/>
                    <a:pt x="136" y="66"/>
                  </a:cubicBezTo>
                  <a:cubicBezTo>
                    <a:pt x="138" y="67"/>
                    <a:pt x="139" y="67"/>
                    <a:pt x="141" y="67"/>
                  </a:cubicBezTo>
                  <a:cubicBezTo>
                    <a:pt x="141" y="65"/>
                    <a:pt x="140" y="62"/>
                    <a:pt x="142" y="62"/>
                  </a:cubicBezTo>
                  <a:cubicBezTo>
                    <a:pt x="143" y="62"/>
                    <a:pt x="145" y="63"/>
                    <a:pt x="146" y="62"/>
                  </a:cubicBezTo>
                  <a:cubicBezTo>
                    <a:pt x="146" y="61"/>
                    <a:pt x="145" y="60"/>
                    <a:pt x="146" y="60"/>
                  </a:cubicBezTo>
                  <a:cubicBezTo>
                    <a:pt x="147" y="59"/>
                    <a:pt x="148" y="59"/>
                    <a:pt x="148" y="59"/>
                  </a:cubicBezTo>
                  <a:cubicBezTo>
                    <a:pt x="149" y="58"/>
                    <a:pt x="149" y="58"/>
                    <a:pt x="149" y="57"/>
                  </a:cubicBezTo>
                  <a:cubicBezTo>
                    <a:pt x="150" y="55"/>
                    <a:pt x="148" y="52"/>
                    <a:pt x="147" y="5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9" name="Freeform 29"/>
            <p:cNvSpPr>
              <a:spLocks noEditPoints="1"/>
            </p:cNvSpPr>
            <p:nvPr/>
          </p:nvSpPr>
          <p:spPr bwMode="auto">
            <a:xfrm>
              <a:off x="5327650" y="5132388"/>
              <a:ext cx="406400" cy="601663"/>
            </a:xfrm>
            <a:custGeom>
              <a:avLst/>
              <a:gdLst/>
              <a:ahLst/>
              <a:cxnLst>
                <a:cxn ang="0">
                  <a:pos x="53" y="277"/>
                </a:cxn>
                <a:cxn ang="0">
                  <a:pos x="53" y="278"/>
                </a:cxn>
                <a:cxn ang="0">
                  <a:pos x="54" y="276"/>
                </a:cxn>
                <a:cxn ang="0">
                  <a:pos x="58" y="282"/>
                </a:cxn>
                <a:cxn ang="0">
                  <a:pos x="54" y="280"/>
                </a:cxn>
                <a:cxn ang="0">
                  <a:pos x="208" y="236"/>
                </a:cxn>
                <a:cxn ang="0">
                  <a:pos x="200" y="227"/>
                </a:cxn>
                <a:cxn ang="0">
                  <a:pos x="192" y="213"/>
                </a:cxn>
                <a:cxn ang="0">
                  <a:pos x="188" y="190"/>
                </a:cxn>
                <a:cxn ang="0">
                  <a:pos x="201" y="176"/>
                </a:cxn>
                <a:cxn ang="0">
                  <a:pos x="195" y="148"/>
                </a:cxn>
                <a:cxn ang="0">
                  <a:pos x="198" y="139"/>
                </a:cxn>
                <a:cxn ang="0">
                  <a:pos x="183" y="129"/>
                </a:cxn>
                <a:cxn ang="0">
                  <a:pos x="170" y="135"/>
                </a:cxn>
                <a:cxn ang="0">
                  <a:pos x="147" y="122"/>
                </a:cxn>
                <a:cxn ang="0">
                  <a:pos x="137" y="115"/>
                </a:cxn>
                <a:cxn ang="0">
                  <a:pos x="141" y="103"/>
                </a:cxn>
                <a:cxn ang="0">
                  <a:pos x="137" y="90"/>
                </a:cxn>
                <a:cxn ang="0">
                  <a:pos x="137" y="76"/>
                </a:cxn>
                <a:cxn ang="0">
                  <a:pos x="107" y="61"/>
                </a:cxn>
                <a:cxn ang="0">
                  <a:pos x="105" y="40"/>
                </a:cxn>
                <a:cxn ang="0">
                  <a:pos x="95" y="29"/>
                </a:cxn>
                <a:cxn ang="0">
                  <a:pos x="81" y="12"/>
                </a:cxn>
                <a:cxn ang="0">
                  <a:pos x="44" y="0"/>
                </a:cxn>
                <a:cxn ang="0">
                  <a:pos x="26" y="8"/>
                </a:cxn>
                <a:cxn ang="0">
                  <a:pos x="6" y="18"/>
                </a:cxn>
                <a:cxn ang="0">
                  <a:pos x="2" y="31"/>
                </a:cxn>
                <a:cxn ang="0">
                  <a:pos x="2" y="48"/>
                </a:cxn>
                <a:cxn ang="0">
                  <a:pos x="6" y="64"/>
                </a:cxn>
                <a:cxn ang="0">
                  <a:pos x="19" y="82"/>
                </a:cxn>
                <a:cxn ang="0">
                  <a:pos x="23" y="112"/>
                </a:cxn>
                <a:cxn ang="0">
                  <a:pos x="11" y="142"/>
                </a:cxn>
                <a:cxn ang="0">
                  <a:pos x="24" y="151"/>
                </a:cxn>
                <a:cxn ang="0">
                  <a:pos x="24" y="164"/>
                </a:cxn>
                <a:cxn ang="0">
                  <a:pos x="36" y="173"/>
                </a:cxn>
                <a:cxn ang="0">
                  <a:pos x="15" y="176"/>
                </a:cxn>
                <a:cxn ang="0">
                  <a:pos x="28" y="201"/>
                </a:cxn>
                <a:cxn ang="0">
                  <a:pos x="25" y="214"/>
                </a:cxn>
                <a:cxn ang="0">
                  <a:pos x="13" y="212"/>
                </a:cxn>
                <a:cxn ang="0">
                  <a:pos x="22" y="223"/>
                </a:cxn>
                <a:cxn ang="0">
                  <a:pos x="36" y="241"/>
                </a:cxn>
                <a:cxn ang="0">
                  <a:pos x="51" y="247"/>
                </a:cxn>
                <a:cxn ang="0">
                  <a:pos x="60" y="258"/>
                </a:cxn>
                <a:cxn ang="0">
                  <a:pos x="72" y="270"/>
                </a:cxn>
                <a:cxn ang="0">
                  <a:pos x="82" y="262"/>
                </a:cxn>
                <a:cxn ang="0">
                  <a:pos x="93" y="244"/>
                </a:cxn>
                <a:cxn ang="0">
                  <a:pos x="105" y="245"/>
                </a:cxn>
                <a:cxn ang="0">
                  <a:pos x="117" y="255"/>
                </a:cxn>
                <a:cxn ang="0">
                  <a:pos x="131" y="272"/>
                </a:cxn>
                <a:cxn ang="0">
                  <a:pos x="151" y="289"/>
                </a:cxn>
                <a:cxn ang="0">
                  <a:pos x="143" y="305"/>
                </a:cxn>
                <a:cxn ang="0">
                  <a:pos x="138" y="321"/>
                </a:cxn>
                <a:cxn ang="0">
                  <a:pos x="159" y="316"/>
                </a:cxn>
                <a:cxn ang="0">
                  <a:pos x="174" y="312"/>
                </a:cxn>
                <a:cxn ang="0">
                  <a:pos x="190" y="299"/>
                </a:cxn>
                <a:cxn ang="0">
                  <a:pos x="187" y="276"/>
                </a:cxn>
                <a:cxn ang="0">
                  <a:pos x="202" y="269"/>
                </a:cxn>
              </a:cxnLst>
              <a:rect l="0" t="0" r="r" b="b"/>
              <a:pathLst>
                <a:path w="218" h="322">
                  <a:moveTo>
                    <a:pt x="53" y="277"/>
                  </a:moveTo>
                  <a:cubicBezTo>
                    <a:pt x="53" y="276"/>
                    <a:pt x="53" y="276"/>
                    <a:pt x="53" y="276"/>
                  </a:cubicBezTo>
                  <a:cubicBezTo>
                    <a:pt x="53" y="276"/>
                    <a:pt x="53" y="276"/>
                    <a:pt x="53" y="276"/>
                  </a:cubicBezTo>
                  <a:cubicBezTo>
                    <a:pt x="53" y="276"/>
                    <a:pt x="53" y="276"/>
                    <a:pt x="53" y="277"/>
                  </a:cubicBezTo>
                  <a:moveTo>
                    <a:pt x="53" y="277"/>
                  </a:move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7"/>
                    <a:pt x="53" y="276"/>
                  </a:cubicBezTo>
                  <a:cubicBezTo>
                    <a:pt x="53" y="277"/>
                    <a:pt x="53" y="277"/>
                    <a:pt x="53" y="277"/>
                  </a:cubicBezTo>
                  <a:moveTo>
                    <a:pt x="53" y="277"/>
                  </a:move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8"/>
                    <a:pt x="53" y="278"/>
                  </a:cubicBezTo>
                  <a:cubicBezTo>
                    <a:pt x="53" y="278"/>
                    <a:pt x="53" y="278"/>
                    <a:pt x="53" y="278"/>
                  </a:cubicBezTo>
                  <a:cubicBezTo>
                    <a:pt x="53" y="278"/>
                    <a:pt x="53" y="277"/>
                    <a:pt x="53" y="277"/>
                  </a:cubicBezTo>
                  <a:moveTo>
                    <a:pt x="53" y="278"/>
                  </a:moveTo>
                  <a:cubicBezTo>
                    <a:pt x="53" y="278"/>
                    <a:pt x="53" y="277"/>
                    <a:pt x="53" y="277"/>
                  </a:cubicBezTo>
                  <a:cubicBezTo>
                    <a:pt x="53" y="277"/>
                    <a:pt x="53" y="278"/>
                    <a:pt x="53" y="278"/>
                  </a:cubicBezTo>
                  <a:moveTo>
                    <a:pt x="54" y="276"/>
                  </a:moveTo>
                  <a:cubicBezTo>
                    <a:pt x="54" y="276"/>
                    <a:pt x="54" y="276"/>
                    <a:pt x="54" y="276"/>
                  </a:cubicBezTo>
                  <a:cubicBezTo>
                    <a:pt x="55" y="275"/>
                    <a:pt x="56" y="275"/>
                    <a:pt x="56" y="275"/>
                  </a:cubicBezTo>
                  <a:cubicBezTo>
                    <a:pt x="55" y="275"/>
                    <a:pt x="54" y="276"/>
                    <a:pt x="54" y="276"/>
                  </a:cubicBezTo>
                  <a:moveTo>
                    <a:pt x="58" y="282"/>
                  </a:moveTo>
                  <a:cubicBezTo>
                    <a:pt x="58" y="283"/>
                    <a:pt x="59" y="284"/>
                    <a:pt x="59" y="285"/>
                  </a:cubicBezTo>
                  <a:cubicBezTo>
                    <a:pt x="59" y="284"/>
                    <a:pt x="58" y="283"/>
                    <a:pt x="58" y="282"/>
                  </a:cubicBezTo>
                  <a:moveTo>
                    <a:pt x="56" y="275"/>
                  </a:moveTo>
                  <a:cubicBezTo>
                    <a:pt x="57" y="275"/>
                    <a:pt x="57" y="275"/>
                    <a:pt x="57" y="275"/>
                  </a:cubicBezTo>
                  <a:cubicBezTo>
                    <a:pt x="57" y="275"/>
                    <a:pt x="57" y="275"/>
                    <a:pt x="56" y="275"/>
                  </a:cubicBezTo>
                  <a:moveTo>
                    <a:pt x="54" y="280"/>
                  </a:moveTo>
                  <a:cubicBezTo>
                    <a:pt x="54" y="280"/>
                    <a:pt x="54" y="280"/>
                    <a:pt x="54" y="280"/>
                  </a:cubicBezTo>
                  <a:cubicBezTo>
                    <a:pt x="54" y="280"/>
                    <a:pt x="54" y="280"/>
                    <a:pt x="54" y="280"/>
                  </a:cubicBezTo>
                  <a:moveTo>
                    <a:pt x="217" y="248"/>
                  </a:moveTo>
                  <a:cubicBezTo>
                    <a:pt x="217" y="248"/>
                    <a:pt x="216" y="248"/>
                    <a:pt x="216" y="247"/>
                  </a:cubicBezTo>
                  <a:cubicBezTo>
                    <a:pt x="216" y="247"/>
                    <a:pt x="215" y="246"/>
                    <a:pt x="215" y="246"/>
                  </a:cubicBezTo>
                  <a:cubicBezTo>
                    <a:pt x="215" y="245"/>
                    <a:pt x="214" y="244"/>
                    <a:pt x="213" y="243"/>
                  </a:cubicBezTo>
                  <a:cubicBezTo>
                    <a:pt x="212" y="242"/>
                    <a:pt x="210" y="240"/>
                    <a:pt x="210" y="238"/>
                  </a:cubicBezTo>
                  <a:cubicBezTo>
                    <a:pt x="210" y="237"/>
                    <a:pt x="209" y="237"/>
                    <a:pt x="208" y="236"/>
                  </a:cubicBezTo>
                  <a:cubicBezTo>
                    <a:pt x="207" y="235"/>
                    <a:pt x="207" y="234"/>
                    <a:pt x="206" y="233"/>
                  </a:cubicBezTo>
                  <a:cubicBezTo>
                    <a:pt x="205" y="232"/>
                    <a:pt x="205" y="231"/>
                    <a:pt x="203" y="231"/>
                  </a:cubicBezTo>
                  <a:cubicBezTo>
                    <a:pt x="202" y="230"/>
                    <a:pt x="200" y="231"/>
                    <a:pt x="198" y="230"/>
                  </a:cubicBezTo>
                  <a:cubicBezTo>
                    <a:pt x="197" y="230"/>
                    <a:pt x="195" y="230"/>
                    <a:pt x="194" y="230"/>
                  </a:cubicBezTo>
                  <a:cubicBezTo>
                    <a:pt x="193" y="229"/>
                    <a:pt x="193" y="226"/>
                    <a:pt x="194" y="226"/>
                  </a:cubicBezTo>
                  <a:cubicBezTo>
                    <a:pt x="196" y="226"/>
                    <a:pt x="198" y="228"/>
                    <a:pt x="200" y="227"/>
                  </a:cubicBezTo>
                  <a:cubicBezTo>
                    <a:pt x="199" y="225"/>
                    <a:pt x="198" y="224"/>
                    <a:pt x="197" y="222"/>
                  </a:cubicBezTo>
                  <a:cubicBezTo>
                    <a:pt x="196" y="221"/>
                    <a:pt x="196" y="221"/>
                    <a:pt x="195" y="220"/>
                  </a:cubicBezTo>
                  <a:cubicBezTo>
                    <a:pt x="195" y="220"/>
                    <a:pt x="194" y="219"/>
                    <a:pt x="194" y="218"/>
                  </a:cubicBezTo>
                  <a:cubicBezTo>
                    <a:pt x="194" y="218"/>
                    <a:pt x="193" y="217"/>
                    <a:pt x="193" y="216"/>
                  </a:cubicBezTo>
                  <a:cubicBezTo>
                    <a:pt x="193" y="215"/>
                    <a:pt x="193" y="214"/>
                    <a:pt x="193" y="214"/>
                  </a:cubicBezTo>
                  <a:cubicBezTo>
                    <a:pt x="192" y="213"/>
                    <a:pt x="192" y="214"/>
                    <a:pt x="192" y="213"/>
                  </a:cubicBezTo>
                  <a:cubicBezTo>
                    <a:pt x="191" y="212"/>
                    <a:pt x="192" y="210"/>
                    <a:pt x="191" y="210"/>
                  </a:cubicBezTo>
                  <a:cubicBezTo>
                    <a:pt x="191" y="209"/>
                    <a:pt x="191" y="209"/>
                    <a:pt x="190" y="209"/>
                  </a:cubicBezTo>
                  <a:cubicBezTo>
                    <a:pt x="190" y="209"/>
                    <a:pt x="190" y="208"/>
                    <a:pt x="190" y="208"/>
                  </a:cubicBezTo>
                  <a:cubicBezTo>
                    <a:pt x="189" y="207"/>
                    <a:pt x="188" y="205"/>
                    <a:pt x="187" y="203"/>
                  </a:cubicBezTo>
                  <a:cubicBezTo>
                    <a:pt x="187" y="201"/>
                    <a:pt x="187" y="196"/>
                    <a:pt x="187" y="194"/>
                  </a:cubicBezTo>
                  <a:cubicBezTo>
                    <a:pt x="187" y="192"/>
                    <a:pt x="188" y="191"/>
                    <a:pt x="188" y="190"/>
                  </a:cubicBezTo>
                  <a:cubicBezTo>
                    <a:pt x="189" y="189"/>
                    <a:pt x="190" y="189"/>
                    <a:pt x="191" y="187"/>
                  </a:cubicBezTo>
                  <a:cubicBezTo>
                    <a:pt x="191" y="186"/>
                    <a:pt x="191" y="186"/>
                    <a:pt x="191" y="185"/>
                  </a:cubicBezTo>
                  <a:cubicBezTo>
                    <a:pt x="191" y="184"/>
                    <a:pt x="192" y="184"/>
                    <a:pt x="192" y="183"/>
                  </a:cubicBezTo>
                  <a:cubicBezTo>
                    <a:pt x="194" y="181"/>
                    <a:pt x="194" y="178"/>
                    <a:pt x="196" y="177"/>
                  </a:cubicBezTo>
                  <a:cubicBezTo>
                    <a:pt x="196" y="176"/>
                    <a:pt x="198" y="176"/>
                    <a:pt x="198" y="176"/>
                  </a:cubicBezTo>
                  <a:cubicBezTo>
                    <a:pt x="199" y="176"/>
                    <a:pt x="201" y="176"/>
                    <a:pt x="201" y="176"/>
                  </a:cubicBezTo>
                  <a:cubicBezTo>
                    <a:pt x="202" y="175"/>
                    <a:pt x="202" y="174"/>
                    <a:pt x="202" y="173"/>
                  </a:cubicBezTo>
                  <a:cubicBezTo>
                    <a:pt x="202" y="169"/>
                    <a:pt x="202" y="165"/>
                    <a:pt x="202" y="161"/>
                  </a:cubicBezTo>
                  <a:cubicBezTo>
                    <a:pt x="202" y="159"/>
                    <a:pt x="201" y="157"/>
                    <a:pt x="199" y="156"/>
                  </a:cubicBezTo>
                  <a:cubicBezTo>
                    <a:pt x="199" y="155"/>
                    <a:pt x="198" y="154"/>
                    <a:pt x="198" y="154"/>
                  </a:cubicBezTo>
                  <a:cubicBezTo>
                    <a:pt x="197" y="153"/>
                    <a:pt x="196" y="153"/>
                    <a:pt x="195" y="152"/>
                  </a:cubicBezTo>
                  <a:cubicBezTo>
                    <a:pt x="194" y="151"/>
                    <a:pt x="195" y="149"/>
                    <a:pt x="195" y="148"/>
                  </a:cubicBezTo>
                  <a:cubicBezTo>
                    <a:pt x="194" y="148"/>
                    <a:pt x="193" y="147"/>
                    <a:pt x="193" y="146"/>
                  </a:cubicBezTo>
                  <a:cubicBezTo>
                    <a:pt x="193" y="145"/>
                    <a:pt x="192" y="145"/>
                    <a:pt x="192" y="144"/>
                  </a:cubicBezTo>
                  <a:cubicBezTo>
                    <a:pt x="193" y="143"/>
                    <a:pt x="193" y="143"/>
                    <a:pt x="194" y="143"/>
                  </a:cubicBezTo>
                  <a:cubicBezTo>
                    <a:pt x="194" y="142"/>
                    <a:pt x="194" y="142"/>
                    <a:pt x="194" y="141"/>
                  </a:cubicBezTo>
                  <a:cubicBezTo>
                    <a:pt x="194" y="140"/>
                    <a:pt x="196" y="140"/>
                    <a:pt x="196" y="140"/>
                  </a:cubicBezTo>
                  <a:cubicBezTo>
                    <a:pt x="197" y="139"/>
                    <a:pt x="197" y="139"/>
                    <a:pt x="198" y="139"/>
                  </a:cubicBezTo>
                  <a:cubicBezTo>
                    <a:pt x="199" y="138"/>
                    <a:pt x="200" y="138"/>
                    <a:pt x="201" y="137"/>
                  </a:cubicBezTo>
                  <a:cubicBezTo>
                    <a:pt x="204" y="137"/>
                    <a:pt x="207" y="137"/>
                    <a:pt x="208" y="135"/>
                  </a:cubicBezTo>
                  <a:cubicBezTo>
                    <a:pt x="209" y="132"/>
                    <a:pt x="206" y="131"/>
                    <a:pt x="204" y="130"/>
                  </a:cubicBezTo>
                  <a:cubicBezTo>
                    <a:pt x="201" y="128"/>
                    <a:pt x="199" y="128"/>
                    <a:pt x="196" y="126"/>
                  </a:cubicBezTo>
                  <a:cubicBezTo>
                    <a:pt x="193" y="125"/>
                    <a:pt x="191" y="122"/>
                    <a:pt x="188" y="123"/>
                  </a:cubicBezTo>
                  <a:cubicBezTo>
                    <a:pt x="185" y="124"/>
                    <a:pt x="185" y="127"/>
                    <a:pt x="183" y="129"/>
                  </a:cubicBezTo>
                  <a:cubicBezTo>
                    <a:pt x="182" y="129"/>
                    <a:pt x="182" y="130"/>
                    <a:pt x="181" y="131"/>
                  </a:cubicBezTo>
                  <a:cubicBezTo>
                    <a:pt x="181" y="131"/>
                    <a:pt x="181" y="132"/>
                    <a:pt x="180" y="133"/>
                  </a:cubicBezTo>
                  <a:cubicBezTo>
                    <a:pt x="180" y="133"/>
                    <a:pt x="180" y="134"/>
                    <a:pt x="180" y="134"/>
                  </a:cubicBezTo>
                  <a:cubicBezTo>
                    <a:pt x="179" y="136"/>
                    <a:pt x="179" y="135"/>
                    <a:pt x="178" y="136"/>
                  </a:cubicBezTo>
                  <a:cubicBezTo>
                    <a:pt x="176" y="138"/>
                    <a:pt x="175" y="138"/>
                    <a:pt x="172" y="137"/>
                  </a:cubicBezTo>
                  <a:cubicBezTo>
                    <a:pt x="170" y="137"/>
                    <a:pt x="170" y="137"/>
                    <a:pt x="170" y="135"/>
                  </a:cubicBezTo>
                  <a:cubicBezTo>
                    <a:pt x="169" y="135"/>
                    <a:pt x="169" y="133"/>
                    <a:pt x="169" y="133"/>
                  </a:cubicBezTo>
                  <a:cubicBezTo>
                    <a:pt x="168" y="132"/>
                    <a:pt x="167" y="132"/>
                    <a:pt x="166" y="131"/>
                  </a:cubicBezTo>
                  <a:cubicBezTo>
                    <a:pt x="165" y="131"/>
                    <a:pt x="164" y="130"/>
                    <a:pt x="163" y="130"/>
                  </a:cubicBezTo>
                  <a:cubicBezTo>
                    <a:pt x="161" y="128"/>
                    <a:pt x="159" y="126"/>
                    <a:pt x="156" y="125"/>
                  </a:cubicBezTo>
                  <a:cubicBezTo>
                    <a:pt x="153" y="124"/>
                    <a:pt x="150" y="123"/>
                    <a:pt x="147" y="122"/>
                  </a:cubicBezTo>
                  <a:cubicBezTo>
                    <a:pt x="147" y="122"/>
                    <a:pt x="147" y="122"/>
                    <a:pt x="147" y="122"/>
                  </a:cubicBezTo>
                  <a:cubicBezTo>
                    <a:pt x="147" y="122"/>
                    <a:pt x="146" y="122"/>
                    <a:pt x="146" y="122"/>
                  </a:cubicBezTo>
                  <a:cubicBezTo>
                    <a:pt x="145" y="121"/>
                    <a:pt x="144" y="121"/>
                    <a:pt x="143" y="120"/>
                  </a:cubicBezTo>
                  <a:cubicBezTo>
                    <a:pt x="143" y="119"/>
                    <a:pt x="143" y="119"/>
                    <a:pt x="143" y="118"/>
                  </a:cubicBezTo>
                  <a:cubicBezTo>
                    <a:pt x="143" y="118"/>
                    <a:pt x="142" y="117"/>
                    <a:pt x="142" y="117"/>
                  </a:cubicBezTo>
                  <a:cubicBezTo>
                    <a:pt x="142" y="116"/>
                    <a:pt x="142" y="116"/>
                    <a:pt x="141" y="115"/>
                  </a:cubicBezTo>
                  <a:cubicBezTo>
                    <a:pt x="141" y="115"/>
                    <a:pt x="138" y="115"/>
                    <a:pt x="137" y="115"/>
                  </a:cubicBezTo>
                  <a:cubicBezTo>
                    <a:pt x="136" y="115"/>
                    <a:pt x="135" y="115"/>
                    <a:pt x="134" y="115"/>
                  </a:cubicBezTo>
                  <a:cubicBezTo>
                    <a:pt x="133" y="114"/>
                    <a:pt x="133" y="113"/>
                    <a:pt x="133" y="112"/>
                  </a:cubicBezTo>
                  <a:cubicBezTo>
                    <a:pt x="132" y="111"/>
                    <a:pt x="133" y="111"/>
                    <a:pt x="134" y="110"/>
                  </a:cubicBezTo>
                  <a:cubicBezTo>
                    <a:pt x="135" y="109"/>
                    <a:pt x="135" y="108"/>
                    <a:pt x="136" y="108"/>
                  </a:cubicBezTo>
                  <a:cubicBezTo>
                    <a:pt x="138" y="107"/>
                    <a:pt x="140" y="108"/>
                    <a:pt x="141" y="108"/>
                  </a:cubicBezTo>
                  <a:cubicBezTo>
                    <a:pt x="143" y="107"/>
                    <a:pt x="142" y="104"/>
                    <a:pt x="141" y="103"/>
                  </a:cubicBezTo>
                  <a:cubicBezTo>
                    <a:pt x="140" y="102"/>
                    <a:pt x="139" y="101"/>
                    <a:pt x="139" y="101"/>
                  </a:cubicBezTo>
                  <a:cubicBezTo>
                    <a:pt x="138" y="100"/>
                    <a:pt x="136" y="100"/>
                    <a:pt x="135" y="99"/>
                  </a:cubicBezTo>
                  <a:cubicBezTo>
                    <a:pt x="134" y="98"/>
                    <a:pt x="133" y="95"/>
                    <a:pt x="134" y="94"/>
                  </a:cubicBezTo>
                  <a:cubicBezTo>
                    <a:pt x="134" y="93"/>
                    <a:pt x="135" y="93"/>
                    <a:pt x="136" y="92"/>
                  </a:cubicBezTo>
                  <a:cubicBezTo>
                    <a:pt x="136" y="92"/>
                    <a:pt x="136" y="92"/>
                    <a:pt x="136" y="91"/>
                  </a:cubicBezTo>
                  <a:cubicBezTo>
                    <a:pt x="137" y="91"/>
                    <a:pt x="137" y="90"/>
                    <a:pt x="137" y="90"/>
                  </a:cubicBezTo>
                  <a:cubicBezTo>
                    <a:pt x="137" y="88"/>
                    <a:pt x="138" y="88"/>
                    <a:pt x="139" y="87"/>
                  </a:cubicBezTo>
                  <a:cubicBezTo>
                    <a:pt x="140" y="86"/>
                    <a:pt x="141" y="85"/>
                    <a:pt x="141" y="84"/>
                  </a:cubicBezTo>
                  <a:cubicBezTo>
                    <a:pt x="141" y="83"/>
                    <a:pt x="140" y="83"/>
                    <a:pt x="139" y="82"/>
                  </a:cubicBezTo>
                  <a:cubicBezTo>
                    <a:pt x="138" y="81"/>
                    <a:pt x="138" y="80"/>
                    <a:pt x="138" y="79"/>
                  </a:cubicBezTo>
                  <a:cubicBezTo>
                    <a:pt x="139" y="78"/>
                    <a:pt x="140" y="78"/>
                    <a:pt x="139" y="77"/>
                  </a:cubicBezTo>
                  <a:cubicBezTo>
                    <a:pt x="139" y="76"/>
                    <a:pt x="138" y="76"/>
                    <a:pt x="137" y="76"/>
                  </a:cubicBezTo>
                  <a:cubicBezTo>
                    <a:pt x="137" y="75"/>
                    <a:pt x="137" y="75"/>
                    <a:pt x="136" y="74"/>
                  </a:cubicBezTo>
                  <a:cubicBezTo>
                    <a:pt x="135" y="73"/>
                    <a:pt x="134" y="73"/>
                    <a:pt x="133" y="73"/>
                  </a:cubicBezTo>
                  <a:cubicBezTo>
                    <a:pt x="126" y="73"/>
                    <a:pt x="120" y="73"/>
                    <a:pt x="114" y="71"/>
                  </a:cubicBezTo>
                  <a:cubicBezTo>
                    <a:pt x="112" y="70"/>
                    <a:pt x="111" y="69"/>
                    <a:pt x="110" y="68"/>
                  </a:cubicBezTo>
                  <a:cubicBezTo>
                    <a:pt x="110" y="67"/>
                    <a:pt x="110" y="66"/>
                    <a:pt x="110" y="65"/>
                  </a:cubicBezTo>
                  <a:cubicBezTo>
                    <a:pt x="110" y="62"/>
                    <a:pt x="110" y="62"/>
                    <a:pt x="107" y="61"/>
                  </a:cubicBezTo>
                  <a:cubicBezTo>
                    <a:pt x="105" y="61"/>
                    <a:pt x="104" y="61"/>
                    <a:pt x="104" y="59"/>
                  </a:cubicBezTo>
                  <a:cubicBezTo>
                    <a:pt x="103" y="58"/>
                    <a:pt x="103" y="57"/>
                    <a:pt x="103" y="56"/>
                  </a:cubicBezTo>
                  <a:cubicBezTo>
                    <a:pt x="104" y="55"/>
                    <a:pt x="107" y="53"/>
                    <a:pt x="106" y="52"/>
                  </a:cubicBezTo>
                  <a:cubicBezTo>
                    <a:pt x="104" y="52"/>
                    <a:pt x="103" y="48"/>
                    <a:pt x="104" y="46"/>
                  </a:cubicBezTo>
                  <a:cubicBezTo>
                    <a:pt x="104" y="45"/>
                    <a:pt x="105" y="45"/>
                    <a:pt x="105" y="44"/>
                  </a:cubicBezTo>
                  <a:cubicBezTo>
                    <a:pt x="105" y="43"/>
                    <a:pt x="105" y="41"/>
                    <a:pt x="105" y="40"/>
                  </a:cubicBezTo>
                  <a:cubicBezTo>
                    <a:pt x="105" y="38"/>
                    <a:pt x="106" y="35"/>
                    <a:pt x="105" y="33"/>
                  </a:cubicBezTo>
                  <a:cubicBezTo>
                    <a:pt x="104" y="32"/>
                    <a:pt x="103" y="32"/>
                    <a:pt x="102" y="32"/>
                  </a:cubicBezTo>
                  <a:cubicBezTo>
                    <a:pt x="101" y="32"/>
                    <a:pt x="100" y="31"/>
                    <a:pt x="100" y="32"/>
                  </a:cubicBezTo>
                  <a:cubicBezTo>
                    <a:pt x="99" y="32"/>
                    <a:pt x="99" y="33"/>
                    <a:pt x="98" y="33"/>
                  </a:cubicBezTo>
                  <a:cubicBezTo>
                    <a:pt x="97" y="33"/>
                    <a:pt x="96" y="31"/>
                    <a:pt x="96" y="30"/>
                  </a:cubicBezTo>
                  <a:cubicBezTo>
                    <a:pt x="96" y="30"/>
                    <a:pt x="95" y="29"/>
                    <a:pt x="95" y="29"/>
                  </a:cubicBezTo>
                  <a:cubicBezTo>
                    <a:pt x="94" y="28"/>
                    <a:pt x="95" y="28"/>
                    <a:pt x="94" y="27"/>
                  </a:cubicBezTo>
                  <a:cubicBezTo>
                    <a:pt x="94" y="26"/>
                    <a:pt x="93" y="25"/>
                    <a:pt x="92" y="25"/>
                  </a:cubicBezTo>
                  <a:cubicBezTo>
                    <a:pt x="90" y="24"/>
                    <a:pt x="90" y="25"/>
                    <a:pt x="90" y="23"/>
                  </a:cubicBezTo>
                  <a:cubicBezTo>
                    <a:pt x="89" y="20"/>
                    <a:pt x="86" y="20"/>
                    <a:pt x="84" y="19"/>
                  </a:cubicBezTo>
                  <a:cubicBezTo>
                    <a:pt x="83" y="19"/>
                    <a:pt x="82" y="19"/>
                    <a:pt x="82" y="18"/>
                  </a:cubicBezTo>
                  <a:cubicBezTo>
                    <a:pt x="80" y="16"/>
                    <a:pt x="81" y="14"/>
                    <a:pt x="81" y="12"/>
                  </a:cubicBezTo>
                  <a:cubicBezTo>
                    <a:pt x="76" y="3"/>
                    <a:pt x="76" y="3"/>
                    <a:pt x="76" y="3"/>
                  </a:cubicBezTo>
                  <a:cubicBezTo>
                    <a:pt x="75" y="3"/>
                    <a:pt x="75" y="3"/>
                    <a:pt x="74" y="3"/>
                  </a:cubicBezTo>
                  <a:cubicBezTo>
                    <a:pt x="71" y="3"/>
                    <a:pt x="68" y="1"/>
                    <a:pt x="65" y="1"/>
                  </a:cubicBezTo>
                  <a:cubicBezTo>
                    <a:pt x="61" y="1"/>
                    <a:pt x="59" y="2"/>
                    <a:pt x="56" y="3"/>
                  </a:cubicBezTo>
                  <a:cubicBezTo>
                    <a:pt x="53" y="3"/>
                    <a:pt x="50" y="3"/>
                    <a:pt x="46" y="2"/>
                  </a:cubicBezTo>
                  <a:cubicBezTo>
                    <a:pt x="45" y="2"/>
                    <a:pt x="45" y="1"/>
                    <a:pt x="44" y="0"/>
                  </a:cubicBezTo>
                  <a:cubicBezTo>
                    <a:pt x="43" y="0"/>
                    <a:pt x="41" y="1"/>
                    <a:pt x="40" y="1"/>
                  </a:cubicBezTo>
                  <a:cubicBezTo>
                    <a:pt x="38" y="1"/>
                    <a:pt x="37" y="1"/>
                    <a:pt x="36" y="2"/>
                  </a:cubicBezTo>
                  <a:cubicBezTo>
                    <a:pt x="35" y="2"/>
                    <a:pt x="35" y="3"/>
                    <a:pt x="34" y="3"/>
                  </a:cubicBezTo>
                  <a:cubicBezTo>
                    <a:pt x="34" y="4"/>
                    <a:pt x="34" y="4"/>
                    <a:pt x="33" y="4"/>
                  </a:cubicBezTo>
                  <a:cubicBezTo>
                    <a:pt x="33" y="4"/>
                    <a:pt x="33" y="5"/>
                    <a:pt x="33" y="5"/>
                  </a:cubicBezTo>
                  <a:cubicBezTo>
                    <a:pt x="31" y="7"/>
                    <a:pt x="28" y="7"/>
                    <a:pt x="26" y="8"/>
                  </a:cubicBezTo>
                  <a:cubicBezTo>
                    <a:pt x="25" y="9"/>
                    <a:pt x="24" y="10"/>
                    <a:pt x="23" y="11"/>
                  </a:cubicBezTo>
                  <a:cubicBezTo>
                    <a:pt x="23" y="13"/>
                    <a:pt x="23" y="13"/>
                    <a:pt x="23" y="14"/>
                  </a:cubicBezTo>
                  <a:cubicBezTo>
                    <a:pt x="22" y="16"/>
                    <a:pt x="20" y="17"/>
                    <a:pt x="18" y="16"/>
                  </a:cubicBezTo>
                  <a:cubicBezTo>
                    <a:pt x="16" y="15"/>
                    <a:pt x="15" y="13"/>
                    <a:pt x="14" y="11"/>
                  </a:cubicBezTo>
                  <a:cubicBezTo>
                    <a:pt x="13" y="11"/>
                    <a:pt x="12" y="10"/>
                    <a:pt x="12" y="9"/>
                  </a:cubicBezTo>
                  <a:cubicBezTo>
                    <a:pt x="9" y="11"/>
                    <a:pt x="7" y="15"/>
                    <a:pt x="6" y="18"/>
                  </a:cubicBezTo>
                  <a:cubicBezTo>
                    <a:pt x="4" y="19"/>
                    <a:pt x="1" y="18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0"/>
                    <a:pt x="0" y="22"/>
                    <a:pt x="0" y="24"/>
                  </a:cubicBezTo>
                  <a:cubicBezTo>
                    <a:pt x="0" y="26"/>
                    <a:pt x="0" y="27"/>
                    <a:pt x="0" y="28"/>
                  </a:cubicBezTo>
                  <a:cubicBezTo>
                    <a:pt x="1" y="29"/>
                    <a:pt x="1" y="30"/>
                    <a:pt x="1" y="30"/>
                  </a:cubicBezTo>
                  <a:cubicBezTo>
                    <a:pt x="1" y="30"/>
                    <a:pt x="2" y="30"/>
                    <a:pt x="2" y="31"/>
                  </a:cubicBezTo>
                  <a:cubicBezTo>
                    <a:pt x="2" y="31"/>
                    <a:pt x="2" y="32"/>
                    <a:pt x="2" y="32"/>
                  </a:cubicBezTo>
                  <a:cubicBezTo>
                    <a:pt x="2" y="33"/>
                    <a:pt x="2" y="35"/>
                    <a:pt x="2" y="36"/>
                  </a:cubicBezTo>
                  <a:cubicBezTo>
                    <a:pt x="2" y="38"/>
                    <a:pt x="4" y="38"/>
                    <a:pt x="4" y="40"/>
                  </a:cubicBezTo>
                  <a:cubicBezTo>
                    <a:pt x="4" y="41"/>
                    <a:pt x="3" y="41"/>
                    <a:pt x="3" y="42"/>
                  </a:cubicBezTo>
                  <a:cubicBezTo>
                    <a:pt x="3" y="43"/>
                    <a:pt x="2" y="43"/>
                    <a:pt x="2" y="44"/>
                  </a:cubicBezTo>
                  <a:cubicBezTo>
                    <a:pt x="2" y="46"/>
                    <a:pt x="2" y="47"/>
                    <a:pt x="2" y="48"/>
                  </a:cubicBezTo>
                  <a:cubicBezTo>
                    <a:pt x="4" y="49"/>
                    <a:pt x="4" y="48"/>
                    <a:pt x="5" y="50"/>
                  </a:cubicBezTo>
                  <a:cubicBezTo>
                    <a:pt x="6" y="50"/>
                    <a:pt x="6" y="50"/>
                    <a:pt x="6" y="51"/>
                  </a:cubicBezTo>
                  <a:cubicBezTo>
                    <a:pt x="7" y="52"/>
                    <a:pt x="8" y="53"/>
                    <a:pt x="7" y="55"/>
                  </a:cubicBezTo>
                  <a:cubicBezTo>
                    <a:pt x="7" y="55"/>
                    <a:pt x="6" y="55"/>
                    <a:pt x="6" y="56"/>
                  </a:cubicBezTo>
                  <a:cubicBezTo>
                    <a:pt x="6" y="57"/>
                    <a:pt x="7" y="57"/>
                    <a:pt x="8" y="58"/>
                  </a:cubicBezTo>
                  <a:cubicBezTo>
                    <a:pt x="8" y="61"/>
                    <a:pt x="4" y="62"/>
                    <a:pt x="6" y="64"/>
                  </a:cubicBezTo>
                  <a:cubicBezTo>
                    <a:pt x="6" y="65"/>
                    <a:pt x="7" y="66"/>
                    <a:pt x="8" y="66"/>
                  </a:cubicBezTo>
                  <a:cubicBezTo>
                    <a:pt x="10" y="67"/>
                    <a:pt x="13" y="69"/>
                    <a:pt x="17" y="70"/>
                  </a:cubicBezTo>
                  <a:cubicBezTo>
                    <a:pt x="19" y="70"/>
                    <a:pt x="19" y="70"/>
                    <a:pt x="21" y="72"/>
                  </a:cubicBezTo>
                  <a:cubicBezTo>
                    <a:pt x="22" y="73"/>
                    <a:pt x="23" y="75"/>
                    <a:pt x="24" y="76"/>
                  </a:cubicBezTo>
                  <a:cubicBezTo>
                    <a:pt x="25" y="77"/>
                    <a:pt x="26" y="77"/>
                    <a:pt x="26" y="78"/>
                  </a:cubicBezTo>
                  <a:cubicBezTo>
                    <a:pt x="28" y="82"/>
                    <a:pt x="21" y="82"/>
                    <a:pt x="19" y="82"/>
                  </a:cubicBezTo>
                  <a:cubicBezTo>
                    <a:pt x="17" y="83"/>
                    <a:pt x="13" y="84"/>
                    <a:pt x="12" y="86"/>
                  </a:cubicBezTo>
                  <a:cubicBezTo>
                    <a:pt x="11" y="87"/>
                    <a:pt x="12" y="88"/>
                    <a:pt x="12" y="89"/>
                  </a:cubicBezTo>
                  <a:cubicBezTo>
                    <a:pt x="12" y="90"/>
                    <a:pt x="10" y="91"/>
                    <a:pt x="10" y="92"/>
                  </a:cubicBezTo>
                  <a:cubicBezTo>
                    <a:pt x="7" y="94"/>
                    <a:pt x="10" y="96"/>
                    <a:pt x="11" y="99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8" y="104"/>
                    <a:pt x="22" y="109"/>
                    <a:pt x="23" y="112"/>
                  </a:cubicBezTo>
                  <a:cubicBezTo>
                    <a:pt x="21" y="120"/>
                    <a:pt x="21" y="120"/>
                    <a:pt x="21" y="120"/>
                  </a:cubicBezTo>
                  <a:cubicBezTo>
                    <a:pt x="17" y="124"/>
                    <a:pt x="14" y="129"/>
                    <a:pt x="13" y="135"/>
                  </a:cubicBezTo>
                  <a:cubicBezTo>
                    <a:pt x="12" y="136"/>
                    <a:pt x="12" y="136"/>
                    <a:pt x="12" y="137"/>
                  </a:cubicBezTo>
                  <a:cubicBezTo>
                    <a:pt x="11" y="138"/>
                    <a:pt x="11" y="138"/>
                    <a:pt x="11" y="139"/>
                  </a:cubicBezTo>
                  <a:cubicBezTo>
                    <a:pt x="11" y="139"/>
                    <a:pt x="11" y="140"/>
                    <a:pt x="11" y="141"/>
                  </a:cubicBezTo>
                  <a:cubicBezTo>
                    <a:pt x="11" y="141"/>
                    <a:pt x="11" y="142"/>
                    <a:pt x="11" y="142"/>
                  </a:cubicBezTo>
                  <a:cubicBezTo>
                    <a:pt x="11" y="143"/>
                    <a:pt x="12" y="143"/>
                    <a:pt x="13" y="144"/>
                  </a:cubicBezTo>
                  <a:cubicBezTo>
                    <a:pt x="13" y="144"/>
                    <a:pt x="12" y="145"/>
                    <a:pt x="13" y="145"/>
                  </a:cubicBezTo>
                  <a:cubicBezTo>
                    <a:pt x="14" y="145"/>
                    <a:pt x="14" y="146"/>
                    <a:pt x="15" y="146"/>
                  </a:cubicBezTo>
                  <a:cubicBezTo>
                    <a:pt x="16" y="146"/>
                    <a:pt x="18" y="147"/>
                    <a:pt x="19" y="147"/>
                  </a:cubicBezTo>
                  <a:cubicBezTo>
                    <a:pt x="21" y="147"/>
                    <a:pt x="24" y="146"/>
                    <a:pt x="25" y="148"/>
                  </a:cubicBezTo>
                  <a:cubicBezTo>
                    <a:pt x="25" y="149"/>
                    <a:pt x="24" y="150"/>
                    <a:pt x="24" y="151"/>
                  </a:cubicBezTo>
                  <a:cubicBezTo>
                    <a:pt x="24" y="152"/>
                    <a:pt x="24" y="152"/>
                    <a:pt x="24" y="153"/>
                  </a:cubicBezTo>
                  <a:cubicBezTo>
                    <a:pt x="23" y="153"/>
                    <a:pt x="23" y="153"/>
                    <a:pt x="23" y="154"/>
                  </a:cubicBezTo>
                  <a:cubicBezTo>
                    <a:pt x="23" y="154"/>
                    <a:pt x="22" y="154"/>
                    <a:pt x="21" y="154"/>
                  </a:cubicBezTo>
                  <a:cubicBezTo>
                    <a:pt x="20" y="155"/>
                    <a:pt x="20" y="157"/>
                    <a:pt x="20" y="158"/>
                  </a:cubicBezTo>
                  <a:cubicBezTo>
                    <a:pt x="20" y="159"/>
                    <a:pt x="21" y="160"/>
                    <a:pt x="22" y="161"/>
                  </a:cubicBezTo>
                  <a:cubicBezTo>
                    <a:pt x="23" y="162"/>
                    <a:pt x="23" y="163"/>
                    <a:pt x="24" y="164"/>
                  </a:cubicBezTo>
                  <a:cubicBezTo>
                    <a:pt x="24" y="164"/>
                    <a:pt x="24" y="164"/>
                    <a:pt x="24" y="165"/>
                  </a:cubicBezTo>
                  <a:cubicBezTo>
                    <a:pt x="24" y="164"/>
                    <a:pt x="25" y="165"/>
                    <a:pt x="25" y="165"/>
                  </a:cubicBezTo>
                  <a:cubicBezTo>
                    <a:pt x="26" y="166"/>
                    <a:pt x="27" y="167"/>
                    <a:pt x="28" y="167"/>
                  </a:cubicBezTo>
                  <a:cubicBezTo>
                    <a:pt x="29" y="168"/>
                    <a:pt x="31" y="169"/>
                    <a:pt x="32" y="169"/>
                  </a:cubicBezTo>
                  <a:cubicBezTo>
                    <a:pt x="33" y="169"/>
                    <a:pt x="36" y="170"/>
                    <a:pt x="36" y="171"/>
                  </a:cubicBezTo>
                  <a:cubicBezTo>
                    <a:pt x="36" y="171"/>
                    <a:pt x="36" y="173"/>
                    <a:pt x="36" y="173"/>
                  </a:cubicBezTo>
                  <a:cubicBezTo>
                    <a:pt x="36" y="174"/>
                    <a:pt x="36" y="175"/>
                    <a:pt x="36" y="175"/>
                  </a:cubicBezTo>
                  <a:cubicBezTo>
                    <a:pt x="36" y="176"/>
                    <a:pt x="36" y="176"/>
                    <a:pt x="35" y="177"/>
                  </a:cubicBezTo>
                  <a:cubicBezTo>
                    <a:pt x="34" y="178"/>
                    <a:pt x="34" y="178"/>
                    <a:pt x="33" y="179"/>
                  </a:cubicBezTo>
                  <a:cubicBezTo>
                    <a:pt x="32" y="180"/>
                    <a:pt x="29" y="180"/>
                    <a:pt x="27" y="180"/>
                  </a:cubicBezTo>
                  <a:cubicBezTo>
                    <a:pt x="24" y="180"/>
                    <a:pt x="20" y="180"/>
                    <a:pt x="18" y="178"/>
                  </a:cubicBezTo>
                  <a:cubicBezTo>
                    <a:pt x="17" y="178"/>
                    <a:pt x="16" y="177"/>
                    <a:pt x="15" y="176"/>
                  </a:cubicBezTo>
                  <a:cubicBezTo>
                    <a:pt x="14" y="177"/>
                    <a:pt x="13" y="180"/>
                    <a:pt x="14" y="181"/>
                  </a:cubicBezTo>
                  <a:cubicBezTo>
                    <a:pt x="14" y="182"/>
                    <a:pt x="15" y="183"/>
                    <a:pt x="16" y="183"/>
                  </a:cubicBezTo>
                  <a:cubicBezTo>
                    <a:pt x="18" y="184"/>
                    <a:pt x="18" y="183"/>
                    <a:pt x="19" y="185"/>
                  </a:cubicBezTo>
                  <a:cubicBezTo>
                    <a:pt x="20" y="186"/>
                    <a:pt x="20" y="187"/>
                    <a:pt x="21" y="188"/>
                  </a:cubicBezTo>
                  <a:cubicBezTo>
                    <a:pt x="22" y="191"/>
                    <a:pt x="24" y="193"/>
                    <a:pt x="26" y="196"/>
                  </a:cubicBezTo>
                  <a:cubicBezTo>
                    <a:pt x="27" y="198"/>
                    <a:pt x="28" y="199"/>
                    <a:pt x="28" y="201"/>
                  </a:cubicBezTo>
                  <a:cubicBezTo>
                    <a:pt x="28" y="201"/>
                    <a:pt x="28" y="202"/>
                    <a:pt x="28" y="202"/>
                  </a:cubicBezTo>
                  <a:cubicBezTo>
                    <a:pt x="28" y="203"/>
                    <a:pt x="29" y="203"/>
                    <a:pt x="29" y="204"/>
                  </a:cubicBezTo>
                  <a:cubicBezTo>
                    <a:pt x="29" y="205"/>
                    <a:pt x="28" y="206"/>
                    <a:pt x="28" y="208"/>
                  </a:cubicBezTo>
                  <a:cubicBezTo>
                    <a:pt x="28" y="209"/>
                    <a:pt x="28" y="210"/>
                    <a:pt x="28" y="211"/>
                  </a:cubicBezTo>
                  <a:cubicBezTo>
                    <a:pt x="27" y="212"/>
                    <a:pt x="26" y="212"/>
                    <a:pt x="26" y="213"/>
                  </a:cubicBezTo>
                  <a:cubicBezTo>
                    <a:pt x="25" y="214"/>
                    <a:pt x="26" y="214"/>
                    <a:pt x="25" y="214"/>
                  </a:cubicBezTo>
                  <a:cubicBezTo>
                    <a:pt x="24" y="215"/>
                    <a:pt x="24" y="214"/>
                    <a:pt x="23" y="214"/>
                  </a:cubicBezTo>
                  <a:cubicBezTo>
                    <a:pt x="23" y="212"/>
                    <a:pt x="22" y="211"/>
                    <a:pt x="21" y="210"/>
                  </a:cubicBezTo>
                  <a:cubicBezTo>
                    <a:pt x="20" y="209"/>
                    <a:pt x="20" y="207"/>
                    <a:pt x="20" y="207"/>
                  </a:cubicBezTo>
                  <a:cubicBezTo>
                    <a:pt x="19" y="206"/>
                    <a:pt x="17" y="208"/>
                    <a:pt x="16" y="209"/>
                  </a:cubicBezTo>
                  <a:cubicBezTo>
                    <a:pt x="16" y="209"/>
                    <a:pt x="16" y="210"/>
                    <a:pt x="15" y="210"/>
                  </a:cubicBezTo>
                  <a:cubicBezTo>
                    <a:pt x="14" y="211"/>
                    <a:pt x="13" y="211"/>
                    <a:pt x="13" y="212"/>
                  </a:cubicBezTo>
                  <a:cubicBezTo>
                    <a:pt x="13" y="213"/>
                    <a:pt x="13" y="214"/>
                    <a:pt x="12" y="214"/>
                  </a:cubicBezTo>
                  <a:cubicBezTo>
                    <a:pt x="12" y="214"/>
                    <a:pt x="12" y="214"/>
                    <a:pt x="12" y="214"/>
                  </a:cubicBezTo>
                  <a:cubicBezTo>
                    <a:pt x="12" y="215"/>
                    <a:pt x="13" y="216"/>
                    <a:pt x="14" y="217"/>
                  </a:cubicBezTo>
                  <a:cubicBezTo>
                    <a:pt x="14" y="218"/>
                    <a:pt x="14" y="219"/>
                    <a:pt x="16" y="219"/>
                  </a:cubicBezTo>
                  <a:cubicBezTo>
                    <a:pt x="17" y="220"/>
                    <a:pt x="17" y="220"/>
                    <a:pt x="18" y="221"/>
                  </a:cubicBezTo>
                  <a:cubicBezTo>
                    <a:pt x="19" y="222"/>
                    <a:pt x="20" y="222"/>
                    <a:pt x="22" y="223"/>
                  </a:cubicBezTo>
                  <a:cubicBezTo>
                    <a:pt x="23" y="223"/>
                    <a:pt x="23" y="224"/>
                    <a:pt x="24" y="225"/>
                  </a:cubicBezTo>
                  <a:cubicBezTo>
                    <a:pt x="25" y="228"/>
                    <a:pt x="27" y="229"/>
                    <a:pt x="29" y="231"/>
                  </a:cubicBezTo>
                  <a:cubicBezTo>
                    <a:pt x="30" y="232"/>
                    <a:pt x="31" y="233"/>
                    <a:pt x="32" y="234"/>
                  </a:cubicBezTo>
                  <a:cubicBezTo>
                    <a:pt x="30" y="234"/>
                    <a:pt x="30" y="234"/>
                    <a:pt x="30" y="234"/>
                  </a:cubicBezTo>
                  <a:cubicBezTo>
                    <a:pt x="30" y="236"/>
                    <a:pt x="32" y="238"/>
                    <a:pt x="34" y="239"/>
                  </a:cubicBezTo>
                  <a:cubicBezTo>
                    <a:pt x="35" y="240"/>
                    <a:pt x="36" y="240"/>
                    <a:pt x="36" y="241"/>
                  </a:cubicBezTo>
                  <a:cubicBezTo>
                    <a:pt x="37" y="241"/>
                    <a:pt x="37" y="242"/>
                    <a:pt x="38" y="242"/>
                  </a:cubicBezTo>
                  <a:cubicBezTo>
                    <a:pt x="39" y="242"/>
                    <a:pt x="39" y="242"/>
                    <a:pt x="40" y="242"/>
                  </a:cubicBezTo>
                  <a:cubicBezTo>
                    <a:pt x="40" y="243"/>
                    <a:pt x="40" y="243"/>
                    <a:pt x="40" y="244"/>
                  </a:cubicBezTo>
                  <a:cubicBezTo>
                    <a:pt x="41" y="244"/>
                    <a:pt x="41" y="245"/>
                    <a:pt x="42" y="245"/>
                  </a:cubicBezTo>
                  <a:cubicBezTo>
                    <a:pt x="43" y="246"/>
                    <a:pt x="44" y="247"/>
                    <a:pt x="45" y="247"/>
                  </a:cubicBezTo>
                  <a:cubicBezTo>
                    <a:pt x="47" y="248"/>
                    <a:pt x="49" y="247"/>
                    <a:pt x="51" y="247"/>
                  </a:cubicBezTo>
                  <a:cubicBezTo>
                    <a:pt x="52" y="247"/>
                    <a:pt x="53" y="247"/>
                    <a:pt x="54" y="249"/>
                  </a:cubicBezTo>
                  <a:cubicBezTo>
                    <a:pt x="54" y="250"/>
                    <a:pt x="54" y="251"/>
                    <a:pt x="56" y="251"/>
                  </a:cubicBezTo>
                  <a:cubicBezTo>
                    <a:pt x="56" y="252"/>
                    <a:pt x="57" y="252"/>
                    <a:pt x="57" y="253"/>
                  </a:cubicBezTo>
                  <a:cubicBezTo>
                    <a:pt x="58" y="253"/>
                    <a:pt x="58" y="254"/>
                    <a:pt x="59" y="254"/>
                  </a:cubicBezTo>
                  <a:cubicBezTo>
                    <a:pt x="59" y="255"/>
                    <a:pt x="59" y="255"/>
                    <a:pt x="59" y="256"/>
                  </a:cubicBezTo>
                  <a:cubicBezTo>
                    <a:pt x="59" y="257"/>
                    <a:pt x="59" y="257"/>
                    <a:pt x="60" y="258"/>
                  </a:cubicBezTo>
                  <a:cubicBezTo>
                    <a:pt x="60" y="259"/>
                    <a:pt x="64" y="258"/>
                    <a:pt x="65" y="258"/>
                  </a:cubicBezTo>
                  <a:cubicBezTo>
                    <a:pt x="66" y="258"/>
                    <a:pt x="68" y="257"/>
                    <a:pt x="69" y="258"/>
                  </a:cubicBezTo>
                  <a:cubicBezTo>
                    <a:pt x="70" y="258"/>
                    <a:pt x="69" y="260"/>
                    <a:pt x="70" y="260"/>
                  </a:cubicBezTo>
                  <a:cubicBezTo>
                    <a:pt x="70" y="261"/>
                    <a:pt x="70" y="262"/>
                    <a:pt x="71" y="262"/>
                  </a:cubicBezTo>
                  <a:cubicBezTo>
                    <a:pt x="72" y="263"/>
                    <a:pt x="74" y="266"/>
                    <a:pt x="73" y="268"/>
                  </a:cubicBezTo>
                  <a:cubicBezTo>
                    <a:pt x="73" y="269"/>
                    <a:pt x="73" y="269"/>
                    <a:pt x="72" y="270"/>
                  </a:cubicBezTo>
                  <a:cubicBezTo>
                    <a:pt x="72" y="270"/>
                    <a:pt x="72" y="270"/>
                    <a:pt x="72" y="270"/>
                  </a:cubicBezTo>
                  <a:cubicBezTo>
                    <a:pt x="73" y="270"/>
                    <a:pt x="75" y="271"/>
                    <a:pt x="75" y="270"/>
                  </a:cubicBezTo>
                  <a:cubicBezTo>
                    <a:pt x="76" y="270"/>
                    <a:pt x="77" y="269"/>
                    <a:pt x="77" y="268"/>
                  </a:cubicBezTo>
                  <a:cubicBezTo>
                    <a:pt x="78" y="268"/>
                    <a:pt x="78" y="267"/>
                    <a:pt x="79" y="266"/>
                  </a:cubicBezTo>
                  <a:cubicBezTo>
                    <a:pt x="80" y="265"/>
                    <a:pt x="81" y="266"/>
                    <a:pt x="82" y="264"/>
                  </a:cubicBezTo>
                  <a:cubicBezTo>
                    <a:pt x="82" y="263"/>
                    <a:pt x="82" y="262"/>
                    <a:pt x="82" y="262"/>
                  </a:cubicBezTo>
                  <a:cubicBezTo>
                    <a:pt x="82" y="259"/>
                    <a:pt x="84" y="258"/>
                    <a:pt x="86" y="257"/>
                  </a:cubicBezTo>
                  <a:cubicBezTo>
                    <a:pt x="86" y="256"/>
                    <a:pt x="87" y="256"/>
                    <a:pt x="88" y="256"/>
                  </a:cubicBezTo>
                  <a:cubicBezTo>
                    <a:pt x="88" y="256"/>
                    <a:pt x="88" y="255"/>
                    <a:pt x="88" y="255"/>
                  </a:cubicBezTo>
                  <a:cubicBezTo>
                    <a:pt x="88" y="254"/>
                    <a:pt x="89" y="253"/>
                    <a:pt x="90" y="252"/>
                  </a:cubicBezTo>
                  <a:cubicBezTo>
                    <a:pt x="91" y="251"/>
                    <a:pt x="92" y="251"/>
                    <a:pt x="93" y="249"/>
                  </a:cubicBezTo>
                  <a:cubicBezTo>
                    <a:pt x="93" y="248"/>
                    <a:pt x="93" y="246"/>
                    <a:pt x="93" y="244"/>
                  </a:cubicBezTo>
                  <a:cubicBezTo>
                    <a:pt x="93" y="241"/>
                    <a:pt x="93" y="239"/>
                    <a:pt x="95" y="236"/>
                  </a:cubicBezTo>
                  <a:cubicBezTo>
                    <a:pt x="96" y="235"/>
                    <a:pt x="97" y="232"/>
                    <a:pt x="98" y="234"/>
                  </a:cubicBezTo>
                  <a:cubicBezTo>
                    <a:pt x="99" y="236"/>
                    <a:pt x="98" y="236"/>
                    <a:pt x="97" y="236"/>
                  </a:cubicBezTo>
                  <a:cubicBezTo>
                    <a:pt x="96" y="237"/>
                    <a:pt x="96" y="236"/>
                    <a:pt x="96" y="238"/>
                  </a:cubicBezTo>
                  <a:cubicBezTo>
                    <a:pt x="96" y="241"/>
                    <a:pt x="99" y="244"/>
                    <a:pt x="100" y="247"/>
                  </a:cubicBezTo>
                  <a:cubicBezTo>
                    <a:pt x="102" y="247"/>
                    <a:pt x="103" y="245"/>
                    <a:pt x="105" y="245"/>
                  </a:cubicBezTo>
                  <a:cubicBezTo>
                    <a:pt x="106" y="244"/>
                    <a:pt x="107" y="244"/>
                    <a:pt x="107" y="243"/>
                  </a:cubicBezTo>
                  <a:cubicBezTo>
                    <a:pt x="108" y="242"/>
                    <a:pt x="107" y="241"/>
                    <a:pt x="108" y="241"/>
                  </a:cubicBezTo>
                  <a:cubicBezTo>
                    <a:pt x="108" y="240"/>
                    <a:pt x="110" y="240"/>
                    <a:pt x="111" y="240"/>
                  </a:cubicBezTo>
                  <a:cubicBezTo>
                    <a:pt x="113" y="242"/>
                    <a:pt x="112" y="243"/>
                    <a:pt x="112" y="245"/>
                  </a:cubicBezTo>
                  <a:cubicBezTo>
                    <a:pt x="115" y="250"/>
                    <a:pt x="115" y="250"/>
                    <a:pt x="115" y="250"/>
                  </a:cubicBezTo>
                  <a:cubicBezTo>
                    <a:pt x="115" y="252"/>
                    <a:pt x="116" y="253"/>
                    <a:pt x="117" y="255"/>
                  </a:cubicBezTo>
                  <a:cubicBezTo>
                    <a:pt x="117" y="257"/>
                    <a:pt x="116" y="258"/>
                    <a:pt x="118" y="260"/>
                  </a:cubicBezTo>
                  <a:cubicBezTo>
                    <a:pt x="119" y="261"/>
                    <a:pt x="122" y="261"/>
                    <a:pt x="124" y="263"/>
                  </a:cubicBezTo>
                  <a:cubicBezTo>
                    <a:pt x="124" y="265"/>
                    <a:pt x="124" y="265"/>
                    <a:pt x="125" y="266"/>
                  </a:cubicBezTo>
                  <a:cubicBezTo>
                    <a:pt x="126" y="267"/>
                    <a:pt x="126" y="267"/>
                    <a:pt x="127" y="268"/>
                  </a:cubicBezTo>
                  <a:cubicBezTo>
                    <a:pt x="128" y="267"/>
                    <a:pt x="130" y="267"/>
                    <a:pt x="132" y="267"/>
                  </a:cubicBezTo>
                  <a:cubicBezTo>
                    <a:pt x="132" y="269"/>
                    <a:pt x="131" y="271"/>
                    <a:pt x="131" y="272"/>
                  </a:cubicBezTo>
                  <a:cubicBezTo>
                    <a:pt x="131" y="274"/>
                    <a:pt x="131" y="276"/>
                    <a:pt x="131" y="278"/>
                  </a:cubicBezTo>
                  <a:cubicBezTo>
                    <a:pt x="134" y="278"/>
                    <a:pt x="134" y="282"/>
                    <a:pt x="136" y="282"/>
                  </a:cubicBezTo>
                  <a:cubicBezTo>
                    <a:pt x="140" y="274"/>
                    <a:pt x="143" y="288"/>
                    <a:pt x="147" y="287"/>
                  </a:cubicBezTo>
                  <a:cubicBezTo>
                    <a:pt x="148" y="287"/>
                    <a:pt x="149" y="285"/>
                    <a:pt x="150" y="286"/>
                  </a:cubicBezTo>
                  <a:cubicBezTo>
                    <a:pt x="151" y="286"/>
                    <a:pt x="152" y="287"/>
                    <a:pt x="152" y="287"/>
                  </a:cubicBezTo>
                  <a:cubicBezTo>
                    <a:pt x="153" y="288"/>
                    <a:pt x="152" y="288"/>
                    <a:pt x="151" y="289"/>
                  </a:cubicBezTo>
                  <a:cubicBezTo>
                    <a:pt x="150" y="290"/>
                    <a:pt x="150" y="291"/>
                    <a:pt x="149" y="292"/>
                  </a:cubicBezTo>
                  <a:cubicBezTo>
                    <a:pt x="148" y="293"/>
                    <a:pt x="146" y="294"/>
                    <a:pt x="146" y="296"/>
                  </a:cubicBezTo>
                  <a:cubicBezTo>
                    <a:pt x="146" y="297"/>
                    <a:pt x="147" y="300"/>
                    <a:pt x="146" y="302"/>
                  </a:cubicBezTo>
                  <a:cubicBezTo>
                    <a:pt x="146" y="302"/>
                    <a:pt x="146" y="302"/>
                    <a:pt x="146" y="302"/>
                  </a:cubicBezTo>
                  <a:cubicBezTo>
                    <a:pt x="146" y="302"/>
                    <a:pt x="145" y="304"/>
                    <a:pt x="145" y="304"/>
                  </a:cubicBezTo>
                  <a:cubicBezTo>
                    <a:pt x="144" y="304"/>
                    <a:pt x="143" y="304"/>
                    <a:pt x="143" y="305"/>
                  </a:cubicBezTo>
                  <a:cubicBezTo>
                    <a:pt x="142" y="306"/>
                    <a:pt x="142" y="307"/>
                    <a:pt x="142" y="308"/>
                  </a:cubicBezTo>
                  <a:cubicBezTo>
                    <a:pt x="142" y="308"/>
                    <a:pt x="141" y="309"/>
                    <a:pt x="140" y="309"/>
                  </a:cubicBezTo>
                  <a:cubicBezTo>
                    <a:pt x="139" y="311"/>
                    <a:pt x="135" y="313"/>
                    <a:pt x="135" y="316"/>
                  </a:cubicBezTo>
                  <a:cubicBezTo>
                    <a:pt x="136" y="317"/>
                    <a:pt x="137" y="318"/>
                    <a:pt x="137" y="319"/>
                  </a:cubicBezTo>
                  <a:cubicBezTo>
                    <a:pt x="138" y="319"/>
                    <a:pt x="138" y="319"/>
                    <a:pt x="138" y="320"/>
                  </a:cubicBezTo>
                  <a:cubicBezTo>
                    <a:pt x="138" y="320"/>
                    <a:pt x="138" y="321"/>
                    <a:pt x="138" y="321"/>
                  </a:cubicBezTo>
                  <a:cubicBezTo>
                    <a:pt x="138" y="321"/>
                    <a:pt x="138" y="321"/>
                    <a:pt x="138" y="321"/>
                  </a:cubicBezTo>
                  <a:cubicBezTo>
                    <a:pt x="140" y="322"/>
                    <a:pt x="144" y="322"/>
                    <a:pt x="146" y="321"/>
                  </a:cubicBezTo>
                  <a:cubicBezTo>
                    <a:pt x="148" y="320"/>
                    <a:pt x="148" y="320"/>
                    <a:pt x="149" y="318"/>
                  </a:cubicBezTo>
                  <a:cubicBezTo>
                    <a:pt x="149" y="318"/>
                    <a:pt x="149" y="317"/>
                    <a:pt x="150" y="316"/>
                  </a:cubicBezTo>
                  <a:cubicBezTo>
                    <a:pt x="151" y="315"/>
                    <a:pt x="153" y="315"/>
                    <a:pt x="155" y="314"/>
                  </a:cubicBezTo>
                  <a:cubicBezTo>
                    <a:pt x="157" y="313"/>
                    <a:pt x="158" y="314"/>
                    <a:pt x="159" y="316"/>
                  </a:cubicBezTo>
                  <a:cubicBezTo>
                    <a:pt x="160" y="317"/>
                    <a:pt x="159" y="317"/>
                    <a:pt x="160" y="317"/>
                  </a:cubicBezTo>
                  <a:cubicBezTo>
                    <a:pt x="161" y="318"/>
                    <a:pt x="162" y="318"/>
                    <a:pt x="163" y="319"/>
                  </a:cubicBezTo>
                  <a:cubicBezTo>
                    <a:pt x="164" y="319"/>
                    <a:pt x="163" y="320"/>
                    <a:pt x="165" y="319"/>
                  </a:cubicBezTo>
                  <a:cubicBezTo>
                    <a:pt x="165" y="319"/>
                    <a:pt x="166" y="319"/>
                    <a:pt x="167" y="318"/>
                  </a:cubicBezTo>
                  <a:cubicBezTo>
                    <a:pt x="168" y="317"/>
                    <a:pt x="168" y="315"/>
                    <a:pt x="170" y="314"/>
                  </a:cubicBezTo>
                  <a:cubicBezTo>
                    <a:pt x="171" y="313"/>
                    <a:pt x="172" y="313"/>
                    <a:pt x="174" y="312"/>
                  </a:cubicBezTo>
                  <a:cubicBezTo>
                    <a:pt x="178" y="310"/>
                    <a:pt x="181" y="314"/>
                    <a:pt x="184" y="316"/>
                  </a:cubicBezTo>
                  <a:cubicBezTo>
                    <a:pt x="186" y="317"/>
                    <a:pt x="190" y="317"/>
                    <a:pt x="193" y="315"/>
                  </a:cubicBezTo>
                  <a:cubicBezTo>
                    <a:pt x="194" y="314"/>
                    <a:pt x="195" y="312"/>
                    <a:pt x="195" y="311"/>
                  </a:cubicBezTo>
                  <a:cubicBezTo>
                    <a:pt x="195" y="309"/>
                    <a:pt x="195" y="309"/>
                    <a:pt x="194" y="307"/>
                  </a:cubicBezTo>
                  <a:cubicBezTo>
                    <a:pt x="193" y="306"/>
                    <a:pt x="193" y="304"/>
                    <a:pt x="193" y="303"/>
                  </a:cubicBezTo>
                  <a:cubicBezTo>
                    <a:pt x="192" y="301"/>
                    <a:pt x="191" y="301"/>
                    <a:pt x="190" y="299"/>
                  </a:cubicBezTo>
                  <a:cubicBezTo>
                    <a:pt x="190" y="297"/>
                    <a:pt x="190" y="298"/>
                    <a:pt x="189" y="297"/>
                  </a:cubicBezTo>
                  <a:cubicBezTo>
                    <a:pt x="188" y="296"/>
                    <a:pt x="188" y="296"/>
                    <a:pt x="187" y="295"/>
                  </a:cubicBezTo>
                  <a:cubicBezTo>
                    <a:pt x="186" y="293"/>
                    <a:pt x="186" y="293"/>
                    <a:pt x="186" y="290"/>
                  </a:cubicBezTo>
                  <a:cubicBezTo>
                    <a:pt x="186" y="288"/>
                    <a:pt x="187" y="287"/>
                    <a:pt x="187" y="285"/>
                  </a:cubicBezTo>
                  <a:cubicBezTo>
                    <a:pt x="188" y="283"/>
                    <a:pt x="189" y="281"/>
                    <a:pt x="188" y="279"/>
                  </a:cubicBezTo>
                  <a:cubicBezTo>
                    <a:pt x="188" y="278"/>
                    <a:pt x="187" y="277"/>
                    <a:pt x="187" y="276"/>
                  </a:cubicBezTo>
                  <a:cubicBezTo>
                    <a:pt x="187" y="275"/>
                    <a:pt x="187" y="273"/>
                    <a:pt x="187" y="272"/>
                  </a:cubicBezTo>
                  <a:cubicBezTo>
                    <a:pt x="188" y="271"/>
                    <a:pt x="192" y="270"/>
                    <a:pt x="193" y="270"/>
                  </a:cubicBezTo>
                  <a:cubicBezTo>
                    <a:pt x="194" y="270"/>
                    <a:pt x="195" y="270"/>
                    <a:pt x="196" y="270"/>
                  </a:cubicBezTo>
                  <a:cubicBezTo>
                    <a:pt x="197" y="270"/>
                    <a:pt x="197" y="271"/>
                    <a:pt x="198" y="271"/>
                  </a:cubicBezTo>
                  <a:cubicBezTo>
                    <a:pt x="199" y="270"/>
                    <a:pt x="199" y="270"/>
                    <a:pt x="200" y="270"/>
                  </a:cubicBezTo>
                  <a:cubicBezTo>
                    <a:pt x="201" y="269"/>
                    <a:pt x="201" y="270"/>
                    <a:pt x="202" y="269"/>
                  </a:cubicBezTo>
                  <a:cubicBezTo>
                    <a:pt x="202" y="269"/>
                    <a:pt x="204" y="268"/>
                    <a:pt x="205" y="267"/>
                  </a:cubicBezTo>
                  <a:cubicBezTo>
                    <a:pt x="205" y="267"/>
                    <a:pt x="205" y="265"/>
                    <a:pt x="205" y="264"/>
                  </a:cubicBezTo>
                  <a:cubicBezTo>
                    <a:pt x="206" y="262"/>
                    <a:pt x="206" y="260"/>
                    <a:pt x="208" y="258"/>
                  </a:cubicBezTo>
                  <a:cubicBezTo>
                    <a:pt x="210" y="256"/>
                    <a:pt x="213" y="256"/>
                    <a:pt x="214" y="254"/>
                  </a:cubicBezTo>
                  <a:cubicBezTo>
                    <a:pt x="215" y="253"/>
                    <a:pt x="218" y="251"/>
                    <a:pt x="217" y="24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0" name="Freeform 30"/>
            <p:cNvSpPr>
              <a:spLocks noEditPoints="1"/>
            </p:cNvSpPr>
            <p:nvPr/>
          </p:nvSpPr>
          <p:spPr bwMode="auto">
            <a:xfrm>
              <a:off x="5426075" y="5565775"/>
              <a:ext cx="187325" cy="219075"/>
            </a:xfrm>
            <a:custGeom>
              <a:avLst/>
              <a:gdLst/>
              <a:ahLst/>
              <a:cxnLst>
                <a:cxn ang="0">
                  <a:pos x="1" y="48"/>
                </a:cxn>
                <a:cxn ang="0">
                  <a:pos x="1" y="48"/>
                </a:cxn>
                <a:cxn ang="0">
                  <a:pos x="1" y="48"/>
                </a:cxn>
                <a:cxn ang="0">
                  <a:pos x="78" y="46"/>
                </a:cxn>
                <a:cxn ang="0">
                  <a:pos x="79" y="35"/>
                </a:cxn>
                <a:cxn ang="0">
                  <a:pos x="72" y="34"/>
                </a:cxn>
                <a:cxn ang="0">
                  <a:pos x="65" y="28"/>
                </a:cxn>
                <a:cxn ang="0">
                  <a:pos x="62" y="18"/>
                </a:cxn>
                <a:cxn ang="0">
                  <a:pos x="58" y="8"/>
                </a:cxn>
                <a:cxn ang="0">
                  <a:pos x="54" y="11"/>
                </a:cxn>
                <a:cxn ang="0">
                  <a:pos x="47" y="15"/>
                </a:cxn>
                <a:cxn ang="0">
                  <a:pos x="44" y="4"/>
                </a:cxn>
                <a:cxn ang="0">
                  <a:pos x="42" y="4"/>
                </a:cxn>
                <a:cxn ang="0">
                  <a:pos x="40" y="17"/>
                </a:cxn>
                <a:cxn ang="0">
                  <a:pos x="35" y="23"/>
                </a:cxn>
                <a:cxn ang="0">
                  <a:pos x="33" y="25"/>
                </a:cxn>
                <a:cxn ang="0">
                  <a:pos x="29" y="32"/>
                </a:cxn>
                <a:cxn ang="0">
                  <a:pos x="24" y="36"/>
                </a:cxn>
                <a:cxn ang="0">
                  <a:pos x="19" y="38"/>
                </a:cxn>
                <a:cxn ang="0">
                  <a:pos x="17" y="39"/>
                </a:cxn>
                <a:cxn ang="0">
                  <a:pos x="13" y="41"/>
                </a:cxn>
                <a:cxn ang="0">
                  <a:pos x="7" y="45"/>
                </a:cxn>
                <a:cxn ang="0">
                  <a:pos x="1" y="44"/>
                </a:cxn>
                <a:cxn ang="0">
                  <a:pos x="0" y="44"/>
                </a:cxn>
                <a:cxn ang="0">
                  <a:pos x="0" y="46"/>
                </a:cxn>
                <a:cxn ang="0">
                  <a:pos x="0" y="45"/>
                </a:cxn>
                <a:cxn ang="0">
                  <a:pos x="0" y="47"/>
                </a:cxn>
                <a:cxn ang="0">
                  <a:pos x="1" y="48"/>
                </a:cxn>
                <a:cxn ang="0">
                  <a:pos x="2" y="48"/>
                </a:cxn>
                <a:cxn ang="0">
                  <a:pos x="3" y="49"/>
                </a:cxn>
                <a:cxn ang="0">
                  <a:pos x="5" y="55"/>
                </a:cxn>
                <a:cxn ang="0">
                  <a:pos x="8" y="62"/>
                </a:cxn>
                <a:cxn ang="0">
                  <a:pos x="17" y="67"/>
                </a:cxn>
                <a:cxn ang="0">
                  <a:pos x="22" y="74"/>
                </a:cxn>
                <a:cxn ang="0">
                  <a:pos x="25" y="82"/>
                </a:cxn>
                <a:cxn ang="0">
                  <a:pos x="27" y="88"/>
                </a:cxn>
                <a:cxn ang="0">
                  <a:pos x="30" y="99"/>
                </a:cxn>
                <a:cxn ang="0">
                  <a:pos x="30" y="114"/>
                </a:cxn>
                <a:cxn ang="0">
                  <a:pos x="34" y="115"/>
                </a:cxn>
                <a:cxn ang="0">
                  <a:pos x="40" y="111"/>
                </a:cxn>
                <a:cxn ang="0">
                  <a:pos x="40" y="106"/>
                </a:cxn>
                <a:cxn ang="0">
                  <a:pos x="45" y="98"/>
                </a:cxn>
                <a:cxn ang="0">
                  <a:pos x="61" y="93"/>
                </a:cxn>
                <a:cxn ang="0">
                  <a:pos x="64" y="98"/>
                </a:cxn>
                <a:cxn ang="0">
                  <a:pos x="69" y="96"/>
                </a:cxn>
                <a:cxn ang="0">
                  <a:pos x="75" y="87"/>
                </a:cxn>
                <a:cxn ang="0">
                  <a:pos x="85" y="89"/>
                </a:cxn>
                <a:cxn ang="0">
                  <a:pos x="84" y="87"/>
                </a:cxn>
                <a:cxn ang="0">
                  <a:pos x="87" y="77"/>
                </a:cxn>
                <a:cxn ang="0">
                  <a:pos x="90" y="73"/>
                </a:cxn>
                <a:cxn ang="0">
                  <a:pos x="93" y="70"/>
                </a:cxn>
                <a:cxn ang="0">
                  <a:pos x="93" y="64"/>
                </a:cxn>
                <a:cxn ang="0">
                  <a:pos x="98" y="57"/>
                </a:cxn>
                <a:cxn ang="0">
                  <a:pos x="97" y="54"/>
                </a:cxn>
                <a:cxn ang="0">
                  <a:pos x="83" y="50"/>
                </a:cxn>
                <a:cxn ang="0">
                  <a:pos x="0" y="47"/>
                </a:cxn>
                <a:cxn ang="0">
                  <a:pos x="1" y="44"/>
                </a:cxn>
                <a:cxn ang="0">
                  <a:pos x="1" y="44"/>
                </a:cxn>
                <a:cxn ang="0">
                  <a:pos x="2" y="62"/>
                </a:cxn>
              </a:cxnLst>
              <a:rect l="0" t="0" r="r" b="b"/>
              <a:pathLst>
                <a:path w="100" h="117">
                  <a:moveTo>
                    <a:pt x="1" y="48"/>
                  </a:move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moveTo>
                    <a:pt x="83" y="50"/>
                  </a:moveTo>
                  <a:cubicBezTo>
                    <a:pt x="81" y="50"/>
                    <a:pt x="81" y="46"/>
                    <a:pt x="78" y="46"/>
                  </a:cubicBezTo>
                  <a:cubicBezTo>
                    <a:pt x="78" y="44"/>
                    <a:pt x="78" y="42"/>
                    <a:pt x="78" y="40"/>
                  </a:cubicBezTo>
                  <a:cubicBezTo>
                    <a:pt x="78" y="39"/>
                    <a:pt x="79" y="37"/>
                    <a:pt x="79" y="35"/>
                  </a:cubicBezTo>
                  <a:cubicBezTo>
                    <a:pt x="77" y="35"/>
                    <a:pt x="75" y="35"/>
                    <a:pt x="74" y="36"/>
                  </a:cubicBezTo>
                  <a:cubicBezTo>
                    <a:pt x="73" y="35"/>
                    <a:pt x="73" y="35"/>
                    <a:pt x="72" y="34"/>
                  </a:cubicBezTo>
                  <a:cubicBezTo>
                    <a:pt x="71" y="33"/>
                    <a:pt x="71" y="33"/>
                    <a:pt x="71" y="31"/>
                  </a:cubicBezTo>
                  <a:cubicBezTo>
                    <a:pt x="69" y="29"/>
                    <a:pt x="66" y="29"/>
                    <a:pt x="65" y="28"/>
                  </a:cubicBezTo>
                  <a:cubicBezTo>
                    <a:pt x="63" y="26"/>
                    <a:pt x="64" y="25"/>
                    <a:pt x="64" y="23"/>
                  </a:cubicBezTo>
                  <a:cubicBezTo>
                    <a:pt x="63" y="21"/>
                    <a:pt x="62" y="20"/>
                    <a:pt x="62" y="18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9" y="11"/>
                    <a:pt x="60" y="10"/>
                    <a:pt x="58" y="8"/>
                  </a:cubicBezTo>
                  <a:cubicBezTo>
                    <a:pt x="57" y="8"/>
                    <a:pt x="55" y="8"/>
                    <a:pt x="55" y="9"/>
                  </a:cubicBezTo>
                  <a:cubicBezTo>
                    <a:pt x="54" y="9"/>
                    <a:pt x="55" y="10"/>
                    <a:pt x="54" y="11"/>
                  </a:cubicBezTo>
                  <a:cubicBezTo>
                    <a:pt x="54" y="12"/>
                    <a:pt x="53" y="12"/>
                    <a:pt x="52" y="13"/>
                  </a:cubicBezTo>
                  <a:cubicBezTo>
                    <a:pt x="50" y="13"/>
                    <a:pt x="49" y="15"/>
                    <a:pt x="47" y="15"/>
                  </a:cubicBezTo>
                  <a:cubicBezTo>
                    <a:pt x="46" y="12"/>
                    <a:pt x="43" y="9"/>
                    <a:pt x="43" y="6"/>
                  </a:cubicBezTo>
                  <a:cubicBezTo>
                    <a:pt x="43" y="4"/>
                    <a:pt x="43" y="5"/>
                    <a:pt x="44" y="4"/>
                  </a:cubicBezTo>
                  <a:cubicBezTo>
                    <a:pt x="45" y="4"/>
                    <a:pt x="46" y="4"/>
                    <a:pt x="45" y="2"/>
                  </a:cubicBezTo>
                  <a:cubicBezTo>
                    <a:pt x="44" y="0"/>
                    <a:pt x="43" y="3"/>
                    <a:pt x="42" y="4"/>
                  </a:cubicBezTo>
                  <a:cubicBezTo>
                    <a:pt x="40" y="7"/>
                    <a:pt x="40" y="9"/>
                    <a:pt x="40" y="12"/>
                  </a:cubicBezTo>
                  <a:cubicBezTo>
                    <a:pt x="40" y="14"/>
                    <a:pt x="40" y="16"/>
                    <a:pt x="40" y="17"/>
                  </a:cubicBezTo>
                  <a:cubicBezTo>
                    <a:pt x="39" y="19"/>
                    <a:pt x="38" y="19"/>
                    <a:pt x="37" y="20"/>
                  </a:cubicBezTo>
                  <a:cubicBezTo>
                    <a:pt x="36" y="21"/>
                    <a:pt x="35" y="22"/>
                    <a:pt x="35" y="23"/>
                  </a:cubicBezTo>
                  <a:cubicBezTo>
                    <a:pt x="35" y="23"/>
                    <a:pt x="35" y="24"/>
                    <a:pt x="35" y="24"/>
                  </a:cubicBezTo>
                  <a:cubicBezTo>
                    <a:pt x="34" y="24"/>
                    <a:pt x="33" y="24"/>
                    <a:pt x="33" y="25"/>
                  </a:cubicBezTo>
                  <a:cubicBezTo>
                    <a:pt x="31" y="26"/>
                    <a:pt x="29" y="27"/>
                    <a:pt x="29" y="30"/>
                  </a:cubicBezTo>
                  <a:cubicBezTo>
                    <a:pt x="29" y="30"/>
                    <a:pt x="29" y="31"/>
                    <a:pt x="29" y="32"/>
                  </a:cubicBezTo>
                  <a:cubicBezTo>
                    <a:pt x="28" y="34"/>
                    <a:pt x="27" y="33"/>
                    <a:pt x="26" y="34"/>
                  </a:cubicBezTo>
                  <a:cubicBezTo>
                    <a:pt x="25" y="35"/>
                    <a:pt x="25" y="36"/>
                    <a:pt x="24" y="36"/>
                  </a:cubicBezTo>
                  <a:cubicBezTo>
                    <a:pt x="24" y="37"/>
                    <a:pt x="23" y="38"/>
                    <a:pt x="22" y="38"/>
                  </a:cubicBezTo>
                  <a:cubicBezTo>
                    <a:pt x="22" y="39"/>
                    <a:pt x="20" y="38"/>
                    <a:pt x="19" y="38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8" y="38"/>
                    <a:pt x="17" y="39"/>
                  </a:cubicBezTo>
                  <a:cubicBezTo>
                    <a:pt x="16" y="39"/>
                    <a:pt x="17" y="40"/>
                    <a:pt x="17" y="41"/>
                  </a:cubicBezTo>
                  <a:cubicBezTo>
                    <a:pt x="16" y="42"/>
                    <a:pt x="14" y="41"/>
                    <a:pt x="13" y="41"/>
                  </a:cubicBezTo>
                  <a:cubicBezTo>
                    <a:pt x="11" y="41"/>
                    <a:pt x="12" y="44"/>
                    <a:pt x="12" y="46"/>
                  </a:cubicBezTo>
                  <a:cubicBezTo>
                    <a:pt x="10" y="46"/>
                    <a:pt x="9" y="46"/>
                    <a:pt x="7" y="45"/>
                  </a:cubicBezTo>
                  <a:cubicBezTo>
                    <a:pt x="6" y="44"/>
                    <a:pt x="5" y="44"/>
                    <a:pt x="4" y="43"/>
                  </a:cubicBezTo>
                  <a:cubicBezTo>
                    <a:pt x="3" y="43"/>
                    <a:pt x="2" y="43"/>
                    <a:pt x="1" y="44"/>
                  </a:cubicBezTo>
                  <a:cubicBezTo>
                    <a:pt x="1" y="44"/>
                    <a:pt x="0" y="45"/>
                    <a:pt x="0" y="45"/>
                  </a:cubicBezTo>
                  <a:cubicBezTo>
                    <a:pt x="0" y="45"/>
                    <a:pt x="0" y="45"/>
                    <a:pt x="0" y="44"/>
                  </a:cubicBezTo>
                  <a:cubicBezTo>
                    <a:pt x="0" y="45"/>
                    <a:pt x="0" y="45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5"/>
                    <a:pt x="0" y="45"/>
                  </a:cubicBezTo>
                  <a:cubicBezTo>
                    <a:pt x="0" y="45"/>
                    <a:pt x="0" y="46"/>
                    <a:pt x="0" y="46"/>
                  </a:cubicBezTo>
                  <a:cubicBezTo>
                    <a:pt x="0" y="46"/>
                    <a:pt x="0" y="46"/>
                    <a:pt x="0" y="47"/>
                  </a:cubicBezTo>
                  <a:cubicBezTo>
                    <a:pt x="0" y="47"/>
                    <a:pt x="1" y="47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9"/>
                    <a:pt x="3" y="49"/>
                    <a:pt x="3" y="49"/>
                  </a:cubicBezTo>
                  <a:cubicBezTo>
                    <a:pt x="4" y="49"/>
                    <a:pt x="5" y="50"/>
                    <a:pt x="5" y="50"/>
                  </a:cubicBezTo>
                  <a:cubicBezTo>
                    <a:pt x="6" y="52"/>
                    <a:pt x="6" y="54"/>
                    <a:pt x="5" y="55"/>
                  </a:cubicBezTo>
                  <a:cubicBezTo>
                    <a:pt x="6" y="56"/>
                    <a:pt x="6" y="57"/>
                    <a:pt x="6" y="58"/>
                  </a:cubicBezTo>
                  <a:cubicBezTo>
                    <a:pt x="7" y="59"/>
                    <a:pt x="7" y="61"/>
                    <a:pt x="8" y="62"/>
                  </a:cubicBezTo>
                  <a:cubicBezTo>
                    <a:pt x="10" y="64"/>
                    <a:pt x="13" y="62"/>
                    <a:pt x="15" y="64"/>
                  </a:cubicBezTo>
                  <a:cubicBezTo>
                    <a:pt x="16" y="65"/>
                    <a:pt x="16" y="66"/>
                    <a:pt x="17" y="67"/>
                  </a:cubicBezTo>
                  <a:cubicBezTo>
                    <a:pt x="18" y="68"/>
                    <a:pt x="19" y="69"/>
                    <a:pt x="20" y="70"/>
                  </a:cubicBezTo>
                  <a:cubicBezTo>
                    <a:pt x="21" y="71"/>
                    <a:pt x="21" y="72"/>
                    <a:pt x="22" y="74"/>
                  </a:cubicBezTo>
                  <a:cubicBezTo>
                    <a:pt x="22" y="75"/>
                    <a:pt x="24" y="77"/>
                    <a:pt x="25" y="79"/>
                  </a:cubicBezTo>
                  <a:cubicBezTo>
                    <a:pt x="26" y="80"/>
                    <a:pt x="25" y="81"/>
                    <a:pt x="25" y="82"/>
                  </a:cubicBezTo>
                  <a:cubicBezTo>
                    <a:pt x="25" y="83"/>
                    <a:pt x="26" y="83"/>
                    <a:pt x="26" y="84"/>
                  </a:cubicBezTo>
                  <a:cubicBezTo>
                    <a:pt x="27" y="86"/>
                    <a:pt x="27" y="87"/>
                    <a:pt x="27" y="88"/>
                  </a:cubicBezTo>
                  <a:cubicBezTo>
                    <a:pt x="27" y="90"/>
                    <a:pt x="28" y="92"/>
                    <a:pt x="28" y="94"/>
                  </a:cubicBezTo>
                  <a:cubicBezTo>
                    <a:pt x="28" y="96"/>
                    <a:pt x="29" y="97"/>
                    <a:pt x="30" y="99"/>
                  </a:cubicBezTo>
                  <a:cubicBezTo>
                    <a:pt x="31" y="101"/>
                    <a:pt x="31" y="104"/>
                    <a:pt x="31" y="106"/>
                  </a:cubicBezTo>
                  <a:cubicBezTo>
                    <a:pt x="31" y="109"/>
                    <a:pt x="31" y="112"/>
                    <a:pt x="30" y="114"/>
                  </a:cubicBezTo>
                  <a:cubicBezTo>
                    <a:pt x="30" y="115"/>
                    <a:pt x="30" y="117"/>
                    <a:pt x="31" y="117"/>
                  </a:cubicBezTo>
                  <a:cubicBezTo>
                    <a:pt x="32" y="117"/>
                    <a:pt x="33" y="116"/>
                    <a:pt x="34" y="115"/>
                  </a:cubicBezTo>
                  <a:cubicBezTo>
                    <a:pt x="35" y="114"/>
                    <a:pt x="36" y="114"/>
                    <a:pt x="37" y="113"/>
                  </a:cubicBezTo>
                  <a:cubicBezTo>
                    <a:pt x="38" y="112"/>
                    <a:pt x="39" y="112"/>
                    <a:pt x="40" y="111"/>
                  </a:cubicBezTo>
                  <a:cubicBezTo>
                    <a:pt x="40" y="110"/>
                    <a:pt x="40" y="109"/>
                    <a:pt x="40" y="108"/>
                  </a:cubicBezTo>
                  <a:cubicBezTo>
                    <a:pt x="40" y="107"/>
                    <a:pt x="40" y="106"/>
                    <a:pt x="40" y="106"/>
                  </a:cubicBezTo>
                  <a:cubicBezTo>
                    <a:pt x="40" y="105"/>
                    <a:pt x="41" y="104"/>
                    <a:pt x="41" y="103"/>
                  </a:cubicBezTo>
                  <a:cubicBezTo>
                    <a:pt x="43" y="101"/>
                    <a:pt x="44" y="99"/>
                    <a:pt x="45" y="98"/>
                  </a:cubicBezTo>
                  <a:cubicBezTo>
                    <a:pt x="47" y="96"/>
                    <a:pt x="49" y="96"/>
                    <a:pt x="51" y="95"/>
                  </a:cubicBezTo>
                  <a:cubicBezTo>
                    <a:pt x="54" y="94"/>
                    <a:pt x="58" y="91"/>
                    <a:pt x="61" y="93"/>
                  </a:cubicBezTo>
                  <a:cubicBezTo>
                    <a:pt x="63" y="94"/>
                    <a:pt x="62" y="94"/>
                    <a:pt x="63" y="95"/>
                  </a:cubicBezTo>
                  <a:cubicBezTo>
                    <a:pt x="63" y="96"/>
                    <a:pt x="64" y="97"/>
                    <a:pt x="64" y="98"/>
                  </a:cubicBezTo>
                  <a:cubicBezTo>
                    <a:pt x="65" y="98"/>
                    <a:pt x="67" y="101"/>
                    <a:pt x="68" y="100"/>
                  </a:cubicBezTo>
                  <a:cubicBezTo>
                    <a:pt x="68" y="99"/>
                    <a:pt x="69" y="97"/>
                    <a:pt x="69" y="96"/>
                  </a:cubicBezTo>
                  <a:cubicBezTo>
                    <a:pt x="70" y="94"/>
                    <a:pt x="70" y="93"/>
                    <a:pt x="72" y="92"/>
                  </a:cubicBezTo>
                  <a:cubicBezTo>
                    <a:pt x="71" y="90"/>
                    <a:pt x="75" y="89"/>
                    <a:pt x="75" y="87"/>
                  </a:cubicBezTo>
                  <a:cubicBezTo>
                    <a:pt x="77" y="86"/>
                    <a:pt x="86" y="86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8"/>
                    <a:pt x="85" y="88"/>
                  </a:cubicBezTo>
                  <a:cubicBezTo>
                    <a:pt x="85" y="87"/>
                    <a:pt x="85" y="87"/>
                    <a:pt x="84" y="87"/>
                  </a:cubicBezTo>
                  <a:cubicBezTo>
                    <a:pt x="84" y="86"/>
                    <a:pt x="83" y="85"/>
                    <a:pt x="82" y="84"/>
                  </a:cubicBezTo>
                  <a:cubicBezTo>
                    <a:pt x="82" y="81"/>
                    <a:pt x="86" y="79"/>
                    <a:pt x="87" y="77"/>
                  </a:cubicBezTo>
                  <a:cubicBezTo>
                    <a:pt x="88" y="77"/>
                    <a:pt x="89" y="76"/>
                    <a:pt x="89" y="76"/>
                  </a:cubicBezTo>
                  <a:cubicBezTo>
                    <a:pt x="89" y="75"/>
                    <a:pt x="89" y="74"/>
                    <a:pt x="90" y="73"/>
                  </a:cubicBezTo>
                  <a:cubicBezTo>
                    <a:pt x="90" y="72"/>
                    <a:pt x="91" y="72"/>
                    <a:pt x="92" y="72"/>
                  </a:cubicBezTo>
                  <a:cubicBezTo>
                    <a:pt x="92" y="72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4" y="68"/>
                    <a:pt x="93" y="65"/>
                    <a:pt x="93" y="64"/>
                  </a:cubicBezTo>
                  <a:cubicBezTo>
                    <a:pt x="93" y="62"/>
                    <a:pt x="95" y="61"/>
                    <a:pt x="96" y="60"/>
                  </a:cubicBezTo>
                  <a:cubicBezTo>
                    <a:pt x="97" y="59"/>
                    <a:pt x="97" y="58"/>
                    <a:pt x="98" y="57"/>
                  </a:cubicBezTo>
                  <a:cubicBezTo>
                    <a:pt x="99" y="56"/>
                    <a:pt x="100" y="56"/>
                    <a:pt x="99" y="55"/>
                  </a:cubicBezTo>
                  <a:cubicBezTo>
                    <a:pt x="99" y="55"/>
                    <a:pt x="98" y="54"/>
                    <a:pt x="97" y="54"/>
                  </a:cubicBezTo>
                  <a:cubicBezTo>
                    <a:pt x="96" y="53"/>
                    <a:pt x="95" y="55"/>
                    <a:pt x="94" y="55"/>
                  </a:cubicBezTo>
                  <a:cubicBezTo>
                    <a:pt x="90" y="56"/>
                    <a:pt x="87" y="42"/>
                    <a:pt x="83" y="50"/>
                  </a:cubicBezTo>
                  <a:moveTo>
                    <a:pt x="0" y="46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0" y="47"/>
                    <a:pt x="0" y="47"/>
                    <a:pt x="0" y="46"/>
                  </a:cubicBezTo>
                  <a:moveTo>
                    <a:pt x="1" y="44"/>
                  </a:moveTo>
                  <a:cubicBezTo>
                    <a:pt x="1" y="44"/>
                    <a:pt x="1" y="44"/>
                    <a:pt x="0" y="44"/>
                  </a:cubicBezTo>
                  <a:cubicBezTo>
                    <a:pt x="1" y="44"/>
                    <a:pt x="1" y="44"/>
                    <a:pt x="1" y="44"/>
                  </a:cubicBezTo>
                  <a:moveTo>
                    <a:pt x="2" y="62"/>
                  </a:moveTo>
                  <a:cubicBezTo>
                    <a:pt x="2" y="62"/>
                    <a:pt x="2" y="62"/>
                    <a:pt x="2" y="62"/>
                  </a:cubicBezTo>
                  <a:cubicBezTo>
                    <a:pt x="2" y="62"/>
                    <a:pt x="2" y="62"/>
                    <a:pt x="2" y="6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1" name="Freeform 31"/>
            <p:cNvSpPr>
              <a:spLocks noEditPoints="1"/>
            </p:cNvSpPr>
            <p:nvPr/>
          </p:nvSpPr>
          <p:spPr bwMode="auto">
            <a:xfrm>
              <a:off x="5343525" y="5646738"/>
              <a:ext cx="185738" cy="463550"/>
            </a:xfrm>
            <a:custGeom>
              <a:avLst/>
              <a:gdLst/>
              <a:ahLst/>
              <a:cxnLst>
                <a:cxn ang="0">
                  <a:pos x="44" y="3"/>
                </a:cxn>
                <a:cxn ang="0">
                  <a:pos x="44" y="3"/>
                </a:cxn>
                <a:cxn ang="0">
                  <a:pos x="44" y="3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6" y="5"/>
                </a:cxn>
                <a:cxn ang="0">
                  <a:pos x="45" y="5"/>
                </a:cxn>
                <a:cxn ang="0">
                  <a:pos x="45" y="5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5"/>
                </a:cxn>
                <a:cxn ang="0">
                  <a:pos x="44" y="2"/>
                </a:cxn>
                <a:cxn ang="0">
                  <a:pos x="45" y="1"/>
                </a:cxn>
                <a:cxn ang="0">
                  <a:pos x="45" y="1"/>
                </a:cxn>
                <a:cxn ang="0">
                  <a:pos x="44" y="1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11" y="187"/>
                </a:cxn>
                <a:cxn ang="0">
                  <a:pos x="9" y="201"/>
                </a:cxn>
                <a:cxn ang="0">
                  <a:pos x="15" y="208"/>
                </a:cxn>
                <a:cxn ang="0">
                  <a:pos x="20" y="215"/>
                </a:cxn>
                <a:cxn ang="0">
                  <a:pos x="28" y="221"/>
                </a:cxn>
                <a:cxn ang="0">
                  <a:pos x="34" y="229"/>
                </a:cxn>
                <a:cxn ang="0">
                  <a:pos x="37" y="242"/>
                </a:cxn>
                <a:cxn ang="0">
                  <a:pos x="50" y="244"/>
                </a:cxn>
                <a:cxn ang="0">
                  <a:pos x="56" y="236"/>
                </a:cxn>
                <a:cxn ang="0">
                  <a:pos x="56" y="228"/>
                </a:cxn>
                <a:cxn ang="0">
                  <a:pos x="59" y="219"/>
                </a:cxn>
                <a:cxn ang="0">
                  <a:pos x="73" y="213"/>
                </a:cxn>
                <a:cxn ang="0">
                  <a:pos x="77" y="202"/>
                </a:cxn>
                <a:cxn ang="0">
                  <a:pos x="83" y="185"/>
                </a:cxn>
                <a:cxn ang="0">
                  <a:pos x="92" y="184"/>
                </a:cxn>
                <a:cxn ang="0">
                  <a:pos x="96" y="167"/>
                </a:cxn>
                <a:cxn ang="0">
                  <a:pos x="94" y="155"/>
                </a:cxn>
                <a:cxn ang="0">
                  <a:pos x="81" y="147"/>
                </a:cxn>
                <a:cxn ang="0">
                  <a:pos x="75" y="134"/>
                </a:cxn>
                <a:cxn ang="0">
                  <a:pos x="69" y="125"/>
                </a:cxn>
                <a:cxn ang="0">
                  <a:pos x="68" y="112"/>
                </a:cxn>
                <a:cxn ang="0">
                  <a:pos x="67" y="104"/>
                </a:cxn>
                <a:cxn ang="0">
                  <a:pos x="71" y="95"/>
                </a:cxn>
                <a:cxn ang="0">
                  <a:pos x="72" y="79"/>
                </a:cxn>
                <a:cxn ang="0">
                  <a:pos x="74" y="56"/>
                </a:cxn>
                <a:cxn ang="0">
                  <a:pos x="69" y="39"/>
                </a:cxn>
                <a:cxn ang="0">
                  <a:pos x="61" y="24"/>
                </a:cxn>
                <a:cxn ang="0">
                  <a:pos x="49" y="12"/>
                </a:cxn>
                <a:cxn ang="0">
                  <a:pos x="45" y="21"/>
                </a:cxn>
                <a:cxn ang="0">
                  <a:pos x="28" y="17"/>
                </a:cxn>
                <a:cxn ang="0">
                  <a:pos x="24" y="14"/>
                </a:cxn>
                <a:cxn ang="0">
                  <a:pos x="12" y="30"/>
                </a:cxn>
                <a:cxn ang="0">
                  <a:pos x="5" y="47"/>
                </a:cxn>
                <a:cxn ang="0">
                  <a:pos x="10" y="69"/>
                </a:cxn>
                <a:cxn ang="0">
                  <a:pos x="18" y="82"/>
                </a:cxn>
                <a:cxn ang="0">
                  <a:pos x="19" y="103"/>
                </a:cxn>
                <a:cxn ang="0">
                  <a:pos x="7" y="112"/>
                </a:cxn>
                <a:cxn ang="0">
                  <a:pos x="12" y="121"/>
                </a:cxn>
                <a:cxn ang="0">
                  <a:pos x="11" y="135"/>
                </a:cxn>
                <a:cxn ang="0">
                  <a:pos x="13" y="146"/>
                </a:cxn>
                <a:cxn ang="0">
                  <a:pos x="8" y="143"/>
                </a:cxn>
                <a:cxn ang="0">
                  <a:pos x="2" y="167"/>
                </a:cxn>
              </a:cxnLst>
              <a:rect l="0" t="0" r="r" b="b"/>
              <a:pathLst>
                <a:path w="99" h="248">
                  <a:moveTo>
                    <a:pt x="46" y="5"/>
                  </a:move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close/>
                  <a:moveTo>
                    <a:pt x="44" y="3"/>
                  </a:move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2"/>
                    <a:pt x="44" y="2"/>
                  </a:cubicBezTo>
                  <a:cubicBezTo>
                    <a:pt x="44" y="2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6" y="5"/>
                    <a:pt x="46" y="5"/>
                  </a:cubicBezTo>
                  <a:cubicBezTo>
                    <a:pt x="46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moveTo>
                    <a:pt x="46" y="5"/>
                  </a:move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5" y="1"/>
                  </a:move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6" y="1"/>
                    <a:pt x="46" y="0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2" y="174"/>
                  </a:moveTo>
                  <a:cubicBezTo>
                    <a:pt x="3" y="176"/>
                    <a:pt x="8" y="176"/>
                    <a:pt x="9" y="178"/>
                  </a:cubicBezTo>
                  <a:cubicBezTo>
                    <a:pt x="9" y="179"/>
                    <a:pt x="8" y="181"/>
                    <a:pt x="9" y="182"/>
                  </a:cubicBezTo>
                  <a:cubicBezTo>
                    <a:pt x="9" y="184"/>
                    <a:pt x="11" y="185"/>
                    <a:pt x="11" y="187"/>
                  </a:cubicBezTo>
                  <a:cubicBezTo>
                    <a:pt x="12" y="188"/>
                    <a:pt x="11" y="189"/>
                    <a:pt x="10" y="190"/>
                  </a:cubicBezTo>
                  <a:cubicBezTo>
                    <a:pt x="9" y="191"/>
                    <a:pt x="8" y="191"/>
                    <a:pt x="7" y="193"/>
                  </a:cubicBezTo>
                  <a:cubicBezTo>
                    <a:pt x="7" y="194"/>
                    <a:pt x="7" y="196"/>
                    <a:pt x="8" y="197"/>
                  </a:cubicBezTo>
                  <a:cubicBezTo>
                    <a:pt x="8" y="199"/>
                    <a:pt x="8" y="200"/>
                    <a:pt x="9" y="201"/>
                  </a:cubicBezTo>
                  <a:cubicBezTo>
                    <a:pt x="10" y="202"/>
                    <a:pt x="10" y="202"/>
                    <a:pt x="11" y="203"/>
                  </a:cubicBezTo>
                  <a:cubicBezTo>
                    <a:pt x="11" y="204"/>
                    <a:pt x="11" y="204"/>
                    <a:pt x="11" y="205"/>
                  </a:cubicBezTo>
                  <a:cubicBezTo>
                    <a:pt x="11" y="205"/>
                    <a:pt x="12" y="206"/>
                    <a:pt x="13" y="206"/>
                  </a:cubicBezTo>
                  <a:cubicBezTo>
                    <a:pt x="13" y="207"/>
                    <a:pt x="14" y="207"/>
                    <a:pt x="15" y="208"/>
                  </a:cubicBezTo>
                  <a:cubicBezTo>
                    <a:pt x="15" y="209"/>
                    <a:pt x="15" y="209"/>
                    <a:pt x="16" y="209"/>
                  </a:cubicBezTo>
                  <a:cubicBezTo>
                    <a:pt x="16" y="210"/>
                    <a:pt x="18" y="210"/>
                    <a:pt x="19" y="211"/>
                  </a:cubicBezTo>
                  <a:cubicBezTo>
                    <a:pt x="20" y="211"/>
                    <a:pt x="20" y="212"/>
                    <a:pt x="20" y="213"/>
                  </a:cubicBezTo>
                  <a:cubicBezTo>
                    <a:pt x="20" y="213"/>
                    <a:pt x="20" y="214"/>
                    <a:pt x="20" y="215"/>
                  </a:cubicBezTo>
                  <a:cubicBezTo>
                    <a:pt x="21" y="215"/>
                    <a:pt x="21" y="215"/>
                    <a:pt x="21" y="216"/>
                  </a:cubicBezTo>
                  <a:cubicBezTo>
                    <a:pt x="22" y="217"/>
                    <a:pt x="22" y="218"/>
                    <a:pt x="24" y="218"/>
                  </a:cubicBezTo>
                  <a:cubicBezTo>
                    <a:pt x="24" y="219"/>
                    <a:pt x="25" y="219"/>
                    <a:pt x="26" y="220"/>
                  </a:cubicBezTo>
                  <a:cubicBezTo>
                    <a:pt x="27" y="220"/>
                    <a:pt x="27" y="221"/>
                    <a:pt x="28" y="221"/>
                  </a:cubicBezTo>
                  <a:cubicBezTo>
                    <a:pt x="29" y="222"/>
                    <a:pt x="30" y="222"/>
                    <a:pt x="31" y="222"/>
                  </a:cubicBezTo>
                  <a:cubicBezTo>
                    <a:pt x="33" y="222"/>
                    <a:pt x="32" y="225"/>
                    <a:pt x="32" y="226"/>
                  </a:cubicBezTo>
                  <a:cubicBezTo>
                    <a:pt x="32" y="228"/>
                    <a:pt x="32" y="228"/>
                    <a:pt x="33" y="229"/>
                  </a:cubicBezTo>
                  <a:cubicBezTo>
                    <a:pt x="34" y="229"/>
                    <a:pt x="34" y="229"/>
                    <a:pt x="34" y="229"/>
                  </a:cubicBezTo>
                  <a:cubicBezTo>
                    <a:pt x="35" y="229"/>
                    <a:pt x="36" y="230"/>
                    <a:pt x="37" y="231"/>
                  </a:cubicBezTo>
                  <a:cubicBezTo>
                    <a:pt x="38" y="232"/>
                    <a:pt x="39" y="233"/>
                    <a:pt x="37" y="234"/>
                  </a:cubicBezTo>
                  <a:cubicBezTo>
                    <a:pt x="36" y="235"/>
                    <a:pt x="36" y="235"/>
                    <a:pt x="36" y="236"/>
                  </a:cubicBezTo>
                  <a:cubicBezTo>
                    <a:pt x="35" y="238"/>
                    <a:pt x="36" y="240"/>
                    <a:pt x="37" y="242"/>
                  </a:cubicBezTo>
                  <a:cubicBezTo>
                    <a:pt x="38" y="245"/>
                    <a:pt x="40" y="244"/>
                    <a:pt x="42" y="245"/>
                  </a:cubicBezTo>
                  <a:cubicBezTo>
                    <a:pt x="43" y="245"/>
                    <a:pt x="46" y="248"/>
                    <a:pt x="48" y="247"/>
                  </a:cubicBezTo>
                  <a:cubicBezTo>
                    <a:pt x="48" y="246"/>
                    <a:pt x="48" y="246"/>
                    <a:pt x="49" y="245"/>
                  </a:cubicBezTo>
                  <a:cubicBezTo>
                    <a:pt x="49" y="245"/>
                    <a:pt x="50" y="245"/>
                    <a:pt x="50" y="244"/>
                  </a:cubicBezTo>
                  <a:cubicBezTo>
                    <a:pt x="51" y="244"/>
                    <a:pt x="52" y="242"/>
                    <a:pt x="53" y="241"/>
                  </a:cubicBezTo>
                  <a:cubicBezTo>
                    <a:pt x="53" y="239"/>
                    <a:pt x="53" y="238"/>
                    <a:pt x="54" y="237"/>
                  </a:cubicBezTo>
                  <a:cubicBezTo>
                    <a:pt x="54" y="237"/>
                    <a:pt x="54" y="237"/>
                    <a:pt x="55" y="237"/>
                  </a:cubicBezTo>
                  <a:cubicBezTo>
                    <a:pt x="55" y="237"/>
                    <a:pt x="55" y="237"/>
                    <a:pt x="56" y="236"/>
                  </a:cubicBezTo>
                  <a:cubicBezTo>
                    <a:pt x="56" y="236"/>
                    <a:pt x="56" y="236"/>
                    <a:pt x="57" y="236"/>
                  </a:cubicBezTo>
                  <a:cubicBezTo>
                    <a:pt x="57" y="235"/>
                    <a:pt x="58" y="235"/>
                    <a:pt x="58" y="234"/>
                  </a:cubicBezTo>
                  <a:cubicBezTo>
                    <a:pt x="59" y="233"/>
                    <a:pt x="58" y="232"/>
                    <a:pt x="57" y="231"/>
                  </a:cubicBezTo>
                  <a:cubicBezTo>
                    <a:pt x="57" y="230"/>
                    <a:pt x="57" y="229"/>
                    <a:pt x="56" y="228"/>
                  </a:cubicBezTo>
                  <a:cubicBezTo>
                    <a:pt x="56" y="227"/>
                    <a:pt x="55" y="227"/>
                    <a:pt x="55" y="226"/>
                  </a:cubicBezTo>
                  <a:cubicBezTo>
                    <a:pt x="55" y="225"/>
                    <a:pt x="56" y="223"/>
                    <a:pt x="56" y="223"/>
                  </a:cubicBezTo>
                  <a:cubicBezTo>
                    <a:pt x="57" y="222"/>
                    <a:pt x="57" y="222"/>
                    <a:pt x="57" y="221"/>
                  </a:cubicBezTo>
                  <a:cubicBezTo>
                    <a:pt x="58" y="220"/>
                    <a:pt x="58" y="220"/>
                    <a:pt x="59" y="219"/>
                  </a:cubicBezTo>
                  <a:cubicBezTo>
                    <a:pt x="60" y="217"/>
                    <a:pt x="62" y="216"/>
                    <a:pt x="64" y="215"/>
                  </a:cubicBezTo>
                  <a:cubicBezTo>
                    <a:pt x="65" y="214"/>
                    <a:pt x="66" y="214"/>
                    <a:pt x="68" y="214"/>
                  </a:cubicBezTo>
                  <a:cubicBezTo>
                    <a:pt x="69" y="214"/>
                    <a:pt x="71" y="215"/>
                    <a:pt x="72" y="215"/>
                  </a:cubicBezTo>
                  <a:cubicBezTo>
                    <a:pt x="72" y="215"/>
                    <a:pt x="73" y="213"/>
                    <a:pt x="73" y="213"/>
                  </a:cubicBezTo>
                  <a:cubicBezTo>
                    <a:pt x="73" y="212"/>
                    <a:pt x="73" y="211"/>
                    <a:pt x="74" y="210"/>
                  </a:cubicBezTo>
                  <a:cubicBezTo>
                    <a:pt x="74" y="209"/>
                    <a:pt x="75" y="209"/>
                    <a:pt x="75" y="207"/>
                  </a:cubicBezTo>
                  <a:cubicBezTo>
                    <a:pt x="75" y="207"/>
                    <a:pt x="74" y="206"/>
                    <a:pt x="75" y="206"/>
                  </a:cubicBezTo>
                  <a:cubicBezTo>
                    <a:pt x="75" y="204"/>
                    <a:pt x="76" y="203"/>
                    <a:pt x="77" y="202"/>
                  </a:cubicBezTo>
                  <a:cubicBezTo>
                    <a:pt x="77" y="201"/>
                    <a:pt x="77" y="200"/>
                    <a:pt x="78" y="199"/>
                  </a:cubicBezTo>
                  <a:cubicBezTo>
                    <a:pt x="79" y="197"/>
                    <a:pt x="79" y="196"/>
                    <a:pt x="79" y="194"/>
                  </a:cubicBezTo>
                  <a:cubicBezTo>
                    <a:pt x="79" y="192"/>
                    <a:pt x="80" y="190"/>
                    <a:pt x="81" y="188"/>
                  </a:cubicBezTo>
                  <a:cubicBezTo>
                    <a:pt x="82" y="187"/>
                    <a:pt x="82" y="186"/>
                    <a:pt x="83" y="185"/>
                  </a:cubicBezTo>
                  <a:cubicBezTo>
                    <a:pt x="84" y="185"/>
                    <a:pt x="85" y="186"/>
                    <a:pt x="86" y="185"/>
                  </a:cubicBezTo>
                  <a:cubicBezTo>
                    <a:pt x="86" y="185"/>
                    <a:pt x="87" y="185"/>
                    <a:pt x="87" y="184"/>
                  </a:cubicBezTo>
                  <a:cubicBezTo>
                    <a:pt x="87" y="184"/>
                    <a:pt x="88" y="184"/>
                    <a:pt x="88" y="184"/>
                  </a:cubicBezTo>
                  <a:cubicBezTo>
                    <a:pt x="89" y="184"/>
                    <a:pt x="91" y="184"/>
                    <a:pt x="92" y="184"/>
                  </a:cubicBezTo>
                  <a:cubicBezTo>
                    <a:pt x="94" y="183"/>
                    <a:pt x="93" y="181"/>
                    <a:pt x="94" y="179"/>
                  </a:cubicBezTo>
                  <a:cubicBezTo>
                    <a:pt x="94" y="177"/>
                    <a:pt x="94" y="177"/>
                    <a:pt x="96" y="176"/>
                  </a:cubicBezTo>
                  <a:cubicBezTo>
                    <a:pt x="96" y="176"/>
                    <a:pt x="97" y="175"/>
                    <a:pt x="98" y="175"/>
                  </a:cubicBezTo>
                  <a:cubicBezTo>
                    <a:pt x="99" y="173"/>
                    <a:pt x="97" y="168"/>
                    <a:pt x="96" y="167"/>
                  </a:cubicBezTo>
                  <a:cubicBezTo>
                    <a:pt x="95" y="165"/>
                    <a:pt x="90" y="162"/>
                    <a:pt x="92" y="160"/>
                  </a:cubicBezTo>
                  <a:cubicBezTo>
                    <a:pt x="92" y="159"/>
                    <a:pt x="93" y="159"/>
                    <a:pt x="93" y="158"/>
                  </a:cubicBezTo>
                  <a:cubicBezTo>
                    <a:pt x="93" y="158"/>
                    <a:pt x="93" y="157"/>
                    <a:pt x="93" y="157"/>
                  </a:cubicBezTo>
                  <a:cubicBezTo>
                    <a:pt x="93" y="156"/>
                    <a:pt x="93" y="156"/>
                    <a:pt x="94" y="155"/>
                  </a:cubicBezTo>
                  <a:cubicBezTo>
                    <a:pt x="94" y="153"/>
                    <a:pt x="93" y="151"/>
                    <a:pt x="92" y="150"/>
                  </a:cubicBezTo>
                  <a:cubicBezTo>
                    <a:pt x="91" y="149"/>
                    <a:pt x="89" y="147"/>
                    <a:pt x="87" y="148"/>
                  </a:cubicBezTo>
                  <a:cubicBezTo>
                    <a:pt x="86" y="148"/>
                    <a:pt x="85" y="150"/>
                    <a:pt x="84" y="149"/>
                  </a:cubicBezTo>
                  <a:cubicBezTo>
                    <a:pt x="82" y="149"/>
                    <a:pt x="82" y="147"/>
                    <a:pt x="81" y="147"/>
                  </a:cubicBezTo>
                  <a:cubicBezTo>
                    <a:pt x="80" y="147"/>
                    <a:pt x="79" y="147"/>
                    <a:pt x="79" y="147"/>
                  </a:cubicBezTo>
                  <a:cubicBezTo>
                    <a:pt x="78" y="147"/>
                    <a:pt x="78" y="146"/>
                    <a:pt x="78" y="146"/>
                  </a:cubicBezTo>
                  <a:cubicBezTo>
                    <a:pt x="77" y="143"/>
                    <a:pt x="78" y="140"/>
                    <a:pt x="78" y="137"/>
                  </a:cubicBezTo>
                  <a:cubicBezTo>
                    <a:pt x="77" y="136"/>
                    <a:pt x="76" y="135"/>
                    <a:pt x="75" y="134"/>
                  </a:cubicBezTo>
                  <a:cubicBezTo>
                    <a:pt x="74" y="133"/>
                    <a:pt x="74" y="131"/>
                    <a:pt x="72" y="131"/>
                  </a:cubicBezTo>
                  <a:cubicBezTo>
                    <a:pt x="71" y="131"/>
                    <a:pt x="70" y="132"/>
                    <a:pt x="69" y="131"/>
                  </a:cubicBezTo>
                  <a:cubicBezTo>
                    <a:pt x="69" y="130"/>
                    <a:pt x="69" y="129"/>
                    <a:pt x="69" y="129"/>
                  </a:cubicBezTo>
                  <a:cubicBezTo>
                    <a:pt x="69" y="127"/>
                    <a:pt x="69" y="126"/>
                    <a:pt x="69" y="125"/>
                  </a:cubicBezTo>
                  <a:cubicBezTo>
                    <a:pt x="68" y="123"/>
                    <a:pt x="68" y="122"/>
                    <a:pt x="67" y="120"/>
                  </a:cubicBezTo>
                  <a:cubicBezTo>
                    <a:pt x="67" y="119"/>
                    <a:pt x="66" y="118"/>
                    <a:pt x="67" y="116"/>
                  </a:cubicBezTo>
                  <a:cubicBezTo>
                    <a:pt x="67" y="116"/>
                    <a:pt x="67" y="115"/>
                    <a:pt x="68" y="114"/>
                  </a:cubicBezTo>
                  <a:cubicBezTo>
                    <a:pt x="68" y="113"/>
                    <a:pt x="68" y="113"/>
                    <a:pt x="68" y="112"/>
                  </a:cubicBezTo>
                  <a:cubicBezTo>
                    <a:pt x="69" y="111"/>
                    <a:pt x="70" y="111"/>
                    <a:pt x="70" y="110"/>
                  </a:cubicBezTo>
                  <a:cubicBezTo>
                    <a:pt x="70" y="109"/>
                    <a:pt x="69" y="108"/>
                    <a:pt x="69" y="108"/>
                  </a:cubicBezTo>
                  <a:cubicBezTo>
                    <a:pt x="69" y="107"/>
                    <a:pt x="69" y="107"/>
                    <a:pt x="68" y="106"/>
                  </a:cubicBezTo>
                  <a:cubicBezTo>
                    <a:pt x="68" y="105"/>
                    <a:pt x="67" y="105"/>
                    <a:pt x="67" y="104"/>
                  </a:cubicBezTo>
                  <a:cubicBezTo>
                    <a:pt x="67" y="103"/>
                    <a:pt x="66" y="102"/>
                    <a:pt x="66" y="101"/>
                  </a:cubicBezTo>
                  <a:cubicBezTo>
                    <a:pt x="66" y="101"/>
                    <a:pt x="66" y="100"/>
                    <a:pt x="66" y="100"/>
                  </a:cubicBezTo>
                  <a:cubicBezTo>
                    <a:pt x="67" y="99"/>
                    <a:pt x="66" y="97"/>
                    <a:pt x="68" y="97"/>
                  </a:cubicBezTo>
                  <a:cubicBezTo>
                    <a:pt x="69" y="96"/>
                    <a:pt x="70" y="96"/>
                    <a:pt x="71" y="95"/>
                  </a:cubicBezTo>
                  <a:cubicBezTo>
                    <a:pt x="71" y="95"/>
                    <a:pt x="71" y="94"/>
                    <a:pt x="71" y="94"/>
                  </a:cubicBezTo>
                  <a:cubicBezTo>
                    <a:pt x="71" y="92"/>
                    <a:pt x="71" y="91"/>
                    <a:pt x="71" y="89"/>
                  </a:cubicBezTo>
                  <a:cubicBezTo>
                    <a:pt x="71" y="88"/>
                    <a:pt x="71" y="86"/>
                    <a:pt x="71" y="85"/>
                  </a:cubicBezTo>
                  <a:cubicBezTo>
                    <a:pt x="71" y="83"/>
                    <a:pt x="72" y="81"/>
                    <a:pt x="72" y="79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2"/>
                    <a:pt x="74" y="72"/>
                    <a:pt x="74" y="71"/>
                  </a:cubicBezTo>
                  <a:cubicBezTo>
                    <a:pt x="75" y="69"/>
                    <a:pt x="75" y="66"/>
                    <a:pt x="75" y="63"/>
                  </a:cubicBezTo>
                  <a:cubicBezTo>
                    <a:pt x="75" y="61"/>
                    <a:pt x="75" y="58"/>
                    <a:pt x="74" y="56"/>
                  </a:cubicBezTo>
                  <a:cubicBezTo>
                    <a:pt x="73" y="54"/>
                    <a:pt x="72" y="53"/>
                    <a:pt x="72" y="51"/>
                  </a:cubicBezTo>
                  <a:cubicBezTo>
                    <a:pt x="72" y="49"/>
                    <a:pt x="71" y="47"/>
                    <a:pt x="71" y="45"/>
                  </a:cubicBezTo>
                  <a:cubicBezTo>
                    <a:pt x="71" y="44"/>
                    <a:pt x="71" y="43"/>
                    <a:pt x="70" y="41"/>
                  </a:cubicBezTo>
                  <a:cubicBezTo>
                    <a:pt x="70" y="40"/>
                    <a:pt x="69" y="40"/>
                    <a:pt x="69" y="39"/>
                  </a:cubicBezTo>
                  <a:cubicBezTo>
                    <a:pt x="69" y="38"/>
                    <a:pt x="70" y="37"/>
                    <a:pt x="69" y="36"/>
                  </a:cubicBezTo>
                  <a:cubicBezTo>
                    <a:pt x="68" y="34"/>
                    <a:pt x="66" y="32"/>
                    <a:pt x="66" y="31"/>
                  </a:cubicBezTo>
                  <a:cubicBezTo>
                    <a:pt x="65" y="29"/>
                    <a:pt x="65" y="28"/>
                    <a:pt x="64" y="27"/>
                  </a:cubicBezTo>
                  <a:cubicBezTo>
                    <a:pt x="63" y="26"/>
                    <a:pt x="62" y="25"/>
                    <a:pt x="61" y="24"/>
                  </a:cubicBezTo>
                  <a:cubicBezTo>
                    <a:pt x="60" y="23"/>
                    <a:pt x="60" y="22"/>
                    <a:pt x="59" y="21"/>
                  </a:cubicBezTo>
                  <a:cubicBezTo>
                    <a:pt x="57" y="19"/>
                    <a:pt x="54" y="21"/>
                    <a:pt x="52" y="19"/>
                  </a:cubicBezTo>
                  <a:cubicBezTo>
                    <a:pt x="51" y="18"/>
                    <a:pt x="51" y="16"/>
                    <a:pt x="50" y="15"/>
                  </a:cubicBezTo>
                  <a:cubicBezTo>
                    <a:pt x="50" y="14"/>
                    <a:pt x="50" y="13"/>
                    <a:pt x="49" y="12"/>
                  </a:cubicBezTo>
                  <a:cubicBezTo>
                    <a:pt x="49" y="13"/>
                    <a:pt x="49" y="13"/>
                    <a:pt x="48" y="14"/>
                  </a:cubicBezTo>
                  <a:cubicBezTo>
                    <a:pt x="48" y="15"/>
                    <a:pt x="48" y="16"/>
                    <a:pt x="47" y="17"/>
                  </a:cubicBezTo>
                  <a:cubicBezTo>
                    <a:pt x="47" y="18"/>
                    <a:pt x="46" y="18"/>
                    <a:pt x="46" y="19"/>
                  </a:cubicBezTo>
                  <a:cubicBezTo>
                    <a:pt x="46" y="20"/>
                    <a:pt x="46" y="21"/>
                    <a:pt x="45" y="21"/>
                  </a:cubicBezTo>
                  <a:cubicBezTo>
                    <a:pt x="44" y="23"/>
                    <a:pt x="42" y="23"/>
                    <a:pt x="41" y="24"/>
                  </a:cubicBezTo>
                  <a:cubicBezTo>
                    <a:pt x="38" y="25"/>
                    <a:pt x="36" y="25"/>
                    <a:pt x="33" y="25"/>
                  </a:cubicBezTo>
                  <a:cubicBezTo>
                    <a:pt x="31" y="25"/>
                    <a:pt x="29" y="26"/>
                    <a:pt x="28" y="23"/>
                  </a:cubicBezTo>
                  <a:cubicBezTo>
                    <a:pt x="28" y="22"/>
                    <a:pt x="28" y="19"/>
                    <a:pt x="28" y="17"/>
                  </a:cubicBezTo>
                  <a:cubicBezTo>
                    <a:pt x="28" y="15"/>
                    <a:pt x="28" y="13"/>
                    <a:pt x="27" y="11"/>
                  </a:cubicBezTo>
                  <a:cubicBezTo>
                    <a:pt x="27" y="10"/>
                    <a:pt x="27" y="10"/>
                    <a:pt x="26" y="10"/>
                  </a:cubicBezTo>
                  <a:cubicBezTo>
                    <a:pt x="26" y="10"/>
                    <a:pt x="24" y="12"/>
                    <a:pt x="24" y="12"/>
                  </a:cubicBezTo>
                  <a:cubicBezTo>
                    <a:pt x="24" y="13"/>
                    <a:pt x="24" y="13"/>
                    <a:pt x="24" y="14"/>
                  </a:cubicBezTo>
                  <a:cubicBezTo>
                    <a:pt x="23" y="16"/>
                    <a:pt x="22" y="17"/>
                    <a:pt x="20" y="19"/>
                  </a:cubicBezTo>
                  <a:cubicBezTo>
                    <a:pt x="19" y="21"/>
                    <a:pt x="18" y="23"/>
                    <a:pt x="16" y="24"/>
                  </a:cubicBezTo>
                  <a:cubicBezTo>
                    <a:pt x="15" y="25"/>
                    <a:pt x="15" y="26"/>
                    <a:pt x="14" y="27"/>
                  </a:cubicBezTo>
                  <a:cubicBezTo>
                    <a:pt x="13" y="28"/>
                    <a:pt x="13" y="29"/>
                    <a:pt x="12" y="30"/>
                  </a:cubicBezTo>
                  <a:cubicBezTo>
                    <a:pt x="12" y="31"/>
                    <a:pt x="11" y="33"/>
                    <a:pt x="10" y="34"/>
                  </a:cubicBezTo>
                  <a:cubicBezTo>
                    <a:pt x="10" y="36"/>
                    <a:pt x="9" y="37"/>
                    <a:pt x="8" y="38"/>
                  </a:cubicBezTo>
                  <a:cubicBezTo>
                    <a:pt x="6" y="39"/>
                    <a:pt x="2" y="39"/>
                    <a:pt x="1" y="41"/>
                  </a:cubicBezTo>
                  <a:cubicBezTo>
                    <a:pt x="1" y="44"/>
                    <a:pt x="3" y="46"/>
                    <a:pt x="5" y="47"/>
                  </a:cubicBezTo>
                  <a:cubicBezTo>
                    <a:pt x="7" y="51"/>
                    <a:pt x="10" y="56"/>
                    <a:pt x="10" y="60"/>
                  </a:cubicBezTo>
                  <a:cubicBezTo>
                    <a:pt x="11" y="63"/>
                    <a:pt x="8" y="65"/>
                    <a:pt x="7" y="67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8" y="68"/>
                    <a:pt x="9" y="68"/>
                    <a:pt x="10" y="69"/>
                  </a:cubicBezTo>
                  <a:cubicBezTo>
                    <a:pt x="13" y="70"/>
                    <a:pt x="16" y="68"/>
                    <a:pt x="19" y="70"/>
                  </a:cubicBezTo>
                  <a:cubicBezTo>
                    <a:pt x="20" y="72"/>
                    <a:pt x="20" y="76"/>
                    <a:pt x="19" y="77"/>
                  </a:cubicBezTo>
                  <a:cubicBezTo>
                    <a:pt x="18" y="78"/>
                    <a:pt x="18" y="78"/>
                    <a:pt x="18" y="79"/>
                  </a:cubicBezTo>
                  <a:cubicBezTo>
                    <a:pt x="18" y="80"/>
                    <a:pt x="18" y="81"/>
                    <a:pt x="18" y="82"/>
                  </a:cubicBezTo>
                  <a:cubicBezTo>
                    <a:pt x="18" y="86"/>
                    <a:pt x="19" y="90"/>
                    <a:pt x="18" y="93"/>
                  </a:cubicBezTo>
                  <a:cubicBezTo>
                    <a:pt x="18" y="95"/>
                    <a:pt x="18" y="97"/>
                    <a:pt x="18" y="99"/>
                  </a:cubicBezTo>
                  <a:cubicBezTo>
                    <a:pt x="18" y="100"/>
                    <a:pt x="18" y="100"/>
                    <a:pt x="18" y="101"/>
                  </a:cubicBezTo>
                  <a:cubicBezTo>
                    <a:pt x="18" y="101"/>
                    <a:pt x="19" y="102"/>
                    <a:pt x="19" y="103"/>
                  </a:cubicBezTo>
                  <a:cubicBezTo>
                    <a:pt x="19" y="104"/>
                    <a:pt x="19" y="105"/>
                    <a:pt x="18" y="103"/>
                  </a:cubicBezTo>
                  <a:cubicBezTo>
                    <a:pt x="16" y="104"/>
                    <a:pt x="13" y="103"/>
                    <a:pt x="10" y="104"/>
                  </a:cubicBezTo>
                  <a:cubicBezTo>
                    <a:pt x="8" y="104"/>
                    <a:pt x="8" y="107"/>
                    <a:pt x="8" y="108"/>
                  </a:cubicBezTo>
                  <a:cubicBezTo>
                    <a:pt x="8" y="110"/>
                    <a:pt x="7" y="111"/>
                    <a:pt x="7" y="112"/>
                  </a:cubicBezTo>
                  <a:cubicBezTo>
                    <a:pt x="8" y="113"/>
                    <a:pt x="9" y="114"/>
                    <a:pt x="10" y="115"/>
                  </a:cubicBezTo>
                  <a:cubicBezTo>
                    <a:pt x="11" y="116"/>
                    <a:pt x="11" y="117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20"/>
                    <a:pt x="12" y="120"/>
                    <a:pt x="12" y="121"/>
                  </a:cubicBezTo>
                  <a:cubicBezTo>
                    <a:pt x="12" y="121"/>
                    <a:pt x="12" y="123"/>
                    <a:pt x="13" y="123"/>
                  </a:cubicBezTo>
                  <a:cubicBezTo>
                    <a:pt x="13" y="124"/>
                    <a:pt x="15" y="124"/>
                    <a:pt x="15" y="125"/>
                  </a:cubicBezTo>
                  <a:cubicBezTo>
                    <a:pt x="15" y="126"/>
                    <a:pt x="15" y="127"/>
                    <a:pt x="14" y="128"/>
                  </a:cubicBezTo>
                  <a:cubicBezTo>
                    <a:pt x="13" y="131"/>
                    <a:pt x="11" y="133"/>
                    <a:pt x="11" y="135"/>
                  </a:cubicBezTo>
                  <a:cubicBezTo>
                    <a:pt x="11" y="136"/>
                    <a:pt x="11" y="138"/>
                    <a:pt x="12" y="139"/>
                  </a:cubicBezTo>
                  <a:cubicBezTo>
                    <a:pt x="12" y="139"/>
                    <a:pt x="13" y="140"/>
                    <a:pt x="13" y="140"/>
                  </a:cubicBezTo>
                  <a:cubicBezTo>
                    <a:pt x="14" y="141"/>
                    <a:pt x="13" y="142"/>
                    <a:pt x="13" y="143"/>
                  </a:cubicBezTo>
                  <a:cubicBezTo>
                    <a:pt x="13" y="144"/>
                    <a:pt x="13" y="145"/>
                    <a:pt x="13" y="146"/>
                  </a:cubicBezTo>
                  <a:cubicBezTo>
                    <a:pt x="13" y="146"/>
                    <a:pt x="12" y="148"/>
                    <a:pt x="12" y="148"/>
                  </a:cubicBezTo>
                  <a:cubicBezTo>
                    <a:pt x="11" y="147"/>
                    <a:pt x="11" y="146"/>
                    <a:pt x="11" y="145"/>
                  </a:cubicBezTo>
                  <a:cubicBezTo>
                    <a:pt x="11" y="144"/>
                    <a:pt x="11" y="143"/>
                    <a:pt x="11" y="142"/>
                  </a:cubicBezTo>
                  <a:cubicBezTo>
                    <a:pt x="10" y="142"/>
                    <a:pt x="8" y="142"/>
                    <a:pt x="8" y="143"/>
                  </a:cubicBezTo>
                  <a:cubicBezTo>
                    <a:pt x="7" y="143"/>
                    <a:pt x="6" y="144"/>
                    <a:pt x="5" y="144"/>
                  </a:cubicBezTo>
                  <a:cubicBezTo>
                    <a:pt x="2" y="148"/>
                    <a:pt x="3" y="152"/>
                    <a:pt x="3" y="156"/>
                  </a:cubicBezTo>
                  <a:cubicBezTo>
                    <a:pt x="3" y="159"/>
                    <a:pt x="2" y="162"/>
                    <a:pt x="1" y="165"/>
                  </a:cubicBezTo>
                  <a:cubicBezTo>
                    <a:pt x="1" y="166"/>
                    <a:pt x="2" y="167"/>
                    <a:pt x="2" y="167"/>
                  </a:cubicBezTo>
                  <a:cubicBezTo>
                    <a:pt x="2" y="169"/>
                    <a:pt x="0" y="173"/>
                    <a:pt x="2" y="174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2" name="Freeform 32"/>
            <p:cNvSpPr>
              <a:spLocks/>
            </p:cNvSpPr>
            <p:nvPr/>
          </p:nvSpPr>
          <p:spPr bwMode="auto">
            <a:xfrm>
              <a:off x="5467350" y="5711825"/>
              <a:ext cx="266700" cy="236538"/>
            </a:xfrm>
            <a:custGeom>
              <a:avLst/>
              <a:gdLst/>
              <a:ahLst/>
              <a:cxnLst>
                <a:cxn ang="0">
                  <a:pos x="137" y="46"/>
                </a:cxn>
                <a:cxn ang="0">
                  <a:pos x="136" y="39"/>
                </a:cxn>
                <a:cxn ang="0">
                  <a:pos x="135" y="32"/>
                </a:cxn>
                <a:cxn ang="0">
                  <a:pos x="132" y="28"/>
                </a:cxn>
                <a:cxn ang="0">
                  <a:pos x="122" y="25"/>
                </a:cxn>
                <a:cxn ang="0">
                  <a:pos x="117" y="20"/>
                </a:cxn>
                <a:cxn ang="0">
                  <a:pos x="115" y="18"/>
                </a:cxn>
                <a:cxn ang="0">
                  <a:pos x="113" y="12"/>
                </a:cxn>
                <a:cxn ang="0">
                  <a:pos x="99" y="2"/>
                </a:cxn>
                <a:cxn ang="0">
                  <a:pos x="90" y="9"/>
                </a:cxn>
                <a:cxn ang="0">
                  <a:pos x="84" y="6"/>
                </a:cxn>
                <a:cxn ang="0">
                  <a:pos x="74" y="8"/>
                </a:cxn>
                <a:cxn ang="0">
                  <a:pos x="53" y="9"/>
                </a:cxn>
                <a:cxn ang="0">
                  <a:pos x="46" y="22"/>
                </a:cxn>
                <a:cxn ang="0">
                  <a:pos x="39" y="15"/>
                </a:cxn>
                <a:cxn ang="0">
                  <a:pos x="19" y="25"/>
                </a:cxn>
                <a:cxn ang="0">
                  <a:pos x="18" y="33"/>
                </a:cxn>
                <a:cxn ang="0">
                  <a:pos x="9" y="39"/>
                </a:cxn>
                <a:cxn ang="0">
                  <a:pos x="5" y="50"/>
                </a:cxn>
                <a:cxn ang="0">
                  <a:pos x="5" y="60"/>
                </a:cxn>
                <a:cxn ang="0">
                  <a:pos x="0" y="66"/>
                </a:cxn>
                <a:cxn ang="0">
                  <a:pos x="3" y="73"/>
                </a:cxn>
                <a:cxn ang="0">
                  <a:pos x="2" y="79"/>
                </a:cxn>
                <a:cxn ang="0">
                  <a:pos x="3" y="90"/>
                </a:cxn>
                <a:cxn ang="0">
                  <a:pos x="6" y="96"/>
                </a:cxn>
                <a:cxn ang="0">
                  <a:pos x="12" y="111"/>
                </a:cxn>
                <a:cxn ang="0">
                  <a:pos x="18" y="114"/>
                </a:cxn>
                <a:cxn ang="0">
                  <a:pos x="28" y="120"/>
                </a:cxn>
                <a:cxn ang="0">
                  <a:pos x="26" y="125"/>
                </a:cxn>
                <a:cxn ang="0">
                  <a:pos x="36" y="119"/>
                </a:cxn>
                <a:cxn ang="0">
                  <a:pos x="50" y="116"/>
                </a:cxn>
                <a:cxn ang="0">
                  <a:pos x="58" y="115"/>
                </a:cxn>
                <a:cxn ang="0">
                  <a:pos x="66" y="115"/>
                </a:cxn>
                <a:cxn ang="0">
                  <a:pos x="74" y="108"/>
                </a:cxn>
                <a:cxn ang="0">
                  <a:pos x="87" y="96"/>
                </a:cxn>
                <a:cxn ang="0">
                  <a:pos x="95" y="97"/>
                </a:cxn>
                <a:cxn ang="0">
                  <a:pos x="104" y="98"/>
                </a:cxn>
                <a:cxn ang="0">
                  <a:pos x="115" y="99"/>
                </a:cxn>
                <a:cxn ang="0">
                  <a:pos x="124" y="99"/>
                </a:cxn>
                <a:cxn ang="0">
                  <a:pos x="126" y="89"/>
                </a:cxn>
                <a:cxn ang="0">
                  <a:pos x="130" y="85"/>
                </a:cxn>
                <a:cxn ang="0">
                  <a:pos x="137" y="80"/>
                </a:cxn>
                <a:cxn ang="0">
                  <a:pos x="139" y="65"/>
                </a:cxn>
                <a:cxn ang="0">
                  <a:pos x="142" y="54"/>
                </a:cxn>
              </a:cxnLst>
              <a:rect l="0" t="0" r="r" b="b"/>
              <a:pathLst>
                <a:path w="143" h="126">
                  <a:moveTo>
                    <a:pt x="143" y="52"/>
                  </a:moveTo>
                  <a:cubicBezTo>
                    <a:pt x="143" y="50"/>
                    <a:pt x="140" y="50"/>
                    <a:pt x="139" y="49"/>
                  </a:cubicBezTo>
                  <a:cubicBezTo>
                    <a:pt x="138" y="48"/>
                    <a:pt x="138" y="47"/>
                    <a:pt x="137" y="46"/>
                  </a:cubicBezTo>
                  <a:cubicBezTo>
                    <a:pt x="137" y="45"/>
                    <a:pt x="137" y="44"/>
                    <a:pt x="137" y="44"/>
                  </a:cubicBezTo>
                  <a:cubicBezTo>
                    <a:pt x="137" y="43"/>
                    <a:pt x="137" y="42"/>
                    <a:pt x="137" y="41"/>
                  </a:cubicBezTo>
                  <a:cubicBezTo>
                    <a:pt x="137" y="40"/>
                    <a:pt x="136" y="40"/>
                    <a:pt x="136" y="39"/>
                  </a:cubicBezTo>
                  <a:cubicBezTo>
                    <a:pt x="136" y="38"/>
                    <a:pt x="136" y="37"/>
                    <a:pt x="136" y="37"/>
                  </a:cubicBezTo>
                  <a:cubicBezTo>
                    <a:pt x="136" y="36"/>
                    <a:pt x="135" y="36"/>
                    <a:pt x="135" y="35"/>
                  </a:cubicBezTo>
                  <a:cubicBezTo>
                    <a:pt x="135" y="34"/>
                    <a:pt x="135" y="33"/>
                    <a:pt x="135" y="32"/>
                  </a:cubicBezTo>
                  <a:cubicBezTo>
                    <a:pt x="135" y="31"/>
                    <a:pt x="134" y="30"/>
                    <a:pt x="134" y="30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3" y="28"/>
                    <a:pt x="133" y="28"/>
                    <a:pt x="132" y="28"/>
                  </a:cubicBezTo>
                  <a:cubicBezTo>
                    <a:pt x="131" y="28"/>
                    <a:pt x="130" y="27"/>
                    <a:pt x="129" y="27"/>
                  </a:cubicBezTo>
                  <a:cubicBezTo>
                    <a:pt x="128" y="26"/>
                    <a:pt x="127" y="25"/>
                    <a:pt x="126" y="25"/>
                  </a:cubicBezTo>
                  <a:cubicBezTo>
                    <a:pt x="124" y="24"/>
                    <a:pt x="123" y="25"/>
                    <a:pt x="122" y="25"/>
                  </a:cubicBezTo>
                  <a:cubicBezTo>
                    <a:pt x="121" y="24"/>
                    <a:pt x="120" y="24"/>
                    <a:pt x="119" y="24"/>
                  </a:cubicBezTo>
                  <a:cubicBezTo>
                    <a:pt x="118" y="23"/>
                    <a:pt x="118" y="22"/>
                    <a:pt x="118" y="21"/>
                  </a:cubicBezTo>
                  <a:cubicBezTo>
                    <a:pt x="117" y="21"/>
                    <a:pt x="117" y="20"/>
                    <a:pt x="117" y="20"/>
                  </a:cubicBezTo>
                  <a:cubicBezTo>
                    <a:pt x="116" y="20"/>
                    <a:pt x="115" y="20"/>
                    <a:pt x="115" y="20"/>
                  </a:cubicBezTo>
                  <a:cubicBezTo>
                    <a:pt x="115" y="19"/>
                    <a:pt x="115" y="19"/>
                    <a:pt x="115" y="19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15" y="18"/>
                    <a:pt x="115" y="17"/>
                    <a:pt x="115" y="17"/>
                  </a:cubicBezTo>
                  <a:cubicBezTo>
                    <a:pt x="114" y="16"/>
                    <a:pt x="114" y="16"/>
                    <a:pt x="114" y="15"/>
                  </a:cubicBezTo>
                  <a:cubicBezTo>
                    <a:pt x="113" y="14"/>
                    <a:pt x="113" y="13"/>
                    <a:pt x="113" y="12"/>
                  </a:cubicBezTo>
                  <a:cubicBezTo>
                    <a:pt x="112" y="7"/>
                    <a:pt x="112" y="7"/>
                    <a:pt x="112" y="7"/>
                  </a:cubicBezTo>
                  <a:cubicBezTo>
                    <a:pt x="111" y="7"/>
                    <a:pt x="110" y="6"/>
                    <a:pt x="109" y="6"/>
                  </a:cubicBezTo>
                  <a:cubicBezTo>
                    <a:pt x="106" y="4"/>
                    <a:pt x="103" y="0"/>
                    <a:pt x="99" y="2"/>
                  </a:cubicBezTo>
                  <a:cubicBezTo>
                    <a:pt x="97" y="3"/>
                    <a:pt x="96" y="3"/>
                    <a:pt x="95" y="4"/>
                  </a:cubicBezTo>
                  <a:cubicBezTo>
                    <a:pt x="93" y="5"/>
                    <a:pt x="93" y="7"/>
                    <a:pt x="92" y="8"/>
                  </a:cubicBezTo>
                  <a:cubicBezTo>
                    <a:pt x="91" y="9"/>
                    <a:pt x="90" y="9"/>
                    <a:pt x="90" y="9"/>
                  </a:cubicBezTo>
                  <a:cubicBezTo>
                    <a:pt x="88" y="10"/>
                    <a:pt x="89" y="9"/>
                    <a:pt x="88" y="9"/>
                  </a:cubicBezTo>
                  <a:cubicBezTo>
                    <a:pt x="87" y="8"/>
                    <a:pt x="86" y="8"/>
                    <a:pt x="85" y="7"/>
                  </a:cubicBezTo>
                  <a:cubicBezTo>
                    <a:pt x="84" y="7"/>
                    <a:pt x="85" y="7"/>
                    <a:pt x="84" y="6"/>
                  </a:cubicBezTo>
                  <a:cubicBezTo>
                    <a:pt x="83" y="4"/>
                    <a:pt x="82" y="3"/>
                    <a:pt x="80" y="4"/>
                  </a:cubicBezTo>
                  <a:cubicBezTo>
                    <a:pt x="78" y="5"/>
                    <a:pt x="76" y="5"/>
                    <a:pt x="75" y="6"/>
                  </a:cubicBezTo>
                  <a:cubicBezTo>
                    <a:pt x="74" y="7"/>
                    <a:pt x="74" y="8"/>
                    <a:pt x="74" y="8"/>
                  </a:cubicBezTo>
                  <a:cubicBezTo>
                    <a:pt x="73" y="10"/>
                    <a:pt x="73" y="10"/>
                    <a:pt x="71" y="11"/>
                  </a:cubicBezTo>
                  <a:cubicBezTo>
                    <a:pt x="69" y="12"/>
                    <a:pt x="65" y="12"/>
                    <a:pt x="63" y="11"/>
                  </a:cubicBezTo>
                  <a:cubicBezTo>
                    <a:pt x="64" y="8"/>
                    <a:pt x="55" y="8"/>
                    <a:pt x="53" y="9"/>
                  </a:cubicBezTo>
                  <a:cubicBezTo>
                    <a:pt x="53" y="11"/>
                    <a:pt x="49" y="12"/>
                    <a:pt x="50" y="14"/>
                  </a:cubicBezTo>
                  <a:cubicBezTo>
                    <a:pt x="48" y="15"/>
                    <a:pt x="48" y="16"/>
                    <a:pt x="47" y="18"/>
                  </a:cubicBezTo>
                  <a:cubicBezTo>
                    <a:pt x="47" y="19"/>
                    <a:pt x="46" y="21"/>
                    <a:pt x="46" y="22"/>
                  </a:cubicBezTo>
                  <a:cubicBezTo>
                    <a:pt x="45" y="23"/>
                    <a:pt x="43" y="20"/>
                    <a:pt x="42" y="20"/>
                  </a:cubicBezTo>
                  <a:cubicBezTo>
                    <a:pt x="42" y="19"/>
                    <a:pt x="41" y="18"/>
                    <a:pt x="41" y="17"/>
                  </a:cubicBezTo>
                  <a:cubicBezTo>
                    <a:pt x="40" y="16"/>
                    <a:pt x="41" y="16"/>
                    <a:pt x="39" y="15"/>
                  </a:cubicBezTo>
                  <a:cubicBezTo>
                    <a:pt x="36" y="13"/>
                    <a:pt x="32" y="16"/>
                    <a:pt x="29" y="17"/>
                  </a:cubicBezTo>
                  <a:cubicBezTo>
                    <a:pt x="27" y="18"/>
                    <a:pt x="25" y="18"/>
                    <a:pt x="23" y="20"/>
                  </a:cubicBezTo>
                  <a:cubicBezTo>
                    <a:pt x="22" y="21"/>
                    <a:pt x="21" y="23"/>
                    <a:pt x="19" y="25"/>
                  </a:cubicBezTo>
                  <a:cubicBezTo>
                    <a:pt x="19" y="26"/>
                    <a:pt x="18" y="27"/>
                    <a:pt x="18" y="28"/>
                  </a:cubicBezTo>
                  <a:cubicBezTo>
                    <a:pt x="18" y="28"/>
                    <a:pt x="18" y="29"/>
                    <a:pt x="18" y="30"/>
                  </a:cubicBezTo>
                  <a:cubicBezTo>
                    <a:pt x="18" y="31"/>
                    <a:pt x="18" y="32"/>
                    <a:pt x="18" y="33"/>
                  </a:cubicBezTo>
                  <a:cubicBezTo>
                    <a:pt x="17" y="34"/>
                    <a:pt x="16" y="34"/>
                    <a:pt x="15" y="35"/>
                  </a:cubicBezTo>
                  <a:cubicBezTo>
                    <a:pt x="14" y="36"/>
                    <a:pt x="13" y="36"/>
                    <a:pt x="12" y="37"/>
                  </a:cubicBezTo>
                  <a:cubicBezTo>
                    <a:pt x="11" y="38"/>
                    <a:pt x="10" y="39"/>
                    <a:pt x="9" y="39"/>
                  </a:cubicBezTo>
                  <a:cubicBezTo>
                    <a:pt x="9" y="39"/>
                    <a:pt x="8" y="38"/>
                    <a:pt x="8" y="38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46"/>
                    <a:pt x="5" y="48"/>
                    <a:pt x="5" y="50"/>
                  </a:cubicBezTo>
                  <a:cubicBezTo>
                    <a:pt x="5" y="51"/>
                    <a:pt x="5" y="53"/>
                    <a:pt x="5" y="54"/>
                  </a:cubicBezTo>
                  <a:cubicBezTo>
                    <a:pt x="5" y="56"/>
                    <a:pt x="5" y="57"/>
                    <a:pt x="5" y="59"/>
                  </a:cubicBezTo>
                  <a:cubicBezTo>
                    <a:pt x="5" y="59"/>
                    <a:pt x="5" y="60"/>
                    <a:pt x="5" y="60"/>
                  </a:cubicBezTo>
                  <a:cubicBezTo>
                    <a:pt x="4" y="61"/>
                    <a:pt x="3" y="61"/>
                    <a:pt x="2" y="62"/>
                  </a:cubicBezTo>
                  <a:cubicBezTo>
                    <a:pt x="0" y="62"/>
                    <a:pt x="1" y="64"/>
                    <a:pt x="0" y="65"/>
                  </a:cubicBezTo>
                  <a:cubicBezTo>
                    <a:pt x="0" y="65"/>
                    <a:pt x="0" y="66"/>
                    <a:pt x="0" y="66"/>
                  </a:cubicBezTo>
                  <a:cubicBezTo>
                    <a:pt x="0" y="67"/>
                    <a:pt x="1" y="68"/>
                    <a:pt x="1" y="69"/>
                  </a:cubicBezTo>
                  <a:cubicBezTo>
                    <a:pt x="1" y="70"/>
                    <a:pt x="2" y="70"/>
                    <a:pt x="2" y="71"/>
                  </a:cubicBezTo>
                  <a:cubicBezTo>
                    <a:pt x="3" y="72"/>
                    <a:pt x="3" y="72"/>
                    <a:pt x="3" y="73"/>
                  </a:cubicBezTo>
                  <a:cubicBezTo>
                    <a:pt x="3" y="73"/>
                    <a:pt x="4" y="74"/>
                    <a:pt x="4" y="75"/>
                  </a:cubicBezTo>
                  <a:cubicBezTo>
                    <a:pt x="4" y="76"/>
                    <a:pt x="3" y="76"/>
                    <a:pt x="2" y="77"/>
                  </a:cubicBezTo>
                  <a:cubicBezTo>
                    <a:pt x="2" y="78"/>
                    <a:pt x="2" y="78"/>
                    <a:pt x="2" y="79"/>
                  </a:cubicBezTo>
                  <a:cubicBezTo>
                    <a:pt x="1" y="80"/>
                    <a:pt x="1" y="81"/>
                    <a:pt x="1" y="81"/>
                  </a:cubicBezTo>
                  <a:cubicBezTo>
                    <a:pt x="0" y="83"/>
                    <a:pt x="1" y="84"/>
                    <a:pt x="1" y="85"/>
                  </a:cubicBezTo>
                  <a:cubicBezTo>
                    <a:pt x="2" y="87"/>
                    <a:pt x="2" y="88"/>
                    <a:pt x="3" y="90"/>
                  </a:cubicBezTo>
                  <a:cubicBezTo>
                    <a:pt x="3" y="91"/>
                    <a:pt x="3" y="92"/>
                    <a:pt x="3" y="94"/>
                  </a:cubicBezTo>
                  <a:cubicBezTo>
                    <a:pt x="3" y="94"/>
                    <a:pt x="3" y="95"/>
                    <a:pt x="3" y="96"/>
                  </a:cubicBezTo>
                  <a:cubicBezTo>
                    <a:pt x="4" y="97"/>
                    <a:pt x="5" y="96"/>
                    <a:pt x="6" y="96"/>
                  </a:cubicBezTo>
                  <a:cubicBezTo>
                    <a:pt x="8" y="96"/>
                    <a:pt x="8" y="98"/>
                    <a:pt x="9" y="99"/>
                  </a:cubicBezTo>
                  <a:cubicBezTo>
                    <a:pt x="10" y="100"/>
                    <a:pt x="11" y="101"/>
                    <a:pt x="12" y="102"/>
                  </a:cubicBezTo>
                  <a:cubicBezTo>
                    <a:pt x="12" y="105"/>
                    <a:pt x="11" y="108"/>
                    <a:pt x="12" y="111"/>
                  </a:cubicBezTo>
                  <a:cubicBezTo>
                    <a:pt x="12" y="111"/>
                    <a:pt x="12" y="112"/>
                    <a:pt x="13" y="112"/>
                  </a:cubicBezTo>
                  <a:cubicBezTo>
                    <a:pt x="13" y="112"/>
                    <a:pt x="14" y="112"/>
                    <a:pt x="15" y="112"/>
                  </a:cubicBezTo>
                  <a:cubicBezTo>
                    <a:pt x="16" y="112"/>
                    <a:pt x="16" y="114"/>
                    <a:pt x="18" y="114"/>
                  </a:cubicBezTo>
                  <a:cubicBezTo>
                    <a:pt x="19" y="115"/>
                    <a:pt x="20" y="113"/>
                    <a:pt x="21" y="113"/>
                  </a:cubicBezTo>
                  <a:cubicBezTo>
                    <a:pt x="23" y="112"/>
                    <a:pt x="25" y="114"/>
                    <a:pt x="26" y="115"/>
                  </a:cubicBezTo>
                  <a:cubicBezTo>
                    <a:pt x="27" y="116"/>
                    <a:pt x="28" y="118"/>
                    <a:pt x="28" y="120"/>
                  </a:cubicBezTo>
                  <a:cubicBezTo>
                    <a:pt x="27" y="121"/>
                    <a:pt x="27" y="121"/>
                    <a:pt x="27" y="122"/>
                  </a:cubicBezTo>
                  <a:cubicBezTo>
                    <a:pt x="27" y="122"/>
                    <a:pt x="27" y="123"/>
                    <a:pt x="27" y="123"/>
                  </a:cubicBezTo>
                  <a:cubicBezTo>
                    <a:pt x="27" y="124"/>
                    <a:pt x="26" y="124"/>
                    <a:pt x="26" y="125"/>
                  </a:cubicBezTo>
                  <a:cubicBezTo>
                    <a:pt x="25" y="125"/>
                    <a:pt x="25" y="126"/>
                    <a:pt x="25" y="126"/>
                  </a:cubicBezTo>
                  <a:cubicBezTo>
                    <a:pt x="27" y="125"/>
                    <a:pt x="29" y="123"/>
                    <a:pt x="31" y="121"/>
                  </a:cubicBezTo>
                  <a:cubicBezTo>
                    <a:pt x="32" y="120"/>
                    <a:pt x="34" y="119"/>
                    <a:pt x="36" y="119"/>
                  </a:cubicBezTo>
                  <a:cubicBezTo>
                    <a:pt x="37" y="118"/>
                    <a:pt x="39" y="117"/>
                    <a:pt x="40" y="116"/>
                  </a:cubicBezTo>
                  <a:cubicBezTo>
                    <a:pt x="42" y="116"/>
                    <a:pt x="44" y="116"/>
                    <a:pt x="45" y="116"/>
                  </a:cubicBezTo>
                  <a:cubicBezTo>
                    <a:pt x="47" y="116"/>
                    <a:pt x="48" y="116"/>
                    <a:pt x="50" y="116"/>
                  </a:cubicBezTo>
                  <a:cubicBezTo>
                    <a:pt x="52" y="116"/>
                    <a:pt x="53" y="117"/>
                    <a:pt x="55" y="117"/>
                  </a:cubicBezTo>
                  <a:cubicBezTo>
                    <a:pt x="56" y="117"/>
                    <a:pt x="57" y="117"/>
                    <a:pt x="57" y="117"/>
                  </a:cubicBezTo>
                  <a:cubicBezTo>
                    <a:pt x="58" y="116"/>
                    <a:pt x="57" y="116"/>
                    <a:pt x="58" y="115"/>
                  </a:cubicBezTo>
                  <a:cubicBezTo>
                    <a:pt x="58" y="115"/>
                    <a:pt x="59" y="115"/>
                    <a:pt x="59" y="115"/>
                  </a:cubicBezTo>
                  <a:cubicBezTo>
                    <a:pt x="60" y="115"/>
                    <a:pt x="61" y="116"/>
                    <a:pt x="62" y="115"/>
                  </a:cubicBezTo>
                  <a:cubicBezTo>
                    <a:pt x="63" y="115"/>
                    <a:pt x="65" y="115"/>
                    <a:pt x="66" y="115"/>
                  </a:cubicBezTo>
                  <a:cubicBezTo>
                    <a:pt x="67" y="115"/>
                    <a:pt x="69" y="114"/>
                    <a:pt x="70" y="113"/>
                  </a:cubicBezTo>
                  <a:cubicBezTo>
                    <a:pt x="71" y="113"/>
                    <a:pt x="72" y="111"/>
                    <a:pt x="73" y="111"/>
                  </a:cubicBezTo>
                  <a:cubicBezTo>
                    <a:pt x="73" y="110"/>
                    <a:pt x="73" y="109"/>
                    <a:pt x="74" y="108"/>
                  </a:cubicBezTo>
                  <a:cubicBezTo>
                    <a:pt x="75" y="106"/>
                    <a:pt x="78" y="105"/>
                    <a:pt x="79" y="103"/>
                  </a:cubicBezTo>
                  <a:cubicBezTo>
                    <a:pt x="80" y="102"/>
                    <a:pt x="81" y="101"/>
                    <a:pt x="82" y="100"/>
                  </a:cubicBezTo>
                  <a:cubicBezTo>
                    <a:pt x="83" y="98"/>
                    <a:pt x="85" y="96"/>
                    <a:pt x="87" y="96"/>
                  </a:cubicBezTo>
                  <a:cubicBezTo>
                    <a:pt x="87" y="96"/>
                    <a:pt x="88" y="96"/>
                    <a:pt x="89" y="97"/>
                  </a:cubicBezTo>
                  <a:cubicBezTo>
                    <a:pt x="90" y="97"/>
                    <a:pt x="92" y="98"/>
                    <a:pt x="93" y="98"/>
                  </a:cubicBezTo>
                  <a:cubicBezTo>
                    <a:pt x="94" y="98"/>
                    <a:pt x="95" y="97"/>
                    <a:pt x="95" y="97"/>
                  </a:cubicBezTo>
                  <a:cubicBezTo>
                    <a:pt x="96" y="96"/>
                    <a:pt x="97" y="96"/>
                    <a:pt x="98" y="96"/>
                  </a:cubicBezTo>
                  <a:cubicBezTo>
                    <a:pt x="99" y="97"/>
                    <a:pt x="101" y="97"/>
                    <a:pt x="102" y="98"/>
                  </a:cubicBezTo>
                  <a:cubicBezTo>
                    <a:pt x="103" y="98"/>
                    <a:pt x="103" y="98"/>
                    <a:pt x="104" y="98"/>
                  </a:cubicBezTo>
                  <a:cubicBezTo>
                    <a:pt x="104" y="98"/>
                    <a:pt x="105" y="98"/>
                    <a:pt x="105" y="98"/>
                  </a:cubicBezTo>
                  <a:cubicBezTo>
                    <a:pt x="107" y="98"/>
                    <a:pt x="109" y="98"/>
                    <a:pt x="111" y="98"/>
                  </a:cubicBezTo>
                  <a:cubicBezTo>
                    <a:pt x="112" y="98"/>
                    <a:pt x="113" y="99"/>
                    <a:pt x="115" y="99"/>
                  </a:cubicBezTo>
                  <a:cubicBezTo>
                    <a:pt x="116" y="99"/>
                    <a:pt x="117" y="99"/>
                    <a:pt x="118" y="99"/>
                  </a:cubicBezTo>
                  <a:cubicBezTo>
                    <a:pt x="118" y="98"/>
                    <a:pt x="121" y="96"/>
                    <a:pt x="122" y="96"/>
                  </a:cubicBezTo>
                  <a:cubicBezTo>
                    <a:pt x="123" y="97"/>
                    <a:pt x="123" y="99"/>
                    <a:pt x="124" y="99"/>
                  </a:cubicBezTo>
                  <a:cubicBezTo>
                    <a:pt x="125" y="98"/>
                    <a:pt x="125" y="97"/>
                    <a:pt x="125" y="96"/>
                  </a:cubicBezTo>
                  <a:cubicBezTo>
                    <a:pt x="125" y="94"/>
                    <a:pt x="125" y="93"/>
                    <a:pt x="126" y="91"/>
                  </a:cubicBezTo>
                  <a:cubicBezTo>
                    <a:pt x="126" y="90"/>
                    <a:pt x="126" y="90"/>
                    <a:pt x="126" y="89"/>
                  </a:cubicBezTo>
                  <a:cubicBezTo>
                    <a:pt x="126" y="89"/>
                    <a:pt x="126" y="89"/>
                    <a:pt x="127" y="88"/>
                  </a:cubicBezTo>
                  <a:cubicBezTo>
                    <a:pt x="127" y="88"/>
                    <a:pt x="126" y="86"/>
                    <a:pt x="127" y="86"/>
                  </a:cubicBezTo>
                  <a:cubicBezTo>
                    <a:pt x="127" y="84"/>
                    <a:pt x="129" y="85"/>
                    <a:pt x="130" y="85"/>
                  </a:cubicBezTo>
                  <a:cubicBezTo>
                    <a:pt x="131" y="85"/>
                    <a:pt x="132" y="83"/>
                    <a:pt x="133" y="83"/>
                  </a:cubicBezTo>
                  <a:cubicBezTo>
                    <a:pt x="134" y="82"/>
                    <a:pt x="134" y="82"/>
                    <a:pt x="135" y="81"/>
                  </a:cubicBezTo>
                  <a:cubicBezTo>
                    <a:pt x="136" y="81"/>
                    <a:pt x="137" y="81"/>
                    <a:pt x="137" y="80"/>
                  </a:cubicBezTo>
                  <a:cubicBezTo>
                    <a:pt x="138" y="80"/>
                    <a:pt x="138" y="79"/>
                    <a:pt x="138" y="78"/>
                  </a:cubicBezTo>
                  <a:cubicBezTo>
                    <a:pt x="138" y="74"/>
                    <a:pt x="139" y="71"/>
                    <a:pt x="139" y="67"/>
                  </a:cubicBezTo>
                  <a:cubicBezTo>
                    <a:pt x="139" y="66"/>
                    <a:pt x="139" y="65"/>
                    <a:pt x="139" y="65"/>
                  </a:cubicBezTo>
                  <a:cubicBezTo>
                    <a:pt x="138" y="63"/>
                    <a:pt x="137" y="61"/>
                    <a:pt x="137" y="60"/>
                  </a:cubicBezTo>
                  <a:cubicBezTo>
                    <a:pt x="137" y="58"/>
                    <a:pt x="139" y="57"/>
                    <a:pt x="140" y="56"/>
                  </a:cubicBezTo>
                  <a:cubicBezTo>
                    <a:pt x="141" y="55"/>
                    <a:pt x="142" y="55"/>
                    <a:pt x="142" y="54"/>
                  </a:cubicBezTo>
                  <a:cubicBezTo>
                    <a:pt x="142" y="54"/>
                    <a:pt x="142" y="54"/>
                    <a:pt x="142" y="54"/>
                  </a:cubicBezTo>
                  <a:cubicBezTo>
                    <a:pt x="142" y="53"/>
                    <a:pt x="143" y="53"/>
                    <a:pt x="143" y="5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3" name="Freeform 33"/>
            <p:cNvSpPr>
              <a:spLocks noEditPoints="1"/>
            </p:cNvSpPr>
            <p:nvPr/>
          </p:nvSpPr>
          <p:spPr bwMode="auto">
            <a:xfrm>
              <a:off x="5675313" y="5438775"/>
              <a:ext cx="666750" cy="452438"/>
            </a:xfrm>
            <a:custGeom>
              <a:avLst/>
              <a:gdLst/>
              <a:ahLst/>
              <a:cxnLst>
                <a:cxn ang="0">
                  <a:pos x="357" y="62"/>
                </a:cxn>
                <a:cxn ang="0">
                  <a:pos x="346" y="45"/>
                </a:cxn>
                <a:cxn ang="0">
                  <a:pos x="318" y="38"/>
                </a:cxn>
                <a:cxn ang="0">
                  <a:pos x="312" y="26"/>
                </a:cxn>
                <a:cxn ang="0">
                  <a:pos x="298" y="24"/>
                </a:cxn>
                <a:cxn ang="0">
                  <a:pos x="287" y="21"/>
                </a:cxn>
                <a:cxn ang="0">
                  <a:pos x="272" y="13"/>
                </a:cxn>
                <a:cxn ang="0">
                  <a:pos x="241" y="16"/>
                </a:cxn>
                <a:cxn ang="0">
                  <a:pos x="206" y="25"/>
                </a:cxn>
                <a:cxn ang="0">
                  <a:pos x="190" y="41"/>
                </a:cxn>
                <a:cxn ang="0">
                  <a:pos x="173" y="50"/>
                </a:cxn>
                <a:cxn ang="0">
                  <a:pos x="147" y="44"/>
                </a:cxn>
                <a:cxn ang="0">
                  <a:pos x="111" y="44"/>
                </a:cxn>
                <a:cxn ang="0">
                  <a:pos x="79" y="36"/>
                </a:cxn>
                <a:cxn ang="0">
                  <a:pos x="38" y="33"/>
                </a:cxn>
                <a:cxn ang="0">
                  <a:pos x="31" y="15"/>
                </a:cxn>
                <a:cxn ang="0">
                  <a:pos x="16" y="9"/>
                </a:cxn>
                <a:cxn ang="0">
                  <a:pos x="5" y="21"/>
                </a:cxn>
                <a:cxn ang="0">
                  <a:pos x="4" y="44"/>
                </a:cxn>
                <a:cxn ang="0">
                  <a:pos x="7" y="52"/>
                </a:cxn>
                <a:cxn ang="0">
                  <a:pos x="8" y="62"/>
                </a:cxn>
                <a:cxn ang="0">
                  <a:pos x="22" y="72"/>
                </a:cxn>
                <a:cxn ang="0">
                  <a:pos x="31" y="84"/>
                </a:cxn>
                <a:cxn ang="0">
                  <a:pos x="16" y="105"/>
                </a:cxn>
                <a:cxn ang="0">
                  <a:pos x="1" y="108"/>
                </a:cxn>
                <a:cxn ang="0">
                  <a:pos x="1" y="131"/>
                </a:cxn>
                <a:cxn ang="0">
                  <a:pos x="9" y="147"/>
                </a:cxn>
                <a:cxn ang="0">
                  <a:pos x="4" y="163"/>
                </a:cxn>
                <a:cxn ang="0">
                  <a:pos x="7" y="167"/>
                </a:cxn>
                <a:cxn ang="0">
                  <a:pos x="21" y="174"/>
                </a:cxn>
                <a:cxn ang="0">
                  <a:pos x="25" y="183"/>
                </a:cxn>
                <a:cxn ang="0">
                  <a:pos x="28" y="195"/>
                </a:cxn>
                <a:cxn ang="0">
                  <a:pos x="26" y="206"/>
                </a:cxn>
                <a:cxn ang="0">
                  <a:pos x="27" y="226"/>
                </a:cxn>
                <a:cxn ang="0">
                  <a:pos x="49" y="230"/>
                </a:cxn>
                <a:cxn ang="0">
                  <a:pos x="76" y="226"/>
                </a:cxn>
                <a:cxn ang="0">
                  <a:pos x="91" y="216"/>
                </a:cxn>
                <a:cxn ang="0">
                  <a:pos x="105" y="216"/>
                </a:cxn>
                <a:cxn ang="0">
                  <a:pos x="116" y="223"/>
                </a:cxn>
                <a:cxn ang="0">
                  <a:pos x="129" y="235"/>
                </a:cxn>
                <a:cxn ang="0">
                  <a:pos x="146" y="237"/>
                </a:cxn>
                <a:cxn ang="0">
                  <a:pos x="162" y="242"/>
                </a:cxn>
                <a:cxn ang="0">
                  <a:pos x="189" y="238"/>
                </a:cxn>
                <a:cxn ang="0">
                  <a:pos x="206" y="227"/>
                </a:cxn>
                <a:cxn ang="0">
                  <a:pos x="209" y="205"/>
                </a:cxn>
                <a:cxn ang="0">
                  <a:pos x="230" y="198"/>
                </a:cxn>
                <a:cxn ang="0">
                  <a:pos x="238" y="189"/>
                </a:cxn>
                <a:cxn ang="0">
                  <a:pos x="266" y="179"/>
                </a:cxn>
                <a:cxn ang="0">
                  <a:pos x="286" y="191"/>
                </a:cxn>
                <a:cxn ang="0">
                  <a:pos x="310" y="189"/>
                </a:cxn>
                <a:cxn ang="0">
                  <a:pos x="302" y="169"/>
                </a:cxn>
                <a:cxn ang="0">
                  <a:pos x="301" y="156"/>
                </a:cxn>
                <a:cxn ang="0">
                  <a:pos x="284" y="148"/>
                </a:cxn>
                <a:cxn ang="0">
                  <a:pos x="292" y="140"/>
                </a:cxn>
                <a:cxn ang="0">
                  <a:pos x="299" y="132"/>
                </a:cxn>
                <a:cxn ang="0">
                  <a:pos x="313" y="121"/>
                </a:cxn>
                <a:cxn ang="0">
                  <a:pos x="310" y="108"/>
                </a:cxn>
                <a:cxn ang="0">
                  <a:pos x="314" y="90"/>
                </a:cxn>
                <a:cxn ang="0">
                  <a:pos x="320" y="76"/>
                </a:cxn>
                <a:cxn ang="0">
                  <a:pos x="339" y="74"/>
                </a:cxn>
                <a:cxn ang="0">
                  <a:pos x="356" y="69"/>
                </a:cxn>
              </a:cxnLst>
              <a:rect l="0" t="0" r="r" b="b"/>
              <a:pathLst>
                <a:path w="357" h="242">
                  <a:moveTo>
                    <a:pt x="345" y="45"/>
                  </a:moveTo>
                  <a:cubicBezTo>
                    <a:pt x="345" y="45"/>
                    <a:pt x="346" y="45"/>
                    <a:pt x="346" y="45"/>
                  </a:cubicBezTo>
                  <a:cubicBezTo>
                    <a:pt x="346" y="45"/>
                    <a:pt x="347" y="45"/>
                    <a:pt x="347" y="45"/>
                  </a:cubicBezTo>
                  <a:lnTo>
                    <a:pt x="345" y="45"/>
                  </a:lnTo>
                  <a:close/>
                  <a:moveTo>
                    <a:pt x="357" y="62"/>
                  </a:moveTo>
                  <a:cubicBezTo>
                    <a:pt x="357" y="62"/>
                    <a:pt x="357" y="61"/>
                    <a:pt x="356" y="60"/>
                  </a:cubicBezTo>
                  <a:cubicBezTo>
                    <a:pt x="356" y="59"/>
                    <a:pt x="354" y="59"/>
                    <a:pt x="354" y="58"/>
                  </a:cubicBezTo>
                  <a:cubicBezTo>
                    <a:pt x="353" y="57"/>
                    <a:pt x="353" y="54"/>
                    <a:pt x="352" y="53"/>
                  </a:cubicBezTo>
                  <a:cubicBezTo>
                    <a:pt x="351" y="51"/>
                    <a:pt x="350" y="50"/>
                    <a:pt x="350" y="48"/>
                  </a:cubicBezTo>
                  <a:cubicBezTo>
                    <a:pt x="349" y="48"/>
                    <a:pt x="347" y="46"/>
                    <a:pt x="346" y="45"/>
                  </a:cubicBezTo>
                  <a:cubicBezTo>
                    <a:pt x="343" y="45"/>
                    <a:pt x="339" y="45"/>
                    <a:pt x="336" y="45"/>
                  </a:cubicBezTo>
                  <a:cubicBezTo>
                    <a:pt x="333" y="44"/>
                    <a:pt x="331" y="43"/>
                    <a:pt x="329" y="43"/>
                  </a:cubicBezTo>
                  <a:cubicBezTo>
                    <a:pt x="326" y="42"/>
                    <a:pt x="323" y="42"/>
                    <a:pt x="321" y="41"/>
                  </a:cubicBezTo>
                  <a:cubicBezTo>
                    <a:pt x="320" y="41"/>
                    <a:pt x="319" y="40"/>
                    <a:pt x="319" y="39"/>
                  </a:cubicBezTo>
                  <a:cubicBezTo>
                    <a:pt x="318" y="39"/>
                    <a:pt x="319" y="38"/>
                    <a:pt x="318" y="38"/>
                  </a:cubicBezTo>
                  <a:cubicBezTo>
                    <a:pt x="318" y="36"/>
                    <a:pt x="317" y="36"/>
                    <a:pt x="316" y="35"/>
                  </a:cubicBezTo>
                  <a:cubicBezTo>
                    <a:pt x="316" y="35"/>
                    <a:pt x="316" y="34"/>
                    <a:pt x="316" y="34"/>
                  </a:cubicBezTo>
                  <a:cubicBezTo>
                    <a:pt x="315" y="34"/>
                    <a:pt x="315" y="34"/>
                    <a:pt x="314" y="33"/>
                  </a:cubicBezTo>
                  <a:cubicBezTo>
                    <a:pt x="313" y="32"/>
                    <a:pt x="314" y="31"/>
                    <a:pt x="313" y="30"/>
                  </a:cubicBezTo>
                  <a:cubicBezTo>
                    <a:pt x="313" y="28"/>
                    <a:pt x="313" y="28"/>
                    <a:pt x="312" y="26"/>
                  </a:cubicBezTo>
                  <a:cubicBezTo>
                    <a:pt x="311" y="26"/>
                    <a:pt x="311" y="25"/>
                    <a:pt x="311" y="25"/>
                  </a:cubicBezTo>
                  <a:cubicBezTo>
                    <a:pt x="311" y="24"/>
                    <a:pt x="311" y="24"/>
                    <a:pt x="311" y="23"/>
                  </a:cubicBezTo>
                  <a:cubicBezTo>
                    <a:pt x="310" y="21"/>
                    <a:pt x="305" y="25"/>
                    <a:pt x="304" y="26"/>
                  </a:cubicBezTo>
                  <a:cubicBezTo>
                    <a:pt x="303" y="26"/>
                    <a:pt x="301" y="26"/>
                    <a:pt x="300" y="26"/>
                  </a:cubicBezTo>
                  <a:cubicBezTo>
                    <a:pt x="300" y="26"/>
                    <a:pt x="299" y="24"/>
                    <a:pt x="298" y="24"/>
                  </a:cubicBezTo>
                  <a:cubicBezTo>
                    <a:pt x="298" y="23"/>
                    <a:pt x="297" y="23"/>
                    <a:pt x="297" y="22"/>
                  </a:cubicBezTo>
                  <a:cubicBezTo>
                    <a:pt x="296" y="20"/>
                    <a:pt x="297" y="20"/>
                    <a:pt x="294" y="20"/>
                  </a:cubicBezTo>
                  <a:cubicBezTo>
                    <a:pt x="293" y="20"/>
                    <a:pt x="292" y="20"/>
                    <a:pt x="291" y="20"/>
                  </a:cubicBezTo>
                  <a:cubicBezTo>
                    <a:pt x="291" y="20"/>
                    <a:pt x="289" y="21"/>
                    <a:pt x="289" y="21"/>
                  </a:cubicBezTo>
                  <a:cubicBezTo>
                    <a:pt x="288" y="21"/>
                    <a:pt x="288" y="21"/>
                    <a:pt x="287" y="21"/>
                  </a:cubicBezTo>
                  <a:cubicBezTo>
                    <a:pt x="286" y="20"/>
                    <a:pt x="284" y="19"/>
                    <a:pt x="283" y="19"/>
                  </a:cubicBezTo>
                  <a:cubicBezTo>
                    <a:pt x="282" y="19"/>
                    <a:pt x="280" y="19"/>
                    <a:pt x="280" y="19"/>
                  </a:cubicBezTo>
                  <a:cubicBezTo>
                    <a:pt x="279" y="19"/>
                    <a:pt x="278" y="18"/>
                    <a:pt x="277" y="18"/>
                  </a:cubicBezTo>
                  <a:cubicBezTo>
                    <a:pt x="276" y="17"/>
                    <a:pt x="275" y="17"/>
                    <a:pt x="274" y="16"/>
                  </a:cubicBezTo>
                  <a:cubicBezTo>
                    <a:pt x="273" y="15"/>
                    <a:pt x="273" y="14"/>
                    <a:pt x="272" y="13"/>
                  </a:cubicBezTo>
                  <a:cubicBezTo>
                    <a:pt x="270" y="12"/>
                    <a:pt x="268" y="11"/>
                    <a:pt x="267" y="11"/>
                  </a:cubicBezTo>
                  <a:cubicBezTo>
                    <a:pt x="266" y="10"/>
                    <a:pt x="264" y="9"/>
                    <a:pt x="263" y="9"/>
                  </a:cubicBezTo>
                  <a:cubicBezTo>
                    <a:pt x="260" y="8"/>
                    <a:pt x="258" y="10"/>
                    <a:pt x="256" y="11"/>
                  </a:cubicBezTo>
                  <a:cubicBezTo>
                    <a:pt x="253" y="13"/>
                    <a:pt x="251" y="14"/>
                    <a:pt x="248" y="15"/>
                  </a:cubicBezTo>
                  <a:cubicBezTo>
                    <a:pt x="246" y="16"/>
                    <a:pt x="244" y="16"/>
                    <a:pt x="241" y="16"/>
                  </a:cubicBezTo>
                  <a:cubicBezTo>
                    <a:pt x="239" y="16"/>
                    <a:pt x="236" y="16"/>
                    <a:pt x="234" y="16"/>
                  </a:cubicBezTo>
                  <a:cubicBezTo>
                    <a:pt x="231" y="16"/>
                    <a:pt x="228" y="18"/>
                    <a:pt x="225" y="19"/>
                  </a:cubicBezTo>
                  <a:cubicBezTo>
                    <a:pt x="224" y="20"/>
                    <a:pt x="223" y="20"/>
                    <a:pt x="221" y="21"/>
                  </a:cubicBezTo>
                  <a:cubicBezTo>
                    <a:pt x="218" y="21"/>
                    <a:pt x="216" y="21"/>
                    <a:pt x="214" y="22"/>
                  </a:cubicBezTo>
                  <a:cubicBezTo>
                    <a:pt x="211" y="23"/>
                    <a:pt x="208" y="23"/>
                    <a:pt x="206" y="25"/>
                  </a:cubicBezTo>
                  <a:cubicBezTo>
                    <a:pt x="205" y="25"/>
                    <a:pt x="204" y="26"/>
                    <a:pt x="203" y="27"/>
                  </a:cubicBezTo>
                  <a:cubicBezTo>
                    <a:pt x="201" y="28"/>
                    <a:pt x="199" y="29"/>
                    <a:pt x="198" y="30"/>
                  </a:cubicBezTo>
                  <a:cubicBezTo>
                    <a:pt x="198" y="31"/>
                    <a:pt x="198" y="32"/>
                    <a:pt x="198" y="33"/>
                  </a:cubicBezTo>
                  <a:cubicBezTo>
                    <a:pt x="198" y="35"/>
                    <a:pt x="197" y="36"/>
                    <a:pt x="195" y="37"/>
                  </a:cubicBezTo>
                  <a:cubicBezTo>
                    <a:pt x="194" y="38"/>
                    <a:pt x="191" y="39"/>
                    <a:pt x="190" y="41"/>
                  </a:cubicBezTo>
                  <a:cubicBezTo>
                    <a:pt x="190" y="42"/>
                    <a:pt x="191" y="43"/>
                    <a:pt x="190" y="44"/>
                  </a:cubicBezTo>
                  <a:cubicBezTo>
                    <a:pt x="189" y="46"/>
                    <a:pt x="187" y="45"/>
                    <a:pt x="185" y="45"/>
                  </a:cubicBezTo>
                  <a:cubicBezTo>
                    <a:pt x="183" y="45"/>
                    <a:pt x="182" y="45"/>
                    <a:pt x="180" y="47"/>
                  </a:cubicBezTo>
                  <a:cubicBezTo>
                    <a:pt x="179" y="48"/>
                    <a:pt x="178" y="48"/>
                    <a:pt x="176" y="49"/>
                  </a:cubicBezTo>
                  <a:cubicBezTo>
                    <a:pt x="175" y="50"/>
                    <a:pt x="175" y="50"/>
                    <a:pt x="173" y="50"/>
                  </a:cubicBezTo>
                  <a:cubicBezTo>
                    <a:pt x="171" y="50"/>
                    <a:pt x="168" y="48"/>
                    <a:pt x="165" y="48"/>
                  </a:cubicBezTo>
                  <a:cubicBezTo>
                    <a:pt x="165" y="48"/>
                    <a:pt x="165" y="48"/>
                    <a:pt x="164" y="48"/>
                  </a:cubicBezTo>
                  <a:cubicBezTo>
                    <a:pt x="163" y="48"/>
                    <a:pt x="162" y="47"/>
                    <a:pt x="161" y="47"/>
                  </a:cubicBezTo>
                  <a:cubicBezTo>
                    <a:pt x="159" y="46"/>
                    <a:pt x="156" y="45"/>
                    <a:pt x="153" y="44"/>
                  </a:cubicBezTo>
                  <a:cubicBezTo>
                    <a:pt x="151" y="44"/>
                    <a:pt x="149" y="44"/>
                    <a:pt x="147" y="44"/>
                  </a:cubicBezTo>
                  <a:cubicBezTo>
                    <a:pt x="145" y="44"/>
                    <a:pt x="143" y="41"/>
                    <a:pt x="141" y="40"/>
                  </a:cubicBezTo>
                  <a:cubicBezTo>
                    <a:pt x="138" y="39"/>
                    <a:pt x="138" y="40"/>
                    <a:pt x="136" y="41"/>
                  </a:cubicBezTo>
                  <a:cubicBezTo>
                    <a:pt x="134" y="42"/>
                    <a:pt x="132" y="42"/>
                    <a:pt x="130" y="42"/>
                  </a:cubicBezTo>
                  <a:cubicBezTo>
                    <a:pt x="126" y="41"/>
                    <a:pt x="122" y="40"/>
                    <a:pt x="118" y="41"/>
                  </a:cubicBezTo>
                  <a:cubicBezTo>
                    <a:pt x="115" y="41"/>
                    <a:pt x="113" y="43"/>
                    <a:pt x="111" y="44"/>
                  </a:cubicBezTo>
                  <a:cubicBezTo>
                    <a:pt x="109" y="45"/>
                    <a:pt x="105" y="45"/>
                    <a:pt x="103" y="45"/>
                  </a:cubicBezTo>
                  <a:cubicBezTo>
                    <a:pt x="99" y="44"/>
                    <a:pt x="97" y="40"/>
                    <a:pt x="93" y="40"/>
                  </a:cubicBezTo>
                  <a:cubicBezTo>
                    <a:pt x="92" y="40"/>
                    <a:pt x="92" y="41"/>
                    <a:pt x="91" y="41"/>
                  </a:cubicBezTo>
                  <a:cubicBezTo>
                    <a:pt x="90" y="41"/>
                    <a:pt x="88" y="40"/>
                    <a:pt x="87" y="39"/>
                  </a:cubicBezTo>
                  <a:cubicBezTo>
                    <a:pt x="84" y="38"/>
                    <a:pt x="82" y="37"/>
                    <a:pt x="79" y="36"/>
                  </a:cubicBezTo>
                  <a:cubicBezTo>
                    <a:pt x="78" y="35"/>
                    <a:pt x="76" y="35"/>
                    <a:pt x="75" y="35"/>
                  </a:cubicBezTo>
                  <a:cubicBezTo>
                    <a:pt x="73" y="34"/>
                    <a:pt x="72" y="33"/>
                    <a:pt x="70" y="33"/>
                  </a:cubicBezTo>
                  <a:cubicBezTo>
                    <a:pt x="67" y="31"/>
                    <a:pt x="64" y="31"/>
                    <a:pt x="61" y="31"/>
                  </a:cubicBezTo>
                  <a:cubicBezTo>
                    <a:pt x="56" y="31"/>
                    <a:pt x="52" y="30"/>
                    <a:pt x="47" y="30"/>
                  </a:cubicBezTo>
                  <a:cubicBezTo>
                    <a:pt x="43" y="30"/>
                    <a:pt x="41" y="34"/>
                    <a:pt x="38" y="33"/>
                  </a:cubicBezTo>
                  <a:cubicBezTo>
                    <a:pt x="36" y="33"/>
                    <a:pt x="35" y="32"/>
                    <a:pt x="33" y="32"/>
                  </a:cubicBezTo>
                  <a:cubicBezTo>
                    <a:pt x="31" y="32"/>
                    <a:pt x="30" y="32"/>
                    <a:pt x="28" y="31"/>
                  </a:cubicBezTo>
                  <a:cubicBezTo>
                    <a:pt x="26" y="29"/>
                    <a:pt x="26" y="24"/>
                    <a:pt x="26" y="22"/>
                  </a:cubicBezTo>
                  <a:cubicBezTo>
                    <a:pt x="26" y="21"/>
                    <a:pt x="26" y="18"/>
                    <a:pt x="27" y="18"/>
                  </a:cubicBezTo>
                  <a:cubicBezTo>
                    <a:pt x="28" y="17"/>
                    <a:pt x="30" y="16"/>
                    <a:pt x="31" y="15"/>
                  </a:cubicBezTo>
                  <a:cubicBezTo>
                    <a:pt x="33" y="14"/>
                    <a:pt x="36" y="13"/>
                    <a:pt x="35" y="10"/>
                  </a:cubicBezTo>
                  <a:cubicBezTo>
                    <a:pt x="34" y="7"/>
                    <a:pt x="29" y="6"/>
                    <a:pt x="26" y="4"/>
                  </a:cubicBezTo>
                  <a:cubicBezTo>
                    <a:pt x="25" y="3"/>
                    <a:pt x="24" y="2"/>
                    <a:pt x="22" y="1"/>
                  </a:cubicBezTo>
                  <a:cubicBezTo>
                    <a:pt x="20" y="1"/>
                    <a:pt x="18" y="0"/>
                    <a:pt x="16" y="0"/>
                  </a:cubicBezTo>
                  <a:cubicBezTo>
                    <a:pt x="16" y="3"/>
                    <a:pt x="16" y="6"/>
                    <a:pt x="16" y="9"/>
                  </a:cubicBezTo>
                  <a:cubicBezTo>
                    <a:pt x="16" y="10"/>
                    <a:pt x="16" y="11"/>
                    <a:pt x="15" y="12"/>
                  </a:cubicBezTo>
                  <a:cubicBezTo>
                    <a:pt x="15" y="12"/>
                    <a:pt x="13" y="12"/>
                    <a:pt x="12" y="12"/>
                  </a:cubicBezTo>
                  <a:cubicBezTo>
                    <a:pt x="12" y="12"/>
                    <a:pt x="10" y="12"/>
                    <a:pt x="10" y="13"/>
                  </a:cubicBezTo>
                  <a:cubicBezTo>
                    <a:pt x="8" y="14"/>
                    <a:pt x="8" y="17"/>
                    <a:pt x="6" y="19"/>
                  </a:cubicBezTo>
                  <a:cubicBezTo>
                    <a:pt x="6" y="20"/>
                    <a:pt x="5" y="20"/>
                    <a:pt x="5" y="21"/>
                  </a:cubicBezTo>
                  <a:cubicBezTo>
                    <a:pt x="5" y="22"/>
                    <a:pt x="5" y="22"/>
                    <a:pt x="5" y="23"/>
                  </a:cubicBezTo>
                  <a:cubicBezTo>
                    <a:pt x="4" y="25"/>
                    <a:pt x="3" y="25"/>
                    <a:pt x="2" y="26"/>
                  </a:cubicBezTo>
                  <a:cubicBezTo>
                    <a:pt x="2" y="27"/>
                    <a:pt x="1" y="28"/>
                    <a:pt x="1" y="30"/>
                  </a:cubicBezTo>
                  <a:cubicBezTo>
                    <a:pt x="1" y="32"/>
                    <a:pt x="1" y="37"/>
                    <a:pt x="1" y="39"/>
                  </a:cubicBezTo>
                  <a:cubicBezTo>
                    <a:pt x="2" y="41"/>
                    <a:pt x="3" y="43"/>
                    <a:pt x="4" y="44"/>
                  </a:cubicBezTo>
                  <a:cubicBezTo>
                    <a:pt x="4" y="44"/>
                    <a:pt x="4" y="45"/>
                    <a:pt x="4" y="45"/>
                  </a:cubicBezTo>
                  <a:cubicBezTo>
                    <a:pt x="5" y="45"/>
                    <a:pt x="5" y="45"/>
                    <a:pt x="5" y="46"/>
                  </a:cubicBezTo>
                  <a:cubicBezTo>
                    <a:pt x="6" y="46"/>
                    <a:pt x="5" y="48"/>
                    <a:pt x="6" y="49"/>
                  </a:cubicBezTo>
                  <a:cubicBezTo>
                    <a:pt x="6" y="50"/>
                    <a:pt x="6" y="49"/>
                    <a:pt x="7" y="50"/>
                  </a:cubicBezTo>
                  <a:cubicBezTo>
                    <a:pt x="7" y="50"/>
                    <a:pt x="7" y="51"/>
                    <a:pt x="7" y="52"/>
                  </a:cubicBezTo>
                  <a:cubicBezTo>
                    <a:pt x="7" y="53"/>
                    <a:pt x="8" y="54"/>
                    <a:pt x="8" y="54"/>
                  </a:cubicBezTo>
                  <a:cubicBezTo>
                    <a:pt x="8" y="55"/>
                    <a:pt x="9" y="56"/>
                    <a:pt x="9" y="56"/>
                  </a:cubicBezTo>
                  <a:cubicBezTo>
                    <a:pt x="10" y="57"/>
                    <a:pt x="10" y="57"/>
                    <a:pt x="11" y="58"/>
                  </a:cubicBezTo>
                  <a:cubicBezTo>
                    <a:pt x="12" y="60"/>
                    <a:pt x="13" y="61"/>
                    <a:pt x="14" y="63"/>
                  </a:cubicBezTo>
                  <a:cubicBezTo>
                    <a:pt x="12" y="64"/>
                    <a:pt x="10" y="62"/>
                    <a:pt x="8" y="62"/>
                  </a:cubicBezTo>
                  <a:cubicBezTo>
                    <a:pt x="7" y="62"/>
                    <a:pt x="7" y="65"/>
                    <a:pt x="8" y="66"/>
                  </a:cubicBezTo>
                  <a:cubicBezTo>
                    <a:pt x="9" y="66"/>
                    <a:pt x="11" y="66"/>
                    <a:pt x="12" y="66"/>
                  </a:cubicBezTo>
                  <a:cubicBezTo>
                    <a:pt x="14" y="67"/>
                    <a:pt x="16" y="66"/>
                    <a:pt x="17" y="67"/>
                  </a:cubicBezTo>
                  <a:cubicBezTo>
                    <a:pt x="19" y="67"/>
                    <a:pt x="19" y="68"/>
                    <a:pt x="20" y="69"/>
                  </a:cubicBezTo>
                  <a:cubicBezTo>
                    <a:pt x="21" y="70"/>
                    <a:pt x="21" y="71"/>
                    <a:pt x="22" y="72"/>
                  </a:cubicBezTo>
                  <a:cubicBezTo>
                    <a:pt x="23" y="73"/>
                    <a:pt x="24" y="73"/>
                    <a:pt x="24" y="74"/>
                  </a:cubicBezTo>
                  <a:cubicBezTo>
                    <a:pt x="24" y="76"/>
                    <a:pt x="26" y="78"/>
                    <a:pt x="27" y="79"/>
                  </a:cubicBezTo>
                  <a:cubicBezTo>
                    <a:pt x="28" y="80"/>
                    <a:pt x="29" y="81"/>
                    <a:pt x="29" y="82"/>
                  </a:cubicBezTo>
                  <a:cubicBezTo>
                    <a:pt x="29" y="82"/>
                    <a:pt x="30" y="83"/>
                    <a:pt x="30" y="83"/>
                  </a:cubicBezTo>
                  <a:cubicBezTo>
                    <a:pt x="30" y="84"/>
                    <a:pt x="31" y="84"/>
                    <a:pt x="31" y="84"/>
                  </a:cubicBezTo>
                  <a:cubicBezTo>
                    <a:pt x="32" y="87"/>
                    <a:pt x="29" y="89"/>
                    <a:pt x="28" y="90"/>
                  </a:cubicBezTo>
                  <a:cubicBezTo>
                    <a:pt x="27" y="92"/>
                    <a:pt x="24" y="92"/>
                    <a:pt x="22" y="94"/>
                  </a:cubicBezTo>
                  <a:cubicBezTo>
                    <a:pt x="20" y="96"/>
                    <a:pt x="20" y="98"/>
                    <a:pt x="19" y="100"/>
                  </a:cubicBezTo>
                  <a:cubicBezTo>
                    <a:pt x="19" y="101"/>
                    <a:pt x="19" y="103"/>
                    <a:pt x="19" y="103"/>
                  </a:cubicBezTo>
                  <a:cubicBezTo>
                    <a:pt x="18" y="104"/>
                    <a:pt x="16" y="105"/>
                    <a:pt x="16" y="105"/>
                  </a:cubicBezTo>
                  <a:cubicBezTo>
                    <a:pt x="15" y="106"/>
                    <a:pt x="15" y="105"/>
                    <a:pt x="14" y="106"/>
                  </a:cubicBezTo>
                  <a:cubicBezTo>
                    <a:pt x="13" y="106"/>
                    <a:pt x="13" y="106"/>
                    <a:pt x="12" y="107"/>
                  </a:cubicBezTo>
                  <a:cubicBezTo>
                    <a:pt x="11" y="107"/>
                    <a:pt x="11" y="106"/>
                    <a:pt x="10" y="106"/>
                  </a:cubicBezTo>
                  <a:cubicBezTo>
                    <a:pt x="9" y="106"/>
                    <a:pt x="8" y="106"/>
                    <a:pt x="7" y="106"/>
                  </a:cubicBezTo>
                  <a:cubicBezTo>
                    <a:pt x="6" y="106"/>
                    <a:pt x="2" y="107"/>
                    <a:pt x="1" y="108"/>
                  </a:cubicBezTo>
                  <a:cubicBezTo>
                    <a:pt x="1" y="109"/>
                    <a:pt x="1" y="111"/>
                    <a:pt x="1" y="112"/>
                  </a:cubicBezTo>
                  <a:cubicBezTo>
                    <a:pt x="1" y="113"/>
                    <a:pt x="2" y="114"/>
                    <a:pt x="2" y="115"/>
                  </a:cubicBezTo>
                  <a:cubicBezTo>
                    <a:pt x="3" y="117"/>
                    <a:pt x="2" y="119"/>
                    <a:pt x="1" y="121"/>
                  </a:cubicBezTo>
                  <a:cubicBezTo>
                    <a:pt x="1" y="123"/>
                    <a:pt x="0" y="124"/>
                    <a:pt x="0" y="126"/>
                  </a:cubicBezTo>
                  <a:cubicBezTo>
                    <a:pt x="0" y="129"/>
                    <a:pt x="0" y="129"/>
                    <a:pt x="1" y="131"/>
                  </a:cubicBezTo>
                  <a:cubicBezTo>
                    <a:pt x="2" y="132"/>
                    <a:pt x="2" y="132"/>
                    <a:pt x="3" y="133"/>
                  </a:cubicBezTo>
                  <a:cubicBezTo>
                    <a:pt x="4" y="134"/>
                    <a:pt x="4" y="133"/>
                    <a:pt x="4" y="135"/>
                  </a:cubicBezTo>
                  <a:cubicBezTo>
                    <a:pt x="5" y="137"/>
                    <a:pt x="6" y="137"/>
                    <a:pt x="7" y="139"/>
                  </a:cubicBezTo>
                  <a:cubicBezTo>
                    <a:pt x="7" y="140"/>
                    <a:pt x="7" y="142"/>
                    <a:pt x="8" y="143"/>
                  </a:cubicBezTo>
                  <a:cubicBezTo>
                    <a:pt x="9" y="145"/>
                    <a:pt x="9" y="145"/>
                    <a:pt x="9" y="147"/>
                  </a:cubicBezTo>
                  <a:cubicBezTo>
                    <a:pt x="9" y="148"/>
                    <a:pt x="8" y="150"/>
                    <a:pt x="7" y="151"/>
                  </a:cubicBezTo>
                  <a:cubicBezTo>
                    <a:pt x="5" y="152"/>
                    <a:pt x="3" y="153"/>
                    <a:pt x="1" y="153"/>
                  </a:cubicBezTo>
                  <a:cubicBezTo>
                    <a:pt x="2" y="158"/>
                    <a:pt x="2" y="158"/>
                    <a:pt x="2" y="158"/>
                  </a:cubicBezTo>
                  <a:cubicBezTo>
                    <a:pt x="2" y="159"/>
                    <a:pt x="2" y="160"/>
                    <a:pt x="3" y="161"/>
                  </a:cubicBezTo>
                  <a:cubicBezTo>
                    <a:pt x="3" y="162"/>
                    <a:pt x="3" y="162"/>
                    <a:pt x="4" y="163"/>
                  </a:cubicBezTo>
                  <a:cubicBezTo>
                    <a:pt x="4" y="163"/>
                    <a:pt x="4" y="164"/>
                    <a:pt x="4" y="164"/>
                  </a:cubicBezTo>
                  <a:cubicBezTo>
                    <a:pt x="4" y="164"/>
                    <a:pt x="4" y="164"/>
                    <a:pt x="4" y="165"/>
                  </a:cubicBezTo>
                  <a:cubicBezTo>
                    <a:pt x="4" y="165"/>
                    <a:pt x="4" y="165"/>
                    <a:pt x="4" y="166"/>
                  </a:cubicBezTo>
                  <a:cubicBezTo>
                    <a:pt x="4" y="166"/>
                    <a:pt x="5" y="166"/>
                    <a:pt x="6" y="166"/>
                  </a:cubicBezTo>
                  <a:cubicBezTo>
                    <a:pt x="6" y="166"/>
                    <a:pt x="6" y="167"/>
                    <a:pt x="7" y="167"/>
                  </a:cubicBezTo>
                  <a:cubicBezTo>
                    <a:pt x="7" y="168"/>
                    <a:pt x="7" y="169"/>
                    <a:pt x="8" y="170"/>
                  </a:cubicBezTo>
                  <a:cubicBezTo>
                    <a:pt x="9" y="170"/>
                    <a:pt x="10" y="170"/>
                    <a:pt x="11" y="171"/>
                  </a:cubicBezTo>
                  <a:cubicBezTo>
                    <a:pt x="12" y="171"/>
                    <a:pt x="13" y="170"/>
                    <a:pt x="15" y="171"/>
                  </a:cubicBezTo>
                  <a:cubicBezTo>
                    <a:pt x="16" y="171"/>
                    <a:pt x="17" y="172"/>
                    <a:pt x="18" y="173"/>
                  </a:cubicBezTo>
                  <a:cubicBezTo>
                    <a:pt x="19" y="173"/>
                    <a:pt x="20" y="174"/>
                    <a:pt x="21" y="174"/>
                  </a:cubicBezTo>
                  <a:cubicBezTo>
                    <a:pt x="22" y="174"/>
                    <a:pt x="22" y="174"/>
                    <a:pt x="23" y="175"/>
                  </a:cubicBezTo>
                  <a:cubicBezTo>
                    <a:pt x="23" y="175"/>
                    <a:pt x="23" y="175"/>
                    <a:pt x="23" y="176"/>
                  </a:cubicBezTo>
                  <a:cubicBezTo>
                    <a:pt x="23" y="176"/>
                    <a:pt x="24" y="177"/>
                    <a:pt x="24" y="178"/>
                  </a:cubicBezTo>
                  <a:cubicBezTo>
                    <a:pt x="24" y="179"/>
                    <a:pt x="24" y="180"/>
                    <a:pt x="24" y="181"/>
                  </a:cubicBezTo>
                  <a:cubicBezTo>
                    <a:pt x="24" y="182"/>
                    <a:pt x="25" y="182"/>
                    <a:pt x="25" y="183"/>
                  </a:cubicBezTo>
                  <a:cubicBezTo>
                    <a:pt x="25" y="183"/>
                    <a:pt x="25" y="184"/>
                    <a:pt x="25" y="185"/>
                  </a:cubicBezTo>
                  <a:cubicBezTo>
                    <a:pt x="25" y="186"/>
                    <a:pt x="26" y="186"/>
                    <a:pt x="26" y="187"/>
                  </a:cubicBezTo>
                  <a:cubicBezTo>
                    <a:pt x="26" y="188"/>
                    <a:pt x="26" y="189"/>
                    <a:pt x="26" y="190"/>
                  </a:cubicBezTo>
                  <a:cubicBezTo>
                    <a:pt x="26" y="190"/>
                    <a:pt x="26" y="191"/>
                    <a:pt x="26" y="192"/>
                  </a:cubicBezTo>
                  <a:cubicBezTo>
                    <a:pt x="27" y="193"/>
                    <a:pt x="27" y="194"/>
                    <a:pt x="28" y="195"/>
                  </a:cubicBezTo>
                  <a:cubicBezTo>
                    <a:pt x="29" y="196"/>
                    <a:pt x="32" y="196"/>
                    <a:pt x="32" y="198"/>
                  </a:cubicBezTo>
                  <a:cubicBezTo>
                    <a:pt x="32" y="199"/>
                    <a:pt x="31" y="199"/>
                    <a:pt x="31" y="200"/>
                  </a:cubicBezTo>
                  <a:cubicBezTo>
                    <a:pt x="31" y="200"/>
                    <a:pt x="31" y="200"/>
                    <a:pt x="31" y="200"/>
                  </a:cubicBezTo>
                  <a:cubicBezTo>
                    <a:pt x="31" y="201"/>
                    <a:pt x="30" y="201"/>
                    <a:pt x="29" y="202"/>
                  </a:cubicBezTo>
                  <a:cubicBezTo>
                    <a:pt x="28" y="203"/>
                    <a:pt x="26" y="204"/>
                    <a:pt x="26" y="206"/>
                  </a:cubicBezTo>
                  <a:cubicBezTo>
                    <a:pt x="26" y="207"/>
                    <a:pt x="27" y="209"/>
                    <a:pt x="28" y="211"/>
                  </a:cubicBezTo>
                  <a:cubicBezTo>
                    <a:pt x="28" y="211"/>
                    <a:pt x="28" y="212"/>
                    <a:pt x="28" y="213"/>
                  </a:cubicBezTo>
                  <a:cubicBezTo>
                    <a:pt x="28" y="217"/>
                    <a:pt x="27" y="220"/>
                    <a:pt x="27" y="224"/>
                  </a:cubicBezTo>
                  <a:cubicBezTo>
                    <a:pt x="27" y="225"/>
                    <a:pt x="27" y="225"/>
                    <a:pt x="27" y="226"/>
                  </a:cubicBezTo>
                  <a:cubicBezTo>
                    <a:pt x="27" y="226"/>
                    <a:pt x="27" y="226"/>
                    <a:pt x="27" y="226"/>
                  </a:cubicBezTo>
                  <a:cubicBezTo>
                    <a:pt x="28" y="227"/>
                    <a:pt x="29" y="228"/>
                    <a:pt x="30" y="229"/>
                  </a:cubicBezTo>
                  <a:cubicBezTo>
                    <a:pt x="31" y="229"/>
                    <a:pt x="31" y="230"/>
                    <a:pt x="32" y="231"/>
                  </a:cubicBezTo>
                  <a:cubicBezTo>
                    <a:pt x="33" y="232"/>
                    <a:pt x="34" y="231"/>
                    <a:pt x="36" y="231"/>
                  </a:cubicBezTo>
                  <a:cubicBezTo>
                    <a:pt x="37" y="231"/>
                    <a:pt x="39" y="231"/>
                    <a:pt x="41" y="231"/>
                  </a:cubicBezTo>
                  <a:cubicBezTo>
                    <a:pt x="44" y="231"/>
                    <a:pt x="46" y="231"/>
                    <a:pt x="49" y="230"/>
                  </a:cubicBezTo>
                  <a:cubicBezTo>
                    <a:pt x="51" y="229"/>
                    <a:pt x="55" y="227"/>
                    <a:pt x="57" y="228"/>
                  </a:cubicBezTo>
                  <a:cubicBezTo>
                    <a:pt x="58" y="228"/>
                    <a:pt x="59" y="229"/>
                    <a:pt x="60" y="229"/>
                  </a:cubicBezTo>
                  <a:cubicBezTo>
                    <a:pt x="62" y="229"/>
                    <a:pt x="63" y="229"/>
                    <a:pt x="64" y="229"/>
                  </a:cubicBezTo>
                  <a:cubicBezTo>
                    <a:pt x="66" y="228"/>
                    <a:pt x="68" y="229"/>
                    <a:pt x="70" y="228"/>
                  </a:cubicBezTo>
                  <a:cubicBezTo>
                    <a:pt x="72" y="228"/>
                    <a:pt x="75" y="227"/>
                    <a:pt x="76" y="226"/>
                  </a:cubicBezTo>
                  <a:cubicBezTo>
                    <a:pt x="77" y="225"/>
                    <a:pt x="77" y="224"/>
                    <a:pt x="78" y="224"/>
                  </a:cubicBezTo>
                  <a:cubicBezTo>
                    <a:pt x="79" y="224"/>
                    <a:pt x="80" y="224"/>
                    <a:pt x="80" y="224"/>
                  </a:cubicBezTo>
                  <a:cubicBezTo>
                    <a:pt x="81" y="224"/>
                    <a:pt x="82" y="223"/>
                    <a:pt x="83" y="222"/>
                  </a:cubicBezTo>
                  <a:cubicBezTo>
                    <a:pt x="85" y="224"/>
                    <a:pt x="88" y="223"/>
                    <a:pt x="89" y="220"/>
                  </a:cubicBezTo>
                  <a:cubicBezTo>
                    <a:pt x="89" y="219"/>
                    <a:pt x="88" y="215"/>
                    <a:pt x="91" y="216"/>
                  </a:cubicBezTo>
                  <a:cubicBezTo>
                    <a:pt x="92" y="217"/>
                    <a:pt x="93" y="218"/>
                    <a:pt x="94" y="218"/>
                  </a:cubicBezTo>
                  <a:cubicBezTo>
                    <a:pt x="95" y="218"/>
                    <a:pt x="97" y="218"/>
                    <a:pt x="98" y="218"/>
                  </a:cubicBezTo>
                  <a:cubicBezTo>
                    <a:pt x="100" y="218"/>
                    <a:pt x="101" y="219"/>
                    <a:pt x="103" y="218"/>
                  </a:cubicBezTo>
                  <a:cubicBezTo>
                    <a:pt x="103" y="218"/>
                    <a:pt x="103" y="217"/>
                    <a:pt x="104" y="217"/>
                  </a:cubicBezTo>
                  <a:cubicBezTo>
                    <a:pt x="104" y="216"/>
                    <a:pt x="105" y="217"/>
                    <a:pt x="105" y="216"/>
                  </a:cubicBezTo>
                  <a:cubicBezTo>
                    <a:pt x="107" y="216"/>
                    <a:pt x="106" y="218"/>
                    <a:pt x="108" y="218"/>
                  </a:cubicBezTo>
                  <a:cubicBezTo>
                    <a:pt x="109" y="218"/>
                    <a:pt x="110" y="216"/>
                    <a:pt x="110" y="218"/>
                  </a:cubicBezTo>
                  <a:cubicBezTo>
                    <a:pt x="111" y="217"/>
                    <a:pt x="113" y="216"/>
                    <a:pt x="114" y="217"/>
                  </a:cubicBezTo>
                  <a:cubicBezTo>
                    <a:pt x="115" y="218"/>
                    <a:pt x="114" y="221"/>
                    <a:pt x="115" y="222"/>
                  </a:cubicBezTo>
                  <a:cubicBezTo>
                    <a:pt x="115" y="222"/>
                    <a:pt x="116" y="223"/>
                    <a:pt x="116" y="223"/>
                  </a:cubicBezTo>
                  <a:cubicBezTo>
                    <a:pt x="116" y="224"/>
                    <a:pt x="117" y="225"/>
                    <a:pt x="118" y="225"/>
                  </a:cubicBezTo>
                  <a:cubicBezTo>
                    <a:pt x="120" y="226"/>
                    <a:pt x="122" y="226"/>
                    <a:pt x="124" y="228"/>
                  </a:cubicBezTo>
                  <a:cubicBezTo>
                    <a:pt x="124" y="229"/>
                    <a:pt x="125" y="230"/>
                    <a:pt x="126" y="231"/>
                  </a:cubicBezTo>
                  <a:cubicBezTo>
                    <a:pt x="126" y="231"/>
                    <a:pt x="126" y="231"/>
                    <a:pt x="127" y="232"/>
                  </a:cubicBezTo>
                  <a:cubicBezTo>
                    <a:pt x="128" y="232"/>
                    <a:pt x="128" y="234"/>
                    <a:pt x="129" y="235"/>
                  </a:cubicBezTo>
                  <a:cubicBezTo>
                    <a:pt x="130" y="236"/>
                    <a:pt x="130" y="235"/>
                    <a:pt x="131" y="234"/>
                  </a:cubicBezTo>
                  <a:cubicBezTo>
                    <a:pt x="133" y="234"/>
                    <a:pt x="135" y="233"/>
                    <a:pt x="137" y="233"/>
                  </a:cubicBezTo>
                  <a:cubicBezTo>
                    <a:pt x="138" y="234"/>
                    <a:pt x="138" y="235"/>
                    <a:pt x="139" y="235"/>
                  </a:cubicBezTo>
                  <a:cubicBezTo>
                    <a:pt x="140" y="236"/>
                    <a:pt x="141" y="236"/>
                    <a:pt x="142" y="236"/>
                  </a:cubicBezTo>
                  <a:cubicBezTo>
                    <a:pt x="143" y="238"/>
                    <a:pt x="144" y="237"/>
                    <a:pt x="146" y="237"/>
                  </a:cubicBezTo>
                  <a:cubicBezTo>
                    <a:pt x="147" y="237"/>
                    <a:pt x="148" y="238"/>
                    <a:pt x="148" y="238"/>
                  </a:cubicBezTo>
                  <a:cubicBezTo>
                    <a:pt x="150" y="239"/>
                    <a:pt x="151" y="241"/>
                    <a:pt x="152" y="241"/>
                  </a:cubicBezTo>
                  <a:cubicBezTo>
                    <a:pt x="153" y="242"/>
                    <a:pt x="154" y="241"/>
                    <a:pt x="155" y="241"/>
                  </a:cubicBezTo>
                  <a:cubicBezTo>
                    <a:pt x="155" y="242"/>
                    <a:pt x="156" y="242"/>
                    <a:pt x="156" y="242"/>
                  </a:cubicBezTo>
                  <a:cubicBezTo>
                    <a:pt x="158" y="242"/>
                    <a:pt x="160" y="242"/>
                    <a:pt x="162" y="242"/>
                  </a:cubicBezTo>
                  <a:cubicBezTo>
                    <a:pt x="167" y="242"/>
                    <a:pt x="173" y="241"/>
                    <a:pt x="178" y="241"/>
                  </a:cubicBezTo>
                  <a:cubicBezTo>
                    <a:pt x="178" y="239"/>
                    <a:pt x="178" y="237"/>
                    <a:pt x="176" y="236"/>
                  </a:cubicBezTo>
                  <a:cubicBezTo>
                    <a:pt x="179" y="235"/>
                    <a:pt x="181" y="239"/>
                    <a:pt x="184" y="238"/>
                  </a:cubicBezTo>
                  <a:cubicBezTo>
                    <a:pt x="185" y="237"/>
                    <a:pt x="185" y="237"/>
                    <a:pt x="186" y="237"/>
                  </a:cubicBezTo>
                  <a:cubicBezTo>
                    <a:pt x="187" y="237"/>
                    <a:pt x="188" y="238"/>
                    <a:pt x="189" y="238"/>
                  </a:cubicBezTo>
                  <a:cubicBezTo>
                    <a:pt x="191" y="239"/>
                    <a:pt x="192" y="240"/>
                    <a:pt x="195" y="239"/>
                  </a:cubicBezTo>
                  <a:cubicBezTo>
                    <a:pt x="196" y="239"/>
                    <a:pt x="198" y="238"/>
                    <a:pt x="199" y="238"/>
                  </a:cubicBezTo>
                  <a:cubicBezTo>
                    <a:pt x="200" y="237"/>
                    <a:pt x="201" y="236"/>
                    <a:pt x="202" y="236"/>
                  </a:cubicBezTo>
                  <a:cubicBezTo>
                    <a:pt x="203" y="235"/>
                    <a:pt x="204" y="235"/>
                    <a:pt x="205" y="235"/>
                  </a:cubicBezTo>
                  <a:cubicBezTo>
                    <a:pt x="207" y="233"/>
                    <a:pt x="206" y="230"/>
                    <a:pt x="206" y="227"/>
                  </a:cubicBezTo>
                  <a:cubicBezTo>
                    <a:pt x="206" y="227"/>
                    <a:pt x="206" y="226"/>
                    <a:pt x="206" y="226"/>
                  </a:cubicBezTo>
                  <a:cubicBezTo>
                    <a:pt x="206" y="224"/>
                    <a:pt x="207" y="224"/>
                    <a:pt x="207" y="223"/>
                  </a:cubicBezTo>
                  <a:cubicBezTo>
                    <a:pt x="208" y="221"/>
                    <a:pt x="207" y="220"/>
                    <a:pt x="207" y="218"/>
                  </a:cubicBezTo>
                  <a:cubicBezTo>
                    <a:pt x="207" y="215"/>
                    <a:pt x="204" y="214"/>
                    <a:pt x="203" y="211"/>
                  </a:cubicBezTo>
                  <a:cubicBezTo>
                    <a:pt x="202" y="207"/>
                    <a:pt x="205" y="205"/>
                    <a:pt x="209" y="205"/>
                  </a:cubicBezTo>
                  <a:cubicBezTo>
                    <a:pt x="211" y="205"/>
                    <a:pt x="213" y="207"/>
                    <a:pt x="215" y="208"/>
                  </a:cubicBezTo>
                  <a:cubicBezTo>
                    <a:pt x="217" y="208"/>
                    <a:pt x="220" y="210"/>
                    <a:pt x="223" y="210"/>
                  </a:cubicBezTo>
                  <a:cubicBezTo>
                    <a:pt x="223" y="208"/>
                    <a:pt x="223" y="206"/>
                    <a:pt x="223" y="204"/>
                  </a:cubicBezTo>
                  <a:cubicBezTo>
                    <a:pt x="224" y="202"/>
                    <a:pt x="224" y="201"/>
                    <a:pt x="225" y="200"/>
                  </a:cubicBezTo>
                  <a:cubicBezTo>
                    <a:pt x="227" y="198"/>
                    <a:pt x="227" y="198"/>
                    <a:pt x="230" y="198"/>
                  </a:cubicBezTo>
                  <a:cubicBezTo>
                    <a:pt x="229" y="197"/>
                    <a:pt x="230" y="197"/>
                    <a:pt x="230" y="197"/>
                  </a:cubicBezTo>
                  <a:cubicBezTo>
                    <a:pt x="230" y="196"/>
                    <a:pt x="231" y="196"/>
                    <a:pt x="231" y="196"/>
                  </a:cubicBezTo>
                  <a:cubicBezTo>
                    <a:pt x="232" y="195"/>
                    <a:pt x="232" y="195"/>
                    <a:pt x="233" y="194"/>
                  </a:cubicBezTo>
                  <a:cubicBezTo>
                    <a:pt x="233" y="194"/>
                    <a:pt x="233" y="193"/>
                    <a:pt x="233" y="193"/>
                  </a:cubicBezTo>
                  <a:cubicBezTo>
                    <a:pt x="235" y="191"/>
                    <a:pt x="237" y="190"/>
                    <a:pt x="238" y="189"/>
                  </a:cubicBezTo>
                  <a:cubicBezTo>
                    <a:pt x="240" y="189"/>
                    <a:pt x="242" y="189"/>
                    <a:pt x="244" y="188"/>
                  </a:cubicBezTo>
                  <a:cubicBezTo>
                    <a:pt x="245" y="188"/>
                    <a:pt x="246" y="187"/>
                    <a:pt x="247" y="187"/>
                  </a:cubicBezTo>
                  <a:cubicBezTo>
                    <a:pt x="249" y="188"/>
                    <a:pt x="249" y="188"/>
                    <a:pt x="251" y="187"/>
                  </a:cubicBezTo>
                  <a:cubicBezTo>
                    <a:pt x="254" y="185"/>
                    <a:pt x="256" y="183"/>
                    <a:pt x="260" y="181"/>
                  </a:cubicBezTo>
                  <a:cubicBezTo>
                    <a:pt x="262" y="180"/>
                    <a:pt x="263" y="177"/>
                    <a:pt x="266" y="179"/>
                  </a:cubicBezTo>
                  <a:cubicBezTo>
                    <a:pt x="268" y="180"/>
                    <a:pt x="270" y="183"/>
                    <a:pt x="273" y="183"/>
                  </a:cubicBezTo>
                  <a:cubicBezTo>
                    <a:pt x="275" y="183"/>
                    <a:pt x="276" y="182"/>
                    <a:pt x="277" y="183"/>
                  </a:cubicBezTo>
                  <a:cubicBezTo>
                    <a:pt x="278" y="183"/>
                    <a:pt x="278" y="184"/>
                    <a:pt x="279" y="185"/>
                  </a:cubicBezTo>
                  <a:cubicBezTo>
                    <a:pt x="281" y="185"/>
                    <a:pt x="281" y="185"/>
                    <a:pt x="282" y="187"/>
                  </a:cubicBezTo>
                  <a:cubicBezTo>
                    <a:pt x="283" y="188"/>
                    <a:pt x="285" y="190"/>
                    <a:pt x="286" y="191"/>
                  </a:cubicBezTo>
                  <a:cubicBezTo>
                    <a:pt x="287" y="193"/>
                    <a:pt x="286" y="193"/>
                    <a:pt x="288" y="193"/>
                  </a:cubicBezTo>
                  <a:cubicBezTo>
                    <a:pt x="290" y="193"/>
                    <a:pt x="291" y="192"/>
                    <a:pt x="292" y="192"/>
                  </a:cubicBezTo>
                  <a:cubicBezTo>
                    <a:pt x="294" y="191"/>
                    <a:pt x="296" y="190"/>
                    <a:pt x="298" y="190"/>
                  </a:cubicBezTo>
                  <a:cubicBezTo>
                    <a:pt x="301" y="190"/>
                    <a:pt x="303" y="189"/>
                    <a:pt x="306" y="188"/>
                  </a:cubicBezTo>
                  <a:cubicBezTo>
                    <a:pt x="308" y="188"/>
                    <a:pt x="309" y="189"/>
                    <a:pt x="310" y="189"/>
                  </a:cubicBezTo>
                  <a:cubicBezTo>
                    <a:pt x="311" y="189"/>
                    <a:pt x="314" y="189"/>
                    <a:pt x="315" y="188"/>
                  </a:cubicBezTo>
                  <a:cubicBezTo>
                    <a:pt x="316" y="187"/>
                    <a:pt x="315" y="182"/>
                    <a:pt x="314" y="181"/>
                  </a:cubicBezTo>
                  <a:cubicBezTo>
                    <a:pt x="313" y="181"/>
                    <a:pt x="312" y="181"/>
                    <a:pt x="311" y="180"/>
                  </a:cubicBezTo>
                  <a:cubicBezTo>
                    <a:pt x="309" y="179"/>
                    <a:pt x="308" y="177"/>
                    <a:pt x="307" y="175"/>
                  </a:cubicBezTo>
                  <a:cubicBezTo>
                    <a:pt x="305" y="173"/>
                    <a:pt x="303" y="171"/>
                    <a:pt x="302" y="169"/>
                  </a:cubicBezTo>
                  <a:cubicBezTo>
                    <a:pt x="301" y="168"/>
                    <a:pt x="300" y="167"/>
                    <a:pt x="301" y="166"/>
                  </a:cubicBezTo>
                  <a:cubicBezTo>
                    <a:pt x="301" y="167"/>
                    <a:pt x="302" y="165"/>
                    <a:pt x="302" y="165"/>
                  </a:cubicBezTo>
                  <a:cubicBezTo>
                    <a:pt x="303" y="165"/>
                    <a:pt x="304" y="164"/>
                    <a:pt x="304" y="164"/>
                  </a:cubicBezTo>
                  <a:cubicBezTo>
                    <a:pt x="305" y="163"/>
                    <a:pt x="305" y="162"/>
                    <a:pt x="304" y="161"/>
                  </a:cubicBezTo>
                  <a:cubicBezTo>
                    <a:pt x="304" y="159"/>
                    <a:pt x="302" y="158"/>
                    <a:pt x="301" y="156"/>
                  </a:cubicBezTo>
                  <a:cubicBezTo>
                    <a:pt x="301" y="155"/>
                    <a:pt x="302" y="154"/>
                    <a:pt x="300" y="154"/>
                  </a:cubicBezTo>
                  <a:cubicBezTo>
                    <a:pt x="298" y="153"/>
                    <a:pt x="297" y="154"/>
                    <a:pt x="295" y="153"/>
                  </a:cubicBezTo>
                  <a:cubicBezTo>
                    <a:pt x="294" y="152"/>
                    <a:pt x="293" y="151"/>
                    <a:pt x="292" y="150"/>
                  </a:cubicBezTo>
                  <a:cubicBezTo>
                    <a:pt x="291" y="149"/>
                    <a:pt x="286" y="146"/>
                    <a:pt x="285" y="147"/>
                  </a:cubicBezTo>
                  <a:cubicBezTo>
                    <a:pt x="284" y="147"/>
                    <a:pt x="284" y="148"/>
                    <a:pt x="284" y="148"/>
                  </a:cubicBezTo>
                  <a:cubicBezTo>
                    <a:pt x="283" y="148"/>
                    <a:pt x="282" y="148"/>
                    <a:pt x="282" y="148"/>
                  </a:cubicBezTo>
                  <a:cubicBezTo>
                    <a:pt x="281" y="146"/>
                    <a:pt x="281" y="145"/>
                    <a:pt x="283" y="144"/>
                  </a:cubicBezTo>
                  <a:cubicBezTo>
                    <a:pt x="284" y="144"/>
                    <a:pt x="285" y="143"/>
                    <a:pt x="286" y="143"/>
                  </a:cubicBezTo>
                  <a:cubicBezTo>
                    <a:pt x="287" y="142"/>
                    <a:pt x="289" y="143"/>
                    <a:pt x="290" y="143"/>
                  </a:cubicBezTo>
                  <a:cubicBezTo>
                    <a:pt x="292" y="142"/>
                    <a:pt x="291" y="142"/>
                    <a:pt x="292" y="140"/>
                  </a:cubicBezTo>
                  <a:cubicBezTo>
                    <a:pt x="292" y="139"/>
                    <a:pt x="292" y="138"/>
                    <a:pt x="293" y="137"/>
                  </a:cubicBezTo>
                  <a:cubicBezTo>
                    <a:pt x="293" y="136"/>
                    <a:pt x="293" y="134"/>
                    <a:pt x="294" y="135"/>
                  </a:cubicBezTo>
                  <a:cubicBezTo>
                    <a:pt x="295" y="136"/>
                    <a:pt x="297" y="138"/>
                    <a:pt x="298" y="138"/>
                  </a:cubicBezTo>
                  <a:cubicBezTo>
                    <a:pt x="300" y="138"/>
                    <a:pt x="299" y="136"/>
                    <a:pt x="299" y="135"/>
                  </a:cubicBezTo>
                  <a:cubicBezTo>
                    <a:pt x="299" y="134"/>
                    <a:pt x="299" y="133"/>
                    <a:pt x="299" y="132"/>
                  </a:cubicBezTo>
                  <a:cubicBezTo>
                    <a:pt x="299" y="130"/>
                    <a:pt x="300" y="131"/>
                    <a:pt x="301" y="131"/>
                  </a:cubicBezTo>
                  <a:cubicBezTo>
                    <a:pt x="303" y="131"/>
                    <a:pt x="305" y="130"/>
                    <a:pt x="306" y="128"/>
                  </a:cubicBezTo>
                  <a:cubicBezTo>
                    <a:pt x="306" y="126"/>
                    <a:pt x="304" y="125"/>
                    <a:pt x="304" y="123"/>
                  </a:cubicBezTo>
                  <a:cubicBezTo>
                    <a:pt x="307" y="123"/>
                    <a:pt x="310" y="123"/>
                    <a:pt x="312" y="122"/>
                  </a:cubicBezTo>
                  <a:cubicBezTo>
                    <a:pt x="313" y="121"/>
                    <a:pt x="313" y="121"/>
                    <a:pt x="313" y="121"/>
                  </a:cubicBezTo>
                  <a:cubicBezTo>
                    <a:pt x="313" y="120"/>
                    <a:pt x="313" y="120"/>
                    <a:pt x="312" y="120"/>
                  </a:cubicBezTo>
                  <a:cubicBezTo>
                    <a:pt x="312" y="119"/>
                    <a:pt x="312" y="119"/>
                    <a:pt x="312" y="118"/>
                  </a:cubicBezTo>
                  <a:cubicBezTo>
                    <a:pt x="311" y="117"/>
                    <a:pt x="311" y="117"/>
                    <a:pt x="310" y="116"/>
                  </a:cubicBezTo>
                  <a:cubicBezTo>
                    <a:pt x="310" y="116"/>
                    <a:pt x="310" y="114"/>
                    <a:pt x="310" y="114"/>
                  </a:cubicBezTo>
                  <a:cubicBezTo>
                    <a:pt x="310" y="112"/>
                    <a:pt x="310" y="110"/>
                    <a:pt x="310" y="108"/>
                  </a:cubicBezTo>
                  <a:cubicBezTo>
                    <a:pt x="310" y="107"/>
                    <a:pt x="311" y="107"/>
                    <a:pt x="310" y="106"/>
                  </a:cubicBezTo>
                  <a:cubicBezTo>
                    <a:pt x="310" y="105"/>
                    <a:pt x="310" y="105"/>
                    <a:pt x="310" y="104"/>
                  </a:cubicBezTo>
                  <a:cubicBezTo>
                    <a:pt x="310" y="103"/>
                    <a:pt x="310" y="102"/>
                    <a:pt x="311" y="101"/>
                  </a:cubicBezTo>
                  <a:cubicBezTo>
                    <a:pt x="312" y="100"/>
                    <a:pt x="313" y="98"/>
                    <a:pt x="314" y="96"/>
                  </a:cubicBezTo>
                  <a:cubicBezTo>
                    <a:pt x="315" y="94"/>
                    <a:pt x="315" y="92"/>
                    <a:pt x="314" y="90"/>
                  </a:cubicBezTo>
                  <a:cubicBezTo>
                    <a:pt x="313" y="88"/>
                    <a:pt x="314" y="87"/>
                    <a:pt x="315" y="85"/>
                  </a:cubicBezTo>
                  <a:cubicBezTo>
                    <a:pt x="316" y="84"/>
                    <a:pt x="316" y="82"/>
                    <a:pt x="318" y="80"/>
                  </a:cubicBezTo>
                  <a:cubicBezTo>
                    <a:pt x="318" y="80"/>
                    <a:pt x="318" y="79"/>
                    <a:pt x="318" y="79"/>
                  </a:cubicBezTo>
                  <a:cubicBezTo>
                    <a:pt x="319" y="79"/>
                    <a:pt x="319" y="79"/>
                    <a:pt x="319" y="78"/>
                  </a:cubicBezTo>
                  <a:cubicBezTo>
                    <a:pt x="319" y="78"/>
                    <a:pt x="320" y="76"/>
                    <a:pt x="320" y="76"/>
                  </a:cubicBezTo>
                  <a:cubicBezTo>
                    <a:pt x="322" y="75"/>
                    <a:pt x="325" y="76"/>
                    <a:pt x="327" y="76"/>
                  </a:cubicBezTo>
                  <a:cubicBezTo>
                    <a:pt x="329" y="76"/>
                    <a:pt x="330" y="77"/>
                    <a:pt x="332" y="77"/>
                  </a:cubicBezTo>
                  <a:cubicBezTo>
                    <a:pt x="333" y="77"/>
                    <a:pt x="334" y="77"/>
                    <a:pt x="335" y="77"/>
                  </a:cubicBezTo>
                  <a:cubicBezTo>
                    <a:pt x="336" y="77"/>
                    <a:pt x="336" y="77"/>
                    <a:pt x="337" y="75"/>
                  </a:cubicBezTo>
                  <a:cubicBezTo>
                    <a:pt x="338" y="75"/>
                    <a:pt x="338" y="74"/>
                    <a:pt x="339" y="74"/>
                  </a:cubicBezTo>
                  <a:cubicBezTo>
                    <a:pt x="341" y="74"/>
                    <a:pt x="343" y="76"/>
                    <a:pt x="345" y="76"/>
                  </a:cubicBezTo>
                  <a:cubicBezTo>
                    <a:pt x="347" y="76"/>
                    <a:pt x="348" y="74"/>
                    <a:pt x="348" y="72"/>
                  </a:cubicBezTo>
                  <a:cubicBezTo>
                    <a:pt x="349" y="72"/>
                    <a:pt x="351" y="73"/>
                    <a:pt x="352" y="73"/>
                  </a:cubicBezTo>
                  <a:cubicBezTo>
                    <a:pt x="352" y="74"/>
                    <a:pt x="353" y="75"/>
                    <a:pt x="354" y="74"/>
                  </a:cubicBezTo>
                  <a:cubicBezTo>
                    <a:pt x="355" y="74"/>
                    <a:pt x="356" y="69"/>
                    <a:pt x="356" y="69"/>
                  </a:cubicBezTo>
                  <a:cubicBezTo>
                    <a:pt x="357" y="67"/>
                    <a:pt x="357" y="64"/>
                    <a:pt x="357" y="6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4" name="Freeform 34"/>
            <p:cNvSpPr>
              <a:spLocks/>
            </p:cNvSpPr>
            <p:nvPr/>
          </p:nvSpPr>
          <p:spPr bwMode="auto">
            <a:xfrm>
              <a:off x="5468938" y="4814888"/>
              <a:ext cx="981075" cy="717550"/>
            </a:xfrm>
            <a:custGeom>
              <a:avLst/>
              <a:gdLst/>
              <a:ahLst/>
              <a:cxnLst>
                <a:cxn ang="0">
                  <a:pos x="474" y="252"/>
                </a:cxn>
                <a:cxn ang="0">
                  <a:pos x="437" y="239"/>
                </a:cxn>
                <a:cxn ang="0">
                  <a:pos x="438" y="138"/>
                </a:cxn>
                <a:cxn ang="0">
                  <a:pos x="412" y="87"/>
                </a:cxn>
                <a:cxn ang="0">
                  <a:pos x="392" y="65"/>
                </a:cxn>
                <a:cxn ang="0">
                  <a:pos x="379" y="32"/>
                </a:cxn>
                <a:cxn ang="0">
                  <a:pos x="336" y="10"/>
                </a:cxn>
                <a:cxn ang="0">
                  <a:pos x="295" y="30"/>
                </a:cxn>
                <a:cxn ang="0">
                  <a:pos x="245" y="34"/>
                </a:cxn>
                <a:cxn ang="0">
                  <a:pos x="212" y="27"/>
                </a:cxn>
                <a:cxn ang="0">
                  <a:pos x="175" y="24"/>
                </a:cxn>
                <a:cxn ang="0">
                  <a:pos x="145" y="27"/>
                </a:cxn>
                <a:cxn ang="0">
                  <a:pos x="125" y="42"/>
                </a:cxn>
                <a:cxn ang="0">
                  <a:pos x="107" y="53"/>
                </a:cxn>
                <a:cxn ang="0">
                  <a:pos x="102" y="62"/>
                </a:cxn>
                <a:cxn ang="0">
                  <a:pos x="94" y="76"/>
                </a:cxn>
                <a:cxn ang="0">
                  <a:pos x="80" y="102"/>
                </a:cxn>
                <a:cxn ang="0">
                  <a:pos x="73" y="123"/>
                </a:cxn>
                <a:cxn ang="0">
                  <a:pos x="64" y="133"/>
                </a:cxn>
                <a:cxn ang="0">
                  <a:pos x="54" y="149"/>
                </a:cxn>
                <a:cxn ang="0">
                  <a:pos x="48" y="159"/>
                </a:cxn>
                <a:cxn ang="0">
                  <a:pos x="34" y="165"/>
                </a:cxn>
                <a:cxn ang="0">
                  <a:pos x="5" y="182"/>
                </a:cxn>
                <a:cxn ang="0">
                  <a:pos x="19" y="199"/>
                </a:cxn>
                <a:cxn ang="0">
                  <a:pos x="29" y="210"/>
                </a:cxn>
                <a:cxn ang="0">
                  <a:pos x="31" y="231"/>
                </a:cxn>
                <a:cxn ang="0">
                  <a:pos x="61" y="246"/>
                </a:cxn>
                <a:cxn ang="0">
                  <a:pos x="61" y="260"/>
                </a:cxn>
                <a:cxn ang="0">
                  <a:pos x="65" y="273"/>
                </a:cxn>
                <a:cxn ang="0">
                  <a:pos x="61" y="285"/>
                </a:cxn>
                <a:cxn ang="0">
                  <a:pos x="71" y="292"/>
                </a:cxn>
                <a:cxn ang="0">
                  <a:pos x="94" y="305"/>
                </a:cxn>
                <a:cxn ang="0">
                  <a:pos x="107" y="299"/>
                </a:cxn>
                <a:cxn ang="0">
                  <a:pos x="122" y="309"/>
                </a:cxn>
                <a:cxn ang="0">
                  <a:pos x="119" y="318"/>
                </a:cxn>
                <a:cxn ang="0">
                  <a:pos x="132" y="335"/>
                </a:cxn>
                <a:cxn ang="0">
                  <a:pos x="138" y="365"/>
                </a:cxn>
                <a:cxn ang="0">
                  <a:pos x="185" y="369"/>
                </a:cxn>
                <a:cxn ang="0">
                  <a:pos x="221" y="378"/>
                </a:cxn>
                <a:cxn ang="0">
                  <a:pos x="263" y="378"/>
                </a:cxn>
                <a:cxn ang="0">
                  <a:pos x="290" y="381"/>
                </a:cxn>
                <a:cxn ang="0">
                  <a:pos x="308" y="364"/>
                </a:cxn>
                <a:cxn ang="0">
                  <a:pos x="344" y="350"/>
                </a:cxn>
                <a:cxn ang="0">
                  <a:pos x="382" y="347"/>
                </a:cxn>
                <a:cxn ang="0">
                  <a:pos x="399" y="355"/>
                </a:cxn>
                <a:cxn ang="0">
                  <a:pos x="414" y="360"/>
                </a:cxn>
                <a:cxn ang="0">
                  <a:pos x="426" y="368"/>
                </a:cxn>
                <a:cxn ang="0">
                  <a:pos x="446" y="379"/>
                </a:cxn>
                <a:cxn ang="0">
                  <a:pos x="458" y="366"/>
                </a:cxn>
                <a:cxn ang="0">
                  <a:pos x="468" y="316"/>
                </a:cxn>
                <a:cxn ang="0">
                  <a:pos x="476" y="294"/>
                </a:cxn>
                <a:cxn ang="0">
                  <a:pos x="491" y="289"/>
                </a:cxn>
                <a:cxn ang="0">
                  <a:pos x="518" y="280"/>
                </a:cxn>
              </a:cxnLst>
              <a:rect l="0" t="0" r="r" b="b"/>
              <a:pathLst>
                <a:path w="525" h="384">
                  <a:moveTo>
                    <a:pt x="525" y="255"/>
                  </a:moveTo>
                  <a:cubicBezTo>
                    <a:pt x="525" y="252"/>
                    <a:pt x="515" y="249"/>
                    <a:pt x="512" y="247"/>
                  </a:cubicBezTo>
                  <a:cubicBezTo>
                    <a:pt x="507" y="244"/>
                    <a:pt x="503" y="241"/>
                    <a:pt x="496" y="243"/>
                  </a:cubicBezTo>
                  <a:cubicBezTo>
                    <a:pt x="493" y="243"/>
                    <a:pt x="493" y="244"/>
                    <a:pt x="491" y="246"/>
                  </a:cubicBezTo>
                  <a:cubicBezTo>
                    <a:pt x="490" y="247"/>
                    <a:pt x="487" y="249"/>
                    <a:pt x="483" y="250"/>
                  </a:cubicBezTo>
                  <a:cubicBezTo>
                    <a:pt x="478" y="252"/>
                    <a:pt x="476" y="252"/>
                    <a:pt x="474" y="252"/>
                  </a:cubicBezTo>
                  <a:cubicBezTo>
                    <a:pt x="472" y="252"/>
                    <a:pt x="470" y="251"/>
                    <a:pt x="468" y="252"/>
                  </a:cubicBezTo>
                  <a:cubicBezTo>
                    <a:pt x="467" y="252"/>
                    <a:pt x="467" y="255"/>
                    <a:pt x="466" y="256"/>
                  </a:cubicBezTo>
                  <a:cubicBezTo>
                    <a:pt x="463" y="259"/>
                    <a:pt x="462" y="257"/>
                    <a:pt x="459" y="256"/>
                  </a:cubicBezTo>
                  <a:cubicBezTo>
                    <a:pt x="457" y="254"/>
                    <a:pt x="455" y="253"/>
                    <a:pt x="453" y="252"/>
                  </a:cubicBezTo>
                  <a:cubicBezTo>
                    <a:pt x="451" y="252"/>
                    <a:pt x="445" y="249"/>
                    <a:pt x="443" y="248"/>
                  </a:cubicBezTo>
                  <a:cubicBezTo>
                    <a:pt x="443" y="247"/>
                    <a:pt x="438" y="239"/>
                    <a:pt x="437" y="239"/>
                  </a:cubicBezTo>
                  <a:cubicBezTo>
                    <a:pt x="433" y="234"/>
                    <a:pt x="428" y="230"/>
                    <a:pt x="432" y="223"/>
                  </a:cubicBezTo>
                  <a:cubicBezTo>
                    <a:pt x="433" y="219"/>
                    <a:pt x="433" y="211"/>
                    <a:pt x="431" y="208"/>
                  </a:cubicBezTo>
                  <a:cubicBezTo>
                    <a:pt x="429" y="204"/>
                    <a:pt x="430" y="191"/>
                    <a:pt x="430" y="185"/>
                  </a:cubicBezTo>
                  <a:cubicBezTo>
                    <a:pt x="431" y="175"/>
                    <a:pt x="433" y="171"/>
                    <a:pt x="437" y="161"/>
                  </a:cubicBezTo>
                  <a:cubicBezTo>
                    <a:pt x="438" y="159"/>
                    <a:pt x="439" y="151"/>
                    <a:pt x="437" y="148"/>
                  </a:cubicBezTo>
                  <a:cubicBezTo>
                    <a:pt x="436" y="146"/>
                    <a:pt x="438" y="141"/>
                    <a:pt x="438" y="138"/>
                  </a:cubicBezTo>
                  <a:cubicBezTo>
                    <a:pt x="438" y="136"/>
                    <a:pt x="434" y="130"/>
                    <a:pt x="434" y="128"/>
                  </a:cubicBezTo>
                  <a:cubicBezTo>
                    <a:pt x="432" y="125"/>
                    <a:pt x="434" y="121"/>
                    <a:pt x="431" y="121"/>
                  </a:cubicBezTo>
                  <a:cubicBezTo>
                    <a:pt x="427" y="121"/>
                    <a:pt x="424" y="119"/>
                    <a:pt x="422" y="115"/>
                  </a:cubicBezTo>
                  <a:cubicBezTo>
                    <a:pt x="420" y="112"/>
                    <a:pt x="421" y="109"/>
                    <a:pt x="421" y="106"/>
                  </a:cubicBezTo>
                  <a:cubicBezTo>
                    <a:pt x="420" y="101"/>
                    <a:pt x="419" y="96"/>
                    <a:pt x="416" y="92"/>
                  </a:cubicBezTo>
                  <a:cubicBezTo>
                    <a:pt x="414" y="91"/>
                    <a:pt x="414" y="90"/>
                    <a:pt x="412" y="87"/>
                  </a:cubicBezTo>
                  <a:cubicBezTo>
                    <a:pt x="411" y="86"/>
                    <a:pt x="409" y="85"/>
                    <a:pt x="408" y="84"/>
                  </a:cubicBezTo>
                  <a:cubicBezTo>
                    <a:pt x="407" y="83"/>
                    <a:pt x="406" y="81"/>
                    <a:pt x="405" y="79"/>
                  </a:cubicBezTo>
                  <a:cubicBezTo>
                    <a:pt x="403" y="77"/>
                    <a:pt x="403" y="73"/>
                    <a:pt x="401" y="72"/>
                  </a:cubicBezTo>
                  <a:cubicBezTo>
                    <a:pt x="399" y="70"/>
                    <a:pt x="396" y="70"/>
                    <a:pt x="394" y="68"/>
                  </a:cubicBezTo>
                  <a:cubicBezTo>
                    <a:pt x="394" y="68"/>
                    <a:pt x="395" y="67"/>
                    <a:pt x="394" y="67"/>
                  </a:cubicBezTo>
                  <a:cubicBezTo>
                    <a:pt x="394" y="66"/>
                    <a:pt x="393" y="66"/>
                    <a:pt x="392" y="65"/>
                  </a:cubicBezTo>
                  <a:cubicBezTo>
                    <a:pt x="391" y="65"/>
                    <a:pt x="392" y="64"/>
                    <a:pt x="391" y="63"/>
                  </a:cubicBezTo>
                  <a:cubicBezTo>
                    <a:pt x="391" y="62"/>
                    <a:pt x="390" y="62"/>
                    <a:pt x="390" y="60"/>
                  </a:cubicBezTo>
                  <a:cubicBezTo>
                    <a:pt x="389" y="59"/>
                    <a:pt x="390" y="58"/>
                    <a:pt x="390" y="57"/>
                  </a:cubicBezTo>
                  <a:cubicBezTo>
                    <a:pt x="390" y="53"/>
                    <a:pt x="390" y="49"/>
                    <a:pt x="388" y="46"/>
                  </a:cubicBezTo>
                  <a:cubicBezTo>
                    <a:pt x="386" y="42"/>
                    <a:pt x="383" y="40"/>
                    <a:pt x="381" y="37"/>
                  </a:cubicBezTo>
                  <a:cubicBezTo>
                    <a:pt x="380" y="36"/>
                    <a:pt x="380" y="34"/>
                    <a:pt x="379" y="32"/>
                  </a:cubicBezTo>
                  <a:cubicBezTo>
                    <a:pt x="378" y="27"/>
                    <a:pt x="374" y="26"/>
                    <a:pt x="372" y="22"/>
                  </a:cubicBezTo>
                  <a:cubicBezTo>
                    <a:pt x="369" y="19"/>
                    <a:pt x="367" y="17"/>
                    <a:pt x="365" y="14"/>
                  </a:cubicBezTo>
                  <a:cubicBezTo>
                    <a:pt x="362" y="10"/>
                    <a:pt x="361" y="4"/>
                    <a:pt x="357" y="2"/>
                  </a:cubicBezTo>
                  <a:cubicBezTo>
                    <a:pt x="353" y="0"/>
                    <a:pt x="348" y="5"/>
                    <a:pt x="344" y="6"/>
                  </a:cubicBezTo>
                  <a:cubicBezTo>
                    <a:pt x="344" y="6"/>
                    <a:pt x="344" y="6"/>
                    <a:pt x="344" y="6"/>
                  </a:cubicBezTo>
                  <a:cubicBezTo>
                    <a:pt x="341" y="7"/>
                    <a:pt x="339" y="8"/>
                    <a:pt x="336" y="10"/>
                  </a:cubicBezTo>
                  <a:cubicBezTo>
                    <a:pt x="333" y="11"/>
                    <a:pt x="329" y="13"/>
                    <a:pt x="328" y="16"/>
                  </a:cubicBezTo>
                  <a:cubicBezTo>
                    <a:pt x="326" y="18"/>
                    <a:pt x="326" y="21"/>
                    <a:pt x="324" y="23"/>
                  </a:cubicBezTo>
                  <a:cubicBezTo>
                    <a:pt x="322" y="26"/>
                    <a:pt x="321" y="25"/>
                    <a:pt x="317" y="25"/>
                  </a:cubicBezTo>
                  <a:cubicBezTo>
                    <a:pt x="313" y="25"/>
                    <a:pt x="308" y="27"/>
                    <a:pt x="303" y="27"/>
                  </a:cubicBezTo>
                  <a:cubicBezTo>
                    <a:pt x="301" y="27"/>
                    <a:pt x="298" y="28"/>
                    <a:pt x="296" y="29"/>
                  </a:cubicBezTo>
                  <a:cubicBezTo>
                    <a:pt x="296" y="29"/>
                    <a:pt x="296" y="30"/>
                    <a:pt x="295" y="30"/>
                  </a:cubicBezTo>
                  <a:cubicBezTo>
                    <a:pt x="295" y="30"/>
                    <a:pt x="293" y="30"/>
                    <a:pt x="293" y="30"/>
                  </a:cubicBezTo>
                  <a:cubicBezTo>
                    <a:pt x="287" y="30"/>
                    <a:pt x="281" y="30"/>
                    <a:pt x="276" y="30"/>
                  </a:cubicBezTo>
                  <a:cubicBezTo>
                    <a:pt x="272" y="30"/>
                    <a:pt x="271" y="32"/>
                    <a:pt x="269" y="35"/>
                  </a:cubicBezTo>
                  <a:cubicBezTo>
                    <a:pt x="268" y="37"/>
                    <a:pt x="267" y="41"/>
                    <a:pt x="264" y="42"/>
                  </a:cubicBezTo>
                  <a:cubicBezTo>
                    <a:pt x="259" y="44"/>
                    <a:pt x="253" y="42"/>
                    <a:pt x="249" y="39"/>
                  </a:cubicBezTo>
                  <a:cubicBezTo>
                    <a:pt x="247" y="37"/>
                    <a:pt x="246" y="35"/>
                    <a:pt x="245" y="34"/>
                  </a:cubicBezTo>
                  <a:cubicBezTo>
                    <a:pt x="244" y="33"/>
                    <a:pt x="242" y="32"/>
                    <a:pt x="241" y="31"/>
                  </a:cubicBezTo>
                  <a:cubicBezTo>
                    <a:pt x="240" y="30"/>
                    <a:pt x="241" y="29"/>
                    <a:pt x="238" y="29"/>
                  </a:cubicBezTo>
                  <a:cubicBezTo>
                    <a:pt x="239" y="25"/>
                    <a:pt x="229" y="29"/>
                    <a:pt x="228" y="29"/>
                  </a:cubicBezTo>
                  <a:cubicBezTo>
                    <a:pt x="223" y="31"/>
                    <a:pt x="220" y="31"/>
                    <a:pt x="216" y="29"/>
                  </a:cubicBezTo>
                  <a:cubicBezTo>
                    <a:pt x="215" y="29"/>
                    <a:pt x="214" y="29"/>
                    <a:pt x="214" y="29"/>
                  </a:cubicBezTo>
                  <a:cubicBezTo>
                    <a:pt x="213" y="29"/>
                    <a:pt x="213" y="28"/>
                    <a:pt x="212" y="27"/>
                  </a:cubicBezTo>
                  <a:cubicBezTo>
                    <a:pt x="210" y="26"/>
                    <a:pt x="205" y="26"/>
                    <a:pt x="203" y="26"/>
                  </a:cubicBezTo>
                  <a:cubicBezTo>
                    <a:pt x="201" y="26"/>
                    <a:pt x="199" y="26"/>
                    <a:pt x="197" y="26"/>
                  </a:cubicBezTo>
                  <a:cubicBezTo>
                    <a:pt x="195" y="26"/>
                    <a:pt x="195" y="27"/>
                    <a:pt x="194" y="29"/>
                  </a:cubicBezTo>
                  <a:cubicBezTo>
                    <a:pt x="194" y="28"/>
                    <a:pt x="192" y="24"/>
                    <a:pt x="191" y="24"/>
                  </a:cubicBezTo>
                  <a:cubicBezTo>
                    <a:pt x="189" y="22"/>
                    <a:pt x="187" y="23"/>
                    <a:pt x="186" y="23"/>
                  </a:cubicBezTo>
                  <a:cubicBezTo>
                    <a:pt x="182" y="23"/>
                    <a:pt x="179" y="24"/>
                    <a:pt x="175" y="24"/>
                  </a:cubicBezTo>
                  <a:cubicBezTo>
                    <a:pt x="171" y="23"/>
                    <a:pt x="172" y="21"/>
                    <a:pt x="170" y="18"/>
                  </a:cubicBezTo>
                  <a:cubicBezTo>
                    <a:pt x="168" y="16"/>
                    <a:pt x="165" y="15"/>
                    <a:pt x="162" y="17"/>
                  </a:cubicBezTo>
                  <a:cubicBezTo>
                    <a:pt x="160" y="18"/>
                    <a:pt x="159" y="19"/>
                    <a:pt x="158" y="20"/>
                  </a:cubicBezTo>
                  <a:cubicBezTo>
                    <a:pt x="157" y="21"/>
                    <a:pt x="156" y="22"/>
                    <a:pt x="155" y="23"/>
                  </a:cubicBezTo>
                  <a:cubicBezTo>
                    <a:pt x="152" y="24"/>
                    <a:pt x="148" y="22"/>
                    <a:pt x="145" y="23"/>
                  </a:cubicBezTo>
                  <a:cubicBezTo>
                    <a:pt x="145" y="24"/>
                    <a:pt x="145" y="25"/>
                    <a:pt x="145" y="27"/>
                  </a:cubicBezTo>
                  <a:cubicBezTo>
                    <a:pt x="143" y="27"/>
                    <a:pt x="142" y="28"/>
                    <a:pt x="142" y="30"/>
                  </a:cubicBezTo>
                  <a:cubicBezTo>
                    <a:pt x="141" y="31"/>
                    <a:pt x="142" y="32"/>
                    <a:pt x="141" y="33"/>
                  </a:cubicBezTo>
                  <a:cubicBezTo>
                    <a:pt x="141" y="33"/>
                    <a:pt x="140" y="34"/>
                    <a:pt x="140" y="35"/>
                  </a:cubicBezTo>
                  <a:cubicBezTo>
                    <a:pt x="138" y="35"/>
                    <a:pt x="135" y="37"/>
                    <a:pt x="133" y="39"/>
                  </a:cubicBezTo>
                  <a:cubicBezTo>
                    <a:pt x="133" y="40"/>
                    <a:pt x="133" y="41"/>
                    <a:pt x="132" y="42"/>
                  </a:cubicBezTo>
                  <a:cubicBezTo>
                    <a:pt x="130" y="43"/>
                    <a:pt x="127" y="42"/>
                    <a:pt x="125" y="42"/>
                  </a:cubicBezTo>
                  <a:cubicBezTo>
                    <a:pt x="124" y="42"/>
                    <a:pt x="124" y="43"/>
                    <a:pt x="122" y="43"/>
                  </a:cubicBezTo>
                  <a:cubicBezTo>
                    <a:pt x="121" y="43"/>
                    <a:pt x="120" y="43"/>
                    <a:pt x="119" y="45"/>
                  </a:cubicBezTo>
                  <a:cubicBezTo>
                    <a:pt x="118" y="46"/>
                    <a:pt x="118" y="47"/>
                    <a:pt x="116" y="48"/>
                  </a:cubicBezTo>
                  <a:cubicBezTo>
                    <a:pt x="115" y="48"/>
                    <a:pt x="113" y="48"/>
                    <a:pt x="112" y="48"/>
                  </a:cubicBezTo>
                  <a:cubicBezTo>
                    <a:pt x="110" y="48"/>
                    <a:pt x="110" y="48"/>
                    <a:pt x="109" y="50"/>
                  </a:cubicBezTo>
                  <a:cubicBezTo>
                    <a:pt x="108" y="51"/>
                    <a:pt x="108" y="52"/>
                    <a:pt x="107" y="53"/>
                  </a:cubicBezTo>
                  <a:cubicBezTo>
                    <a:pt x="106" y="53"/>
                    <a:pt x="106" y="54"/>
                    <a:pt x="106" y="55"/>
                  </a:cubicBezTo>
                  <a:cubicBezTo>
                    <a:pt x="105" y="55"/>
                    <a:pt x="105" y="55"/>
                    <a:pt x="104" y="56"/>
                  </a:cubicBezTo>
                  <a:cubicBezTo>
                    <a:pt x="104" y="57"/>
                    <a:pt x="105" y="58"/>
                    <a:pt x="104" y="59"/>
                  </a:cubicBezTo>
                  <a:cubicBezTo>
                    <a:pt x="104" y="59"/>
                    <a:pt x="103" y="60"/>
                    <a:pt x="103" y="60"/>
                  </a:cubicBezTo>
                  <a:cubicBezTo>
                    <a:pt x="103" y="60"/>
                    <a:pt x="102" y="61"/>
                    <a:pt x="102" y="61"/>
                  </a:cubicBezTo>
                  <a:cubicBezTo>
                    <a:pt x="102" y="62"/>
                    <a:pt x="102" y="62"/>
                    <a:pt x="102" y="62"/>
                  </a:cubicBezTo>
                  <a:cubicBezTo>
                    <a:pt x="102" y="62"/>
                    <a:pt x="101" y="63"/>
                    <a:pt x="101" y="63"/>
                  </a:cubicBezTo>
                  <a:cubicBezTo>
                    <a:pt x="100" y="64"/>
                    <a:pt x="100" y="65"/>
                    <a:pt x="99" y="66"/>
                  </a:cubicBezTo>
                  <a:cubicBezTo>
                    <a:pt x="99" y="66"/>
                    <a:pt x="99" y="67"/>
                    <a:pt x="99" y="67"/>
                  </a:cubicBezTo>
                  <a:cubicBezTo>
                    <a:pt x="99" y="69"/>
                    <a:pt x="99" y="70"/>
                    <a:pt x="98" y="71"/>
                  </a:cubicBezTo>
                  <a:cubicBezTo>
                    <a:pt x="98" y="73"/>
                    <a:pt x="98" y="74"/>
                    <a:pt x="98" y="75"/>
                  </a:cubicBezTo>
                  <a:cubicBezTo>
                    <a:pt x="97" y="76"/>
                    <a:pt x="95" y="76"/>
                    <a:pt x="94" y="76"/>
                  </a:cubicBezTo>
                  <a:cubicBezTo>
                    <a:pt x="92" y="77"/>
                    <a:pt x="91" y="79"/>
                    <a:pt x="90" y="81"/>
                  </a:cubicBezTo>
                  <a:cubicBezTo>
                    <a:pt x="89" y="82"/>
                    <a:pt x="89" y="83"/>
                    <a:pt x="89" y="84"/>
                  </a:cubicBezTo>
                  <a:cubicBezTo>
                    <a:pt x="88" y="86"/>
                    <a:pt x="89" y="87"/>
                    <a:pt x="88" y="89"/>
                  </a:cubicBezTo>
                  <a:cubicBezTo>
                    <a:pt x="88" y="91"/>
                    <a:pt x="86" y="94"/>
                    <a:pt x="84" y="96"/>
                  </a:cubicBezTo>
                  <a:cubicBezTo>
                    <a:pt x="83" y="96"/>
                    <a:pt x="81" y="97"/>
                    <a:pt x="81" y="98"/>
                  </a:cubicBezTo>
                  <a:cubicBezTo>
                    <a:pt x="80" y="99"/>
                    <a:pt x="80" y="101"/>
                    <a:pt x="80" y="102"/>
                  </a:cubicBezTo>
                  <a:cubicBezTo>
                    <a:pt x="79" y="103"/>
                    <a:pt x="79" y="104"/>
                    <a:pt x="78" y="105"/>
                  </a:cubicBezTo>
                  <a:cubicBezTo>
                    <a:pt x="77" y="106"/>
                    <a:pt x="77" y="107"/>
                    <a:pt x="77" y="108"/>
                  </a:cubicBezTo>
                  <a:cubicBezTo>
                    <a:pt x="76" y="109"/>
                    <a:pt x="76" y="109"/>
                    <a:pt x="75" y="109"/>
                  </a:cubicBezTo>
                  <a:cubicBezTo>
                    <a:pt x="75" y="110"/>
                    <a:pt x="75" y="112"/>
                    <a:pt x="75" y="113"/>
                  </a:cubicBezTo>
                  <a:cubicBezTo>
                    <a:pt x="75" y="115"/>
                    <a:pt x="74" y="117"/>
                    <a:pt x="74" y="118"/>
                  </a:cubicBezTo>
                  <a:cubicBezTo>
                    <a:pt x="74" y="120"/>
                    <a:pt x="74" y="122"/>
                    <a:pt x="73" y="123"/>
                  </a:cubicBezTo>
                  <a:cubicBezTo>
                    <a:pt x="72" y="125"/>
                    <a:pt x="71" y="126"/>
                    <a:pt x="70" y="126"/>
                  </a:cubicBezTo>
                  <a:cubicBezTo>
                    <a:pt x="70" y="127"/>
                    <a:pt x="70" y="127"/>
                    <a:pt x="69" y="128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7" y="128"/>
                    <a:pt x="67" y="128"/>
                    <a:pt x="67" y="129"/>
                  </a:cubicBezTo>
                  <a:cubicBezTo>
                    <a:pt x="66" y="129"/>
                    <a:pt x="66" y="132"/>
                    <a:pt x="64" y="132"/>
                  </a:cubicBezTo>
                  <a:cubicBezTo>
                    <a:pt x="64" y="132"/>
                    <a:pt x="64" y="132"/>
                    <a:pt x="64" y="133"/>
                  </a:cubicBezTo>
                  <a:cubicBezTo>
                    <a:pt x="62" y="133"/>
                    <a:pt x="63" y="134"/>
                    <a:pt x="62" y="135"/>
                  </a:cubicBezTo>
                  <a:cubicBezTo>
                    <a:pt x="61" y="136"/>
                    <a:pt x="60" y="136"/>
                    <a:pt x="59" y="137"/>
                  </a:cubicBezTo>
                  <a:cubicBezTo>
                    <a:pt x="59" y="138"/>
                    <a:pt x="59" y="139"/>
                    <a:pt x="59" y="139"/>
                  </a:cubicBezTo>
                  <a:cubicBezTo>
                    <a:pt x="59" y="140"/>
                    <a:pt x="58" y="140"/>
                    <a:pt x="58" y="141"/>
                  </a:cubicBezTo>
                  <a:cubicBezTo>
                    <a:pt x="57" y="142"/>
                    <a:pt x="56" y="143"/>
                    <a:pt x="55" y="145"/>
                  </a:cubicBezTo>
                  <a:cubicBezTo>
                    <a:pt x="55" y="146"/>
                    <a:pt x="54" y="148"/>
                    <a:pt x="54" y="149"/>
                  </a:cubicBezTo>
                  <a:cubicBezTo>
                    <a:pt x="54" y="149"/>
                    <a:pt x="55" y="150"/>
                    <a:pt x="54" y="151"/>
                  </a:cubicBezTo>
                  <a:cubicBezTo>
                    <a:pt x="54" y="151"/>
                    <a:pt x="53" y="151"/>
                    <a:pt x="53" y="152"/>
                  </a:cubicBezTo>
                  <a:cubicBezTo>
                    <a:pt x="53" y="152"/>
                    <a:pt x="53" y="153"/>
                    <a:pt x="52" y="154"/>
                  </a:cubicBezTo>
                  <a:cubicBezTo>
                    <a:pt x="52" y="154"/>
                    <a:pt x="51" y="155"/>
                    <a:pt x="51" y="155"/>
                  </a:cubicBezTo>
                  <a:cubicBezTo>
                    <a:pt x="50" y="156"/>
                    <a:pt x="50" y="157"/>
                    <a:pt x="49" y="158"/>
                  </a:cubicBezTo>
                  <a:cubicBezTo>
                    <a:pt x="49" y="159"/>
                    <a:pt x="48" y="159"/>
                    <a:pt x="48" y="159"/>
                  </a:cubicBezTo>
                  <a:cubicBezTo>
                    <a:pt x="48" y="158"/>
                    <a:pt x="47" y="161"/>
                    <a:pt x="47" y="161"/>
                  </a:cubicBezTo>
                  <a:cubicBezTo>
                    <a:pt x="46" y="161"/>
                    <a:pt x="46" y="162"/>
                    <a:pt x="46" y="162"/>
                  </a:cubicBezTo>
                  <a:cubicBezTo>
                    <a:pt x="46" y="162"/>
                    <a:pt x="45" y="163"/>
                    <a:pt x="46" y="163"/>
                  </a:cubicBezTo>
                  <a:cubicBezTo>
                    <a:pt x="45" y="164"/>
                    <a:pt x="45" y="165"/>
                    <a:pt x="43" y="166"/>
                  </a:cubicBezTo>
                  <a:cubicBezTo>
                    <a:pt x="42" y="166"/>
                    <a:pt x="40" y="166"/>
                    <a:pt x="38" y="166"/>
                  </a:cubicBezTo>
                  <a:cubicBezTo>
                    <a:pt x="37" y="166"/>
                    <a:pt x="36" y="166"/>
                    <a:pt x="34" y="165"/>
                  </a:cubicBezTo>
                  <a:cubicBezTo>
                    <a:pt x="33" y="164"/>
                    <a:pt x="32" y="164"/>
                    <a:pt x="31" y="164"/>
                  </a:cubicBezTo>
                  <a:cubicBezTo>
                    <a:pt x="28" y="164"/>
                    <a:pt x="27" y="167"/>
                    <a:pt x="26" y="168"/>
                  </a:cubicBezTo>
                  <a:cubicBezTo>
                    <a:pt x="22" y="177"/>
                    <a:pt x="12" y="171"/>
                    <a:pt x="5" y="172"/>
                  </a:cubicBezTo>
                  <a:cubicBezTo>
                    <a:pt x="4" y="172"/>
                    <a:pt x="4" y="173"/>
                    <a:pt x="2" y="173"/>
                  </a:cubicBezTo>
                  <a:cubicBezTo>
                    <a:pt x="2" y="173"/>
                    <a:pt x="1" y="173"/>
                    <a:pt x="0" y="173"/>
                  </a:cubicBezTo>
                  <a:cubicBezTo>
                    <a:pt x="5" y="182"/>
                    <a:pt x="5" y="182"/>
                    <a:pt x="5" y="182"/>
                  </a:cubicBezTo>
                  <a:cubicBezTo>
                    <a:pt x="5" y="184"/>
                    <a:pt x="4" y="186"/>
                    <a:pt x="6" y="188"/>
                  </a:cubicBezTo>
                  <a:cubicBezTo>
                    <a:pt x="6" y="189"/>
                    <a:pt x="7" y="189"/>
                    <a:pt x="8" y="189"/>
                  </a:cubicBezTo>
                  <a:cubicBezTo>
                    <a:pt x="10" y="190"/>
                    <a:pt x="13" y="190"/>
                    <a:pt x="14" y="193"/>
                  </a:cubicBezTo>
                  <a:cubicBezTo>
                    <a:pt x="14" y="195"/>
                    <a:pt x="14" y="194"/>
                    <a:pt x="16" y="195"/>
                  </a:cubicBezTo>
                  <a:cubicBezTo>
                    <a:pt x="17" y="195"/>
                    <a:pt x="18" y="196"/>
                    <a:pt x="18" y="197"/>
                  </a:cubicBezTo>
                  <a:cubicBezTo>
                    <a:pt x="19" y="198"/>
                    <a:pt x="18" y="198"/>
                    <a:pt x="19" y="199"/>
                  </a:cubicBezTo>
                  <a:cubicBezTo>
                    <a:pt x="19" y="199"/>
                    <a:pt x="20" y="200"/>
                    <a:pt x="20" y="200"/>
                  </a:cubicBezTo>
                  <a:cubicBezTo>
                    <a:pt x="20" y="201"/>
                    <a:pt x="21" y="203"/>
                    <a:pt x="22" y="203"/>
                  </a:cubicBezTo>
                  <a:cubicBezTo>
                    <a:pt x="23" y="203"/>
                    <a:pt x="23" y="202"/>
                    <a:pt x="24" y="202"/>
                  </a:cubicBezTo>
                  <a:cubicBezTo>
                    <a:pt x="24" y="201"/>
                    <a:pt x="25" y="202"/>
                    <a:pt x="26" y="202"/>
                  </a:cubicBezTo>
                  <a:cubicBezTo>
                    <a:pt x="27" y="202"/>
                    <a:pt x="28" y="202"/>
                    <a:pt x="29" y="203"/>
                  </a:cubicBezTo>
                  <a:cubicBezTo>
                    <a:pt x="30" y="205"/>
                    <a:pt x="29" y="208"/>
                    <a:pt x="29" y="210"/>
                  </a:cubicBezTo>
                  <a:cubicBezTo>
                    <a:pt x="29" y="211"/>
                    <a:pt x="29" y="213"/>
                    <a:pt x="29" y="214"/>
                  </a:cubicBezTo>
                  <a:cubicBezTo>
                    <a:pt x="29" y="215"/>
                    <a:pt x="28" y="215"/>
                    <a:pt x="28" y="216"/>
                  </a:cubicBezTo>
                  <a:cubicBezTo>
                    <a:pt x="27" y="218"/>
                    <a:pt x="28" y="222"/>
                    <a:pt x="30" y="222"/>
                  </a:cubicBezTo>
                  <a:cubicBezTo>
                    <a:pt x="31" y="223"/>
                    <a:pt x="28" y="225"/>
                    <a:pt x="27" y="226"/>
                  </a:cubicBezTo>
                  <a:cubicBezTo>
                    <a:pt x="27" y="227"/>
                    <a:pt x="27" y="228"/>
                    <a:pt x="28" y="229"/>
                  </a:cubicBezTo>
                  <a:cubicBezTo>
                    <a:pt x="28" y="231"/>
                    <a:pt x="29" y="231"/>
                    <a:pt x="31" y="231"/>
                  </a:cubicBezTo>
                  <a:cubicBezTo>
                    <a:pt x="34" y="232"/>
                    <a:pt x="34" y="232"/>
                    <a:pt x="34" y="235"/>
                  </a:cubicBezTo>
                  <a:cubicBezTo>
                    <a:pt x="34" y="236"/>
                    <a:pt x="34" y="237"/>
                    <a:pt x="34" y="238"/>
                  </a:cubicBezTo>
                  <a:cubicBezTo>
                    <a:pt x="35" y="239"/>
                    <a:pt x="36" y="240"/>
                    <a:pt x="38" y="241"/>
                  </a:cubicBezTo>
                  <a:cubicBezTo>
                    <a:pt x="44" y="243"/>
                    <a:pt x="50" y="243"/>
                    <a:pt x="57" y="243"/>
                  </a:cubicBezTo>
                  <a:cubicBezTo>
                    <a:pt x="58" y="243"/>
                    <a:pt x="59" y="243"/>
                    <a:pt x="60" y="244"/>
                  </a:cubicBezTo>
                  <a:cubicBezTo>
                    <a:pt x="61" y="245"/>
                    <a:pt x="61" y="245"/>
                    <a:pt x="61" y="246"/>
                  </a:cubicBezTo>
                  <a:cubicBezTo>
                    <a:pt x="62" y="246"/>
                    <a:pt x="63" y="246"/>
                    <a:pt x="63" y="247"/>
                  </a:cubicBezTo>
                  <a:cubicBezTo>
                    <a:pt x="64" y="248"/>
                    <a:pt x="63" y="248"/>
                    <a:pt x="62" y="249"/>
                  </a:cubicBezTo>
                  <a:cubicBezTo>
                    <a:pt x="62" y="250"/>
                    <a:pt x="62" y="251"/>
                    <a:pt x="63" y="252"/>
                  </a:cubicBezTo>
                  <a:cubicBezTo>
                    <a:pt x="64" y="253"/>
                    <a:pt x="65" y="253"/>
                    <a:pt x="65" y="254"/>
                  </a:cubicBezTo>
                  <a:cubicBezTo>
                    <a:pt x="65" y="255"/>
                    <a:pt x="64" y="256"/>
                    <a:pt x="63" y="257"/>
                  </a:cubicBezTo>
                  <a:cubicBezTo>
                    <a:pt x="62" y="258"/>
                    <a:pt x="61" y="258"/>
                    <a:pt x="61" y="260"/>
                  </a:cubicBezTo>
                  <a:cubicBezTo>
                    <a:pt x="61" y="260"/>
                    <a:pt x="61" y="261"/>
                    <a:pt x="60" y="261"/>
                  </a:cubicBezTo>
                  <a:cubicBezTo>
                    <a:pt x="60" y="262"/>
                    <a:pt x="60" y="262"/>
                    <a:pt x="60" y="262"/>
                  </a:cubicBezTo>
                  <a:cubicBezTo>
                    <a:pt x="59" y="263"/>
                    <a:pt x="58" y="263"/>
                    <a:pt x="58" y="264"/>
                  </a:cubicBezTo>
                  <a:cubicBezTo>
                    <a:pt x="57" y="265"/>
                    <a:pt x="58" y="268"/>
                    <a:pt x="59" y="269"/>
                  </a:cubicBezTo>
                  <a:cubicBezTo>
                    <a:pt x="60" y="270"/>
                    <a:pt x="62" y="270"/>
                    <a:pt x="63" y="271"/>
                  </a:cubicBezTo>
                  <a:cubicBezTo>
                    <a:pt x="63" y="271"/>
                    <a:pt x="64" y="272"/>
                    <a:pt x="65" y="273"/>
                  </a:cubicBezTo>
                  <a:cubicBezTo>
                    <a:pt x="66" y="274"/>
                    <a:pt x="67" y="277"/>
                    <a:pt x="65" y="278"/>
                  </a:cubicBezTo>
                  <a:cubicBezTo>
                    <a:pt x="64" y="278"/>
                    <a:pt x="62" y="277"/>
                    <a:pt x="60" y="278"/>
                  </a:cubicBezTo>
                  <a:cubicBezTo>
                    <a:pt x="59" y="278"/>
                    <a:pt x="59" y="279"/>
                    <a:pt x="58" y="280"/>
                  </a:cubicBezTo>
                  <a:cubicBezTo>
                    <a:pt x="57" y="281"/>
                    <a:pt x="56" y="281"/>
                    <a:pt x="57" y="282"/>
                  </a:cubicBezTo>
                  <a:cubicBezTo>
                    <a:pt x="57" y="283"/>
                    <a:pt x="57" y="284"/>
                    <a:pt x="58" y="285"/>
                  </a:cubicBezTo>
                  <a:cubicBezTo>
                    <a:pt x="59" y="285"/>
                    <a:pt x="60" y="285"/>
                    <a:pt x="61" y="285"/>
                  </a:cubicBezTo>
                  <a:cubicBezTo>
                    <a:pt x="62" y="285"/>
                    <a:pt x="65" y="285"/>
                    <a:pt x="65" y="285"/>
                  </a:cubicBezTo>
                  <a:cubicBezTo>
                    <a:pt x="66" y="286"/>
                    <a:pt x="66" y="286"/>
                    <a:pt x="66" y="287"/>
                  </a:cubicBezTo>
                  <a:cubicBezTo>
                    <a:pt x="66" y="287"/>
                    <a:pt x="67" y="288"/>
                    <a:pt x="67" y="288"/>
                  </a:cubicBezTo>
                  <a:cubicBezTo>
                    <a:pt x="67" y="289"/>
                    <a:pt x="67" y="289"/>
                    <a:pt x="67" y="290"/>
                  </a:cubicBezTo>
                  <a:cubicBezTo>
                    <a:pt x="68" y="291"/>
                    <a:pt x="69" y="291"/>
                    <a:pt x="70" y="292"/>
                  </a:cubicBezTo>
                  <a:cubicBezTo>
                    <a:pt x="70" y="292"/>
                    <a:pt x="71" y="292"/>
                    <a:pt x="71" y="292"/>
                  </a:cubicBezTo>
                  <a:cubicBezTo>
                    <a:pt x="71" y="292"/>
                    <a:pt x="71" y="292"/>
                    <a:pt x="71" y="292"/>
                  </a:cubicBezTo>
                  <a:cubicBezTo>
                    <a:pt x="74" y="293"/>
                    <a:pt x="77" y="294"/>
                    <a:pt x="80" y="295"/>
                  </a:cubicBezTo>
                  <a:cubicBezTo>
                    <a:pt x="83" y="296"/>
                    <a:pt x="85" y="298"/>
                    <a:pt x="87" y="300"/>
                  </a:cubicBezTo>
                  <a:cubicBezTo>
                    <a:pt x="88" y="300"/>
                    <a:pt x="89" y="301"/>
                    <a:pt x="90" y="301"/>
                  </a:cubicBezTo>
                  <a:cubicBezTo>
                    <a:pt x="91" y="302"/>
                    <a:pt x="92" y="302"/>
                    <a:pt x="93" y="303"/>
                  </a:cubicBezTo>
                  <a:cubicBezTo>
                    <a:pt x="93" y="303"/>
                    <a:pt x="93" y="305"/>
                    <a:pt x="94" y="305"/>
                  </a:cubicBezTo>
                  <a:cubicBezTo>
                    <a:pt x="94" y="307"/>
                    <a:pt x="94" y="307"/>
                    <a:pt x="96" y="307"/>
                  </a:cubicBezTo>
                  <a:cubicBezTo>
                    <a:pt x="99" y="308"/>
                    <a:pt x="100" y="308"/>
                    <a:pt x="102" y="306"/>
                  </a:cubicBezTo>
                  <a:cubicBezTo>
                    <a:pt x="103" y="305"/>
                    <a:pt x="103" y="306"/>
                    <a:pt x="104" y="304"/>
                  </a:cubicBezTo>
                  <a:cubicBezTo>
                    <a:pt x="104" y="304"/>
                    <a:pt x="104" y="303"/>
                    <a:pt x="104" y="303"/>
                  </a:cubicBezTo>
                  <a:cubicBezTo>
                    <a:pt x="105" y="302"/>
                    <a:pt x="105" y="301"/>
                    <a:pt x="105" y="301"/>
                  </a:cubicBezTo>
                  <a:cubicBezTo>
                    <a:pt x="106" y="300"/>
                    <a:pt x="106" y="299"/>
                    <a:pt x="107" y="299"/>
                  </a:cubicBezTo>
                  <a:cubicBezTo>
                    <a:pt x="109" y="297"/>
                    <a:pt x="109" y="294"/>
                    <a:pt x="112" y="293"/>
                  </a:cubicBezTo>
                  <a:cubicBezTo>
                    <a:pt x="115" y="292"/>
                    <a:pt x="117" y="295"/>
                    <a:pt x="120" y="296"/>
                  </a:cubicBezTo>
                  <a:cubicBezTo>
                    <a:pt x="123" y="298"/>
                    <a:pt x="125" y="298"/>
                    <a:pt x="128" y="300"/>
                  </a:cubicBezTo>
                  <a:cubicBezTo>
                    <a:pt x="130" y="301"/>
                    <a:pt x="133" y="302"/>
                    <a:pt x="132" y="305"/>
                  </a:cubicBezTo>
                  <a:cubicBezTo>
                    <a:pt x="131" y="307"/>
                    <a:pt x="128" y="307"/>
                    <a:pt x="125" y="307"/>
                  </a:cubicBezTo>
                  <a:cubicBezTo>
                    <a:pt x="124" y="308"/>
                    <a:pt x="123" y="308"/>
                    <a:pt x="122" y="309"/>
                  </a:cubicBezTo>
                  <a:cubicBezTo>
                    <a:pt x="121" y="309"/>
                    <a:pt x="121" y="309"/>
                    <a:pt x="120" y="310"/>
                  </a:cubicBezTo>
                  <a:cubicBezTo>
                    <a:pt x="120" y="310"/>
                    <a:pt x="118" y="310"/>
                    <a:pt x="118" y="311"/>
                  </a:cubicBezTo>
                  <a:cubicBezTo>
                    <a:pt x="118" y="312"/>
                    <a:pt x="118" y="312"/>
                    <a:pt x="118" y="313"/>
                  </a:cubicBezTo>
                  <a:cubicBezTo>
                    <a:pt x="117" y="313"/>
                    <a:pt x="117" y="313"/>
                    <a:pt x="116" y="314"/>
                  </a:cubicBezTo>
                  <a:cubicBezTo>
                    <a:pt x="116" y="315"/>
                    <a:pt x="117" y="315"/>
                    <a:pt x="117" y="316"/>
                  </a:cubicBezTo>
                  <a:cubicBezTo>
                    <a:pt x="117" y="317"/>
                    <a:pt x="118" y="318"/>
                    <a:pt x="119" y="318"/>
                  </a:cubicBezTo>
                  <a:cubicBezTo>
                    <a:pt x="119" y="319"/>
                    <a:pt x="118" y="321"/>
                    <a:pt x="119" y="322"/>
                  </a:cubicBezTo>
                  <a:cubicBezTo>
                    <a:pt x="120" y="323"/>
                    <a:pt x="121" y="323"/>
                    <a:pt x="122" y="324"/>
                  </a:cubicBezTo>
                  <a:cubicBezTo>
                    <a:pt x="122" y="324"/>
                    <a:pt x="123" y="325"/>
                    <a:pt x="123" y="326"/>
                  </a:cubicBezTo>
                  <a:cubicBezTo>
                    <a:pt x="125" y="327"/>
                    <a:pt x="126" y="329"/>
                    <a:pt x="126" y="331"/>
                  </a:cubicBezTo>
                  <a:cubicBezTo>
                    <a:pt x="126" y="332"/>
                    <a:pt x="126" y="333"/>
                    <a:pt x="126" y="334"/>
                  </a:cubicBezTo>
                  <a:cubicBezTo>
                    <a:pt x="128" y="334"/>
                    <a:pt x="130" y="335"/>
                    <a:pt x="132" y="335"/>
                  </a:cubicBezTo>
                  <a:cubicBezTo>
                    <a:pt x="134" y="336"/>
                    <a:pt x="135" y="337"/>
                    <a:pt x="136" y="338"/>
                  </a:cubicBezTo>
                  <a:cubicBezTo>
                    <a:pt x="139" y="340"/>
                    <a:pt x="144" y="341"/>
                    <a:pt x="145" y="344"/>
                  </a:cubicBezTo>
                  <a:cubicBezTo>
                    <a:pt x="146" y="347"/>
                    <a:pt x="143" y="348"/>
                    <a:pt x="141" y="349"/>
                  </a:cubicBezTo>
                  <a:cubicBezTo>
                    <a:pt x="140" y="350"/>
                    <a:pt x="138" y="351"/>
                    <a:pt x="137" y="352"/>
                  </a:cubicBezTo>
                  <a:cubicBezTo>
                    <a:pt x="136" y="352"/>
                    <a:pt x="136" y="355"/>
                    <a:pt x="136" y="356"/>
                  </a:cubicBezTo>
                  <a:cubicBezTo>
                    <a:pt x="136" y="358"/>
                    <a:pt x="136" y="363"/>
                    <a:pt x="138" y="365"/>
                  </a:cubicBezTo>
                  <a:cubicBezTo>
                    <a:pt x="140" y="366"/>
                    <a:pt x="141" y="366"/>
                    <a:pt x="143" y="366"/>
                  </a:cubicBezTo>
                  <a:cubicBezTo>
                    <a:pt x="145" y="366"/>
                    <a:pt x="146" y="367"/>
                    <a:pt x="148" y="367"/>
                  </a:cubicBezTo>
                  <a:cubicBezTo>
                    <a:pt x="151" y="368"/>
                    <a:pt x="153" y="364"/>
                    <a:pt x="157" y="364"/>
                  </a:cubicBezTo>
                  <a:cubicBezTo>
                    <a:pt x="162" y="364"/>
                    <a:pt x="166" y="365"/>
                    <a:pt x="171" y="365"/>
                  </a:cubicBezTo>
                  <a:cubicBezTo>
                    <a:pt x="174" y="365"/>
                    <a:pt x="177" y="365"/>
                    <a:pt x="180" y="367"/>
                  </a:cubicBezTo>
                  <a:cubicBezTo>
                    <a:pt x="182" y="367"/>
                    <a:pt x="183" y="368"/>
                    <a:pt x="185" y="369"/>
                  </a:cubicBezTo>
                  <a:cubicBezTo>
                    <a:pt x="186" y="369"/>
                    <a:pt x="188" y="369"/>
                    <a:pt x="189" y="370"/>
                  </a:cubicBezTo>
                  <a:cubicBezTo>
                    <a:pt x="192" y="371"/>
                    <a:pt x="194" y="372"/>
                    <a:pt x="197" y="373"/>
                  </a:cubicBezTo>
                  <a:cubicBezTo>
                    <a:pt x="198" y="374"/>
                    <a:pt x="200" y="375"/>
                    <a:pt x="201" y="375"/>
                  </a:cubicBezTo>
                  <a:cubicBezTo>
                    <a:pt x="202" y="375"/>
                    <a:pt x="202" y="374"/>
                    <a:pt x="203" y="374"/>
                  </a:cubicBezTo>
                  <a:cubicBezTo>
                    <a:pt x="207" y="374"/>
                    <a:pt x="209" y="378"/>
                    <a:pt x="213" y="379"/>
                  </a:cubicBezTo>
                  <a:cubicBezTo>
                    <a:pt x="215" y="379"/>
                    <a:pt x="219" y="379"/>
                    <a:pt x="221" y="378"/>
                  </a:cubicBezTo>
                  <a:cubicBezTo>
                    <a:pt x="223" y="377"/>
                    <a:pt x="225" y="375"/>
                    <a:pt x="228" y="375"/>
                  </a:cubicBezTo>
                  <a:cubicBezTo>
                    <a:pt x="232" y="374"/>
                    <a:pt x="236" y="375"/>
                    <a:pt x="240" y="376"/>
                  </a:cubicBezTo>
                  <a:cubicBezTo>
                    <a:pt x="242" y="376"/>
                    <a:pt x="244" y="376"/>
                    <a:pt x="246" y="375"/>
                  </a:cubicBezTo>
                  <a:cubicBezTo>
                    <a:pt x="248" y="374"/>
                    <a:pt x="248" y="373"/>
                    <a:pt x="251" y="374"/>
                  </a:cubicBezTo>
                  <a:cubicBezTo>
                    <a:pt x="253" y="375"/>
                    <a:pt x="255" y="378"/>
                    <a:pt x="257" y="378"/>
                  </a:cubicBezTo>
                  <a:cubicBezTo>
                    <a:pt x="259" y="378"/>
                    <a:pt x="261" y="378"/>
                    <a:pt x="263" y="378"/>
                  </a:cubicBezTo>
                  <a:cubicBezTo>
                    <a:pt x="266" y="379"/>
                    <a:pt x="269" y="380"/>
                    <a:pt x="271" y="381"/>
                  </a:cubicBezTo>
                  <a:cubicBezTo>
                    <a:pt x="272" y="381"/>
                    <a:pt x="273" y="382"/>
                    <a:pt x="274" y="382"/>
                  </a:cubicBezTo>
                  <a:cubicBezTo>
                    <a:pt x="275" y="382"/>
                    <a:pt x="275" y="382"/>
                    <a:pt x="275" y="382"/>
                  </a:cubicBezTo>
                  <a:cubicBezTo>
                    <a:pt x="278" y="382"/>
                    <a:pt x="281" y="384"/>
                    <a:pt x="283" y="384"/>
                  </a:cubicBezTo>
                  <a:cubicBezTo>
                    <a:pt x="285" y="384"/>
                    <a:pt x="285" y="384"/>
                    <a:pt x="286" y="383"/>
                  </a:cubicBezTo>
                  <a:cubicBezTo>
                    <a:pt x="288" y="382"/>
                    <a:pt x="289" y="382"/>
                    <a:pt x="290" y="381"/>
                  </a:cubicBezTo>
                  <a:cubicBezTo>
                    <a:pt x="292" y="379"/>
                    <a:pt x="293" y="379"/>
                    <a:pt x="295" y="379"/>
                  </a:cubicBezTo>
                  <a:cubicBezTo>
                    <a:pt x="297" y="379"/>
                    <a:pt x="299" y="380"/>
                    <a:pt x="300" y="378"/>
                  </a:cubicBezTo>
                  <a:cubicBezTo>
                    <a:pt x="301" y="377"/>
                    <a:pt x="300" y="376"/>
                    <a:pt x="300" y="375"/>
                  </a:cubicBezTo>
                  <a:cubicBezTo>
                    <a:pt x="301" y="373"/>
                    <a:pt x="304" y="372"/>
                    <a:pt x="305" y="371"/>
                  </a:cubicBezTo>
                  <a:cubicBezTo>
                    <a:pt x="307" y="370"/>
                    <a:pt x="308" y="369"/>
                    <a:pt x="308" y="367"/>
                  </a:cubicBezTo>
                  <a:cubicBezTo>
                    <a:pt x="308" y="366"/>
                    <a:pt x="308" y="365"/>
                    <a:pt x="308" y="364"/>
                  </a:cubicBezTo>
                  <a:cubicBezTo>
                    <a:pt x="309" y="363"/>
                    <a:pt x="311" y="362"/>
                    <a:pt x="313" y="361"/>
                  </a:cubicBezTo>
                  <a:cubicBezTo>
                    <a:pt x="314" y="360"/>
                    <a:pt x="315" y="359"/>
                    <a:pt x="316" y="359"/>
                  </a:cubicBezTo>
                  <a:cubicBezTo>
                    <a:pt x="318" y="357"/>
                    <a:pt x="321" y="357"/>
                    <a:pt x="324" y="356"/>
                  </a:cubicBezTo>
                  <a:cubicBezTo>
                    <a:pt x="326" y="355"/>
                    <a:pt x="328" y="355"/>
                    <a:pt x="331" y="355"/>
                  </a:cubicBezTo>
                  <a:cubicBezTo>
                    <a:pt x="333" y="354"/>
                    <a:pt x="334" y="354"/>
                    <a:pt x="335" y="353"/>
                  </a:cubicBezTo>
                  <a:cubicBezTo>
                    <a:pt x="338" y="352"/>
                    <a:pt x="341" y="350"/>
                    <a:pt x="344" y="350"/>
                  </a:cubicBezTo>
                  <a:cubicBezTo>
                    <a:pt x="346" y="350"/>
                    <a:pt x="349" y="350"/>
                    <a:pt x="351" y="350"/>
                  </a:cubicBezTo>
                  <a:cubicBezTo>
                    <a:pt x="354" y="350"/>
                    <a:pt x="356" y="350"/>
                    <a:pt x="358" y="349"/>
                  </a:cubicBezTo>
                  <a:cubicBezTo>
                    <a:pt x="361" y="348"/>
                    <a:pt x="363" y="347"/>
                    <a:pt x="366" y="345"/>
                  </a:cubicBezTo>
                  <a:cubicBezTo>
                    <a:pt x="368" y="344"/>
                    <a:pt x="370" y="342"/>
                    <a:pt x="373" y="343"/>
                  </a:cubicBezTo>
                  <a:cubicBezTo>
                    <a:pt x="374" y="343"/>
                    <a:pt x="376" y="344"/>
                    <a:pt x="377" y="345"/>
                  </a:cubicBezTo>
                  <a:cubicBezTo>
                    <a:pt x="378" y="345"/>
                    <a:pt x="380" y="346"/>
                    <a:pt x="382" y="347"/>
                  </a:cubicBezTo>
                  <a:cubicBezTo>
                    <a:pt x="383" y="348"/>
                    <a:pt x="383" y="349"/>
                    <a:pt x="384" y="350"/>
                  </a:cubicBezTo>
                  <a:cubicBezTo>
                    <a:pt x="385" y="351"/>
                    <a:pt x="386" y="351"/>
                    <a:pt x="387" y="352"/>
                  </a:cubicBezTo>
                  <a:cubicBezTo>
                    <a:pt x="388" y="352"/>
                    <a:pt x="389" y="353"/>
                    <a:pt x="390" y="353"/>
                  </a:cubicBezTo>
                  <a:cubicBezTo>
                    <a:pt x="390" y="353"/>
                    <a:pt x="392" y="353"/>
                    <a:pt x="393" y="353"/>
                  </a:cubicBezTo>
                  <a:cubicBezTo>
                    <a:pt x="394" y="353"/>
                    <a:pt x="396" y="354"/>
                    <a:pt x="397" y="355"/>
                  </a:cubicBezTo>
                  <a:cubicBezTo>
                    <a:pt x="398" y="355"/>
                    <a:pt x="398" y="355"/>
                    <a:pt x="399" y="355"/>
                  </a:cubicBezTo>
                  <a:cubicBezTo>
                    <a:pt x="399" y="355"/>
                    <a:pt x="401" y="354"/>
                    <a:pt x="401" y="354"/>
                  </a:cubicBezTo>
                  <a:cubicBezTo>
                    <a:pt x="402" y="354"/>
                    <a:pt x="403" y="354"/>
                    <a:pt x="404" y="354"/>
                  </a:cubicBezTo>
                  <a:cubicBezTo>
                    <a:pt x="407" y="354"/>
                    <a:pt x="406" y="354"/>
                    <a:pt x="407" y="356"/>
                  </a:cubicBezTo>
                  <a:cubicBezTo>
                    <a:pt x="407" y="357"/>
                    <a:pt x="408" y="357"/>
                    <a:pt x="408" y="358"/>
                  </a:cubicBezTo>
                  <a:cubicBezTo>
                    <a:pt x="409" y="358"/>
                    <a:pt x="410" y="360"/>
                    <a:pt x="410" y="360"/>
                  </a:cubicBezTo>
                  <a:cubicBezTo>
                    <a:pt x="411" y="360"/>
                    <a:pt x="413" y="360"/>
                    <a:pt x="414" y="360"/>
                  </a:cubicBezTo>
                  <a:cubicBezTo>
                    <a:pt x="415" y="359"/>
                    <a:pt x="420" y="355"/>
                    <a:pt x="421" y="357"/>
                  </a:cubicBezTo>
                  <a:cubicBezTo>
                    <a:pt x="421" y="358"/>
                    <a:pt x="421" y="358"/>
                    <a:pt x="421" y="359"/>
                  </a:cubicBezTo>
                  <a:cubicBezTo>
                    <a:pt x="421" y="359"/>
                    <a:pt x="421" y="360"/>
                    <a:pt x="422" y="360"/>
                  </a:cubicBezTo>
                  <a:cubicBezTo>
                    <a:pt x="423" y="362"/>
                    <a:pt x="423" y="362"/>
                    <a:pt x="423" y="364"/>
                  </a:cubicBezTo>
                  <a:cubicBezTo>
                    <a:pt x="424" y="365"/>
                    <a:pt x="423" y="366"/>
                    <a:pt x="424" y="367"/>
                  </a:cubicBezTo>
                  <a:cubicBezTo>
                    <a:pt x="425" y="368"/>
                    <a:pt x="425" y="368"/>
                    <a:pt x="426" y="368"/>
                  </a:cubicBezTo>
                  <a:cubicBezTo>
                    <a:pt x="426" y="368"/>
                    <a:pt x="426" y="369"/>
                    <a:pt x="426" y="369"/>
                  </a:cubicBezTo>
                  <a:cubicBezTo>
                    <a:pt x="427" y="370"/>
                    <a:pt x="428" y="370"/>
                    <a:pt x="428" y="372"/>
                  </a:cubicBezTo>
                  <a:cubicBezTo>
                    <a:pt x="429" y="372"/>
                    <a:pt x="428" y="373"/>
                    <a:pt x="429" y="373"/>
                  </a:cubicBezTo>
                  <a:cubicBezTo>
                    <a:pt x="429" y="374"/>
                    <a:pt x="430" y="375"/>
                    <a:pt x="431" y="375"/>
                  </a:cubicBezTo>
                  <a:cubicBezTo>
                    <a:pt x="433" y="376"/>
                    <a:pt x="436" y="376"/>
                    <a:pt x="439" y="377"/>
                  </a:cubicBezTo>
                  <a:cubicBezTo>
                    <a:pt x="441" y="377"/>
                    <a:pt x="443" y="378"/>
                    <a:pt x="446" y="379"/>
                  </a:cubicBezTo>
                  <a:cubicBezTo>
                    <a:pt x="449" y="379"/>
                    <a:pt x="452" y="379"/>
                    <a:pt x="456" y="379"/>
                  </a:cubicBezTo>
                  <a:cubicBezTo>
                    <a:pt x="456" y="379"/>
                    <a:pt x="456" y="379"/>
                    <a:pt x="456" y="379"/>
                  </a:cubicBezTo>
                  <a:cubicBezTo>
                    <a:pt x="456" y="379"/>
                    <a:pt x="455" y="379"/>
                    <a:pt x="455" y="379"/>
                  </a:cubicBezTo>
                  <a:cubicBezTo>
                    <a:pt x="456" y="379"/>
                    <a:pt x="456" y="379"/>
                    <a:pt x="456" y="379"/>
                  </a:cubicBezTo>
                  <a:cubicBezTo>
                    <a:pt x="456" y="378"/>
                    <a:pt x="456" y="377"/>
                    <a:pt x="456" y="376"/>
                  </a:cubicBezTo>
                  <a:cubicBezTo>
                    <a:pt x="457" y="372"/>
                    <a:pt x="458" y="369"/>
                    <a:pt x="458" y="366"/>
                  </a:cubicBezTo>
                  <a:cubicBezTo>
                    <a:pt x="458" y="362"/>
                    <a:pt x="458" y="359"/>
                    <a:pt x="458" y="356"/>
                  </a:cubicBezTo>
                  <a:cubicBezTo>
                    <a:pt x="458" y="347"/>
                    <a:pt x="457" y="340"/>
                    <a:pt x="462" y="332"/>
                  </a:cubicBezTo>
                  <a:cubicBezTo>
                    <a:pt x="465" y="330"/>
                    <a:pt x="466" y="328"/>
                    <a:pt x="466" y="325"/>
                  </a:cubicBezTo>
                  <a:cubicBezTo>
                    <a:pt x="466" y="323"/>
                    <a:pt x="466" y="322"/>
                    <a:pt x="466" y="321"/>
                  </a:cubicBezTo>
                  <a:cubicBezTo>
                    <a:pt x="466" y="321"/>
                    <a:pt x="467" y="319"/>
                    <a:pt x="467" y="319"/>
                  </a:cubicBezTo>
                  <a:cubicBezTo>
                    <a:pt x="467" y="318"/>
                    <a:pt x="467" y="317"/>
                    <a:pt x="468" y="316"/>
                  </a:cubicBezTo>
                  <a:cubicBezTo>
                    <a:pt x="469" y="314"/>
                    <a:pt x="469" y="312"/>
                    <a:pt x="469" y="309"/>
                  </a:cubicBezTo>
                  <a:cubicBezTo>
                    <a:pt x="469" y="308"/>
                    <a:pt x="468" y="306"/>
                    <a:pt x="467" y="305"/>
                  </a:cubicBezTo>
                  <a:cubicBezTo>
                    <a:pt x="466" y="304"/>
                    <a:pt x="465" y="304"/>
                    <a:pt x="464" y="302"/>
                  </a:cubicBezTo>
                  <a:cubicBezTo>
                    <a:pt x="466" y="302"/>
                    <a:pt x="468" y="302"/>
                    <a:pt x="470" y="302"/>
                  </a:cubicBezTo>
                  <a:cubicBezTo>
                    <a:pt x="472" y="302"/>
                    <a:pt x="472" y="301"/>
                    <a:pt x="474" y="299"/>
                  </a:cubicBezTo>
                  <a:cubicBezTo>
                    <a:pt x="475" y="297"/>
                    <a:pt x="476" y="296"/>
                    <a:pt x="476" y="294"/>
                  </a:cubicBezTo>
                  <a:cubicBezTo>
                    <a:pt x="476" y="291"/>
                    <a:pt x="473" y="290"/>
                    <a:pt x="472" y="288"/>
                  </a:cubicBezTo>
                  <a:cubicBezTo>
                    <a:pt x="471" y="284"/>
                    <a:pt x="472" y="279"/>
                    <a:pt x="475" y="278"/>
                  </a:cubicBezTo>
                  <a:cubicBezTo>
                    <a:pt x="477" y="277"/>
                    <a:pt x="479" y="278"/>
                    <a:pt x="481" y="277"/>
                  </a:cubicBezTo>
                  <a:cubicBezTo>
                    <a:pt x="483" y="277"/>
                    <a:pt x="482" y="274"/>
                    <a:pt x="484" y="274"/>
                  </a:cubicBezTo>
                  <a:cubicBezTo>
                    <a:pt x="485" y="279"/>
                    <a:pt x="479" y="280"/>
                    <a:pt x="478" y="285"/>
                  </a:cubicBezTo>
                  <a:cubicBezTo>
                    <a:pt x="477" y="290"/>
                    <a:pt x="488" y="288"/>
                    <a:pt x="491" y="289"/>
                  </a:cubicBezTo>
                  <a:cubicBezTo>
                    <a:pt x="492" y="289"/>
                    <a:pt x="493" y="288"/>
                    <a:pt x="494" y="289"/>
                  </a:cubicBezTo>
                  <a:cubicBezTo>
                    <a:pt x="494" y="290"/>
                    <a:pt x="494" y="291"/>
                    <a:pt x="494" y="292"/>
                  </a:cubicBezTo>
                  <a:cubicBezTo>
                    <a:pt x="496" y="293"/>
                    <a:pt x="500" y="292"/>
                    <a:pt x="502" y="292"/>
                  </a:cubicBezTo>
                  <a:cubicBezTo>
                    <a:pt x="507" y="292"/>
                    <a:pt x="512" y="292"/>
                    <a:pt x="515" y="288"/>
                  </a:cubicBezTo>
                  <a:cubicBezTo>
                    <a:pt x="516" y="287"/>
                    <a:pt x="516" y="286"/>
                    <a:pt x="517" y="285"/>
                  </a:cubicBezTo>
                  <a:cubicBezTo>
                    <a:pt x="517" y="284"/>
                    <a:pt x="517" y="281"/>
                    <a:pt x="518" y="280"/>
                  </a:cubicBezTo>
                  <a:cubicBezTo>
                    <a:pt x="518" y="278"/>
                    <a:pt x="518" y="276"/>
                    <a:pt x="518" y="274"/>
                  </a:cubicBezTo>
                  <a:cubicBezTo>
                    <a:pt x="518" y="271"/>
                    <a:pt x="520" y="268"/>
                    <a:pt x="521" y="265"/>
                  </a:cubicBezTo>
                  <a:cubicBezTo>
                    <a:pt x="521" y="262"/>
                    <a:pt x="522" y="259"/>
                    <a:pt x="523" y="257"/>
                  </a:cubicBezTo>
                  <a:cubicBezTo>
                    <a:pt x="523" y="257"/>
                    <a:pt x="525" y="255"/>
                    <a:pt x="525" y="25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5" name="Freeform 35"/>
            <p:cNvSpPr>
              <a:spLocks/>
            </p:cNvSpPr>
            <p:nvPr/>
          </p:nvSpPr>
          <p:spPr bwMode="auto">
            <a:xfrm>
              <a:off x="6130925" y="4779963"/>
              <a:ext cx="336550" cy="477838"/>
            </a:xfrm>
            <a:custGeom>
              <a:avLst/>
              <a:gdLst/>
              <a:ahLst/>
              <a:cxnLst>
                <a:cxn ang="0">
                  <a:pos x="169" y="144"/>
                </a:cxn>
                <a:cxn ang="0">
                  <a:pos x="163" y="133"/>
                </a:cxn>
                <a:cxn ang="0">
                  <a:pos x="158" y="123"/>
                </a:cxn>
                <a:cxn ang="0">
                  <a:pos x="159" y="115"/>
                </a:cxn>
                <a:cxn ang="0">
                  <a:pos x="160" y="101"/>
                </a:cxn>
                <a:cxn ang="0">
                  <a:pos x="150" y="101"/>
                </a:cxn>
                <a:cxn ang="0">
                  <a:pos x="144" y="96"/>
                </a:cxn>
                <a:cxn ang="0">
                  <a:pos x="136" y="85"/>
                </a:cxn>
                <a:cxn ang="0">
                  <a:pos x="139" y="74"/>
                </a:cxn>
                <a:cxn ang="0">
                  <a:pos x="141" y="63"/>
                </a:cxn>
                <a:cxn ang="0">
                  <a:pos x="141" y="56"/>
                </a:cxn>
                <a:cxn ang="0">
                  <a:pos x="141" y="48"/>
                </a:cxn>
                <a:cxn ang="0">
                  <a:pos x="130" y="48"/>
                </a:cxn>
                <a:cxn ang="0">
                  <a:pos x="121" y="45"/>
                </a:cxn>
                <a:cxn ang="0">
                  <a:pos x="115" y="35"/>
                </a:cxn>
                <a:cxn ang="0">
                  <a:pos x="107" y="31"/>
                </a:cxn>
                <a:cxn ang="0">
                  <a:pos x="97" y="37"/>
                </a:cxn>
                <a:cxn ang="0">
                  <a:pos x="95" y="29"/>
                </a:cxn>
                <a:cxn ang="0">
                  <a:pos x="92" y="24"/>
                </a:cxn>
                <a:cxn ang="0">
                  <a:pos x="80" y="23"/>
                </a:cxn>
                <a:cxn ang="0">
                  <a:pos x="75" y="18"/>
                </a:cxn>
                <a:cxn ang="0">
                  <a:pos x="60" y="7"/>
                </a:cxn>
                <a:cxn ang="0">
                  <a:pos x="48" y="4"/>
                </a:cxn>
                <a:cxn ang="0">
                  <a:pos x="36" y="6"/>
                </a:cxn>
                <a:cxn ang="0">
                  <a:pos x="25" y="11"/>
                </a:cxn>
                <a:cxn ang="0">
                  <a:pos x="12" y="13"/>
                </a:cxn>
                <a:cxn ang="0">
                  <a:pos x="4" y="7"/>
                </a:cxn>
                <a:cxn ang="0">
                  <a:pos x="2" y="18"/>
                </a:cxn>
                <a:cxn ang="0">
                  <a:pos x="11" y="33"/>
                </a:cxn>
                <a:cxn ang="0">
                  <a:pos x="34" y="65"/>
                </a:cxn>
                <a:cxn ang="0">
                  <a:pos x="38" y="84"/>
                </a:cxn>
                <a:cxn ang="0">
                  <a:pos x="51" y="98"/>
                </a:cxn>
                <a:cxn ang="0">
                  <a:pos x="67" y="125"/>
                </a:cxn>
                <a:cxn ang="0">
                  <a:pos x="84" y="157"/>
                </a:cxn>
                <a:cxn ang="0">
                  <a:pos x="77" y="227"/>
                </a:cxn>
                <a:cxn ang="0">
                  <a:pos x="88" y="252"/>
                </a:cxn>
                <a:cxn ang="0">
                  <a:pos x="98" y="253"/>
                </a:cxn>
                <a:cxn ang="0">
                  <a:pos x="99" y="244"/>
                </a:cxn>
                <a:cxn ang="0">
                  <a:pos x="101" y="234"/>
                </a:cxn>
                <a:cxn ang="0">
                  <a:pos x="108" y="228"/>
                </a:cxn>
                <a:cxn ang="0">
                  <a:pos x="126" y="211"/>
                </a:cxn>
                <a:cxn ang="0">
                  <a:pos x="128" y="195"/>
                </a:cxn>
                <a:cxn ang="0">
                  <a:pos x="126" y="182"/>
                </a:cxn>
                <a:cxn ang="0">
                  <a:pos x="127" y="172"/>
                </a:cxn>
                <a:cxn ang="0">
                  <a:pos x="143" y="169"/>
                </a:cxn>
                <a:cxn ang="0">
                  <a:pos x="142" y="180"/>
                </a:cxn>
                <a:cxn ang="0">
                  <a:pos x="146" y="171"/>
                </a:cxn>
                <a:cxn ang="0">
                  <a:pos x="155" y="176"/>
                </a:cxn>
                <a:cxn ang="0">
                  <a:pos x="163" y="185"/>
                </a:cxn>
                <a:cxn ang="0">
                  <a:pos x="171" y="172"/>
                </a:cxn>
                <a:cxn ang="0">
                  <a:pos x="178" y="165"/>
                </a:cxn>
              </a:cxnLst>
              <a:rect l="0" t="0" r="r" b="b"/>
              <a:pathLst>
                <a:path w="180" h="256">
                  <a:moveTo>
                    <a:pt x="180" y="147"/>
                  </a:moveTo>
                  <a:cubicBezTo>
                    <a:pt x="180" y="144"/>
                    <a:pt x="178" y="144"/>
                    <a:pt x="176" y="143"/>
                  </a:cubicBezTo>
                  <a:cubicBezTo>
                    <a:pt x="175" y="142"/>
                    <a:pt x="174" y="141"/>
                    <a:pt x="173" y="142"/>
                  </a:cubicBezTo>
                  <a:cubicBezTo>
                    <a:pt x="171" y="143"/>
                    <a:pt x="170" y="143"/>
                    <a:pt x="169" y="144"/>
                  </a:cubicBezTo>
                  <a:cubicBezTo>
                    <a:pt x="168" y="144"/>
                    <a:pt x="168" y="144"/>
                    <a:pt x="167" y="143"/>
                  </a:cubicBezTo>
                  <a:cubicBezTo>
                    <a:pt x="167" y="141"/>
                    <a:pt x="165" y="138"/>
                    <a:pt x="165" y="136"/>
                  </a:cubicBezTo>
                  <a:cubicBezTo>
                    <a:pt x="165" y="135"/>
                    <a:pt x="165" y="135"/>
                    <a:pt x="164" y="134"/>
                  </a:cubicBezTo>
                  <a:cubicBezTo>
                    <a:pt x="164" y="134"/>
                    <a:pt x="163" y="133"/>
                    <a:pt x="163" y="133"/>
                  </a:cubicBezTo>
                  <a:cubicBezTo>
                    <a:pt x="163" y="132"/>
                    <a:pt x="163" y="130"/>
                    <a:pt x="164" y="128"/>
                  </a:cubicBezTo>
                  <a:cubicBezTo>
                    <a:pt x="164" y="128"/>
                    <a:pt x="164" y="127"/>
                    <a:pt x="164" y="126"/>
                  </a:cubicBezTo>
                  <a:cubicBezTo>
                    <a:pt x="164" y="126"/>
                    <a:pt x="164" y="124"/>
                    <a:pt x="163" y="123"/>
                  </a:cubicBezTo>
                  <a:cubicBezTo>
                    <a:pt x="162" y="123"/>
                    <a:pt x="159" y="123"/>
                    <a:pt x="158" y="123"/>
                  </a:cubicBezTo>
                  <a:cubicBezTo>
                    <a:pt x="156" y="123"/>
                    <a:pt x="152" y="122"/>
                    <a:pt x="154" y="120"/>
                  </a:cubicBezTo>
                  <a:cubicBezTo>
                    <a:pt x="155" y="118"/>
                    <a:pt x="156" y="119"/>
                    <a:pt x="158" y="120"/>
                  </a:cubicBezTo>
                  <a:cubicBezTo>
                    <a:pt x="157" y="119"/>
                    <a:pt x="157" y="118"/>
                    <a:pt x="157" y="117"/>
                  </a:cubicBezTo>
                  <a:cubicBezTo>
                    <a:pt x="158" y="115"/>
                    <a:pt x="158" y="116"/>
                    <a:pt x="159" y="115"/>
                  </a:cubicBezTo>
                  <a:cubicBezTo>
                    <a:pt x="159" y="114"/>
                    <a:pt x="159" y="114"/>
                    <a:pt x="159" y="113"/>
                  </a:cubicBezTo>
                  <a:cubicBezTo>
                    <a:pt x="159" y="113"/>
                    <a:pt x="159" y="112"/>
                    <a:pt x="159" y="112"/>
                  </a:cubicBezTo>
                  <a:cubicBezTo>
                    <a:pt x="158" y="109"/>
                    <a:pt x="160" y="109"/>
                    <a:pt x="161" y="107"/>
                  </a:cubicBezTo>
                  <a:cubicBezTo>
                    <a:pt x="162" y="105"/>
                    <a:pt x="160" y="103"/>
                    <a:pt x="160" y="101"/>
                  </a:cubicBezTo>
                  <a:cubicBezTo>
                    <a:pt x="160" y="99"/>
                    <a:pt x="160" y="98"/>
                    <a:pt x="160" y="97"/>
                  </a:cubicBezTo>
                  <a:cubicBezTo>
                    <a:pt x="159" y="97"/>
                    <a:pt x="158" y="97"/>
                    <a:pt x="157" y="98"/>
                  </a:cubicBezTo>
                  <a:cubicBezTo>
                    <a:pt x="157" y="98"/>
                    <a:pt x="156" y="98"/>
                    <a:pt x="156" y="98"/>
                  </a:cubicBezTo>
                  <a:cubicBezTo>
                    <a:pt x="154" y="100"/>
                    <a:pt x="153" y="103"/>
                    <a:pt x="150" y="101"/>
                  </a:cubicBezTo>
                  <a:cubicBezTo>
                    <a:pt x="149" y="101"/>
                    <a:pt x="148" y="100"/>
                    <a:pt x="147" y="100"/>
                  </a:cubicBezTo>
                  <a:cubicBezTo>
                    <a:pt x="146" y="99"/>
                    <a:pt x="146" y="97"/>
                    <a:pt x="146" y="96"/>
                  </a:cubicBezTo>
                  <a:cubicBezTo>
                    <a:pt x="146" y="96"/>
                    <a:pt x="145" y="95"/>
                    <a:pt x="145" y="94"/>
                  </a:cubicBezTo>
                  <a:cubicBezTo>
                    <a:pt x="145" y="95"/>
                    <a:pt x="144" y="96"/>
                    <a:pt x="144" y="96"/>
                  </a:cubicBezTo>
                  <a:cubicBezTo>
                    <a:pt x="143" y="96"/>
                    <a:pt x="141" y="95"/>
                    <a:pt x="141" y="94"/>
                  </a:cubicBezTo>
                  <a:cubicBezTo>
                    <a:pt x="141" y="93"/>
                    <a:pt x="141" y="92"/>
                    <a:pt x="140" y="91"/>
                  </a:cubicBezTo>
                  <a:cubicBezTo>
                    <a:pt x="139" y="90"/>
                    <a:pt x="139" y="89"/>
                    <a:pt x="138" y="89"/>
                  </a:cubicBezTo>
                  <a:cubicBezTo>
                    <a:pt x="137" y="88"/>
                    <a:pt x="137" y="86"/>
                    <a:pt x="136" y="85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5" y="83"/>
                    <a:pt x="135" y="82"/>
                    <a:pt x="135" y="81"/>
                  </a:cubicBezTo>
                  <a:cubicBezTo>
                    <a:pt x="134" y="80"/>
                    <a:pt x="134" y="79"/>
                    <a:pt x="135" y="78"/>
                  </a:cubicBezTo>
                  <a:cubicBezTo>
                    <a:pt x="136" y="76"/>
                    <a:pt x="139" y="76"/>
                    <a:pt x="139" y="74"/>
                  </a:cubicBezTo>
                  <a:cubicBezTo>
                    <a:pt x="139" y="74"/>
                    <a:pt x="139" y="73"/>
                    <a:pt x="139" y="72"/>
                  </a:cubicBezTo>
                  <a:cubicBezTo>
                    <a:pt x="139" y="71"/>
                    <a:pt x="139" y="70"/>
                    <a:pt x="139" y="70"/>
                  </a:cubicBezTo>
                  <a:cubicBezTo>
                    <a:pt x="140" y="68"/>
                    <a:pt x="140" y="67"/>
                    <a:pt x="140" y="66"/>
                  </a:cubicBezTo>
                  <a:cubicBezTo>
                    <a:pt x="140" y="65"/>
                    <a:pt x="141" y="64"/>
                    <a:pt x="141" y="63"/>
                  </a:cubicBezTo>
                  <a:cubicBezTo>
                    <a:pt x="142" y="63"/>
                    <a:pt x="143" y="63"/>
                    <a:pt x="142" y="62"/>
                  </a:cubicBezTo>
                  <a:cubicBezTo>
                    <a:pt x="141" y="61"/>
                    <a:pt x="140" y="61"/>
                    <a:pt x="140" y="60"/>
                  </a:cubicBezTo>
                  <a:cubicBezTo>
                    <a:pt x="140" y="60"/>
                    <a:pt x="140" y="59"/>
                    <a:pt x="140" y="59"/>
                  </a:cubicBezTo>
                  <a:cubicBezTo>
                    <a:pt x="141" y="58"/>
                    <a:pt x="141" y="58"/>
                    <a:pt x="141" y="56"/>
                  </a:cubicBezTo>
                  <a:cubicBezTo>
                    <a:pt x="141" y="56"/>
                    <a:pt x="141" y="55"/>
                    <a:pt x="141" y="55"/>
                  </a:cubicBezTo>
                  <a:cubicBezTo>
                    <a:pt x="141" y="54"/>
                    <a:pt x="141" y="54"/>
                    <a:pt x="142" y="53"/>
                  </a:cubicBezTo>
                  <a:cubicBezTo>
                    <a:pt x="142" y="53"/>
                    <a:pt x="142" y="53"/>
                    <a:pt x="142" y="52"/>
                  </a:cubicBezTo>
                  <a:cubicBezTo>
                    <a:pt x="143" y="51"/>
                    <a:pt x="143" y="49"/>
                    <a:pt x="141" y="48"/>
                  </a:cubicBezTo>
                  <a:cubicBezTo>
                    <a:pt x="141" y="48"/>
                    <a:pt x="140" y="48"/>
                    <a:pt x="139" y="48"/>
                  </a:cubicBezTo>
                  <a:cubicBezTo>
                    <a:pt x="138" y="47"/>
                    <a:pt x="137" y="47"/>
                    <a:pt x="136" y="46"/>
                  </a:cubicBezTo>
                  <a:cubicBezTo>
                    <a:pt x="135" y="46"/>
                    <a:pt x="133" y="45"/>
                    <a:pt x="132" y="46"/>
                  </a:cubicBezTo>
                  <a:cubicBezTo>
                    <a:pt x="131" y="47"/>
                    <a:pt x="131" y="48"/>
                    <a:pt x="130" y="48"/>
                  </a:cubicBezTo>
                  <a:cubicBezTo>
                    <a:pt x="130" y="48"/>
                    <a:pt x="129" y="48"/>
                    <a:pt x="129" y="48"/>
                  </a:cubicBezTo>
                  <a:cubicBezTo>
                    <a:pt x="128" y="48"/>
                    <a:pt x="126" y="48"/>
                    <a:pt x="125" y="48"/>
                  </a:cubicBezTo>
                  <a:cubicBezTo>
                    <a:pt x="124" y="47"/>
                    <a:pt x="125" y="47"/>
                    <a:pt x="124" y="46"/>
                  </a:cubicBezTo>
                  <a:cubicBezTo>
                    <a:pt x="123" y="45"/>
                    <a:pt x="123" y="45"/>
                    <a:pt x="121" y="45"/>
                  </a:cubicBezTo>
                  <a:cubicBezTo>
                    <a:pt x="120" y="45"/>
                    <a:pt x="120" y="43"/>
                    <a:pt x="119" y="42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7"/>
                    <a:pt x="118" y="35"/>
                    <a:pt x="117" y="35"/>
                  </a:cubicBezTo>
                  <a:cubicBezTo>
                    <a:pt x="116" y="34"/>
                    <a:pt x="116" y="35"/>
                    <a:pt x="115" y="35"/>
                  </a:cubicBezTo>
                  <a:cubicBezTo>
                    <a:pt x="114" y="34"/>
                    <a:pt x="114" y="33"/>
                    <a:pt x="113" y="33"/>
                  </a:cubicBezTo>
                  <a:cubicBezTo>
                    <a:pt x="112" y="32"/>
                    <a:pt x="113" y="32"/>
                    <a:pt x="111" y="32"/>
                  </a:cubicBezTo>
                  <a:cubicBezTo>
                    <a:pt x="111" y="32"/>
                    <a:pt x="110" y="32"/>
                    <a:pt x="109" y="32"/>
                  </a:cubicBezTo>
                  <a:cubicBezTo>
                    <a:pt x="109" y="32"/>
                    <a:pt x="108" y="31"/>
                    <a:pt x="107" y="31"/>
                  </a:cubicBezTo>
                  <a:cubicBezTo>
                    <a:pt x="106" y="30"/>
                    <a:pt x="105" y="30"/>
                    <a:pt x="104" y="30"/>
                  </a:cubicBezTo>
                  <a:cubicBezTo>
                    <a:pt x="103" y="30"/>
                    <a:pt x="100" y="29"/>
                    <a:pt x="99" y="30"/>
                  </a:cubicBezTo>
                  <a:cubicBezTo>
                    <a:pt x="99" y="31"/>
                    <a:pt x="99" y="33"/>
                    <a:pt x="99" y="34"/>
                  </a:cubicBezTo>
                  <a:cubicBezTo>
                    <a:pt x="99" y="35"/>
                    <a:pt x="98" y="37"/>
                    <a:pt x="97" y="37"/>
                  </a:cubicBezTo>
                  <a:cubicBezTo>
                    <a:pt x="97" y="37"/>
                    <a:pt x="97" y="36"/>
                    <a:pt x="97" y="35"/>
                  </a:cubicBezTo>
                  <a:cubicBezTo>
                    <a:pt x="96" y="35"/>
                    <a:pt x="96" y="35"/>
                    <a:pt x="95" y="35"/>
                  </a:cubicBezTo>
                  <a:cubicBezTo>
                    <a:pt x="95" y="35"/>
                    <a:pt x="95" y="33"/>
                    <a:pt x="95" y="32"/>
                  </a:cubicBezTo>
                  <a:cubicBezTo>
                    <a:pt x="95" y="32"/>
                    <a:pt x="95" y="30"/>
                    <a:pt x="95" y="29"/>
                  </a:cubicBezTo>
                  <a:cubicBezTo>
                    <a:pt x="94" y="29"/>
                    <a:pt x="93" y="31"/>
                    <a:pt x="92" y="31"/>
                  </a:cubicBezTo>
                  <a:cubicBezTo>
                    <a:pt x="91" y="31"/>
                    <a:pt x="90" y="32"/>
                    <a:pt x="89" y="31"/>
                  </a:cubicBezTo>
                  <a:cubicBezTo>
                    <a:pt x="89" y="30"/>
                    <a:pt x="90" y="30"/>
                    <a:pt x="91" y="29"/>
                  </a:cubicBezTo>
                  <a:cubicBezTo>
                    <a:pt x="92" y="28"/>
                    <a:pt x="93" y="26"/>
                    <a:pt x="92" y="24"/>
                  </a:cubicBezTo>
                  <a:cubicBezTo>
                    <a:pt x="91" y="22"/>
                    <a:pt x="90" y="23"/>
                    <a:pt x="88" y="23"/>
                  </a:cubicBezTo>
                  <a:cubicBezTo>
                    <a:pt x="87" y="24"/>
                    <a:pt x="86" y="23"/>
                    <a:pt x="84" y="23"/>
                  </a:cubicBezTo>
                  <a:cubicBezTo>
                    <a:pt x="84" y="24"/>
                    <a:pt x="83" y="24"/>
                    <a:pt x="83" y="25"/>
                  </a:cubicBezTo>
                  <a:cubicBezTo>
                    <a:pt x="82" y="25"/>
                    <a:pt x="80" y="24"/>
                    <a:pt x="80" y="23"/>
                  </a:cubicBezTo>
                  <a:cubicBezTo>
                    <a:pt x="79" y="22"/>
                    <a:pt x="80" y="22"/>
                    <a:pt x="79" y="21"/>
                  </a:cubicBezTo>
                  <a:cubicBezTo>
                    <a:pt x="77" y="21"/>
                    <a:pt x="77" y="22"/>
                    <a:pt x="77" y="20"/>
                  </a:cubicBezTo>
                  <a:cubicBezTo>
                    <a:pt x="77" y="20"/>
                    <a:pt x="77" y="19"/>
                    <a:pt x="77" y="19"/>
                  </a:cubicBezTo>
                  <a:cubicBezTo>
                    <a:pt x="77" y="18"/>
                    <a:pt x="76" y="18"/>
                    <a:pt x="75" y="18"/>
                  </a:cubicBezTo>
                  <a:cubicBezTo>
                    <a:pt x="73" y="17"/>
                    <a:pt x="71" y="14"/>
                    <a:pt x="69" y="13"/>
                  </a:cubicBezTo>
                  <a:cubicBezTo>
                    <a:pt x="68" y="12"/>
                    <a:pt x="66" y="12"/>
                    <a:pt x="64" y="11"/>
                  </a:cubicBezTo>
                  <a:cubicBezTo>
                    <a:pt x="63" y="10"/>
                    <a:pt x="62" y="9"/>
                    <a:pt x="61" y="8"/>
                  </a:cubicBezTo>
                  <a:cubicBezTo>
                    <a:pt x="61" y="8"/>
                    <a:pt x="60" y="8"/>
                    <a:pt x="60" y="7"/>
                  </a:cubicBezTo>
                  <a:cubicBezTo>
                    <a:pt x="58" y="6"/>
                    <a:pt x="59" y="6"/>
                    <a:pt x="57" y="6"/>
                  </a:cubicBezTo>
                  <a:cubicBezTo>
                    <a:pt x="56" y="6"/>
                    <a:pt x="54" y="6"/>
                    <a:pt x="54" y="5"/>
                  </a:cubicBezTo>
                  <a:cubicBezTo>
                    <a:pt x="53" y="5"/>
                    <a:pt x="51" y="0"/>
                    <a:pt x="49" y="2"/>
                  </a:cubicBezTo>
                  <a:cubicBezTo>
                    <a:pt x="48" y="2"/>
                    <a:pt x="48" y="4"/>
                    <a:pt x="48" y="4"/>
                  </a:cubicBezTo>
                  <a:cubicBezTo>
                    <a:pt x="48" y="7"/>
                    <a:pt x="45" y="9"/>
                    <a:pt x="42" y="10"/>
                  </a:cubicBezTo>
                  <a:cubicBezTo>
                    <a:pt x="41" y="10"/>
                    <a:pt x="40" y="10"/>
                    <a:pt x="39" y="9"/>
                  </a:cubicBezTo>
                  <a:cubicBezTo>
                    <a:pt x="38" y="8"/>
                    <a:pt x="38" y="7"/>
                    <a:pt x="37" y="7"/>
                  </a:cubicBezTo>
                  <a:cubicBezTo>
                    <a:pt x="37" y="6"/>
                    <a:pt x="36" y="5"/>
                    <a:pt x="36" y="6"/>
                  </a:cubicBezTo>
                  <a:cubicBezTo>
                    <a:pt x="35" y="6"/>
                    <a:pt x="35" y="7"/>
                    <a:pt x="35" y="8"/>
                  </a:cubicBezTo>
                  <a:cubicBezTo>
                    <a:pt x="34" y="9"/>
                    <a:pt x="33" y="9"/>
                    <a:pt x="32" y="10"/>
                  </a:cubicBezTo>
                  <a:cubicBezTo>
                    <a:pt x="31" y="11"/>
                    <a:pt x="28" y="12"/>
                    <a:pt x="26" y="12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9"/>
                    <a:pt x="23" y="8"/>
                    <a:pt x="21" y="8"/>
                  </a:cubicBezTo>
                  <a:cubicBezTo>
                    <a:pt x="19" y="7"/>
                    <a:pt x="19" y="7"/>
                    <a:pt x="19" y="9"/>
                  </a:cubicBezTo>
                  <a:cubicBezTo>
                    <a:pt x="18" y="11"/>
                    <a:pt x="18" y="12"/>
                    <a:pt x="15" y="13"/>
                  </a:cubicBezTo>
                  <a:cubicBezTo>
                    <a:pt x="14" y="14"/>
                    <a:pt x="13" y="14"/>
                    <a:pt x="12" y="13"/>
                  </a:cubicBezTo>
                  <a:cubicBezTo>
                    <a:pt x="12" y="12"/>
                    <a:pt x="12" y="11"/>
                    <a:pt x="11" y="11"/>
                  </a:cubicBezTo>
                  <a:cubicBezTo>
                    <a:pt x="10" y="10"/>
                    <a:pt x="9" y="11"/>
                    <a:pt x="8" y="10"/>
                  </a:cubicBezTo>
                  <a:cubicBezTo>
                    <a:pt x="6" y="10"/>
                    <a:pt x="7" y="7"/>
                    <a:pt x="6" y="7"/>
                  </a:cubicBezTo>
                  <a:cubicBezTo>
                    <a:pt x="5" y="7"/>
                    <a:pt x="4" y="7"/>
                    <a:pt x="4" y="7"/>
                  </a:cubicBezTo>
                  <a:cubicBezTo>
                    <a:pt x="2" y="8"/>
                    <a:pt x="1" y="8"/>
                    <a:pt x="1" y="10"/>
                  </a:cubicBezTo>
                  <a:cubicBezTo>
                    <a:pt x="1" y="11"/>
                    <a:pt x="1" y="12"/>
                    <a:pt x="1" y="13"/>
                  </a:cubicBezTo>
                  <a:cubicBezTo>
                    <a:pt x="1" y="14"/>
                    <a:pt x="2" y="14"/>
                    <a:pt x="2" y="15"/>
                  </a:cubicBezTo>
                  <a:cubicBezTo>
                    <a:pt x="2" y="16"/>
                    <a:pt x="2" y="17"/>
                    <a:pt x="2" y="18"/>
                  </a:cubicBezTo>
                  <a:cubicBezTo>
                    <a:pt x="1" y="19"/>
                    <a:pt x="1" y="19"/>
                    <a:pt x="0" y="20"/>
                  </a:cubicBezTo>
                  <a:cubicBezTo>
                    <a:pt x="0" y="20"/>
                    <a:pt x="0" y="20"/>
                    <a:pt x="0" y="21"/>
                  </a:cubicBezTo>
                  <a:cubicBezTo>
                    <a:pt x="1" y="21"/>
                    <a:pt x="2" y="21"/>
                    <a:pt x="3" y="21"/>
                  </a:cubicBezTo>
                  <a:cubicBezTo>
                    <a:pt x="7" y="23"/>
                    <a:pt x="8" y="29"/>
                    <a:pt x="11" y="33"/>
                  </a:cubicBezTo>
                  <a:cubicBezTo>
                    <a:pt x="13" y="36"/>
                    <a:pt x="15" y="38"/>
                    <a:pt x="18" y="41"/>
                  </a:cubicBezTo>
                  <a:cubicBezTo>
                    <a:pt x="20" y="45"/>
                    <a:pt x="24" y="46"/>
                    <a:pt x="25" y="51"/>
                  </a:cubicBezTo>
                  <a:cubicBezTo>
                    <a:pt x="26" y="53"/>
                    <a:pt x="26" y="55"/>
                    <a:pt x="27" y="56"/>
                  </a:cubicBezTo>
                  <a:cubicBezTo>
                    <a:pt x="29" y="59"/>
                    <a:pt x="32" y="61"/>
                    <a:pt x="34" y="65"/>
                  </a:cubicBezTo>
                  <a:cubicBezTo>
                    <a:pt x="36" y="68"/>
                    <a:pt x="36" y="72"/>
                    <a:pt x="36" y="76"/>
                  </a:cubicBezTo>
                  <a:cubicBezTo>
                    <a:pt x="36" y="77"/>
                    <a:pt x="35" y="78"/>
                    <a:pt x="36" y="79"/>
                  </a:cubicBezTo>
                  <a:cubicBezTo>
                    <a:pt x="36" y="81"/>
                    <a:pt x="37" y="81"/>
                    <a:pt x="37" y="82"/>
                  </a:cubicBezTo>
                  <a:cubicBezTo>
                    <a:pt x="38" y="83"/>
                    <a:pt x="37" y="84"/>
                    <a:pt x="38" y="84"/>
                  </a:cubicBezTo>
                  <a:cubicBezTo>
                    <a:pt x="39" y="85"/>
                    <a:pt x="40" y="85"/>
                    <a:pt x="40" y="86"/>
                  </a:cubicBezTo>
                  <a:cubicBezTo>
                    <a:pt x="41" y="86"/>
                    <a:pt x="40" y="87"/>
                    <a:pt x="40" y="87"/>
                  </a:cubicBezTo>
                  <a:cubicBezTo>
                    <a:pt x="42" y="89"/>
                    <a:pt x="45" y="89"/>
                    <a:pt x="47" y="91"/>
                  </a:cubicBezTo>
                  <a:cubicBezTo>
                    <a:pt x="49" y="92"/>
                    <a:pt x="49" y="96"/>
                    <a:pt x="51" y="98"/>
                  </a:cubicBezTo>
                  <a:cubicBezTo>
                    <a:pt x="52" y="100"/>
                    <a:pt x="53" y="102"/>
                    <a:pt x="54" y="103"/>
                  </a:cubicBezTo>
                  <a:cubicBezTo>
                    <a:pt x="55" y="104"/>
                    <a:pt x="57" y="105"/>
                    <a:pt x="58" y="106"/>
                  </a:cubicBezTo>
                  <a:cubicBezTo>
                    <a:pt x="60" y="109"/>
                    <a:pt x="60" y="110"/>
                    <a:pt x="62" y="111"/>
                  </a:cubicBezTo>
                  <a:cubicBezTo>
                    <a:pt x="65" y="115"/>
                    <a:pt x="66" y="120"/>
                    <a:pt x="67" y="125"/>
                  </a:cubicBezTo>
                  <a:cubicBezTo>
                    <a:pt x="67" y="128"/>
                    <a:pt x="66" y="131"/>
                    <a:pt x="68" y="134"/>
                  </a:cubicBezTo>
                  <a:cubicBezTo>
                    <a:pt x="70" y="138"/>
                    <a:pt x="73" y="140"/>
                    <a:pt x="77" y="140"/>
                  </a:cubicBezTo>
                  <a:cubicBezTo>
                    <a:pt x="80" y="140"/>
                    <a:pt x="78" y="144"/>
                    <a:pt x="80" y="147"/>
                  </a:cubicBezTo>
                  <a:cubicBezTo>
                    <a:pt x="80" y="149"/>
                    <a:pt x="84" y="155"/>
                    <a:pt x="84" y="157"/>
                  </a:cubicBezTo>
                  <a:cubicBezTo>
                    <a:pt x="84" y="160"/>
                    <a:pt x="82" y="165"/>
                    <a:pt x="83" y="167"/>
                  </a:cubicBezTo>
                  <a:cubicBezTo>
                    <a:pt x="85" y="170"/>
                    <a:pt x="84" y="178"/>
                    <a:pt x="83" y="180"/>
                  </a:cubicBezTo>
                  <a:cubicBezTo>
                    <a:pt x="79" y="190"/>
                    <a:pt x="77" y="194"/>
                    <a:pt x="76" y="204"/>
                  </a:cubicBezTo>
                  <a:cubicBezTo>
                    <a:pt x="76" y="210"/>
                    <a:pt x="75" y="223"/>
                    <a:pt x="77" y="227"/>
                  </a:cubicBezTo>
                  <a:cubicBezTo>
                    <a:pt x="79" y="230"/>
                    <a:pt x="79" y="238"/>
                    <a:pt x="78" y="242"/>
                  </a:cubicBezTo>
                  <a:cubicBezTo>
                    <a:pt x="75" y="249"/>
                    <a:pt x="78" y="252"/>
                    <a:pt x="82" y="256"/>
                  </a:cubicBezTo>
                  <a:cubicBezTo>
                    <a:pt x="83" y="256"/>
                    <a:pt x="84" y="255"/>
                    <a:pt x="85" y="254"/>
                  </a:cubicBezTo>
                  <a:cubicBezTo>
                    <a:pt x="86" y="253"/>
                    <a:pt x="87" y="252"/>
                    <a:pt x="88" y="252"/>
                  </a:cubicBezTo>
                  <a:cubicBezTo>
                    <a:pt x="91" y="249"/>
                    <a:pt x="91" y="256"/>
                    <a:pt x="94" y="256"/>
                  </a:cubicBezTo>
                  <a:cubicBezTo>
                    <a:pt x="95" y="256"/>
                    <a:pt x="95" y="256"/>
                    <a:pt x="96" y="255"/>
                  </a:cubicBezTo>
                  <a:cubicBezTo>
                    <a:pt x="96" y="255"/>
                    <a:pt x="96" y="254"/>
                    <a:pt x="97" y="254"/>
                  </a:cubicBezTo>
                  <a:cubicBezTo>
                    <a:pt x="97" y="253"/>
                    <a:pt x="98" y="253"/>
                    <a:pt x="98" y="253"/>
                  </a:cubicBezTo>
                  <a:cubicBezTo>
                    <a:pt x="98" y="252"/>
                    <a:pt x="98" y="251"/>
                    <a:pt x="98" y="250"/>
                  </a:cubicBezTo>
                  <a:cubicBezTo>
                    <a:pt x="98" y="250"/>
                    <a:pt x="98" y="249"/>
                    <a:pt x="99" y="248"/>
                  </a:cubicBezTo>
                  <a:cubicBezTo>
                    <a:pt x="99" y="247"/>
                    <a:pt x="99" y="246"/>
                    <a:pt x="99" y="245"/>
                  </a:cubicBezTo>
                  <a:cubicBezTo>
                    <a:pt x="99" y="245"/>
                    <a:pt x="99" y="244"/>
                    <a:pt x="99" y="244"/>
                  </a:cubicBezTo>
                  <a:cubicBezTo>
                    <a:pt x="99" y="244"/>
                    <a:pt x="100" y="243"/>
                    <a:pt x="100" y="243"/>
                  </a:cubicBezTo>
                  <a:cubicBezTo>
                    <a:pt x="101" y="241"/>
                    <a:pt x="99" y="240"/>
                    <a:pt x="99" y="238"/>
                  </a:cubicBezTo>
                  <a:cubicBezTo>
                    <a:pt x="99" y="237"/>
                    <a:pt x="99" y="236"/>
                    <a:pt x="99" y="235"/>
                  </a:cubicBezTo>
                  <a:cubicBezTo>
                    <a:pt x="99" y="234"/>
                    <a:pt x="100" y="234"/>
                    <a:pt x="101" y="234"/>
                  </a:cubicBezTo>
                  <a:cubicBezTo>
                    <a:pt x="102" y="233"/>
                    <a:pt x="102" y="233"/>
                    <a:pt x="102" y="232"/>
                  </a:cubicBezTo>
                  <a:cubicBezTo>
                    <a:pt x="102" y="231"/>
                    <a:pt x="103" y="230"/>
                    <a:pt x="104" y="230"/>
                  </a:cubicBezTo>
                  <a:cubicBezTo>
                    <a:pt x="104" y="229"/>
                    <a:pt x="105" y="229"/>
                    <a:pt x="106" y="228"/>
                  </a:cubicBezTo>
                  <a:cubicBezTo>
                    <a:pt x="107" y="228"/>
                    <a:pt x="107" y="228"/>
                    <a:pt x="108" y="228"/>
                  </a:cubicBezTo>
                  <a:cubicBezTo>
                    <a:pt x="109" y="228"/>
                    <a:pt x="110" y="227"/>
                    <a:pt x="111" y="227"/>
                  </a:cubicBezTo>
                  <a:cubicBezTo>
                    <a:pt x="113" y="225"/>
                    <a:pt x="112" y="223"/>
                    <a:pt x="111" y="221"/>
                  </a:cubicBezTo>
                  <a:cubicBezTo>
                    <a:pt x="110" y="219"/>
                    <a:pt x="113" y="217"/>
                    <a:pt x="115" y="216"/>
                  </a:cubicBezTo>
                  <a:cubicBezTo>
                    <a:pt x="118" y="214"/>
                    <a:pt x="122" y="213"/>
                    <a:pt x="126" y="211"/>
                  </a:cubicBezTo>
                  <a:cubicBezTo>
                    <a:pt x="127" y="210"/>
                    <a:pt x="128" y="210"/>
                    <a:pt x="128" y="209"/>
                  </a:cubicBezTo>
                  <a:cubicBezTo>
                    <a:pt x="128" y="208"/>
                    <a:pt x="127" y="207"/>
                    <a:pt x="126" y="206"/>
                  </a:cubicBezTo>
                  <a:cubicBezTo>
                    <a:pt x="125" y="204"/>
                    <a:pt x="127" y="202"/>
                    <a:pt x="128" y="200"/>
                  </a:cubicBezTo>
                  <a:cubicBezTo>
                    <a:pt x="129" y="198"/>
                    <a:pt x="129" y="197"/>
                    <a:pt x="128" y="195"/>
                  </a:cubicBezTo>
                  <a:cubicBezTo>
                    <a:pt x="128" y="194"/>
                    <a:pt x="128" y="194"/>
                    <a:pt x="127" y="193"/>
                  </a:cubicBezTo>
                  <a:cubicBezTo>
                    <a:pt x="126" y="193"/>
                    <a:pt x="124" y="194"/>
                    <a:pt x="124" y="193"/>
                  </a:cubicBezTo>
                  <a:cubicBezTo>
                    <a:pt x="123" y="192"/>
                    <a:pt x="125" y="189"/>
                    <a:pt x="125" y="188"/>
                  </a:cubicBezTo>
                  <a:cubicBezTo>
                    <a:pt x="126" y="186"/>
                    <a:pt x="126" y="184"/>
                    <a:pt x="126" y="182"/>
                  </a:cubicBezTo>
                  <a:cubicBezTo>
                    <a:pt x="126" y="181"/>
                    <a:pt x="127" y="180"/>
                    <a:pt x="127" y="179"/>
                  </a:cubicBezTo>
                  <a:cubicBezTo>
                    <a:pt x="126" y="177"/>
                    <a:pt x="125" y="178"/>
                    <a:pt x="124" y="177"/>
                  </a:cubicBezTo>
                  <a:cubicBezTo>
                    <a:pt x="124" y="176"/>
                    <a:pt x="125" y="174"/>
                    <a:pt x="125" y="174"/>
                  </a:cubicBezTo>
                  <a:cubicBezTo>
                    <a:pt x="126" y="172"/>
                    <a:pt x="126" y="172"/>
                    <a:pt x="127" y="172"/>
                  </a:cubicBezTo>
                  <a:cubicBezTo>
                    <a:pt x="129" y="171"/>
                    <a:pt x="130" y="170"/>
                    <a:pt x="131" y="170"/>
                  </a:cubicBezTo>
                  <a:cubicBezTo>
                    <a:pt x="132" y="170"/>
                    <a:pt x="133" y="170"/>
                    <a:pt x="134" y="169"/>
                  </a:cubicBezTo>
                  <a:cubicBezTo>
                    <a:pt x="135" y="169"/>
                    <a:pt x="134" y="169"/>
                    <a:pt x="135" y="168"/>
                  </a:cubicBezTo>
                  <a:cubicBezTo>
                    <a:pt x="137" y="166"/>
                    <a:pt x="143" y="164"/>
                    <a:pt x="143" y="169"/>
                  </a:cubicBezTo>
                  <a:cubicBezTo>
                    <a:pt x="143" y="171"/>
                    <a:pt x="142" y="172"/>
                    <a:pt x="141" y="174"/>
                  </a:cubicBezTo>
                  <a:cubicBezTo>
                    <a:pt x="139" y="176"/>
                    <a:pt x="139" y="177"/>
                    <a:pt x="139" y="179"/>
                  </a:cubicBezTo>
                  <a:cubicBezTo>
                    <a:pt x="140" y="180"/>
                    <a:pt x="140" y="183"/>
                    <a:pt x="141" y="182"/>
                  </a:cubicBezTo>
                  <a:cubicBezTo>
                    <a:pt x="142" y="181"/>
                    <a:pt x="142" y="180"/>
                    <a:pt x="142" y="180"/>
                  </a:cubicBezTo>
                  <a:cubicBezTo>
                    <a:pt x="142" y="179"/>
                    <a:pt x="143" y="179"/>
                    <a:pt x="143" y="178"/>
                  </a:cubicBezTo>
                  <a:cubicBezTo>
                    <a:pt x="144" y="177"/>
                    <a:pt x="144" y="176"/>
                    <a:pt x="144" y="175"/>
                  </a:cubicBezTo>
                  <a:cubicBezTo>
                    <a:pt x="144" y="172"/>
                    <a:pt x="145" y="169"/>
                    <a:pt x="146" y="168"/>
                  </a:cubicBezTo>
                  <a:cubicBezTo>
                    <a:pt x="147" y="169"/>
                    <a:pt x="146" y="170"/>
                    <a:pt x="146" y="171"/>
                  </a:cubicBezTo>
                  <a:cubicBezTo>
                    <a:pt x="146" y="172"/>
                    <a:pt x="147" y="176"/>
                    <a:pt x="148" y="177"/>
                  </a:cubicBezTo>
                  <a:cubicBezTo>
                    <a:pt x="149" y="176"/>
                    <a:pt x="151" y="171"/>
                    <a:pt x="154" y="172"/>
                  </a:cubicBezTo>
                  <a:cubicBezTo>
                    <a:pt x="155" y="172"/>
                    <a:pt x="155" y="173"/>
                    <a:pt x="155" y="174"/>
                  </a:cubicBezTo>
                  <a:cubicBezTo>
                    <a:pt x="155" y="175"/>
                    <a:pt x="155" y="175"/>
                    <a:pt x="155" y="176"/>
                  </a:cubicBezTo>
                  <a:cubicBezTo>
                    <a:pt x="156" y="176"/>
                    <a:pt x="157" y="177"/>
                    <a:pt x="158" y="177"/>
                  </a:cubicBezTo>
                  <a:cubicBezTo>
                    <a:pt x="158" y="178"/>
                    <a:pt x="159" y="179"/>
                    <a:pt x="159" y="180"/>
                  </a:cubicBezTo>
                  <a:cubicBezTo>
                    <a:pt x="159" y="180"/>
                    <a:pt x="160" y="181"/>
                    <a:pt x="160" y="182"/>
                  </a:cubicBezTo>
                  <a:cubicBezTo>
                    <a:pt x="161" y="183"/>
                    <a:pt x="162" y="184"/>
                    <a:pt x="163" y="185"/>
                  </a:cubicBezTo>
                  <a:cubicBezTo>
                    <a:pt x="163" y="185"/>
                    <a:pt x="165" y="185"/>
                    <a:pt x="166" y="185"/>
                  </a:cubicBezTo>
                  <a:cubicBezTo>
                    <a:pt x="166" y="182"/>
                    <a:pt x="166" y="180"/>
                    <a:pt x="168" y="178"/>
                  </a:cubicBezTo>
                  <a:cubicBezTo>
                    <a:pt x="169" y="177"/>
                    <a:pt x="170" y="176"/>
                    <a:pt x="170" y="175"/>
                  </a:cubicBezTo>
                  <a:cubicBezTo>
                    <a:pt x="171" y="174"/>
                    <a:pt x="170" y="173"/>
                    <a:pt x="171" y="172"/>
                  </a:cubicBezTo>
                  <a:cubicBezTo>
                    <a:pt x="172" y="171"/>
                    <a:pt x="172" y="171"/>
                    <a:pt x="173" y="170"/>
                  </a:cubicBezTo>
                  <a:cubicBezTo>
                    <a:pt x="173" y="170"/>
                    <a:pt x="173" y="169"/>
                    <a:pt x="173" y="168"/>
                  </a:cubicBezTo>
                  <a:cubicBezTo>
                    <a:pt x="175" y="167"/>
                    <a:pt x="176" y="169"/>
                    <a:pt x="178" y="168"/>
                  </a:cubicBezTo>
                  <a:cubicBezTo>
                    <a:pt x="179" y="167"/>
                    <a:pt x="178" y="166"/>
                    <a:pt x="178" y="165"/>
                  </a:cubicBezTo>
                  <a:cubicBezTo>
                    <a:pt x="178" y="163"/>
                    <a:pt x="179" y="161"/>
                    <a:pt x="179" y="160"/>
                  </a:cubicBezTo>
                  <a:cubicBezTo>
                    <a:pt x="180" y="156"/>
                    <a:pt x="180" y="151"/>
                    <a:pt x="180" y="147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6" name="Freeform 36"/>
            <p:cNvSpPr>
              <a:spLocks/>
            </p:cNvSpPr>
            <p:nvPr/>
          </p:nvSpPr>
          <p:spPr bwMode="auto">
            <a:xfrm>
              <a:off x="5480050" y="3663950"/>
              <a:ext cx="346075" cy="179388"/>
            </a:xfrm>
            <a:custGeom>
              <a:avLst/>
              <a:gdLst/>
              <a:ahLst/>
              <a:cxnLst>
                <a:cxn ang="0">
                  <a:pos x="184" y="94"/>
                </a:cxn>
                <a:cxn ang="0">
                  <a:pos x="182" y="91"/>
                </a:cxn>
                <a:cxn ang="0">
                  <a:pos x="175" y="87"/>
                </a:cxn>
                <a:cxn ang="0">
                  <a:pos x="163" y="83"/>
                </a:cxn>
                <a:cxn ang="0">
                  <a:pos x="161" y="81"/>
                </a:cxn>
                <a:cxn ang="0">
                  <a:pos x="160" y="75"/>
                </a:cxn>
                <a:cxn ang="0">
                  <a:pos x="163" y="61"/>
                </a:cxn>
                <a:cxn ang="0">
                  <a:pos x="171" y="47"/>
                </a:cxn>
                <a:cxn ang="0">
                  <a:pos x="169" y="38"/>
                </a:cxn>
                <a:cxn ang="0">
                  <a:pos x="163" y="31"/>
                </a:cxn>
                <a:cxn ang="0">
                  <a:pos x="158" y="23"/>
                </a:cxn>
                <a:cxn ang="0">
                  <a:pos x="151" y="22"/>
                </a:cxn>
                <a:cxn ang="0">
                  <a:pos x="139" y="20"/>
                </a:cxn>
                <a:cxn ang="0">
                  <a:pos x="132" y="22"/>
                </a:cxn>
                <a:cxn ang="0">
                  <a:pos x="127" y="22"/>
                </a:cxn>
                <a:cxn ang="0">
                  <a:pos x="122" y="20"/>
                </a:cxn>
                <a:cxn ang="0">
                  <a:pos x="115" y="17"/>
                </a:cxn>
                <a:cxn ang="0">
                  <a:pos x="110" y="15"/>
                </a:cxn>
                <a:cxn ang="0">
                  <a:pos x="101" y="12"/>
                </a:cxn>
                <a:cxn ang="0">
                  <a:pos x="90" y="1"/>
                </a:cxn>
                <a:cxn ang="0">
                  <a:pos x="82" y="3"/>
                </a:cxn>
                <a:cxn ang="0">
                  <a:pos x="83" y="9"/>
                </a:cxn>
                <a:cxn ang="0">
                  <a:pos x="76" y="12"/>
                </a:cxn>
                <a:cxn ang="0">
                  <a:pos x="76" y="20"/>
                </a:cxn>
                <a:cxn ang="0">
                  <a:pos x="76" y="36"/>
                </a:cxn>
                <a:cxn ang="0">
                  <a:pos x="74" y="40"/>
                </a:cxn>
                <a:cxn ang="0">
                  <a:pos x="62" y="33"/>
                </a:cxn>
                <a:cxn ang="0">
                  <a:pos x="48" y="39"/>
                </a:cxn>
                <a:cxn ang="0">
                  <a:pos x="33" y="45"/>
                </a:cxn>
                <a:cxn ang="0">
                  <a:pos x="14" y="52"/>
                </a:cxn>
                <a:cxn ang="0">
                  <a:pos x="28" y="56"/>
                </a:cxn>
                <a:cxn ang="0">
                  <a:pos x="28" y="62"/>
                </a:cxn>
                <a:cxn ang="0">
                  <a:pos x="22" y="65"/>
                </a:cxn>
                <a:cxn ang="0">
                  <a:pos x="15" y="66"/>
                </a:cxn>
                <a:cxn ang="0">
                  <a:pos x="11" y="71"/>
                </a:cxn>
                <a:cxn ang="0">
                  <a:pos x="0" y="78"/>
                </a:cxn>
                <a:cxn ang="0">
                  <a:pos x="2" y="84"/>
                </a:cxn>
                <a:cxn ang="0">
                  <a:pos x="6" y="83"/>
                </a:cxn>
                <a:cxn ang="0">
                  <a:pos x="76" y="88"/>
                </a:cxn>
                <a:cxn ang="0">
                  <a:pos x="137" y="89"/>
                </a:cxn>
                <a:cxn ang="0">
                  <a:pos x="164" y="89"/>
                </a:cxn>
                <a:cxn ang="0">
                  <a:pos x="184" y="96"/>
                </a:cxn>
              </a:cxnLst>
              <a:rect l="0" t="0" r="r" b="b"/>
              <a:pathLst>
                <a:path w="185" h="96">
                  <a:moveTo>
                    <a:pt x="185" y="96"/>
                  </a:moveTo>
                  <a:cubicBezTo>
                    <a:pt x="185" y="96"/>
                    <a:pt x="184" y="95"/>
                    <a:pt x="184" y="94"/>
                  </a:cubicBezTo>
                  <a:cubicBezTo>
                    <a:pt x="183" y="94"/>
                    <a:pt x="184" y="93"/>
                    <a:pt x="183" y="92"/>
                  </a:cubicBezTo>
                  <a:cubicBezTo>
                    <a:pt x="183" y="92"/>
                    <a:pt x="182" y="91"/>
                    <a:pt x="182" y="91"/>
                  </a:cubicBezTo>
                  <a:cubicBezTo>
                    <a:pt x="181" y="90"/>
                    <a:pt x="180" y="89"/>
                    <a:pt x="179" y="88"/>
                  </a:cubicBezTo>
                  <a:cubicBezTo>
                    <a:pt x="178" y="87"/>
                    <a:pt x="177" y="87"/>
                    <a:pt x="175" y="87"/>
                  </a:cubicBezTo>
                  <a:cubicBezTo>
                    <a:pt x="173" y="87"/>
                    <a:pt x="171" y="86"/>
                    <a:pt x="169" y="85"/>
                  </a:cubicBezTo>
                  <a:cubicBezTo>
                    <a:pt x="167" y="85"/>
                    <a:pt x="165" y="84"/>
                    <a:pt x="163" y="83"/>
                  </a:cubicBezTo>
                  <a:cubicBezTo>
                    <a:pt x="163" y="82"/>
                    <a:pt x="163" y="82"/>
                    <a:pt x="162" y="82"/>
                  </a:cubicBezTo>
                  <a:cubicBezTo>
                    <a:pt x="162" y="81"/>
                    <a:pt x="161" y="81"/>
                    <a:pt x="161" y="81"/>
                  </a:cubicBezTo>
                  <a:cubicBezTo>
                    <a:pt x="160" y="81"/>
                    <a:pt x="160" y="81"/>
                    <a:pt x="160" y="80"/>
                  </a:cubicBezTo>
                  <a:cubicBezTo>
                    <a:pt x="160" y="78"/>
                    <a:pt x="160" y="76"/>
                    <a:pt x="160" y="75"/>
                  </a:cubicBezTo>
                  <a:cubicBezTo>
                    <a:pt x="160" y="73"/>
                    <a:pt x="161" y="72"/>
                    <a:pt x="161" y="71"/>
                  </a:cubicBezTo>
                  <a:cubicBezTo>
                    <a:pt x="161" y="67"/>
                    <a:pt x="162" y="64"/>
                    <a:pt x="163" y="61"/>
                  </a:cubicBezTo>
                  <a:cubicBezTo>
                    <a:pt x="163" y="58"/>
                    <a:pt x="163" y="57"/>
                    <a:pt x="165" y="55"/>
                  </a:cubicBezTo>
                  <a:cubicBezTo>
                    <a:pt x="167" y="53"/>
                    <a:pt x="169" y="50"/>
                    <a:pt x="171" y="47"/>
                  </a:cubicBezTo>
                  <a:cubicBezTo>
                    <a:pt x="172" y="47"/>
                    <a:pt x="172" y="46"/>
                    <a:pt x="172" y="45"/>
                  </a:cubicBezTo>
                  <a:cubicBezTo>
                    <a:pt x="172" y="42"/>
                    <a:pt x="169" y="40"/>
                    <a:pt x="169" y="38"/>
                  </a:cubicBezTo>
                  <a:cubicBezTo>
                    <a:pt x="168" y="37"/>
                    <a:pt x="168" y="35"/>
                    <a:pt x="167" y="33"/>
                  </a:cubicBezTo>
                  <a:cubicBezTo>
                    <a:pt x="166" y="32"/>
                    <a:pt x="164" y="32"/>
                    <a:pt x="163" y="31"/>
                  </a:cubicBezTo>
                  <a:cubicBezTo>
                    <a:pt x="162" y="30"/>
                    <a:pt x="159" y="28"/>
                    <a:pt x="159" y="27"/>
                  </a:cubicBezTo>
                  <a:cubicBezTo>
                    <a:pt x="158" y="26"/>
                    <a:pt x="159" y="25"/>
                    <a:pt x="158" y="23"/>
                  </a:cubicBezTo>
                  <a:cubicBezTo>
                    <a:pt x="157" y="22"/>
                    <a:pt x="155" y="20"/>
                    <a:pt x="154" y="20"/>
                  </a:cubicBezTo>
                  <a:cubicBezTo>
                    <a:pt x="152" y="20"/>
                    <a:pt x="152" y="21"/>
                    <a:pt x="151" y="22"/>
                  </a:cubicBezTo>
                  <a:cubicBezTo>
                    <a:pt x="150" y="22"/>
                    <a:pt x="149" y="22"/>
                    <a:pt x="148" y="22"/>
                  </a:cubicBezTo>
                  <a:cubicBezTo>
                    <a:pt x="144" y="22"/>
                    <a:pt x="142" y="21"/>
                    <a:pt x="139" y="20"/>
                  </a:cubicBezTo>
                  <a:cubicBezTo>
                    <a:pt x="137" y="19"/>
                    <a:pt x="136" y="19"/>
                    <a:pt x="134" y="20"/>
                  </a:cubicBezTo>
                  <a:cubicBezTo>
                    <a:pt x="133" y="21"/>
                    <a:pt x="132" y="22"/>
                    <a:pt x="132" y="22"/>
                  </a:cubicBezTo>
                  <a:cubicBezTo>
                    <a:pt x="131" y="23"/>
                    <a:pt x="132" y="24"/>
                    <a:pt x="130" y="24"/>
                  </a:cubicBezTo>
                  <a:cubicBezTo>
                    <a:pt x="129" y="24"/>
                    <a:pt x="128" y="22"/>
                    <a:pt x="127" y="22"/>
                  </a:cubicBezTo>
                  <a:cubicBezTo>
                    <a:pt x="126" y="21"/>
                    <a:pt x="125" y="18"/>
                    <a:pt x="124" y="19"/>
                  </a:cubicBezTo>
                  <a:cubicBezTo>
                    <a:pt x="123" y="19"/>
                    <a:pt x="123" y="20"/>
                    <a:pt x="122" y="20"/>
                  </a:cubicBezTo>
                  <a:cubicBezTo>
                    <a:pt x="121" y="20"/>
                    <a:pt x="121" y="19"/>
                    <a:pt x="120" y="18"/>
                  </a:cubicBezTo>
                  <a:cubicBezTo>
                    <a:pt x="119" y="17"/>
                    <a:pt x="116" y="18"/>
                    <a:pt x="115" y="17"/>
                  </a:cubicBezTo>
                  <a:cubicBezTo>
                    <a:pt x="114" y="17"/>
                    <a:pt x="113" y="16"/>
                    <a:pt x="112" y="15"/>
                  </a:cubicBezTo>
                  <a:cubicBezTo>
                    <a:pt x="111" y="15"/>
                    <a:pt x="110" y="15"/>
                    <a:pt x="110" y="15"/>
                  </a:cubicBezTo>
                  <a:cubicBezTo>
                    <a:pt x="109" y="14"/>
                    <a:pt x="108" y="14"/>
                    <a:pt x="107" y="13"/>
                  </a:cubicBezTo>
                  <a:cubicBezTo>
                    <a:pt x="105" y="13"/>
                    <a:pt x="103" y="12"/>
                    <a:pt x="101" y="12"/>
                  </a:cubicBezTo>
                  <a:cubicBezTo>
                    <a:pt x="99" y="12"/>
                    <a:pt x="98" y="10"/>
                    <a:pt x="97" y="9"/>
                  </a:cubicBezTo>
                  <a:cubicBezTo>
                    <a:pt x="95" y="6"/>
                    <a:pt x="93" y="2"/>
                    <a:pt x="90" y="1"/>
                  </a:cubicBezTo>
                  <a:cubicBezTo>
                    <a:pt x="88" y="0"/>
                    <a:pt x="87" y="1"/>
                    <a:pt x="85" y="2"/>
                  </a:cubicBezTo>
                  <a:cubicBezTo>
                    <a:pt x="85" y="2"/>
                    <a:pt x="83" y="3"/>
                    <a:pt x="82" y="3"/>
                  </a:cubicBezTo>
                  <a:cubicBezTo>
                    <a:pt x="82" y="4"/>
                    <a:pt x="82" y="4"/>
                    <a:pt x="83" y="5"/>
                  </a:cubicBezTo>
                  <a:cubicBezTo>
                    <a:pt x="83" y="7"/>
                    <a:pt x="84" y="8"/>
                    <a:pt x="83" y="9"/>
                  </a:cubicBezTo>
                  <a:cubicBezTo>
                    <a:pt x="82" y="10"/>
                    <a:pt x="80" y="10"/>
                    <a:pt x="79" y="10"/>
                  </a:cubicBezTo>
                  <a:cubicBezTo>
                    <a:pt x="77" y="10"/>
                    <a:pt x="76" y="10"/>
                    <a:pt x="76" y="12"/>
                  </a:cubicBezTo>
                  <a:cubicBezTo>
                    <a:pt x="76" y="13"/>
                    <a:pt x="76" y="14"/>
                    <a:pt x="76" y="15"/>
                  </a:cubicBezTo>
                  <a:cubicBezTo>
                    <a:pt x="76" y="16"/>
                    <a:pt x="76" y="18"/>
                    <a:pt x="76" y="20"/>
                  </a:cubicBezTo>
                  <a:cubicBezTo>
                    <a:pt x="76" y="22"/>
                    <a:pt x="76" y="25"/>
                    <a:pt x="76" y="27"/>
                  </a:cubicBezTo>
                  <a:cubicBezTo>
                    <a:pt x="76" y="30"/>
                    <a:pt x="76" y="33"/>
                    <a:pt x="76" y="36"/>
                  </a:cubicBezTo>
                  <a:cubicBezTo>
                    <a:pt x="76" y="37"/>
                    <a:pt x="77" y="38"/>
                    <a:pt x="76" y="39"/>
                  </a:cubicBezTo>
                  <a:cubicBezTo>
                    <a:pt x="75" y="39"/>
                    <a:pt x="75" y="40"/>
                    <a:pt x="74" y="40"/>
                  </a:cubicBezTo>
                  <a:cubicBezTo>
                    <a:pt x="73" y="40"/>
                    <a:pt x="72" y="40"/>
                    <a:pt x="71" y="39"/>
                  </a:cubicBezTo>
                  <a:cubicBezTo>
                    <a:pt x="68" y="37"/>
                    <a:pt x="66" y="34"/>
                    <a:pt x="62" y="33"/>
                  </a:cubicBezTo>
                  <a:cubicBezTo>
                    <a:pt x="58" y="33"/>
                    <a:pt x="54" y="30"/>
                    <a:pt x="50" y="31"/>
                  </a:cubicBezTo>
                  <a:cubicBezTo>
                    <a:pt x="47" y="32"/>
                    <a:pt x="48" y="36"/>
                    <a:pt x="48" y="39"/>
                  </a:cubicBezTo>
                  <a:cubicBezTo>
                    <a:pt x="45" y="39"/>
                    <a:pt x="40" y="36"/>
                    <a:pt x="37" y="39"/>
                  </a:cubicBezTo>
                  <a:cubicBezTo>
                    <a:pt x="35" y="40"/>
                    <a:pt x="35" y="44"/>
                    <a:pt x="33" y="45"/>
                  </a:cubicBezTo>
                  <a:cubicBezTo>
                    <a:pt x="28" y="48"/>
                    <a:pt x="23" y="49"/>
                    <a:pt x="18" y="50"/>
                  </a:cubicBezTo>
                  <a:cubicBezTo>
                    <a:pt x="17" y="50"/>
                    <a:pt x="15" y="51"/>
                    <a:pt x="14" y="52"/>
                  </a:cubicBezTo>
                  <a:cubicBezTo>
                    <a:pt x="14" y="54"/>
                    <a:pt x="17" y="55"/>
                    <a:pt x="19" y="56"/>
                  </a:cubicBezTo>
                  <a:cubicBezTo>
                    <a:pt x="22" y="56"/>
                    <a:pt x="25" y="56"/>
                    <a:pt x="28" y="56"/>
                  </a:cubicBezTo>
                  <a:cubicBezTo>
                    <a:pt x="30" y="56"/>
                    <a:pt x="33" y="56"/>
                    <a:pt x="34" y="57"/>
                  </a:cubicBezTo>
                  <a:cubicBezTo>
                    <a:pt x="37" y="60"/>
                    <a:pt x="30" y="61"/>
                    <a:pt x="28" y="62"/>
                  </a:cubicBezTo>
                  <a:cubicBezTo>
                    <a:pt x="26" y="62"/>
                    <a:pt x="25" y="63"/>
                    <a:pt x="24" y="64"/>
                  </a:cubicBezTo>
                  <a:cubicBezTo>
                    <a:pt x="23" y="64"/>
                    <a:pt x="22" y="64"/>
                    <a:pt x="22" y="65"/>
                  </a:cubicBezTo>
                  <a:cubicBezTo>
                    <a:pt x="21" y="66"/>
                    <a:pt x="21" y="67"/>
                    <a:pt x="20" y="67"/>
                  </a:cubicBezTo>
                  <a:cubicBezTo>
                    <a:pt x="17" y="68"/>
                    <a:pt x="17" y="67"/>
                    <a:pt x="15" y="66"/>
                  </a:cubicBezTo>
                  <a:cubicBezTo>
                    <a:pt x="14" y="65"/>
                    <a:pt x="13" y="65"/>
                    <a:pt x="12" y="66"/>
                  </a:cubicBezTo>
                  <a:cubicBezTo>
                    <a:pt x="10" y="67"/>
                    <a:pt x="11" y="68"/>
                    <a:pt x="11" y="71"/>
                  </a:cubicBezTo>
                  <a:cubicBezTo>
                    <a:pt x="10" y="75"/>
                    <a:pt x="6" y="72"/>
                    <a:pt x="4" y="73"/>
                  </a:cubicBezTo>
                  <a:cubicBezTo>
                    <a:pt x="2" y="73"/>
                    <a:pt x="1" y="76"/>
                    <a:pt x="0" y="78"/>
                  </a:cubicBezTo>
                  <a:cubicBezTo>
                    <a:pt x="0" y="80"/>
                    <a:pt x="1" y="80"/>
                    <a:pt x="2" y="82"/>
                  </a:cubicBezTo>
                  <a:cubicBezTo>
                    <a:pt x="2" y="83"/>
                    <a:pt x="2" y="83"/>
                    <a:pt x="2" y="84"/>
                  </a:cubicBezTo>
                  <a:cubicBezTo>
                    <a:pt x="2" y="83"/>
                    <a:pt x="3" y="83"/>
                    <a:pt x="3" y="82"/>
                  </a:cubicBezTo>
                  <a:cubicBezTo>
                    <a:pt x="4" y="82"/>
                    <a:pt x="5" y="82"/>
                    <a:pt x="6" y="83"/>
                  </a:cubicBezTo>
                  <a:cubicBezTo>
                    <a:pt x="13" y="84"/>
                    <a:pt x="20" y="85"/>
                    <a:pt x="27" y="86"/>
                  </a:cubicBezTo>
                  <a:cubicBezTo>
                    <a:pt x="43" y="87"/>
                    <a:pt x="59" y="88"/>
                    <a:pt x="76" y="88"/>
                  </a:cubicBezTo>
                  <a:cubicBezTo>
                    <a:pt x="88" y="89"/>
                    <a:pt x="100" y="88"/>
                    <a:pt x="112" y="88"/>
                  </a:cubicBezTo>
                  <a:cubicBezTo>
                    <a:pt x="120" y="88"/>
                    <a:pt x="129" y="89"/>
                    <a:pt x="137" y="89"/>
                  </a:cubicBezTo>
                  <a:cubicBezTo>
                    <a:pt x="144" y="89"/>
                    <a:pt x="150" y="89"/>
                    <a:pt x="157" y="89"/>
                  </a:cubicBezTo>
                  <a:cubicBezTo>
                    <a:pt x="159" y="89"/>
                    <a:pt x="162" y="89"/>
                    <a:pt x="164" y="89"/>
                  </a:cubicBezTo>
                  <a:cubicBezTo>
                    <a:pt x="166" y="89"/>
                    <a:pt x="168" y="90"/>
                    <a:pt x="170" y="90"/>
                  </a:cubicBezTo>
                  <a:cubicBezTo>
                    <a:pt x="175" y="92"/>
                    <a:pt x="179" y="95"/>
                    <a:pt x="184" y="96"/>
                  </a:cubicBezTo>
                  <a:cubicBezTo>
                    <a:pt x="184" y="96"/>
                    <a:pt x="185" y="96"/>
                    <a:pt x="185" y="96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7" name="Freeform 37"/>
            <p:cNvSpPr>
              <a:spLocks/>
            </p:cNvSpPr>
            <p:nvPr/>
          </p:nvSpPr>
          <p:spPr bwMode="auto">
            <a:xfrm>
              <a:off x="5607050" y="3459163"/>
              <a:ext cx="592138" cy="452438"/>
            </a:xfrm>
            <a:custGeom>
              <a:avLst/>
              <a:gdLst/>
              <a:ahLst/>
              <a:cxnLst>
                <a:cxn ang="0">
                  <a:pos x="305" y="111"/>
                </a:cxn>
                <a:cxn ang="0">
                  <a:pos x="303" y="97"/>
                </a:cxn>
                <a:cxn ang="0">
                  <a:pos x="309" y="76"/>
                </a:cxn>
                <a:cxn ang="0">
                  <a:pos x="291" y="69"/>
                </a:cxn>
                <a:cxn ang="0">
                  <a:pos x="278" y="50"/>
                </a:cxn>
                <a:cxn ang="0">
                  <a:pos x="252" y="32"/>
                </a:cxn>
                <a:cxn ang="0">
                  <a:pos x="229" y="29"/>
                </a:cxn>
                <a:cxn ang="0">
                  <a:pos x="213" y="9"/>
                </a:cxn>
                <a:cxn ang="0">
                  <a:pos x="208" y="2"/>
                </a:cxn>
                <a:cxn ang="0">
                  <a:pos x="200" y="11"/>
                </a:cxn>
                <a:cxn ang="0">
                  <a:pos x="189" y="18"/>
                </a:cxn>
                <a:cxn ang="0">
                  <a:pos x="168" y="16"/>
                </a:cxn>
                <a:cxn ang="0">
                  <a:pos x="154" y="13"/>
                </a:cxn>
                <a:cxn ang="0">
                  <a:pos x="137" y="10"/>
                </a:cxn>
                <a:cxn ang="0">
                  <a:pos x="121" y="10"/>
                </a:cxn>
                <a:cxn ang="0">
                  <a:pos x="112" y="6"/>
                </a:cxn>
                <a:cxn ang="0">
                  <a:pos x="101" y="7"/>
                </a:cxn>
                <a:cxn ang="0">
                  <a:pos x="78" y="5"/>
                </a:cxn>
                <a:cxn ang="0">
                  <a:pos x="53" y="3"/>
                </a:cxn>
                <a:cxn ang="0">
                  <a:pos x="36" y="13"/>
                </a:cxn>
                <a:cxn ang="0">
                  <a:pos x="20" y="23"/>
                </a:cxn>
                <a:cxn ang="0">
                  <a:pos x="12" y="27"/>
                </a:cxn>
                <a:cxn ang="0">
                  <a:pos x="8" y="34"/>
                </a:cxn>
                <a:cxn ang="0">
                  <a:pos x="1" y="51"/>
                </a:cxn>
                <a:cxn ang="0">
                  <a:pos x="3" y="65"/>
                </a:cxn>
                <a:cxn ang="0">
                  <a:pos x="8" y="74"/>
                </a:cxn>
                <a:cxn ang="0">
                  <a:pos x="9" y="90"/>
                </a:cxn>
                <a:cxn ang="0">
                  <a:pos x="15" y="106"/>
                </a:cxn>
                <a:cxn ang="0">
                  <a:pos x="22" y="110"/>
                </a:cxn>
                <a:cxn ang="0">
                  <a:pos x="42" y="124"/>
                </a:cxn>
                <a:cxn ang="0">
                  <a:pos x="54" y="129"/>
                </a:cxn>
                <a:cxn ang="0">
                  <a:pos x="64" y="131"/>
                </a:cxn>
                <a:cxn ang="0">
                  <a:pos x="83" y="131"/>
                </a:cxn>
                <a:cxn ang="0">
                  <a:pos x="95" y="140"/>
                </a:cxn>
                <a:cxn ang="0">
                  <a:pos x="103" y="156"/>
                </a:cxn>
                <a:cxn ang="0">
                  <a:pos x="92" y="184"/>
                </a:cxn>
                <a:cxn ang="0">
                  <a:pos x="95" y="192"/>
                </a:cxn>
                <a:cxn ang="0">
                  <a:pos x="114" y="200"/>
                </a:cxn>
                <a:cxn ang="0">
                  <a:pos x="128" y="207"/>
                </a:cxn>
                <a:cxn ang="0">
                  <a:pos x="138" y="221"/>
                </a:cxn>
                <a:cxn ang="0">
                  <a:pos x="137" y="237"/>
                </a:cxn>
                <a:cxn ang="0">
                  <a:pos x="144" y="235"/>
                </a:cxn>
                <a:cxn ang="0">
                  <a:pos x="159" y="236"/>
                </a:cxn>
                <a:cxn ang="0">
                  <a:pos x="185" y="240"/>
                </a:cxn>
                <a:cxn ang="0">
                  <a:pos x="195" y="232"/>
                </a:cxn>
                <a:cxn ang="0">
                  <a:pos x="203" y="234"/>
                </a:cxn>
                <a:cxn ang="0">
                  <a:pos x="207" y="222"/>
                </a:cxn>
                <a:cxn ang="0">
                  <a:pos x="223" y="220"/>
                </a:cxn>
                <a:cxn ang="0">
                  <a:pos x="237" y="204"/>
                </a:cxn>
                <a:cxn ang="0">
                  <a:pos x="247" y="212"/>
                </a:cxn>
                <a:cxn ang="0">
                  <a:pos x="259" y="217"/>
                </a:cxn>
                <a:cxn ang="0">
                  <a:pos x="251" y="202"/>
                </a:cxn>
                <a:cxn ang="0">
                  <a:pos x="251" y="191"/>
                </a:cxn>
                <a:cxn ang="0">
                  <a:pos x="258" y="164"/>
                </a:cxn>
                <a:cxn ang="0">
                  <a:pos x="261" y="149"/>
                </a:cxn>
                <a:cxn ang="0">
                  <a:pos x="274" y="142"/>
                </a:cxn>
                <a:cxn ang="0">
                  <a:pos x="283" y="135"/>
                </a:cxn>
                <a:cxn ang="0">
                  <a:pos x="289" y="129"/>
                </a:cxn>
                <a:cxn ang="0">
                  <a:pos x="304" y="123"/>
                </a:cxn>
                <a:cxn ang="0">
                  <a:pos x="312" y="116"/>
                </a:cxn>
              </a:cxnLst>
              <a:rect l="0" t="0" r="r" b="b"/>
              <a:pathLst>
                <a:path w="317" h="242">
                  <a:moveTo>
                    <a:pt x="316" y="111"/>
                  </a:moveTo>
                  <a:cubicBezTo>
                    <a:pt x="314" y="110"/>
                    <a:pt x="310" y="110"/>
                    <a:pt x="308" y="110"/>
                  </a:cubicBezTo>
                  <a:cubicBezTo>
                    <a:pt x="308" y="110"/>
                    <a:pt x="307" y="110"/>
                    <a:pt x="306" y="110"/>
                  </a:cubicBezTo>
                  <a:cubicBezTo>
                    <a:pt x="306" y="110"/>
                    <a:pt x="305" y="111"/>
                    <a:pt x="305" y="111"/>
                  </a:cubicBezTo>
                  <a:cubicBezTo>
                    <a:pt x="303" y="111"/>
                    <a:pt x="302" y="109"/>
                    <a:pt x="301" y="108"/>
                  </a:cubicBezTo>
                  <a:cubicBezTo>
                    <a:pt x="300" y="106"/>
                    <a:pt x="300" y="106"/>
                    <a:pt x="301" y="105"/>
                  </a:cubicBezTo>
                  <a:cubicBezTo>
                    <a:pt x="302" y="103"/>
                    <a:pt x="304" y="102"/>
                    <a:pt x="304" y="100"/>
                  </a:cubicBezTo>
                  <a:cubicBezTo>
                    <a:pt x="304" y="98"/>
                    <a:pt x="304" y="98"/>
                    <a:pt x="303" y="97"/>
                  </a:cubicBezTo>
                  <a:cubicBezTo>
                    <a:pt x="302" y="96"/>
                    <a:pt x="300" y="97"/>
                    <a:pt x="301" y="94"/>
                  </a:cubicBezTo>
                  <a:cubicBezTo>
                    <a:pt x="301" y="94"/>
                    <a:pt x="301" y="93"/>
                    <a:pt x="302" y="92"/>
                  </a:cubicBezTo>
                  <a:cubicBezTo>
                    <a:pt x="304" y="91"/>
                    <a:pt x="305" y="89"/>
                    <a:pt x="306" y="87"/>
                  </a:cubicBezTo>
                  <a:cubicBezTo>
                    <a:pt x="307" y="85"/>
                    <a:pt x="312" y="78"/>
                    <a:pt x="309" y="76"/>
                  </a:cubicBezTo>
                  <a:cubicBezTo>
                    <a:pt x="308" y="75"/>
                    <a:pt x="306" y="75"/>
                    <a:pt x="305" y="75"/>
                  </a:cubicBezTo>
                  <a:cubicBezTo>
                    <a:pt x="303" y="75"/>
                    <a:pt x="301" y="74"/>
                    <a:pt x="299" y="74"/>
                  </a:cubicBezTo>
                  <a:cubicBezTo>
                    <a:pt x="297" y="73"/>
                    <a:pt x="293" y="73"/>
                    <a:pt x="292" y="72"/>
                  </a:cubicBezTo>
                  <a:cubicBezTo>
                    <a:pt x="291" y="71"/>
                    <a:pt x="291" y="70"/>
                    <a:pt x="291" y="69"/>
                  </a:cubicBezTo>
                  <a:cubicBezTo>
                    <a:pt x="290" y="67"/>
                    <a:pt x="288" y="65"/>
                    <a:pt x="287" y="63"/>
                  </a:cubicBezTo>
                  <a:cubicBezTo>
                    <a:pt x="286" y="62"/>
                    <a:pt x="285" y="61"/>
                    <a:pt x="285" y="60"/>
                  </a:cubicBezTo>
                  <a:cubicBezTo>
                    <a:pt x="284" y="60"/>
                    <a:pt x="284" y="59"/>
                    <a:pt x="284" y="58"/>
                  </a:cubicBezTo>
                  <a:cubicBezTo>
                    <a:pt x="283" y="55"/>
                    <a:pt x="280" y="52"/>
                    <a:pt x="278" y="50"/>
                  </a:cubicBezTo>
                  <a:cubicBezTo>
                    <a:pt x="275" y="48"/>
                    <a:pt x="273" y="46"/>
                    <a:pt x="270" y="44"/>
                  </a:cubicBezTo>
                  <a:cubicBezTo>
                    <a:pt x="267" y="42"/>
                    <a:pt x="265" y="40"/>
                    <a:pt x="262" y="39"/>
                  </a:cubicBezTo>
                  <a:cubicBezTo>
                    <a:pt x="260" y="37"/>
                    <a:pt x="258" y="36"/>
                    <a:pt x="255" y="35"/>
                  </a:cubicBezTo>
                  <a:cubicBezTo>
                    <a:pt x="254" y="34"/>
                    <a:pt x="253" y="32"/>
                    <a:pt x="252" y="32"/>
                  </a:cubicBezTo>
                  <a:cubicBezTo>
                    <a:pt x="250" y="30"/>
                    <a:pt x="248" y="30"/>
                    <a:pt x="246" y="30"/>
                  </a:cubicBezTo>
                  <a:cubicBezTo>
                    <a:pt x="243" y="30"/>
                    <a:pt x="239" y="31"/>
                    <a:pt x="236" y="29"/>
                  </a:cubicBezTo>
                  <a:cubicBezTo>
                    <a:pt x="235" y="29"/>
                    <a:pt x="234" y="27"/>
                    <a:pt x="233" y="27"/>
                  </a:cubicBezTo>
                  <a:cubicBezTo>
                    <a:pt x="232" y="26"/>
                    <a:pt x="229" y="27"/>
                    <a:pt x="229" y="29"/>
                  </a:cubicBezTo>
                  <a:cubicBezTo>
                    <a:pt x="227" y="29"/>
                    <a:pt x="226" y="26"/>
                    <a:pt x="226" y="25"/>
                  </a:cubicBezTo>
                  <a:cubicBezTo>
                    <a:pt x="223" y="24"/>
                    <a:pt x="222" y="22"/>
                    <a:pt x="221" y="19"/>
                  </a:cubicBezTo>
                  <a:cubicBezTo>
                    <a:pt x="219" y="16"/>
                    <a:pt x="217" y="14"/>
                    <a:pt x="216" y="11"/>
                  </a:cubicBezTo>
                  <a:cubicBezTo>
                    <a:pt x="215" y="10"/>
                    <a:pt x="214" y="9"/>
                    <a:pt x="213" y="9"/>
                  </a:cubicBezTo>
                  <a:cubicBezTo>
                    <a:pt x="213" y="8"/>
                    <a:pt x="213" y="8"/>
                    <a:pt x="213" y="7"/>
                  </a:cubicBezTo>
                  <a:cubicBezTo>
                    <a:pt x="214" y="6"/>
                    <a:pt x="213" y="6"/>
                    <a:pt x="214" y="5"/>
                  </a:cubicBezTo>
                  <a:cubicBezTo>
                    <a:pt x="217" y="3"/>
                    <a:pt x="217" y="3"/>
                    <a:pt x="217" y="3"/>
                  </a:cubicBezTo>
                  <a:cubicBezTo>
                    <a:pt x="217" y="0"/>
                    <a:pt x="210" y="0"/>
                    <a:pt x="208" y="2"/>
                  </a:cubicBezTo>
                  <a:cubicBezTo>
                    <a:pt x="208" y="2"/>
                    <a:pt x="208" y="3"/>
                    <a:pt x="207" y="3"/>
                  </a:cubicBezTo>
                  <a:cubicBezTo>
                    <a:pt x="207" y="4"/>
                    <a:pt x="206" y="4"/>
                    <a:pt x="205" y="4"/>
                  </a:cubicBezTo>
                  <a:cubicBezTo>
                    <a:pt x="204" y="5"/>
                    <a:pt x="202" y="6"/>
                    <a:pt x="201" y="7"/>
                  </a:cubicBezTo>
                  <a:cubicBezTo>
                    <a:pt x="200" y="8"/>
                    <a:pt x="200" y="10"/>
                    <a:pt x="200" y="11"/>
                  </a:cubicBezTo>
                  <a:cubicBezTo>
                    <a:pt x="200" y="12"/>
                    <a:pt x="200" y="13"/>
                    <a:pt x="200" y="14"/>
                  </a:cubicBezTo>
                  <a:cubicBezTo>
                    <a:pt x="199" y="14"/>
                    <a:pt x="198" y="14"/>
                    <a:pt x="197" y="14"/>
                  </a:cubicBezTo>
                  <a:cubicBezTo>
                    <a:pt x="196" y="15"/>
                    <a:pt x="196" y="16"/>
                    <a:pt x="195" y="17"/>
                  </a:cubicBezTo>
                  <a:cubicBezTo>
                    <a:pt x="193" y="18"/>
                    <a:pt x="190" y="18"/>
                    <a:pt x="189" y="18"/>
                  </a:cubicBezTo>
                  <a:cubicBezTo>
                    <a:pt x="184" y="17"/>
                    <a:pt x="179" y="15"/>
                    <a:pt x="175" y="18"/>
                  </a:cubicBezTo>
                  <a:cubicBezTo>
                    <a:pt x="174" y="18"/>
                    <a:pt x="173" y="20"/>
                    <a:pt x="171" y="20"/>
                  </a:cubicBezTo>
                  <a:cubicBezTo>
                    <a:pt x="170" y="20"/>
                    <a:pt x="169" y="20"/>
                    <a:pt x="169" y="19"/>
                  </a:cubicBezTo>
                  <a:cubicBezTo>
                    <a:pt x="168" y="18"/>
                    <a:pt x="169" y="17"/>
                    <a:pt x="168" y="16"/>
                  </a:cubicBezTo>
                  <a:cubicBezTo>
                    <a:pt x="168" y="15"/>
                    <a:pt x="166" y="15"/>
                    <a:pt x="165" y="15"/>
                  </a:cubicBezTo>
                  <a:cubicBezTo>
                    <a:pt x="163" y="14"/>
                    <a:pt x="161" y="13"/>
                    <a:pt x="159" y="12"/>
                  </a:cubicBezTo>
                  <a:cubicBezTo>
                    <a:pt x="158" y="11"/>
                    <a:pt x="157" y="10"/>
                    <a:pt x="156" y="10"/>
                  </a:cubicBezTo>
                  <a:cubicBezTo>
                    <a:pt x="154" y="10"/>
                    <a:pt x="155" y="13"/>
                    <a:pt x="154" y="13"/>
                  </a:cubicBezTo>
                  <a:cubicBezTo>
                    <a:pt x="153" y="12"/>
                    <a:pt x="153" y="10"/>
                    <a:pt x="153" y="9"/>
                  </a:cubicBezTo>
                  <a:cubicBezTo>
                    <a:pt x="150" y="8"/>
                    <a:pt x="148" y="8"/>
                    <a:pt x="145" y="9"/>
                  </a:cubicBezTo>
                  <a:cubicBezTo>
                    <a:pt x="144" y="9"/>
                    <a:pt x="143" y="10"/>
                    <a:pt x="142" y="10"/>
                  </a:cubicBezTo>
                  <a:cubicBezTo>
                    <a:pt x="140" y="10"/>
                    <a:pt x="138" y="10"/>
                    <a:pt x="137" y="10"/>
                  </a:cubicBezTo>
                  <a:cubicBezTo>
                    <a:pt x="135" y="9"/>
                    <a:pt x="134" y="8"/>
                    <a:pt x="132" y="8"/>
                  </a:cubicBezTo>
                  <a:cubicBezTo>
                    <a:pt x="131" y="8"/>
                    <a:pt x="129" y="7"/>
                    <a:pt x="128" y="7"/>
                  </a:cubicBezTo>
                  <a:cubicBezTo>
                    <a:pt x="127" y="8"/>
                    <a:pt x="127" y="10"/>
                    <a:pt x="125" y="10"/>
                  </a:cubicBezTo>
                  <a:cubicBezTo>
                    <a:pt x="124" y="10"/>
                    <a:pt x="122" y="9"/>
                    <a:pt x="121" y="10"/>
                  </a:cubicBezTo>
                  <a:cubicBezTo>
                    <a:pt x="121" y="12"/>
                    <a:pt x="117" y="14"/>
                    <a:pt x="115" y="14"/>
                  </a:cubicBezTo>
                  <a:cubicBezTo>
                    <a:pt x="113" y="13"/>
                    <a:pt x="113" y="10"/>
                    <a:pt x="113" y="9"/>
                  </a:cubicBezTo>
                  <a:cubicBezTo>
                    <a:pt x="113" y="8"/>
                    <a:pt x="112" y="8"/>
                    <a:pt x="112" y="8"/>
                  </a:cubicBezTo>
                  <a:cubicBezTo>
                    <a:pt x="112" y="7"/>
                    <a:pt x="112" y="6"/>
                    <a:pt x="112" y="6"/>
                  </a:cubicBezTo>
                  <a:cubicBezTo>
                    <a:pt x="112" y="5"/>
                    <a:pt x="110" y="6"/>
                    <a:pt x="110" y="6"/>
                  </a:cubicBezTo>
                  <a:cubicBezTo>
                    <a:pt x="109" y="5"/>
                    <a:pt x="107" y="5"/>
                    <a:pt x="106" y="5"/>
                  </a:cubicBezTo>
                  <a:cubicBezTo>
                    <a:pt x="105" y="5"/>
                    <a:pt x="104" y="5"/>
                    <a:pt x="103" y="5"/>
                  </a:cubicBezTo>
                  <a:cubicBezTo>
                    <a:pt x="102" y="6"/>
                    <a:pt x="102" y="7"/>
                    <a:pt x="101" y="7"/>
                  </a:cubicBezTo>
                  <a:cubicBezTo>
                    <a:pt x="100" y="7"/>
                    <a:pt x="99" y="7"/>
                    <a:pt x="99" y="7"/>
                  </a:cubicBezTo>
                  <a:cubicBezTo>
                    <a:pt x="97" y="7"/>
                    <a:pt x="96" y="7"/>
                    <a:pt x="94" y="7"/>
                  </a:cubicBezTo>
                  <a:cubicBezTo>
                    <a:pt x="91" y="7"/>
                    <a:pt x="89" y="7"/>
                    <a:pt x="86" y="6"/>
                  </a:cubicBezTo>
                  <a:cubicBezTo>
                    <a:pt x="83" y="5"/>
                    <a:pt x="81" y="5"/>
                    <a:pt x="78" y="5"/>
                  </a:cubicBezTo>
                  <a:cubicBezTo>
                    <a:pt x="75" y="5"/>
                    <a:pt x="71" y="5"/>
                    <a:pt x="67" y="4"/>
                  </a:cubicBezTo>
                  <a:cubicBezTo>
                    <a:pt x="66" y="4"/>
                    <a:pt x="65" y="3"/>
                    <a:pt x="64" y="3"/>
                  </a:cubicBezTo>
                  <a:cubicBezTo>
                    <a:pt x="63" y="3"/>
                    <a:pt x="62" y="2"/>
                    <a:pt x="61" y="2"/>
                  </a:cubicBezTo>
                  <a:cubicBezTo>
                    <a:pt x="60" y="1"/>
                    <a:pt x="54" y="1"/>
                    <a:pt x="53" y="3"/>
                  </a:cubicBezTo>
                  <a:cubicBezTo>
                    <a:pt x="52" y="5"/>
                    <a:pt x="54" y="7"/>
                    <a:pt x="50" y="7"/>
                  </a:cubicBezTo>
                  <a:cubicBezTo>
                    <a:pt x="49" y="7"/>
                    <a:pt x="48" y="7"/>
                    <a:pt x="47" y="8"/>
                  </a:cubicBezTo>
                  <a:cubicBezTo>
                    <a:pt x="45" y="8"/>
                    <a:pt x="42" y="9"/>
                    <a:pt x="41" y="10"/>
                  </a:cubicBezTo>
                  <a:cubicBezTo>
                    <a:pt x="39" y="12"/>
                    <a:pt x="39" y="13"/>
                    <a:pt x="36" y="13"/>
                  </a:cubicBezTo>
                  <a:cubicBezTo>
                    <a:pt x="33" y="13"/>
                    <a:pt x="31" y="12"/>
                    <a:pt x="29" y="14"/>
                  </a:cubicBezTo>
                  <a:cubicBezTo>
                    <a:pt x="28" y="14"/>
                    <a:pt x="26" y="16"/>
                    <a:pt x="25" y="17"/>
                  </a:cubicBezTo>
                  <a:cubicBezTo>
                    <a:pt x="23" y="17"/>
                    <a:pt x="22" y="17"/>
                    <a:pt x="21" y="19"/>
                  </a:cubicBezTo>
                  <a:cubicBezTo>
                    <a:pt x="21" y="20"/>
                    <a:pt x="21" y="22"/>
                    <a:pt x="20" y="23"/>
                  </a:cubicBezTo>
                  <a:cubicBezTo>
                    <a:pt x="19" y="23"/>
                    <a:pt x="18" y="24"/>
                    <a:pt x="17" y="24"/>
                  </a:cubicBezTo>
                  <a:cubicBezTo>
                    <a:pt x="16" y="24"/>
                    <a:pt x="15" y="25"/>
                    <a:pt x="15" y="25"/>
                  </a:cubicBezTo>
                  <a:cubicBezTo>
                    <a:pt x="15" y="25"/>
                    <a:pt x="14" y="26"/>
                    <a:pt x="14" y="26"/>
                  </a:cubicBezTo>
                  <a:cubicBezTo>
                    <a:pt x="14" y="26"/>
                    <a:pt x="12" y="26"/>
                    <a:pt x="12" y="27"/>
                  </a:cubicBezTo>
                  <a:cubicBezTo>
                    <a:pt x="11" y="27"/>
                    <a:pt x="12" y="28"/>
                    <a:pt x="12" y="28"/>
                  </a:cubicBezTo>
                  <a:cubicBezTo>
                    <a:pt x="12" y="29"/>
                    <a:pt x="11" y="29"/>
                    <a:pt x="11" y="29"/>
                  </a:cubicBezTo>
                  <a:cubicBezTo>
                    <a:pt x="11" y="30"/>
                    <a:pt x="10" y="31"/>
                    <a:pt x="10" y="31"/>
                  </a:cubicBezTo>
                  <a:cubicBezTo>
                    <a:pt x="9" y="32"/>
                    <a:pt x="9" y="33"/>
                    <a:pt x="8" y="34"/>
                  </a:cubicBezTo>
                  <a:cubicBezTo>
                    <a:pt x="7" y="34"/>
                    <a:pt x="6" y="33"/>
                    <a:pt x="5" y="34"/>
                  </a:cubicBezTo>
                  <a:cubicBezTo>
                    <a:pt x="3" y="35"/>
                    <a:pt x="3" y="38"/>
                    <a:pt x="3" y="40"/>
                  </a:cubicBezTo>
                  <a:cubicBezTo>
                    <a:pt x="2" y="43"/>
                    <a:pt x="2" y="46"/>
                    <a:pt x="2" y="49"/>
                  </a:cubicBezTo>
                  <a:cubicBezTo>
                    <a:pt x="2" y="50"/>
                    <a:pt x="2" y="50"/>
                    <a:pt x="1" y="51"/>
                  </a:cubicBezTo>
                  <a:cubicBezTo>
                    <a:pt x="0" y="52"/>
                    <a:pt x="0" y="53"/>
                    <a:pt x="0" y="55"/>
                  </a:cubicBezTo>
                  <a:cubicBezTo>
                    <a:pt x="0" y="57"/>
                    <a:pt x="0" y="61"/>
                    <a:pt x="1" y="63"/>
                  </a:cubicBezTo>
                  <a:cubicBezTo>
                    <a:pt x="1" y="63"/>
                    <a:pt x="2" y="63"/>
                    <a:pt x="2" y="64"/>
                  </a:cubicBezTo>
                  <a:cubicBezTo>
                    <a:pt x="2" y="64"/>
                    <a:pt x="3" y="65"/>
                    <a:pt x="3" y="65"/>
                  </a:cubicBezTo>
                  <a:cubicBezTo>
                    <a:pt x="4" y="67"/>
                    <a:pt x="5" y="67"/>
                    <a:pt x="5" y="69"/>
                  </a:cubicBezTo>
                  <a:cubicBezTo>
                    <a:pt x="5" y="68"/>
                    <a:pt x="6" y="70"/>
                    <a:pt x="6" y="70"/>
                  </a:cubicBezTo>
                  <a:cubicBezTo>
                    <a:pt x="6" y="70"/>
                    <a:pt x="7" y="70"/>
                    <a:pt x="7" y="71"/>
                  </a:cubicBezTo>
                  <a:cubicBezTo>
                    <a:pt x="8" y="72"/>
                    <a:pt x="7" y="73"/>
                    <a:pt x="8" y="74"/>
                  </a:cubicBezTo>
                  <a:cubicBezTo>
                    <a:pt x="8" y="76"/>
                    <a:pt x="8" y="76"/>
                    <a:pt x="8" y="78"/>
                  </a:cubicBezTo>
                  <a:cubicBezTo>
                    <a:pt x="9" y="81"/>
                    <a:pt x="8" y="84"/>
                    <a:pt x="8" y="88"/>
                  </a:cubicBezTo>
                  <a:cubicBezTo>
                    <a:pt x="8" y="88"/>
                    <a:pt x="8" y="89"/>
                    <a:pt x="8" y="89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10" y="92"/>
                    <a:pt x="12" y="95"/>
                    <a:pt x="12" y="97"/>
                  </a:cubicBezTo>
                  <a:cubicBezTo>
                    <a:pt x="12" y="99"/>
                    <a:pt x="12" y="101"/>
                    <a:pt x="12" y="102"/>
                  </a:cubicBezTo>
                  <a:cubicBezTo>
                    <a:pt x="12" y="103"/>
                    <a:pt x="12" y="104"/>
                    <a:pt x="13" y="105"/>
                  </a:cubicBezTo>
                  <a:cubicBezTo>
                    <a:pt x="13" y="105"/>
                    <a:pt x="14" y="105"/>
                    <a:pt x="15" y="106"/>
                  </a:cubicBezTo>
                  <a:cubicBezTo>
                    <a:pt x="15" y="107"/>
                    <a:pt x="15" y="107"/>
                    <a:pt x="15" y="108"/>
                  </a:cubicBezTo>
                  <a:cubicBezTo>
                    <a:pt x="16" y="109"/>
                    <a:pt x="18" y="109"/>
                    <a:pt x="19" y="110"/>
                  </a:cubicBezTo>
                  <a:cubicBezTo>
                    <a:pt x="19" y="111"/>
                    <a:pt x="19" y="111"/>
                    <a:pt x="19" y="111"/>
                  </a:cubicBezTo>
                  <a:cubicBezTo>
                    <a:pt x="20" y="110"/>
                    <a:pt x="20" y="109"/>
                    <a:pt x="22" y="110"/>
                  </a:cubicBezTo>
                  <a:cubicBezTo>
                    <a:pt x="25" y="111"/>
                    <a:pt x="27" y="115"/>
                    <a:pt x="29" y="118"/>
                  </a:cubicBezTo>
                  <a:cubicBezTo>
                    <a:pt x="30" y="119"/>
                    <a:pt x="31" y="121"/>
                    <a:pt x="33" y="121"/>
                  </a:cubicBezTo>
                  <a:cubicBezTo>
                    <a:pt x="35" y="121"/>
                    <a:pt x="37" y="122"/>
                    <a:pt x="39" y="122"/>
                  </a:cubicBezTo>
                  <a:cubicBezTo>
                    <a:pt x="40" y="123"/>
                    <a:pt x="41" y="123"/>
                    <a:pt x="42" y="124"/>
                  </a:cubicBezTo>
                  <a:cubicBezTo>
                    <a:pt x="42" y="124"/>
                    <a:pt x="43" y="124"/>
                    <a:pt x="44" y="124"/>
                  </a:cubicBezTo>
                  <a:cubicBezTo>
                    <a:pt x="45" y="125"/>
                    <a:pt x="46" y="126"/>
                    <a:pt x="47" y="126"/>
                  </a:cubicBezTo>
                  <a:cubicBezTo>
                    <a:pt x="48" y="127"/>
                    <a:pt x="51" y="126"/>
                    <a:pt x="52" y="127"/>
                  </a:cubicBezTo>
                  <a:cubicBezTo>
                    <a:pt x="53" y="128"/>
                    <a:pt x="53" y="129"/>
                    <a:pt x="54" y="129"/>
                  </a:cubicBezTo>
                  <a:cubicBezTo>
                    <a:pt x="55" y="129"/>
                    <a:pt x="55" y="128"/>
                    <a:pt x="56" y="128"/>
                  </a:cubicBezTo>
                  <a:cubicBezTo>
                    <a:pt x="57" y="127"/>
                    <a:pt x="58" y="130"/>
                    <a:pt x="59" y="131"/>
                  </a:cubicBezTo>
                  <a:cubicBezTo>
                    <a:pt x="60" y="131"/>
                    <a:pt x="61" y="133"/>
                    <a:pt x="62" y="133"/>
                  </a:cubicBezTo>
                  <a:cubicBezTo>
                    <a:pt x="64" y="133"/>
                    <a:pt x="63" y="132"/>
                    <a:pt x="64" y="131"/>
                  </a:cubicBezTo>
                  <a:cubicBezTo>
                    <a:pt x="64" y="131"/>
                    <a:pt x="65" y="130"/>
                    <a:pt x="66" y="129"/>
                  </a:cubicBezTo>
                  <a:cubicBezTo>
                    <a:pt x="68" y="128"/>
                    <a:pt x="69" y="128"/>
                    <a:pt x="71" y="129"/>
                  </a:cubicBezTo>
                  <a:cubicBezTo>
                    <a:pt x="74" y="130"/>
                    <a:pt x="76" y="131"/>
                    <a:pt x="80" y="131"/>
                  </a:cubicBezTo>
                  <a:cubicBezTo>
                    <a:pt x="81" y="131"/>
                    <a:pt x="82" y="131"/>
                    <a:pt x="83" y="131"/>
                  </a:cubicBezTo>
                  <a:cubicBezTo>
                    <a:pt x="84" y="130"/>
                    <a:pt x="84" y="129"/>
                    <a:pt x="86" y="129"/>
                  </a:cubicBezTo>
                  <a:cubicBezTo>
                    <a:pt x="87" y="129"/>
                    <a:pt x="89" y="131"/>
                    <a:pt x="90" y="132"/>
                  </a:cubicBezTo>
                  <a:cubicBezTo>
                    <a:pt x="91" y="134"/>
                    <a:pt x="90" y="135"/>
                    <a:pt x="91" y="136"/>
                  </a:cubicBezTo>
                  <a:cubicBezTo>
                    <a:pt x="91" y="137"/>
                    <a:pt x="94" y="139"/>
                    <a:pt x="95" y="140"/>
                  </a:cubicBezTo>
                  <a:cubicBezTo>
                    <a:pt x="96" y="141"/>
                    <a:pt x="98" y="141"/>
                    <a:pt x="99" y="142"/>
                  </a:cubicBezTo>
                  <a:cubicBezTo>
                    <a:pt x="100" y="144"/>
                    <a:pt x="100" y="146"/>
                    <a:pt x="101" y="147"/>
                  </a:cubicBezTo>
                  <a:cubicBezTo>
                    <a:pt x="101" y="149"/>
                    <a:pt x="104" y="151"/>
                    <a:pt x="104" y="154"/>
                  </a:cubicBezTo>
                  <a:cubicBezTo>
                    <a:pt x="104" y="155"/>
                    <a:pt x="104" y="156"/>
                    <a:pt x="103" y="156"/>
                  </a:cubicBezTo>
                  <a:cubicBezTo>
                    <a:pt x="101" y="159"/>
                    <a:pt x="99" y="162"/>
                    <a:pt x="97" y="164"/>
                  </a:cubicBezTo>
                  <a:cubicBezTo>
                    <a:pt x="95" y="166"/>
                    <a:pt x="95" y="167"/>
                    <a:pt x="95" y="170"/>
                  </a:cubicBezTo>
                  <a:cubicBezTo>
                    <a:pt x="94" y="173"/>
                    <a:pt x="93" y="176"/>
                    <a:pt x="93" y="180"/>
                  </a:cubicBezTo>
                  <a:cubicBezTo>
                    <a:pt x="93" y="181"/>
                    <a:pt x="92" y="182"/>
                    <a:pt x="92" y="184"/>
                  </a:cubicBezTo>
                  <a:cubicBezTo>
                    <a:pt x="92" y="185"/>
                    <a:pt x="92" y="187"/>
                    <a:pt x="92" y="189"/>
                  </a:cubicBezTo>
                  <a:cubicBezTo>
                    <a:pt x="92" y="190"/>
                    <a:pt x="92" y="190"/>
                    <a:pt x="93" y="190"/>
                  </a:cubicBezTo>
                  <a:cubicBezTo>
                    <a:pt x="93" y="190"/>
                    <a:pt x="94" y="190"/>
                    <a:pt x="94" y="191"/>
                  </a:cubicBezTo>
                  <a:cubicBezTo>
                    <a:pt x="95" y="191"/>
                    <a:pt x="95" y="191"/>
                    <a:pt x="95" y="192"/>
                  </a:cubicBezTo>
                  <a:cubicBezTo>
                    <a:pt x="97" y="193"/>
                    <a:pt x="99" y="194"/>
                    <a:pt x="101" y="194"/>
                  </a:cubicBezTo>
                  <a:cubicBezTo>
                    <a:pt x="103" y="195"/>
                    <a:pt x="105" y="196"/>
                    <a:pt x="107" y="196"/>
                  </a:cubicBezTo>
                  <a:cubicBezTo>
                    <a:pt x="109" y="196"/>
                    <a:pt x="110" y="196"/>
                    <a:pt x="111" y="197"/>
                  </a:cubicBezTo>
                  <a:cubicBezTo>
                    <a:pt x="112" y="198"/>
                    <a:pt x="113" y="199"/>
                    <a:pt x="114" y="200"/>
                  </a:cubicBezTo>
                  <a:cubicBezTo>
                    <a:pt x="114" y="200"/>
                    <a:pt x="115" y="201"/>
                    <a:pt x="115" y="201"/>
                  </a:cubicBezTo>
                  <a:cubicBezTo>
                    <a:pt x="116" y="202"/>
                    <a:pt x="115" y="203"/>
                    <a:pt x="116" y="203"/>
                  </a:cubicBezTo>
                  <a:cubicBezTo>
                    <a:pt x="116" y="204"/>
                    <a:pt x="117" y="205"/>
                    <a:pt x="117" y="205"/>
                  </a:cubicBezTo>
                  <a:cubicBezTo>
                    <a:pt x="121" y="206"/>
                    <a:pt x="125" y="205"/>
                    <a:pt x="128" y="207"/>
                  </a:cubicBezTo>
                  <a:cubicBezTo>
                    <a:pt x="129" y="208"/>
                    <a:pt x="131" y="210"/>
                    <a:pt x="132" y="210"/>
                  </a:cubicBezTo>
                  <a:cubicBezTo>
                    <a:pt x="132" y="211"/>
                    <a:pt x="132" y="212"/>
                    <a:pt x="132" y="213"/>
                  </a:cubicBezTo>
                  <a:cubicBezTo>
                    <a:pt x="132" y="215"/>
                    <a:pt x="134" y="216"/>
                    <a:pt x="134" y="217"/>
                  </a:cubicBezTo>
                  <a:cubicBezTo>
                    <a:pt x="135" y="218"/>
                    <a:pt x="137" y="219"/>
                    <a:pt x="138" y="221"/>
                  </a:cubicBezTo>
                  <a:cubicBezTo>
                    <a:pt x="139" y="223"/>
                    <a:pt x="139" y="228"/>
                    <a:pt x="138" y="230"/>
                  </a:cubicBezTo>
                  <a:cubicBezTo>
                    <a:pt x="138" y="231"/>
                    <a:pt x="137" y="230"/>
                    <a:pt x="137" y="231"/>
                  </a:cubicBezTo>
                  <a:cubicBezTo>
                    <a:pt x="136" y="232"/>
                    <a:pt x="137" y="233"/>
                    <a:pt x="137" y="233"/>
                  </a:cubicBezTo>
                  <a:cubicBezTo>
                    <a:pt x="137" y="234"/>
                    <a:pt x="136" y="236"/>
                    <a:pt x="137" y="237"/>
                  </a:cubicBezTo>
                  <a:cubicBezTo>
                    <a:pt x="137" y="238"/>
                    <a:pt x="137" y="239"/>
                    <a:pt x="138" y="240"/>
                  </a:cubicBezTo>
                  <a:cubicBezTo>
                    <a:pt x="138" y="240"/>
                    <a:pt x="138" y="240"/>
                    <a:pt x="139" y="239"/>
                  </a:cubicBezTo>
                  <a:cubicBezTo>
                    <a:pt x="139" y="238"/>
                    <a:pt x="140" y="237"/>
                    <a:pt x="141" y="237"/>
                  </a:cubicBezTo>
                  <a:cubicBezTo>
                    <a:pt x="142" y="235"/>
                    <a:pt x="142" y="235"/>
                    <a:pt x="144" y="235"/>
                  </a:cubicBezTo>
                  <a:cubicBezTo>
                    <a:pt x="147" y="234"/>
                    <a:pt x="149" y="234"/>
                    <a:pt x="152" y="234"/>
                  </a:cubicBezTo>
                  <a:cubicBezTo>
                    <a:pt x="153" y="234"/>
                    <a:pt x="154" y="234"/>
                    <a:pt x="155" y="234"/>
                  </a:cubicBezTo>
                  <a:cubicBezTo>
                    <a:pt x="156" y="235"/>
                    <a:pt x="156" y="235"/>
                    <a:pt x="157" y="235"/>
                  </a:cubicBezTo>
                  <a:cubicBezTo>
                    <a:pt x="158" y="236"/>
                    <a:pt x="159" y="236"/>
                    <a:pt x="159" y="236"/>
                  </a:cubicBezTo>
                  <a:cubicBezTo>
                    <a:pt x="161" y="236"/>
                    <a:pt x="166" y="238"/>
                    <a:pt x="167" y="236"/>
                  </a:cubicBezTo>
                  <a:cubicBezTo>
                    <a:pt x="167" y="236"/>
                    <a:pt x="167" y="237"/>
                    <a:pt x="167" y="237"/>
                  </a:cubicBezTo>
                  <a:cubicBezTo>
                    <a:pt x="170" y="238"/>
                    <a:pt x="174" y="237"/>
                    <a:pt x="176" y="238"/>
                  </a:cubicBezTo>
                  <a:cubicBezTo>
                    <a:pt x="179" y="239"/>
                    <a:pt x="182" y="242"/>
                    <a:pt x="185" y="240"/>
                  </a:cubicBezTo>
                  <a:cubicBezTo>
                    <a:pt x="187" y="240"/>
                    <a:pt x="187" y="239"/>
                    <a:pt x="188" y="237"/>
                  </a:cubicBezTo>
                  <a:cubicBezTo>
                    <a:pt x="189" y="236"/>
                    <a:pt x="190" y="236"/>
                    <a:pt x="192" y="235"/>
                  </a:cubicBezTo>
                  <a:cubicBezTo>
                    <a:pt x="192" y="235"/>
                    <a:pt x="193" y="234"/>
                    <a:pt x="194" y="234"/>
                  </a:cubicBezTo>
                  <a:cubicBezTo>
                    <a:pt x="194" y="233"/>
                    <a:pt x="195" y="233"/>
                    <a:pt x="195" y="232"/>
                  </a:cubicBezTo>
                  <a:cubicBezTo>
                    <a:pt x="196" y="232"/>
                    <a:pt x="197" y="232"/>
                    <a:pt x="197" y="232"/>
                  </a:cubicBezTo>
                  <a:cubicBezTo>
                    <a:pt x="198" y="231"/>
                    <a:pt x="199" y="230"/>
                    <a:pt x="200" y="230"/>
                  </a:cubicBezTo>
                  <a:cubicBezTo>
                    <a:pt x="201" y="232"/>
                    <a:pt x="198" y="236"/>
                    <a:pt x="202" y="234"/>
                  </a:cubicBezTo>
                  <a:cubicBezTo>
                    <a:pt x="202" y="234"/>
                    <a:pt x="203" y="234"/>
                    <a:pt x="203" y="234"/>
                  </a:cubicBezTo>
                  <a:cubicBezTo>
                    <a:pt x="204" y="233"/>
                    <a:pt x="204" y="233"/>
                    <a:pt x="205" y="232"/>
                  </a:cubicBezTo>
                  <a:cubicBezTo>
                    <a:pt x="206" y="231"/>
                    <a:pt x="207" y="232"/>
                    <a:pt x="208" y="231"/>
                  </a:cubicBezTo>
                  <a:cubicBezTo>
                    <a:pt x="209" y="229"/>
                    <a:pt x="207" y="228"/>
                    <a:pt x="207" y="226"/>
                  </a:cubicBezTo>
                  <a:cubicBezTo>
                    <a:pt x="207" y="225"/>
                    <a:pt x="207" y="223"/>
                    <a:pt x="207" y="222"/>
                  </a:cubicBezTo>
                  <a:cubicBezTo>
                    <a:pt x="207" y="221"/>
                    <a:pt x="208" y="218"/>
                    <a:pt x="210" y="218"/>
                  </a:cubicBezTo>
                  <a:cubicBezTo>
                    <a:pt x="211" y="217"/>
                    <a:pt x="214" y="216"/>
                    <a:pt x="216" y="216"/>
                  </a:cubicBezTo>
                  <a:cubicBezTo>
                    <a:pt x="217" y="217"/>
                    <a:pt x="217" y="219"/>
                    <a:pt x="219" y="219"/>
                  </a:cubicBezTo>
                  <a:cubicBezTo>
                    <a:pt x="220" y="220"/>
                    <a:pt x="222" y="220"/>
                    <a:pt x="223" y="220"/>
                  </a:cubicBezTo>
                  <a:cubicBezTo>
                    <a:pt x="228" y="220"/>
                    <a:pt x="227" y="215"/>
                    <a:pt x="227" y="212"/>
                  </a:cubicBezTo>
                  <a:cubicBezTo>
                    <a:pt x="227" y="208"/>
                    <a:pt x="231" y="204"/>
                    <a:pt x="235" y="205"/>
                  </a:cubicBezTo>
                  <a:cubicBezTo>
                    <a:pt x="236" y="205"/>
                    <a:pt x="236" y="205"/>
                    <a:pt x="236" y="205"/>
                  </a:cubicBezTo>
                  <a:cubicBezTo>
                    <a:pt x="237" y="205"/>
                    <a:pt x="237" y="205"/>
                    <a:pt x="237" y="204"/>
                  </a:cubicBezTo>
                  <a:cubicBezTo>
                    <a:pt x="238" y="204"/>
                    <a:pt x="238" y="204"/>
                    <a:pt x="238" y="204"/>
                  </a:cubicBezTo>
                  <a:cubicBezTo>
                    <a:pt x="241" y="204"/>
                    <a:pt x="244" y="204"/>
                    <a:pt x="246" y="204"/>
                  </a:cubicBezTo>
                  <a:cubicBezTo>
                    <a:pt x="246" y="206"/>
                    <a:pt x="248" y="206"/>
                    <a:pt x="248" y="208"/>
                  </a:cubicBezTo>
                  <a:cubicBezTo>
                    <a:pt x="248" y="210"/>
                    <a:pt x="247" y="210"/>
                    <a:pt x="247" y="212"/>
                  </a:cubicBezTo>
                  <a:cubicBezTo>
                    <a:pt x="246" y="213"/>
                    <a:pt x="246" y="215"/>
                    <a:pt x="246" y="216"/>
                  </a:cubicBezTo>
                  <a:cubicBezTo>
                    <a:pt x="246" y="218"/>
                    <a:pt x="246" y="218"/>
                    <a:pt x="248" y="219"/>
                  </a:cubicBezTo>
                  <a:cubicBezTo>
                    <a:pt x="250" y="219"/>
                    <a:pt x="254" y="219"/>
                    <a:pt x="256" y="219"/>
                  </a:cubicBezTo>
                  <a:cubicBezTo>
                    <a:pt x="257" y="219"/>
                    <a:pt x="259" y="218"/>
                    <a:pt x="259" y="217"/>
                  </a:cubicBezTo>
                  <a:cubicBezTo>
                    <a:pt x="261" y="214"/>
                    <a:pt x="259" y="211"/>
                    <a:pt x="257" y="209"/>
                  </a:cubicBezTo>
                  <a:cubicBezTo>
                    <a:pt x="257" y="208"/>
                    <a:pt x="256" y="207"/>
                    <a:pt x="255" y="207"/>
                  </a:cubicBezTo>
                  <a:cubicBezTo>
                    <a:pt x="254" y="206"/>
                    <a:pt x="253" y="205"/>
                    <a:pt x="252" y="204"/>
                  </a:cubicBezTo>
                  <a:cubicBezTo>
                    <a:pt x="252" y="204"/>
                    <a:pt x="252" y="202"/>
                    <a:pt x="251" y="202"/>
                  </a:cubicBezTo>
                  <a:cubicBezTo>
                    <a:pt x="250" y="200"/>
                    <a:pt x="249" y="201"/>
                    <a:pt x="249" y="199"/>
                  </a:cubicBezTo>
                  <a:cubicBezTo>
                    <a:pt x="249" y="198"/>
                    <a:pt x="249" y="197"/>
                    <a:pt x="249" y="196"/>
                  </a:cubicBezTo>
                  <a:cubicBezTo>
                    <a:pt x="249" y="195"/>
                    <a:pt x="249" y="194"/>
                    <a:pt x="250" y="193"/>
                  </a:cubicBezTo>
                  <a:cubicBezTo>
                    <a:pt x="250" y="192"/>
                    <a:pt x="251" y="191"/>
                    <a:pt x="251" y="191"/>
                  </a:cubicBezTo>
                  <a:cubicBezTo>
                    <a:pt x="252" y="189"/>
                    <a:pt x="253" y="188"/>
                    <a:pt x="254" y="186"/>
                  </a:cubicBezTo>
                  <a:cubicBezTo>
                    <a:pt x="255" y="184"/>
                    <a:pt x="256" y="183"/>
                    <a:pt x="257" y="180"/>
                  </a:cubicBezTo>
                  <a:cubicBezTo>
                    <a:pt x="257" y="179"/>
                    <a:pt x="258" y="177"/>
                    <a:pt x="258" y="176"/>
                  </a:cubicBezTo>
                  <a:cubicBezTo>
                    <a:pt x="259" y="172"/>
                    <a:pt x="258" y="168"/>
                    <a:pt x="258" y="164"/>
                  </a:cubicBezTo>
                  <a:cubicBezTo>
                    <a:pt x="258" y="161"/>
                    <a:pt x="258" y="158"/>
                    <a:pt x="258" y="155"/>
                  </a:cubicBezTo>
                  <a:cubicBezTo>
                    <a:pt x="258" y="155"/>
                    <a:pt x="258" y="154"/>
                    <a:pt x="258" y="154"/>
                  </a:cubicBezTo>
                  <a:cubicBezTo>
                    <a:pt x="259" y="153"/>
                    <a:pt x="259" y="153"/>
                    <a:pt x="259" y="152"/>
                  </a:cubicBezTo>
                  <a:cubicBezTo>
                    <a:pt x="260" y="150"/>
                    <a:pt x="260" y="150"/>
                    <a:pt x="261" y="149"/>
                  </a:cubicBezTo>
                  <a:cubicBezTo>
                    <a:pt x="263" y="148"/>
                    <a:pt x="264" y="148"/>
                    <a:pt x="265" y="148"/>
                  </a:cubicBezTo>
                  <a:cubicBezTo>
                    <a:pt x="266" y="147"/>
                    <a:pt x="268" y="146"/>
                    <a:pt x="269" y="145"/>
                  </a:cubicBezTo>
                  <a:cubicBezTo>
                    <a:pt x="269" y="145"/>
                    <a:pt x="269" y="144"/>
                    <a:pt x="270" y="144"/>
                  </a:cubicBezTo>
                  <a:cubicBezTo>
                    <a:pt x="271" y="143"/>
                    <a:pt x="273" y="143"/>
                    <a:pt x="274" y="142"/>
                  </a:cubicBezTo>
                  <a:cubicBezTo>
                    <a:pt x="276" y="142"/>
                    <a:pt x="277" y="142"/>
                    <a:pt x="279" y="142"/>
                  </a:cubicBezTo>
                  <a:cubicBezTo>
                    <a:pt x="281" y="142"/>
                    <a:pt x="281" y="142"/>
                    <a:pt x="282" y="141"/>
                  </a:cubicBezTo>
                  <a:cubicBezTo>
                    <a:pt x="282" y="140"/>
                    <a:pt x="283" y="139"/>
                    <a:pt x="283" y="138"/>
                  </a:cubicBezTo>
                  <a:cubicBezTo>
                    <a:pt x="283" y="137"/>
                    <a:pt x="283" y="136"/>
                    <a:pt x="283" y="135"/>
                  </a:cubicBezTo>
                  <a:cubicBezTo>
                    <a:pt x="283" y="135"/>
                    <a:pt x="284" y="135"/>
                    <a:pt x="284" y="134"/>
                  </a:cubicBezTo>
                  <a:cubicBezTo>
                    <a:pt x="284" y="134"/>
                    <a:pt x="284" y="134"/>
                    <a:pt x="284" y="133"/>
                  </a:cubicBezTo>
                  <a:cubicBezTo>
                    <a:pt x="285" y="133"/>
                    <a:pt x="285" y="132"/>
                    <a:pt x="285" y="132"/>
                  </a:cubicBezTo>
                  <a:cubicBezTo>
                    <a:pt x="287" y="131"/>
                    <a:pt x="288" y="130"/>
                    <a:pt x="289" y="129"/>
                  </a:cubicBezTo>
                  <a:cubicBezTo>
                    <a:pt x="291" y="129"/>
                    <a:pt x="293" y="128"/>
                    <a:pt x="294" y="127"/>
                  </a:cubicBezTo>
                  <a:cubicBezTo>
                    <a:pt x="295" y="126"/>
                    <a:pt x="295" y="126"/>
                    <a:pt x="296" y="125"/>
                  </a:cubicBezTo>
                  <a:cubicBezTo>
                    <a:pt x="298" y="125"/>
                    <a:pt x="299" y="124"/>
                    <a:pt x="301" y="124"/>
                  </a:cubicBezTo>
                  <a:cubicBezTo>
                    <a:pt x="302" y="123"/>
                    <a:pt x="303" y="124"/>
                    <a:pt x="304" y="123"/>
                  </a:cubicBezTo>
                  <a:cubicBezTo>
                    <a:pt x="305" y="123"/>
                    <a:pt x="305" y="122"/>
                    <a:pt x="306" y="122"/>
                  </a:cubicBezTo>
                  <a:cubicBezTo>
                    <a:pt x="307" y="121"/>
                    <a:pt x="308" y="121"/>
                    <a:pt x="309" y="120"/>
                  </a:cubicBezTo>
                  <a:cubicBezTo>
                    <a:pt x="310" y="118"/>
                    <a:pt x="309" y="118"/>
                    <a:pt x="311" y="117"/>
                  </a:cubicBezTo>
                  <a:cubicBezTo>
                    <a:pt x="311" y="117"/>
                    <a:pt x="312" y="117"/>
                    <a:pt x="312" y="116"/>
                  </a:cubicBezTo>
                  <a:cubicBezTo>
                    <a:pt x="313" y="116"/>
                    <a:pt x="313" y="116"/>
                    <a:pt x="314" y="116"/>
                  </a:cubicBezTo>
                  <a:cubicBezTo>
                    <a:pt x="316" y="115"/>
                    <a:pt x="317" y="113"/>
                    <a:pt x="316" y="11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8" name="Freeform 38"/>
            <p:cNvSpPr>
              <a:spLocks noEditPoints="1"/>
            </p:cNvSpPr>
            <p:nvPr/>
          </p:nvSpPr>
          <p:spPr bwMode="auto">
            <a:xfrm>
              <a:off x="5846763" y="3511550"/>
              <a:ext cx="947738" cy="849313"/>
            </a:xfrm>
            <a:custGeom>
              <a:avLst/>
              <a:gdLst/>
              <a:ahLst/>
              <a:cxnLst>
                <a:cxn ang="0">
                  <a:pos x="493" y="252"/>
                </a:cxn>
                <a:cxn ang="0">
                  <a:pos x="479" y="230"/>
                </a:cxn>
                <a:cxn ang="0">
                  <a:pos x="455" y="220"/>
                </a:cxn>
                <a:cxn ang="0">
                  <a:pos x="426" y="174"/>
                </a:cxn>
                <a:cxn ang="0">
                  <a:pos x="418" y="142"/>
                </a:cxn>
                <a:cxn ang="0">
                  <a:pos x="406" y="117"/>
                </a:cxn>
                <a:cxn ang="0">
                  <a:pos x="412" y="91"/>
                </a:cxn>
                <a:cxn ang="0">
                  <a:pos x="408" y="69"/>
                </a:cxn>
                <a:cxn ang="0">
                  <a:pos x="383" y="37"/>
                </a:cxn>
                <a:cxn ang="0">
                  <a:pos x="354" y="34"/>
                </a:cxn>
                <a:cxn ang="0">
                  <a:pos x="329" y="44"/>
                </a:cxn>
                <a:cxn ang="0">
                  <a:pos x="294" y="18"/>
                </a:cxn>
                <a:cxn ang="0">
                  <a:pos x="256" y="8"/>
                </a:cxn>
                <a:cxn ang="0">
                  <a:pos x="210" y="33"/>
                </a:cxn>
                <a:cxn ang="0">
                  <a:pos x="185" y="47"/>
                </a:cxn>
                <a:cxn ang="0">
                  <a:pos x="173" y="66"/>
                </a:cxn>
                <a:cxn ang="0">
                  <a:pos x="178" y="82"/>
                </a:cxn>
                <a:cxn ang="0">
                  <a:pos x="181" y="92"/>
                </a:cxn>
                <a:cxn ang="0">
                  <a:pos x="161" y="101"/>
                </a:cxn>
                <a:cxn ang="0">
                  <a:pos x="154" y="113"/>
                </a:cxn>
                <a:cxn ang="0">
                  <a:pos x="133" y="121"/>
                </a:cxn>
                <a:cxn ang="0">
                  <a:pos x="129" y="152"/>
                </a:cxn>
                <a:cxn ang="0">
                  <a:pos x="123" y="174"/>
                </a:cxn>
                <a:cxn ang="0">
                  <a:pos x="120" y="191"/>
                </a:cxn>
                <a:cxn ang="0">
                  <a:pos x="109" y="176"/>
                </a:cxn>
                <a:cxn ang="0">
                  <a:pos x="88" y="188"/>
                </a:cxn>
                <a:cxn ang="0">
                  <a:pos x="75" y="206"/>
                </a:cxn>
                <a:cxn ang="0">
                  <a:pos x="64" y="207"/>
                </a:cxn>
                <a:cxn ang="0">
                  <a:pos x="31" y="208"/>
                </a:cxn>
                <a:cxn ang="0">
                  <a:pos x="11" y="211"/>
                </a:cxn>
                <a:cxn ang="0">
                  <a:pos x="22" y="253"/>
                </a:cxn>
                <a:cxn ang="0">
                  <a:pos x="38" y="294"/>
                </a:cxn>
                <a:cxn ang="0">
                  <a:pos x="40" y="316"/>
                </a:cxn>
                <a:cxn ang="0">
                  <a:pos x="20" y="331"/>
                </a:cxn>
                <a:cxn ang="0">
                  <a:pos x="4" y="360"/>
                </a:cxn>
                <a:cxn ang="0">
                  <a:pos x="23" y="380"/>
                </a:cxn>
                <a:cxn ang="0">
                  <a:pos x="13" y="404"/>
                </a:cxn>
                <a:cxn ang="0">
                  <a:pos x="43" y="408"/>
                </a:cxn>
                <a:cxn ang="0">
                  <a:pos x="69" y="393"/>
                </a:cxn>
                <a:cxn ang="0">
                  <a:pos x="118" y="394"/>
                </a:cxn>
                <a:cxn ang="0">
                  <a:pos x="148" y="398"/>
                </a:cxn>
                <a:cxn ang="0">
                  <a:pos x="200" y="407"/>
                </a:cxn>
                <a:cxn ang="0">
                  <a:pos x="215" y="420"/>
                </a:cxn>
                <a:cxn ang="0">
                  <a:pos x="242" y="423"/>
                </a:cxn>
                <a:cxn ang="0">
                  <a:pos x="272" y="425"/>
                </a:cxn>
                <a:cxn ang="0">
                  <a:pos x="296" y="425"/>
                </a:cxn>
                <a:cxn ang="0">
                  <a:pos x="322" y="435"/>
                </a:cxn>
                <a:cxn ang="0">
                  <a:pos x="370" y="445"/>
                </a:cxn>
                <a:cxn ang="0">
                  <a:pos x="391" y="406"/>
                </a:cxn>
                <a:cxn ang="0">
                  <a:pos x="406" y="384"/>
                </a:cxn>
                <a:cxn ang="0">
                  <a:pos x="427" y="375"/>
                </a:cxn>
                <a:cxn ang="0">
                  <a:pos x="443" y="363"/>
                </a:cxn>
                <a:cxn ang="0">
                  <a:pos x="436" y="319"/>
                </a:cxn>
                <a:cxn ang="0">
                  <a:pos x="444" y="280"/>
                </a:cxn>
                <a:cxn ang="0">
                  <a:pos x="483" y="284"/>
                </a:cxn>
                <a:cxn ang="0">
                  <a:pos x="500" y="270"/>
                </a:cxn>
              </a:cxnLst>
              <a:rect l="0" t="0" r="r" b="b"/>
              <a:pathLst>
                <a:path w="507" h="454">
                  <a:moveTo>
                    <a:pt x="9" y="209"/>
                  </a:moveTo>
                  <a:cubicBezTo>
                    <a:pt x="9" y="210"/>
                    <a:pt x="9" y="210"/>
                    <a:pt x="9" y="211"/>
                  </a:cubicBezTo>
                  <a:cubicBezTo>
                    <a:pt x="9" y="210"/>
                    <a:pt x="9" y="210"/>
                    <a:pt x="9" y="209"/>
                  </a:cubicBezTo>
                  <a:moveTo>
                    <a:pt x="505" y="257"/>
                  </a:moveTo>
                  <a:cubicBezTo>
                    <a:pt x="503" y="254"/>
                    <a:pt x="502" y="255"/>
                    <a:pt x="498" y="255"/>
                  </a:cubicBezTo>
                  <a:cubicBezTo>
                    <a:pt x="496" y="255"/>
                    <a:pt x="495" y="255"/>
                    <a:pt x="493" y="252"/>
                  </a:cubicBezTo>
                  <a:cubicBezTo>
                    <a:pt x="491" y="249"/>
                    <a:pt x="491" y="246"/>
                    <a:pt x="491" y="242"/>
                  </a:cubicBezTo>
                  <a:cubicBezTo>
                    <a:pt x="491" y="241"/>
                    <a:pt x="490" y="239"/>
                    <a:pt x="490" y="238"/>
                  </a:cubicBezTo>
                  <a:cubicBezTo>
                    <a:pt x="490" y="236"/>
                    <a:pt x="492" y="232"/>
                    <a:pt x="491" y="230"/>
                  </a:cubicBezTo>
                  <a:cubicBezTo>
                    <a:pt x="489" y="229"/>
                    <a:pt x="487" y="232"/>
                    <a:pt x="484" y="232"/>
                  </a:cubicBezTo>
                  <a:cubicBezTo>
                    <a:pt x="483" y="232"/>
                    <a:pt x="483" y="231"/>
                    <a:pt x="482" y="231"/>
                  </a:cubicBezTo>
                  <a:cubicBezTo>
                    <a:pt x="481" y="230"/>
                    <a:pt x="480" y="231"/>
                    <a:pt x="479" y="230"/>
                  </a:cubicBezTo>
                  <a:cubicBezTo>
                    <a:pt x="478" y="230"/>
                    <a:pt x="478" y="231"/>
                    <a:pt x="476" y="229"/>
                  </a:cubicBezTo>
                  <a:cubicBezTo>
                    <a:pt x="475" y="228"/>
                    <a:pt x="475" y="227"/>
                    <a:pt x="474" y="226"/>
                  </a:cubicBezTo>
                  <a:cubicBezTo>
                    <a:pt x="472" y="225"/>
                    <a:pt x="468" y="226"/>
                    <a:pt x="466" y="225"/>
                  </a:cubicBezTo>
                  <a:cubicBezTo>
                    <a:pt x="462" y="225"/>
                    <a:pt x="457" y="227"/>
                    <a:pt x="453" y="227"/>
                  </a:cubicBezTo>
                  <a:cubicBezTo>
                    <a:pt x="452" y="225"/>
                    <a:pt x="453" y="225"/>
                    <a:pt x="454" y="224"/>
                  </a:cubicBezTo>
                  <a:cubicBezTo>
                    <a:pt x="454" y="223"/>
                    <a:pt x="454" y="221"/>
                    <a:pt x="455" y="220"/>
                  </a:cubicBezTo>
                  <a:cubicBezTo>
                    <a:pt x="457" y="215"/>
                    <a:pt x="458" y="211"/>
                    <a:pt x="458" y="206"/>
                  </a:cubicBezTo>
                  <a:cubicBezTo>
                    <a:pt x="457" y="204"/>
                    <a:pt x="456" y="203"/>
                    <a:pt x="456" y="201"/>
                  </a:cubicBezTo>
                  <a:cubicBezTo>
                    <a:pt x="455" y="199"/>
                    <a:pt x="454" y="198"/>
                    <a:pt x="453" y="197"/>
                  </a:cubicBezTo>
                  <a:cubicBezTo>
                    <a:pt x="446" y="193"/>
                    <a:pt x="438" y="200"/>
                    <a:pt x="435" y="190"/>
                  </a:cubicBezTo>
                  <a:cubicBezTo>
                    <a:pt x="434" y="188"/>
                    <a:pt x="434" y="185"/>
                    <a:pt x="432" y="182"/>
                  </a:cubicBezTo>
                  <a:cubicBezTo>
                    <a:pt x="431" y="179"/>
                    <a:pt x="428" y="177"/>
                    <a:pt x="426" y="174"/>
                  </a:cubicBezTo>
                  <a:cubicBezTo>
                    <a:pt x="425" y="171"/>
                    <a:pt x="425" y="167"/>
                    <a:pt x="422" y="165"/>
                  </a:cubicBezTo>
                  <a:cubicBezTo>
                    <a:pt x="421" y="164"/>
                    <a:pt x="417" y="165"/>
                    <a:pt x="416" y="163"/>
                  </a:cubicBezTo>
                  <a:cubicBezTo>
                    <a:pt x="415" y="161"/>
                    <a:pt x="416" y="160"/>
                    <a:pt x="417" y="159"/>
                  </a:cubicBezTo>
                  <a:cubicBezTo>
                    <a:pt x="419" y="156"/>
                    <a:pt x="421" y="154"/>
                    <a:pt x="422" y="150"/>
                  </a:cubicBezTo>
                  <a:cubicBezTo>
                    <a:pt x="423" y="149"/>
                    <a:pt x="422" y="147"/>
                    <a:pt x="422" y="145"/>
                  </a:cubicBezTo>
                  <a:cubicBezTo>
                    <a:pt x="421" y="142"/>
                    <a:pt x="420" y="142"/>
                    <a:pt x="418" y="142"/>
                  </a:cubicBezTo>
                  <a:cubicBezTo>
                    <a:pt x="415" y="142"/>
                    <a:pt x="414" y="143"/>
                    <a:pt x="413" y="141"/>
                  </a:cubicBezTo>
                  <a:cubicBezTo>
                    <a:pt x="411" y="140"/>
                    <a:pt x="411" y="139"/>
                    <a:pt x="409" y="138"/>
                  </a:cubicBezTo>
                  <a:cubicBezTo>
                    <a:pt x="406" y="136"/>
                    <a:pt x="402" y="137"/>
                    <a:pt x="401" y="132"/>
                  </a:cubicBezTo>
                  <a:cubicBezTo>
                    <a:pt x="399" y="129"/>
                    <a:pt x="403" y="126"/>
                    <a:pt x="402" y="123"/>
                  </a:cubicBezTo>
                  <a:cubicBezTo>
                    <a:pt x="402" y="121"/>
                    <a:pt x="400" y="120"/>
                    <a:pt x="402" y="118"/>
                  </a:cubicBezTo>
                  <a:cubicBezTo>
                    <a:pt x="403" y="117"/>
                    <a:pt x="405" y="117"/>
                    <a:pt x="406" y="117"/>
                  </a:cubicBezTo>
                  <a:cubicBezTo>
                    <a:pt x="406" y="116"/>
                    <a:pt x="407" y="115"/>
                    <a:pt x="408" y="115"/>
                  </a:cubicBezTo>
                  <a:cubicBezTo>
                    <a:pt x="408" y="114"/>
                    <a:pt x="408" y="112"/>
                    <a:pt x="408" y="111"/>
                  </a:cubicBezTo>
                  <a:cubicBezTo>
                    <a:pt x="410" y="111"/>
                    <a:pt x="411" y="110"/>
                    <a:pt x="412" y="109"/>
                  </a:cubicBezTo>
                  <a:cubicBezTo>
                    <a:pt x="412" y="108"/>
                    <a:pt x="412" y="106"/>
                    <a:pt x="412" y="105"/>
                  </a:cubicBezTo>
                  <a:cubicBezTo>
                    <a:pt x="411" y="102"/>
                    <a:pt x="411" y="102"/>
                    <a:pt x="412" y="100"/>
                  </a:cubicBezTo>
                  <a:cubicBezTo>
                    <a:pt x="413" y="97"/>
                    <a:pt x="412" y="94"/>
                    <a:pt x="412" y="91"/>
                  </a:cubicBezTo>
                  <a:cubicBezTo>
                    <a:pt x="410" y="91"/>
                    <a:pt x="406" y="89"/>
                    <a:pt x="405" y="88"/>
                  </a:cubicBezTo>
                  <a:cubicBezTo>
                    <a:pt x="404" y="86"/>
                    <a:pt x="405" y="87"/>
                    <a:pt x="405" y="85"/>
                  </a:cubicBezTo>
                  <a:cubicBezTo>
                    <a:pt x="405" y="83"/>
                    <a:pt x="405" y="81"/>
                    <a:pt x="406" y="80"/>
                  </a:cubicBezTo>
                  <a:cubicBezTo>
                    <a:pt x="407" y="79"/>
                    <a:pt x="408" y="79"/>
                    <a:pt x="408" y="78"/>
                  </a:cubicBezTo>
                  <a:cubicBezTo>
                    <a:pt x="408" y="77"/>
                    <a:pt x="408" y="76"/>
                    <a:pt x="408" y="76"/>
                  </a:cubicBezTo>
                  <a:cubicBezTo>
                    <a:pt x="408" y="73"/>
                    <a:pt x="408" y="71"/>
                    <a:pt x="408" y="69"/>
                  </a:cubicBezTo>
                  <a:cubicBezTo>
                    <a:pt x="408" y="64"/>
                    <a:pt x="410" y="63"/>
                    <a:pt x="411" y="58"/>
                  </a:cubicBezTo>
                  <a:cubicBezTo>
                    <a:pt x="411" y="57"/>
                    <a:pt x="411" y="54"/>
                    <a:pt x="409" y="54"/>
                  </a:cubicBezTo>
                  <a:cubicBezTo>
                    <a:pt x="407" y="53"/>
                    <a:pt x="404" y="54"/>
                    <a:pt x="402" y="54"/>
                  </a:cubicBezTo>
                  <a:cubicBezTo>
                    <a:pt x="396" y="54"/>
                    <a:pt x="399" y="49"/>
                    <a:pt x="397" y="45"/>
                  </a:cubicBezTo>
                  <a:cubicBezTo>
                    <a:pt x="396" y="43"/>
                    <a:pt x="393" y="42"/>
                    <a:pt x="391" y="41"/>
                  </a:cubicBezTo>
                  <a:cubicBezTo>
                    <a:pt x="388" y="39"/>
                    <a:pt x="386" y="38"/>
                    <a:pt x="383" y="37"/>
                  </a:cubicBezTo>
                  <a:cubicBezTo>
                    <a:pt x="381" y="37"/>
                    <a:pt x="379" y="36"/>
                    <a:pt x="377" y="34"/>
                  </a:cubicBezTo>
                  <a:cubicBezTo>
                    <a:pt x="376" y="33"/>
                    <a:pt x="375" y="31"/>
                    <a:pt x="374" y="29"/>
                  </a:cubicBezTo>
                  <a:cubicBezTo>
                    <a:pt x="371" y="26"/>
                    <a:pt x="365" y="30"/>
                    <a:pt x="362" y="32"/>
                  </a:cubicBezTo>
                  <a:cubicBezTo>
                    <a:pt x="362" y="32"/>
                    <a:pt x="362" y="33"/>
                    <a:pt x="362" y="33"/>
                  </a:cubicBezTo>
                  <a:cubicBezTo>
                    <a:pt x="360" y="33"/>
                    <a:pt x="359" y="32"/>
                    <a:pt x="357" y="32"/>
                  </a:cubicBezTo>
                  <a:cubicBezTo>
                    <a:pt x="355" y="32"/>
                    <a:pt x="355" y="32"/>
                    <a:pt x="354" y="34"/>
                  </a:cubicBezTo>
                  <a:cubicBezTo>
                    <a:pt x="351" y="36"/>
                    <a:pt x="352" y="39"/>
                    <a:pt x="350" y="42"/>
                  </a:cubicBezTo>
                  <a:cubicBezTo>
                    <a:pt x="348" y="41"/>
                    <a:pt x="346" y="39"/>
                    <a:pt x="343" y="39"/>
                  </a:cubicBezTo>
                  <a:cubicBezTo>
                    <a:pt x="342" y="39"/>
                    <a:pt x="341" y="40"/>
                    <a:pt x="340" y="41"/>
                  </a:cubicBezTo>
                  <a:cubicBezTo>
                    <a:pt x="338" y="43"/>
                    <a:pt x="339" y="43"/>
                    <a:pt x="337" y="44"/>
                  </a:cubicBezTo>
                  <a:cubicBezTo>
                    <a:pt x="337" y="44"/>
                    <a:pt x="336" y="44"/>
                    <a:pt x="335" y="45"/>
                  </a:cubicBezTo>
                  <a:cubicBezTo>
                    <a:pt x="334" y="45"/>
                    <a:pt x="330" y="45"/>
                    <a:pt x="329" y="44"/>
                  </a:cubicBezTo>
                  <a:cubicBezTo>
                    <a:pt x="327" y="43"/>
                    <a:pt x="328" y="36"/>
                    <a:pt x="328" y="35"/>
                  </a:cubicBezTo>
                  <a:cubicBezTo>
                    <a:pt x="328" y="33"/>
                    <a:pt x="328" y="31"/>
                    <a:pt x="328" y="29"/>
                  </a:cubicBezTo>
                  <a:cubicBezTo>
                    <a:pt x="329" y="28"/>
                    <a:pt x="330" y="27"/>
                    <a:pt x="330" y="25"/>
                  </a:cubicBezTo>
                  <a:cubicBezTo>
                    <a:pt x="329" y="18"/>
                    <a:pt x="321" y="16"/>
                    <a:pt x="315" y="16"/>
                  </a:cubicBezTo>
                  <a:cubicBezTo>
                    <a:pt x="311" y="16"/>
                    <a:pt x="306" y="16"/>
                    <a:pt x="302" y="18"/>
                  </a:cubicBezTo>
                  <a:cubicBezTo>
                    <a:pt x="299" y="19"/>
                    <a:pt x="297" y="21"/>
                    <a:pt x="294" y="18"/>
                  </a:cubicBezTo>
                  <a:cubicBezTo>
                    <a:pt x="291" y="17"/>
                    <a:pt x="290" y="13"/>
                    <a:pt x="289" y="10"/>
                  </a:cubicBezTo>
                  <a:cubicBezTo>
                    <a:pt x="287" y="6"/>
                    <a:pt x="286" y="4"/>
                    <a:pt x="282" y="6"/>
                  </a:cubicBezTo>
                  <a:cubicBezTo>
                    <a:pt x="278" y="7"/>
                    <a:pt x="274" y="9"/>
                    <a:pt x="270" y="8"/>
                  </a:cubicBezTo>
                  <a:cubicBezTo>
                    <a:pt x="269" y="8"/>
                    <a:pt x="265" y="7"/>
                    <a:pt x="264" y="6"/>
                  </a:cubicBezTo>
                  <a:cubicBezTo>
                    <a:pt x="264" y="6"/>
                    <a:pt x="264" y="2"/>
                    <a:pt x="263" y="1"/>
                  </a:cubicBezTo>
                  <a:cubicBezTo>
                    <a:pt x="262" y="0"/>
                    <a:pt x="257" y="6"/>
                    <a:pt x="256" y="8"/>
                  </a:cubicBezTo>
                  <a:cubicBezTo>
                    <a:pt x="253" y="11"/>
                    <a:pt x="249" y="16"/>
                    <a:pt x="245" y="16"/>
                  </a:cubicBezTo>
                  <a:cubicBezTo>
                    <a:pt x="240" y="17"/>
                    <a:pt x="237" y="19"/>
                    <a:pt x="236" y="24"/>
                  </a:cubicBezTo>
                  <a:cubicBezTo>
                    <a:pt x="235" y="28"/>
                    <a:pt x="238" y="33"/>
                    <a:pt x="234" y="36"/>
                  </a:cubicBezTo>
                  <a:cubicBezTo>
                    <a:pt x="230" y="39"/>
                    <a:pt x="227" y="34"/>
                    <a:pt x="223" y="35"/>
                  </a:cubicBezTo>
                  <a:cubicBezTo>
                    <a:pt x="220" y="35"/>
                    <a:pt x="217" y="35"/>
                    <a:pt x="215" y="35"/>
                  </a:cubicBezTo>
                  <a:cubicBezTo>
                    <a:pt x="212" y="34"/>
                    <a:pt x="212" y="34"/>
                    <a:pt x="210" y="33"/>
                  </a:cubicBezTo>
                  <a:cubicBezTo>
                    <a:pt x="207" y="31"/>
                    <a:pt x="203" y="33"/>
                    <a:pt x="201" y="35"/>
                  </a:cubicBezTo>
                  <a:cubicBezTo>
                    <a:pt x="200" y="35"/>
                    <a:pt x="200" y="37"/>
                    <a:pt x="199" y="37"/>
                  </a:cubicBezTo>
                  <a:cubicBezTo>
                    <a:pt x="198" y="37"/>
                    <a:pt x="197" y="37"/>
                    <a:pt x="196" y="38"/>
                  </a:cubicBezTo>
                  <a:cubicBezTo>
                    <a:pt x="195" y="38"/>
                    <a:pt x="193" y="39"/>
                    <a:pt x="193" y="40"/>
                  </a:cubicBezTo>
                  <a:cubicBezTo>
                    <a:pt x="191" y="41"/>
                    <a:pt x="190" y="44"/>
                    <a:pt x="189" y="45"/>
                  </a:cubicBezTo>
                  <a:cubicBezTo>
                    <a:pt x="188" y="47"/>
                    <a:pt x="187" y="47"/>
                    <a:pt x="185" y="47"/>
                  </a:cubicBezTo>
                  <a:cubicBezTo>
                    <a:pt x="183" y="47"/>
                    <a:pt x="181" y="46"/>
                    <a:pt x="180" y="46"/>
                  </a:cubicBezTo>
                  <a:cubicBezTo>
                    <a:pt x="179" y="47"/>
                    <a:pt x="179" y="47"/>
                    <a:pt x="178" y="47"/>
                  </a:cubicBezTo>
                  <a:cubicBezTo>
                    <a:pt x="179" y="47"/>
                    <a:pt x="181" y="47"/>
                    <a:pt x="181" y="48"/>
                  </a:cubicBezTo>
                  <a:cubicBezTo>
                    <a:pt x="184" y="50"/>
                    <a:pt x="179" y="57"/>
                    <a:pt x="178" y="59"/>
                  </a:cubicBezTo>
                  <a:cubicBezTo>
                    <a:pt x="177" y="61"/>
                    <a:pt x="176" y="63"/>
                    <a:pt x="174" y="64"/>
                  </a:cubicBezTo>
                  <a:cubicBezTo>
                    <a:pt x="173" y="65"/>
                    <a:pt x="173" y="66"/>
                    <a:pt x="173" y="66"/>
                  </a:cubicBezTo>
                  <a:cubicBezTo>
                    <a:pt x="172" y="69"/>
                    <a:pt x="174" y="68"/>
                    <a:pt x="175" y="69"/>
                  </a:cubicBezTo>
                  <a:cubicBezTo>
                    <a:pt x="176" y="70"/>
                    <a:pt x="176" y="70"/>
                    <a:pt x="176" y="72"/>
                  </a:cubicBezTo>
                  <a:cubicBezTo>
                    <a:pt x="176" y="74"/>
                    <a:pt x="174" y="75"/>
                    <a:pt x="173" y="77"/>
                  </a:cubicBezTo>
                  <a:cubicBezTo>
                    <a:pt x="172" y="78"/>
                    <a:pt x="172" y="78"/>
                    <a:pt x="173" y="80"/>
                  </a:cubicBezTo>
                  <a:cubicBezTo>
                    <a:pt x="174" y="81"/>
                    <a:pt x="175" y="83"/>
                    <a:pt x="177" y="83"/>
                  </a:cubicBezTo>
                  <a:cubicBezTo>
                    <a:pt x="177" y="83"/>
                    <a:pt x="178" y="82"/>
                    <a:pt x="178" y="82"/>
                  </a:cubicBezTo>
                  <a:cubicBezTo>
                    <a:pt x="179" y="82"/>
                    <a:pt x="180" y="82"/>
                    <a:pt x="180" y="82"/>
                  </a:cubicBezTo>
                  <a:cubicBezTo>
                    <a:pt x="182" y="82"/>
                    <a:pt x="186" y="82"/>
                    <a:pt x="188" y="83"/>
                  </a:cubicBezTo>
                  <a:cubicBezTo>
                    <a:pt x="189" y="85"/>
                    <a:pt x="188" y="87"/>
                    <a:pt x="186" y="88"/>
                  </a:cubicBezTo>
                  <a:cubicBezTo>
                    <a:pt x="185" y="88"/>
                    <a:pt x="185" y="88"/>
                    <a:pt x="184" y="88"/>
                  </a:cubicBezTo>
                  <a:cubicBezTo>
                    <a:pt x="184" y="89"/>
                    <a:pt x="183" y="89"/>
                    <a:pt x="183" y="89"/>
                  </a:cubicBezTo>
                  <a:cubicBezTo>
                    <a:pt x="181" y="90"/>
                    <a:pt x="182" y="90"/>
                    <a:pt x="181" y="92"/>
                  </a:cubicBezTo>
                  <a:cubicBezTo>
                    <a:pt x="180" y="93"/>
                    <a:pt x="179" y="93"/>
                    <a:pt x="178" y="94"/>
                  </a:cubicBezTo>
                  <a:cubicBezTo>
                    <a:pt x="177" y="94"/>
                    <a:pt x="177" y="95"/>
                    <a:pt x="176" y="95"/>
                  </a:cubicBezTo>
                  <a:cubicBezTo>
                    <a:pt x="175" y="96"/>
                    <a:pt x="174" y="95"/>
                    <a:pt x="173" y="96"/>
                  </a:cubicBezTo>
                  <a:cubicBezTo>
                    <a:pt x="171" y="96"/>
                    <a:pt x="170" y="97"/>
                    <a:pt x="168" y="97"/>
                  </a:cubicBezTo>
                  <a:cubicBezTo>
                    <a:pt x="167" y="98"/>
                    <a:pt x="167" y="98"/>
                    <a:pt x="166" y="99"/>
                  </a:cubicBezTo>
                  <a:cubicBezTo>
                    <a:pt x="165" y="100"/>
                    <a:pt x="163" y="101"/>
                    <a:pt x="161" y="101"/>
                  </a:cubicBezTo>
                  <a:cubicBezTo>
                    <a:pt x="160" y="102"/>
                    <a:pt x="159" y="103"/>
                    <a:pt x="157" y="104"/>
                  </a:cubicBezTo>
                  <a:cubicBezTo>
                    <a:pt x="157" y="104"/>
                    <a:pt x="157" y="105"/>
                    <a:pt x="156" y="105"/>
                  </a:cubicBezTo>
                  <a:cubicBezTo>
                    <a:pt x="156" y="106"/>
                    <a:pt x="156" y="106"/>
                    <a:pt x="156" y="106"/>
                  </a:cubicBezTo>
                  <a:cubicBezTo>
                    <a:pt x="156" y="107"/>
                    <a:pt x="155" y="107"/>
                    <a:pt x="155" y="107"/>
                  </a:cubicBezTo>
                  <a:cubicBezTo>
                    <a:pt x="155" y="108"/>
                    <a:pt x="155" y="109"/>
                    <a:pt x="155" y="110"/>
                  </a:cubicBezTo>
                  <a:cubicBezTo>
                    <a:pt x="155" y="111"/>
                    <a:pt x="154" y="112"/>
                    <a:pt x="154" y="113"/>
                  </a:cubicBezTo>
                  <a:cubicBezTo>
                    <a:pt x="153" y="114"/>
                    <a:pt x="153" y="114"/>
                    <a:pt x="151" y="114"/>
                  </a:cubicBezTo>
                  <a:cubicBezTo>
                    <a:pt x="149" y="114"/>
                    <a:pt x="148" y="114"/>
                    <a:pt x="146" y="114"/>
                  </a:cubicBezTo>
                  <a:cubicBezTo>
                    <a:pt x="145" y="115"/>
                    <a:pt x="143" y="115"/>
                    <a:pt x="142" y="116"/>
                  </a:cubicBezTo>
                  <a:cubicBezTo>
                    <a:pt x="141" y="116"/>
                    <a:pt x="141" y="117"/>
                    <a:pt x="141" y="117"/>
                  </a:cubicBezTo>
                  <a:cubicBezTo>
                    <a:pt x="140" y="118"/>
                    <a:pt x="138" y="119"/>
                    <a:pt x="137" y="120"/>
                  </a:cubicBezTo>
                  <a:cubicBezTo>
                    <a:pt x="136" y="120"/>
                    <a:pt x="135" y="120"/>
                    <a:pt x="133" y="121"/>
                  </a:cubicBezTo>
                  <a:cubicBezTo>
                    <a:pt x="132" y="122"/>
                    <a:pt x="132" y="122"/>
                    <a:pt x="131" y="124"/>
                  </a:cubicBezTo>
                  <a:cubicBezTo>
                    <a:pt x="131" y="125"/>
                    <a:pt x="131" y="125"/>
                    <a:pt x="130" y="126"/>
                  </a:cubicBezTo>
                  <a:cubicBezTo>
                    <a:pt x="130" y="126"/>
                    <a:pt x="130" y="127"/>
                    <a:pt x="130" y="127"/>
                  </a:cubicBezTo>
                  <a:cubicBezTo>
                    <a:pt x="130" y="130"/>
                    <a:pt x="130" y="133"/>
                    <a:pt x="130" y="136"/>
                  </a:cubicBezTo>
                  <a:cubicBezTo>
                    <a:pt x="130" y="140"/>
                    <a:pt x="131" y="144"/>
                    <a:pt x="130" y="148"/>
                  </a:cubicBezTo>
                  <a:cubicBezTo>
                    <a:pt x="130" y="149"/>
                    <a:pt x="129" y="151"/>
                    <a:pt x="129" y="152"/>
                  </a:cubicBezTo>
                  <a:cubicBezTo>
                    <a:pt x="128" y="155"/>
                    <a:pt x="127" y="156"/>
                    <a:pt x="126" y="158"/>
                  </a:cubicBezTo>
                  <a:cubicBezTo>
                    <a:pt x="125" y="160"/>
                    <a:pt x="124" y="161"/>
                    <a:pt x="123" y="163"/>
                  </a:cubicBezTo>
                  <a:cubicBezTo>
                    <a:pt x="123" y="163"/>
                    <a:pt x="122" y="164"/>
                    <a:pt x="122" y="165"/>
                  </a:cubicBezTo>
                  <a:cubicBezTo>
                    <a:pt x="121" y="166"/>
                    <a:pt x="121" y="167"/>
                    <a:pt x="121" y="168"/>
                  </a:cubicBezTo>
                  <a:cubicBezTo>
                    <a:pt x="121" y="169"/>
                    <a:pt x="121" y="170"/>
                    <a:pt x="121" y="171"/>
                  </a:cubicBezTo>
                  <a:cubicBezTo>
                    <a:pt x="121" y="173"/>
                    <a:pt x="122" y="172"/>
                    <a:pt x="123" y="174"/>
                  </a:cubicBezTo>
                  <a:cubicBezTo>
                    <a:pt x="124" y="174"/>
                    <a:pt x="124" y="176"/>
                    <a:pt x="124" y="176"/>
                  </a:cubicBezTo>
                  <a:cubicBezTo>
                    <a:pt x="125" y="177"/>
                    <a:pt x="126" y="178"/>
                    <a:pt x="127" y="179"/>
                  </a:cubicBezTo>
                  <a:cubicBezTo>
                    <a:pt x="128" y="179"/>
                    <a:pt x="129" y="180"/>
                    <a:pt x="129" y="181"/>
                  </a:cubicBezTo>
                  <a:cubicBezTo>
                    <a:pt x="131" y="183"/>
                    <a:pt x="133" y="186"/>
                    <a:pt x="131" y="189"/>
                  </a:cubicBezTo>
                  <a:cubicBezTo>
                    <a:pt x="131" y="190"/>
                    <a:pt x="129" y="191"/>
                    <a:pt x="128" y="191"/>
                  </a:cubicBezTo>
                  <a:cubicBezTo>
                    <a:pt x="126" y="191"/>
                    <a:pt x="122" y="191"/>
                    <a:pt x="120" y="191"/>
                  </a:cubicBezTo>
                  <a:cubicBezTo>
                    <a:pt x="118" y="190"/>
                    <a:pt x="118" y="190"/>
                    <a:pt x="118" y="188"/>
                  </a:cubicBezTo>
                  <a:cubicBezTo>
                    <a:pt x="118" y="187"/>
                    <a:pt x="118" y="185"/>
                    <a:pt x="119" y="184"/>
                  </a:cubicBezTo>
                  <a:cubicBezTo>
                    <a:pt x="119" y="182"/>
                    <a:pt x="120" y="182"/>
                    <a:pt x="120" y="180"/>
                  </a:cubicBezTo>
                  <a:cubicBezTo>
                    <a:pt x="120" y="178"/>
                    <a:pt x="118" y="178"/>
                    <a:pt x="118" y="176"/>
                  </a:cubicBezTo>
                  <a:cubicBezTo>
                    <a:pt x="116" y="176"/>
                    <a:pt x="113" y="176"/>
                    <a:pt x="110" y="176"/>
                  </a:cubicBezTo>
                  <a:cubicBezTo>
                    <a:pt x="110" y="176"/>
                    <a:pt x="110" y="176"/>
                    <a:pt x="109" y="176"/>
                  </a:cubicBezTo>
                  <a:cubicBezTo>
                    <a:pt x="109" y="177"/>
                    <a:pt x="109" y="177"/>
                    <a:pt x="108" y="177"/>
                  </a:cubicBezTo>
                  <a:cubicBezTo>
                    <a:pt x="108" y="177"/>
                    <a:pt x="108" y="177"/>
                    <a:pt x="107" y="177"/>
                  </a:cubicBezTo>
                  <a:cubicBezTo>
                    <a:pt x="103" y="176"/>
                    <a:pt x="99" y="180"/>
                    <a:pt x="99" y="184"/>
                  </a:cubicBezTo>
                  <a:cubicBezTo>
                    <a:pt x="99" y="187"/>
                    <a:pt x="100" y="192"/>
                    <a:pt x="95" y="192"/>
                  </a:cubicBezTo>
                  <a:cubicBezTo>
                    <a:pt x="94" y="192"/>
                    <a:pt x="92" y="192"/>
                    <a:pt x="91" y="191"/>
                  </a:cubicBezTo>
                  <a:cubicBezTo>
                    <a:pt x="89" y="191"/>
                    <a:pt x="89" y="189"/>
                    <a:pt x="88" y="188"/>
                  </a:cubicBezTo>
                  <a:cubicBezTo>
                    <a:pt x="86" y="188"/>
                    <a:pt x="83" y="189"/>
                    <a:pt x="82" y="190"/>
                  </a:cubicBezTo>
                  <a:cubicBezTo>
                    <a:pt x="80" y="190"/>
                    <a:pt x="79" y="193"/>
                    <a:pt x="79" y="194"/>
                  </a:cubicBezTo>
                  <a:cubicBezTo>
                    <a:pt x="79" y="195"/>
                    <a:pt x="79" y="197"/>
                    <a:pt x="79" y="198"/>
                  </a:cubicBezTo>
                  <a:cubicBezTo>
                    <a:pt x="79" y="200"/>
                    <a:pt x="81" y="201"/>
                    <a:pt x="80" y="203"/>
                  </a:cubicBezTo>
                  <a:cubicBezTo>
                    <a:pt x="79" y="204"/>
                    <a:pt x="78" y="203"/>
                    <a:pt x="77" y="204"/>
                  </a:cubicBezTo>
                  <a:cubicBezTo>
                    <a:pt x="76" y="205"/>
                    <a:pt x="76" y="205"/>
                    <a:pt x="75" y="206"/>
                  </a:cubicBezTo>
                  <a:cubicBezTo>
                    <a:pt x="75" y="206"/>
                    <a:pt x="74" y="206"/>
                    <a:pt x="74" y="206"/>
                  </a:cubicBezTo>
                  <a:cubicBezTo>
                    <a:pt x="70" y="208"/>
                    <a:pt x="73" y="204"/>
                    <a:pt x="72" y="202"/>
                  </a:cubicBezTo>
                  <a:cubicBezTo>
                    <a:pt x="71" y="202"/>
                    <a:pt x="70" y="203"/>
                    <a:pt x="69" y="204"/>
                  </a:cubicBezTo>
                  <a:cubicBezTo>
                    <a:pt x="69" y="204"/>
                    <a:pt x="68" y="204"/>
                    <a:pt x="67" y="204"/>
                  </a:cubicBezTo>
                  <a:cubicBezTo>
                    <a:pt x="67" y="205"/>
                    <a:pt x="66" y="205"/>
                    <a:pt x="66" y="206"/>
                  </a:cubicBezTo>
                  <a:cubicBezTo>
                    <a:pt x="65" y="206"/>
                    <a:pt x="64" y="207"/>
                    <a:pt x="64" y="207"/>
                  </a:cubicBezTo>
                  <a:cubicBezTo>
                    <a:pt x="62" y="208"/>
                    <a:pt x="61" y="208"/>
                    <a:pt x="60" y="209"/>
                  </a:cubicBezTo>
                  <a:cubicBezTo>
                    <a:pt x="59" y="211"/>
                    <a:pt x="59" y="212"/>
                    <a:pt x="57" y="212"/>
                  </a:cubicBezTo>
                  <a:cubicBezTo>
                    <a:pt x="54" y="214"/>
                    <a:pt x="51" y="211"/>
                    <a:pt x="48" y="210"/>
                  </a:cubicBezTo>
                  <a:cubicBezTo>
                    <a:pt x="46" y="209"/>
                    <a:pt x="42" y="210"/>
                    <a:pt x="39" y="209"/>
                  </a:cubicBezTo>
                  <a:cubicBezTo>
                    <a:pt x="39" y="209"/>
                    <a:pt x="39" y="208"/>
                    <a:pt x="39" y="208"/>
                  </a:cubicBezTo>
                  <a:cubicBezTo>
                    <a:pt x="38" y="210"/>
                    <a:pt x="33" y="208"/>
                    <a:pt x="31" y="208"/>
                  </a:cubicBezTo>
                  <a:cubicBezTo>
                    <a:pt x="31" y="208"/>
                    <a:pt x="30" y="208"/>
                    <a:pt x="29" y="207"/>
                  </a:cubicBezTo>
                  <a:cubicBezTo>
                    <a:pt x="28" y="207"/>
                    <a:pt x="28" y="207"/>
                    <a:pt x="27" y="206"/>
                  </a:cubicBezTo>
                  <a:cubicBezTo>
                    <a:pt x="26" y="206"/>
                    <a:pt x="25" y="206"/>
                    <a:pt x="24" y="206"/>
                  </a:cubicBezTo>
                  <a:cubicBezTo>
                    <a:pt x="21" y="206"/>
                    <a:pt x="19" y="206"/>
                    <a:pt x="16" y="207"/>
                  </a:cubicBezTo>
                  <a:cubicBezTo>
                    <a:pt x="14" y="207"/>
                    <a:pt x="14" y="207"/>
                    <a:pt x="13" y="209"/>
                  </a:cubicBezTo>
                  <a:cubicBezTo>
                    <a:pt x="12" y="209"/>
                    <a:pt x="11" y="210"/>
                    <a:pt x="11" y="211"/>
                  </a:cubicBezTo>
                  <a:cubicBezTo>
                    <a:pt x="10" y="212"/>
                    <a:pt x="10" y="212"/>
                    <a:pt x="10" y="212"/>
                  </a:cubicBezTo>
                  <a:cubicBezTo>
                    <a:pt x="11" y="215"/>
                    <a:pt x="13" y="217"/>
                    <a:pt x="14" y="220"/>
                  </a:cubicBezTo>
                  <a:cubicBezTo>
                    <a:pt x="14" y="222"/>
                    <a:pt x="13" y="223"/>
                    <a:pt x="12" y="225"/>
                  </a:cubicBezTo>
                  <a:cubicBezTo>
                    <a:pt x="11" y="227"/>
                    <a:pt x="11" y="227"/>
                    <a:pt x="11" y="230"/>
                  </a:cubicBezTo>
                  <a:cubicBezTo>
                    <a:pt x="11" y="234"/>
                    <a:pt x="14" y="236"/>
                    <a:pt x="15" y="239"/>
                  </a:cubicBezTo>
                  <a:cubicBezTo>
                    <a:pt x="17" y="244"/>
                    <a:pt x="20" y="248"/>
                    <a:pt x="22" y="253"/>
                  </a:cubicBezTo>
                  <a:cubicBezTo>
                    <a:pt x="25" y="259"/>
                    <a:pt x="26" y="264"/>
                    <a:pt x="28" y="270"/>
                  </a:cubicBezTo>
                  <a:cubicBezTo>
                    <a:pt x="30" y="273"/>
                    <a:pt x="31" y="277"/>
                    <a:pt x="33" y="279"/>
                  </a:cubicBezTo>
                  <a:cubicBezTo>
                    <a:pt x="33" y="281"/>
                    <a:pt x="34" y="281"/>
                    <a:pt x="35" y="282"/>
                  </a:cubicBezTo>
                  <a:cubicBezTo>
                    <a:pt x="35" y="284"/>
                    <a:pt x="34" y="287"/>
                    <a:pt x="34" y="289"/>
                  </a:cubicBezTo>
                  <a:cubicBezTo>
                    <a:pt x="35" y="291"/>
                    <a:pt x="35" y="291"/>
                    <a:pt x="36" y="293"/>
                  </a:cubicBezTo>
                  <a:cubicBezTo>
                    <a:pt x="37" y="293"/>
                    <a:pt x="37" y="294"/>
                    <a:pt x="38" y="294"/>
                  </a:cubicBezTo>
                  <a:cubicBezTo>
                    <a:pt x="39" y="295"/>
                    <a:pt x="39" y="293"/>
                    <a:pt x="40" y="293"/>
                  </a:cubicBezTo>
                  <a:cubicBezTo>
                    <a:pt x="44" y="292"/>
                    <a:pt x="43" y="296"/>
                    <a:pt x="43" y="298"/>
                  </a:cubicBezTo>
                  <a:cubicBezTo>
                    <a:pt x="43" y="300"/>
                    <a:pt x="43" y="302"/>
                    <a:pt x="43" y="304"/>
                  </a:cubicBezTo>
                  <a:cubicBezTo>
                    <a:pt x="43" y="306"/>
                    <a:pt x="43" y="307"/>
                    <a:pt x="42" y="309"/>
                  </a:cubicBezTo>
                  <a:cubicBezTo>
                    <a:pt x="42" y="310"/>
                    <a:pt x="41" y="311"/>
                    <a:pt x="40" y="312"/>
                  </a:cubicBezTo>
                  <a:cubicBezTo>
                    <a:pt x="40" y="313"/>
                    <a:pt x="40" y="315"/>
                    <a:pt x="40" y="316"/>
                  </a:cubicBezTo>
                  <a:cubicBezTo>
                    <a:pt x="40" y="318"/>
                    <a:pt x="39" y="320"/>
                    <a:pt x="38" y="321"/>
                  </a:cubicBezTo>
                  <a:cubicBezTo>
                    <a:pt x="37" y="323"/>
                    <a:pt x="38" y="323"/>
                    <a:pt x="35" y="324"/>
                  </a:cubicBezTo>
                  <a:cubicBezTo>
                    <a:pt x="32" y="324"/>
                    <a:pt x="30" y="323"/>
                    <a:pt x="27" y="324"/>
                  </a:cubicBezTo>
                  <a:cubicBezTo>
                    <a:pt x="25" y="325"/>
                    <a:pt x="24" y="326"/>
                    <a:pt x="23" y="327"/>
                  </a:cubicBezTo>
                  <a:cubicBezTo>
                    <a:pt x="22" y="328"/>
                    <a:pt x="21" y="328"/>
                    <a:pt x="21" y="329"/>
                  </a:cubicBezTo>
                  <a:cubicBezTo>
                    <a:pt x="20" y="329"/>
                    <a:pt x="20" y="331"/>
                    <a:pt x="20" y="331"/>
                  </a:cubicBezTo>
                  <a:cubicBezTo>
                    <a:pt x="19" y="333"/>
                    <a:pt x="19" y="334"/>
                    <a:pt x="18" y="336"/>
                  </a:cubicBezTo>
                  <a:cubicBezTo>
                    <a:pt x="17" y="338"/>
                    <a:pt x="18" y="337"/>
                    <a:pt x="16" y="338"/>
                  </a:cubicBezTo>
                  <a:cubicBezTo>
                    <a:pt x="14" y="341"/>
                    <a:pt x="11" y="342"/>
                    <a:pt x="8" y="344"/>
                  </a:cubicBezTo>
                  <a:cubicBezTo>
                    <a:pt x="6" y="345"/>
                    <a:pt x="4" y="346"/>
                    <a:pt x="3" y="347"/>
                  </a:cubicBezTo>
                  <a:cubicBezTo>
                    <a:pt x="3" y="349"/>
                    <a:pt x="3" y="351"/>
                    <a:pt x="2" y="352"/>
                  </a:cubicBezTo>
                  <a:cubicBezTo>
                    <a:pt x="1" y="355"/>
                    <a:pt x="0" y="360"/>
                    <a:pt x="4" y="360"/>
                  </a:cubicBezTo>
                  <a:cubicBezTo>
                    <a:pt x="8" y="359"/>
                    <a:pt x="8" y="360"/>
                    <a:pt x="10" y="363"/>
                  </a:cubicBezTo>
                  <a:cubicBezTo>
                    <a:pt x="11" y="365"/>
                    <a:pt x="12" y="367"/>
                    <a:pt x="14" y="368"/>
                  </a:cubicBezTo>
                  <a:cubicBezTo>
                    <a:pt x="16" y="368"/>
                    <a:pt x="16" y="368"/>
                    <a:pt x="18" y="370"/>
                  </a:cubicBezTo>
                  <a:cubicBezTo>
                    <a:pt x="19" y="371"/>
                    <a:pt x="20" y="372"/>
                    <a:pt x="21" y="373"/>
                  </a:cubicBezTo>
                  <a:cubicBezTo>
                    <a:pt x="22" y="375"/>
                    <a:pt x="23" y="375"/>
                    <a:pt x="23" y="377"/>
                  </a:cubicBezTo>
                  <a:cubicBezTo>
                    <a:pt x="23" y="377"/>
                    <a:pt x="23" y="379"/>
                    <a:pt x="23" y="380"/>
                  </a:cubicBezTo>
                  <a:cubicBezTo>
                    <a:pt x="23" y="381"/>
                    <a:pt x="22" y="380"/>
                    <a:pt x="22" y="381"/>
                  </a:cubicBezTo>
                  <a:cubicBezTo>
                    <a:pt x="20" y="382"/>
                    <a:pt x="21" y="383"/>
                    <a:pt x="21" y="385"/>
                  </a:cubicBezTo>
                  <a:cubicBezTo>
                    <a:pt x="20" y="388"/>
                    <a:pt x="19" y="390"/>
                    <a:pt x="18" y="392"/>
                  </a:cubicBezTo>
                  <a:cubicBezTo>
                    <a:pt x="17" y="394"/>
                    <a:pt x="17" y="394"/>
                    <a:pt x="16" y="396"/>
                  </a:cubicBezTo>
                  <a:cubicBezTo>
                    <a:pt x="16" y="397"/>
                    <a:pt x="16" y="399"/>
                    <a:pt x="16" y="400"/>
                  </a:cubicBezTo>
                  <a:cubicBezTo>
                    <a:pt x="15" y="402"/>
                    <a:pt x="14" y="402"/>
                    <a:pt x="13" y="404"/>
                  </a:cubicBezTo>
                  <a:cubicBezTo>
                    <a:pt x="13" y="406"/>
                    <a:pt x="13" y="408"/>
                    <a:pt x="13" y="410"/>
                  </a:cubicBezTo>
                  <a:cubicBezTo>
                    <a:pt x="13" y="413"/>
                    <a:pt x="12" y="416"/>
                    <a:pt x="15" y="417"/>
                  </a:cubicBezTo>
                  <a:cubicBezTo>
                    <a:pt x="17" y="418"/>
                    <a:pt x="17" y="416"/>
                    <a:pt x="19" y="418"/>
                  </a:cubicBezTo>
                  <a:cubicBezTo>
                    <a:pt x="22" y="418"/>
                    <a:pt x="25" y="417"/>
                    <a:pt x="28" y="416"/>
                  </a:cubicBezTo>
                  <a:cubicBezTo>
                    <a:pt x="31" y="416"/>
                    <a:pt x="32" y="416"/>
                    <a:pt x="35" y="414"/>
                  </a:cubicBezTo>
                  <a:cubicBezTo>
                    <a:pt x="37" y="412"/>
                    <a:pt x="42" y="412"/>
                    <a:pt x="43" y="408"/>
                  </a:cubicBezTo>
                  <a:cubicBezTo>
                    <a:pt x="45" y="405"/>
                    <a:pt x="43" y="402"/>
                    <a:pt x="46" y="399"/>
                  </a:cubicBezTo>
                  <a:cubicBezTo>
                    <a:pt x="47" y="397"/>
                    <a:pt x="49" y="396"/>
                    <a:pt x="50" y="396"/>
                  </a:cubicBezTo>
                  <a:cubicBezTo>
                    <a:pt x="51" y="396"/>
                    <a:pt x="52" y="396"/>
                    <a:pt x="53" y="396"/>
                  </a:cubicBezTo>
                  <a:cubicBezTo>
                    <a:pt x="53" y="396"/>
                    <a:pt x="55" y="394"/>
                    <a:pt x="55" y="394"/>
                  </a:cubicBezTo>
                  <a:cubicBezTo>
                    <a:pt x="57" y="392"/>
                    <a:pt x="60" y="391"/>
                    <a:pt x="63" y="392"/>
                  </a:cubicBezTo>
                  <a:cubicBezTo>
                    <a:pt x="65" y="392"/>
                    <a:pt x="67" y="392"/>
                    <a:pt x="69" y="393"/>
                  </a:cubicBezTo>
                  <a:cubicBezTo>
                    <a:pt x="71" y="393"/>
                    <a:pt x="73" y="395"/>
                    <a:pt x="75" y="395"/>
                  </a:cubicBezTo>
                  <a:cubicBezTo>
                    <a:pt x="76" y="395"/>
                    <a:pt x="78" y="395"/>
                    <a:pt x="80" y="394"/>
                  </a:cubicBezTo>
                  <a:cubicBezTo>
                    <a:pt x="83" y="394"/>
                    <a:pt x="86" y="391"/>
                    <a:pt x="89" y="392"/>
                  </a:cubicBezTo>
                  <a:cubicBezTo>
                    <a:pt x="91" y="392"/>
                    <a:pt x="92" y="392"/>
                    <a:pt x="94" y="392"/>
                  </a:cubicBezTo>
                  <a:cubicBezTo>
                    <a:pt x="98" y="392"/>
                    <a:pt x="102" y="393"/>
                    <a:pt x="106" y="393"/>
                  </a:cubicBezTo>
                  <a:cubicBezTo>
                    <a:pt x="110" y="393"/>
                    <a:pt x="114" y="394"/>
                    <a:pt x="118" y="394"/>
                  </a:cubicBezTo>
                  <a:cubicBezTo>
                    <a:pt x="120" y="394"/>
                    <a:pt x="123" y="393"/>
                    <a:pt x="124" y="394"/>
                  </a:cubicBezTo>
                  <a:cubicBezTo>
                    <a:pt x="125" y="394"/>
                    <a:pt x="126" y="395"/>
                    <a:pt x="127" y="395"/>
                  </a:cubicBezTo>
                  <a:cubicBezTo>
                    <a:pt x="128" y="396"/>
                    <a:pt x="130" y="396"/>
                    <a:pt x="131" y="396"/>
                  </a:cubicBezTo>
                  <a:cubicBezTo>
                    <a:pt x="133" y="396"/>
                    <a:pt x="135" y="396"/>
                    <a:pt x="138" y="397"/>
                  </a:cubicBezTo>
                  <a:cubicBezTo>
                    <a:pt x="139" y="397"/>
                    <a:pt x="141" y="398"/>
                    <a:pt x="143" y="398"/>
                  </a:cubicBezTo>
                  <a:cubicBezTo>
                    <a:pt x="144" y="398"/>
                    <a:pt x="147" y="397"/>
                    <a:pt x="148" y="398"/>
                  </a:cubicBezTo>
                  <a:cubicBezTo>
                    <a:pt x="151" y="399"/>
                    <a:pt x="150" y="402"/>
                    <a:pt x="152" y="403"/>
                  </a:cubicBezTo>
                  <a:cubicBezTo>
                    <a:pt x="154" y="404"/>
                    <a:pt x="157" y="403"/>
                    <a:pt x="159" y="402"/>
                  </a:cubicBezTo>
                  <a:cubicBezTo>
                    <a:pt x="163" y="402"/>
                    <a:pt x="166" y="402"/>
                    <a:pt x="169" y="402"/>
                  </a:cubicBezTo>
                  <a:cubicBezTo>
                    <a:pt x="171" y="403"/>
                    <a:pt x="174" y="404"/>
                    <a:pt x="176" y="405"/>
                  </a:cubicBezTo>
                  <a:cubicBezTo>
                    <a:pt x="178" y="406"/>
                    <a:pt x="180" y="408"/>
                    <a:pt x="183" y="409"/>
                  </a:cubicBezTo>
                  <a:cubicBezTo>
                    <a:pt x="188" y="410"/>
                    <a:pt x="195" y="401"/>
                    <a:pt x="200" y="407"/>
                  </a:cubicBezTo>
                  <a:cubicBezTo>
                    <a:pt x="201" y="408"/>
                    <a:pt x="201" y="410"/>
                    <a:pt x="202" y="412"/>
                  </a:cubicBezTo>
                  <a:cubicBezTo>
                    <a:pt x="202" y="412"/>
                    <a:pt x="203" y="413"/>
                    <a:pt x="203" y="414"/>
                  </a:cubicBezTo>
                  <a:cubicBezTo>
                    <a:pt x="204" y="415"/>
                    <a:pt x="204" y="415"/>
                    <a:pt x="204" y="416"/>
                  </a:cubicBezTo>
                  <a:cubicBezTo>
                    <a:pt x="205" y="418"/>
                    <a:pt x="205" y="418"/>
                    <a:pt x="206" y="419"/>
                  </a:cubicBezTo>
                  <a:cubicBezTo>
                    <a:pt x="206" y="420"/>
                    <a:pt x="206" y="421"/>
                    <a:pt x="207" y="422"/>
                  </a:cubicBezTo>
                  <a:cubicBezTo>
                    <a:pt x="209" y="423"/>
                    <a:pt x="212" y="420"/>
                    <a:pt x="215" y="420"/>
                  </a:cubicBezTo>
                  <a:cubicBezTo>
                    <a:pt x="218" y="420"/>
                    <a:pt x="221" y="420"/>
                    <a:pt x="222" y="423"/>
                  </a:cubicBezTo>
                  <a:cubicBezTo>
                    <a:pt x="223" y="426"/>
                    <a:pt x="224" y="429"/>
                    <a:pt x="225" y="431"/>
                  </a:cubicBezTo>
                  <a:cubicBezTo>
                    <a:pt x="227" y="434"/>
                    <a:pt x="228" y="434"/>
                    <a:pt x="231" y="432"/>
                  </a:cubicBezTo>
                  <a:cubicBezTo>
                    <a:pt x="233" y="430"/>
                    <a:pt x="234" y="429"/>
                    <a:pt x="235" y="427"/>
                  </a:cubicBezTo>
                  <a:cubicBezTo>
                    <a:pt x="235" y="425"/>
                    <a:pt x="234" y="422"/>
                    <a:pt x="236" y="421"/>
                  </a:cubicBezTo>
                  <a:cubicBezTo>
                    <a:pt x="237" y="420"/>
                    <a:pt x="240" y="423"/>
                    <a:pt x="242" y="423"/>
                  </a:cubicBezTo>
                  <a:cubicBezTo>
                    <a:pt x="245" y="423"/>
                    <a:pt x="246" y="422"/>
                    <a:pt x="247" y="420"/>
                  </a:cubicBezTo>
                  <a:cubicBezTo>
                    <a:pt x="247" y="418"/>
                    <a:pt x="248" y="413"/>
                    <a:pt x="251" y="414"/>
                  </a:cubicBezTo>
                  <a:cubicBezTo>
                    <a:pt x="255" y="414"/>
                    <a:pt x="257" y="423"/>
                    <a:pt x="258" y="426"/>
                  </a:cubicBezTo>
                  <a:cubicBezTo>
                    <a:pt x="260" y="429"/>
                    <a:pt x="261" y="430"/>
                    <a:pt x="263" y="429"/>
                  </a:cubicBezTo>
                  <a:cubicBezTo>
                    <a:pt x="264" y="428"/>
                    <a:pt x="265" y="426"/>
                    <a:pt x="267" y="425"/>
                  </a:cubicBezTo>
                  <a:cubicBezTo>
                    <a:pt x="268" y="425"/>
                    <a:pt x="271" y="425"/>
                    <a:pt x="272" y="425"/>
                  </a:cubicBezTo>
                  <a:cubicBezTo>
                    <a:pt x="278" y="427"/>
                    <a:pt x="276" y="436"/>
                    <a:pt x="276" y="441"/>
                  </a:cubicBezTo>
                  <a:cubicBezTo>
                    <a:pt x="278" y="441"/>
                    <a:pt x="281" y="441"/>
                    <a:pt x="282" y="440"/>
                  </a:cubicBezTo>
                  <a:cubicBezTo>
                    <a:pt x="284" y="439"/>
                    <a:pt x="282" y="434"/>
                    <a:pt x="282" y="432"/>
                  </a:cubicBezTo>
                  <a:cubicBezTo>
                    <a:pt x="283" y="430"/>
                    <a:pt x="283" y="431"/>
                    <a:pt x="286" y="430"/>
                  </a:cubicBezTo>
                  <a:cubicBezTo>
                    <a:pt x="288" y="429"/>
                    <a:pt x="289" y="429"/>
                    <a:pt x="291" y="428"/>
                  </a:cubicBezTo>
                  <a:cubicBezTo>
                    <a:pt x="293" y="428"/>
                    <a:pt x="295" y="427"/>
                    <a:pt x="296" y="425"/>
                  </a:cubicBezTo>
                  <a:cubicBezTo>
                    <a:pt x="297" y="424"/>
                    <a:pt x="297" y="422"/>
                    <a:pt x="299" y="421"/>
                  </a:cubicBezTo>
                  <a:cubicBezTo>
                    <a:pt x="304" y="419"/>
                    <a:pt x="306" y="424"/>
                    <a:pt x="307" y="427"/>
                  </a:cubicBezTo>
                  <a:cubicBezTo>
                    <a:pt x="307" y="431"/>
                    <a:pt x="309" y="438"/>
                    <a:pt x="312" y="441"/>
                  </a:cubicBezTo>
                  <a:cubicBezTo>
                    <a:pt x="313" y="442"/>
                    <a:pt x="316" y="443"/>
                    <a:pt x="318" y="443"/>
                  </a:cubicBezTo>
                  <a:cubicBezTo>
                    <a:pt x="320" y="442"/>
                    <a:pt x="320" y="441"/>
                    <a:pt x="321" y="440"/>
                  </a:cubicBezTo>
                  <a:cubicBezTo>
                    <a:pt x="322" y="438"/>
                    <a:pt x="322" y="437"/>
                    <a:pt x="322" y="435"/>
                  </a:cubicBezTo>
                  <a:cubicBezTo>
                    <a:pt x="323" y="430"/>
                    <a:pt x="328" y="427"/>
                    <a:pt x="332" y="429"/>
                  </a:cubicBezTo>
                  <a:cubicBezTo>
                    <a:pt x="335" y="430"/>
                    <a:pt x="336" y="433"/>
                    <a:pt x="336" y="436"/>
                  </a:cubicBezTo>
                  <a:cubicBezTo>
                    <a:pt x="339" y="436"/>
                    <a:pt x="343" y="436"/>
                    <a:pt x="346" y="436"/>
                  </a:cubicBezTo>
                  <a:cubicBezTo>
                    <a:pt x="350" y="435"/>
                    <a:pt x="354" y="431"/>
                    <a:pt x="357" y="433"/>
                  </a:cubicBezTo>
                  <a:cubicBezTo>
                    <a:pt x="360" y="434"/>
                    <a:pt x="361" y="439"/>
                    <a:pt x="363" y="440"/>
                  </a:cubicBezTo>
                  <a:cubicBezTo>
                    <a:pt x="365" y="442"/>
                    <a:pt x="368" y="442"/>
                    <a:pt x="370" y="445"/>
                  </a:cubicBezTo>
                  <a:cubicBezTo>
                    <a:pt x="372" y="447"/>
                    <a:pt x="374" y="449"/>
                    <a:pt x="376" y="451"/>
                  </a:cubicBezTo>
                  <a:cubicBezTo>
                    <a:pt x="377" y="452"/>
                    <a:pt x="378" y="453"/>
                    <a:pt x="380" y="453"/>
                  </a:cubicBezTo>
                  <a:cubicBezTo>
                    <a:pt x="383" y="454"/>
                    <a:pt x="385" y="451"/>
                    <a:pt x="386" y="449"/>
                  </a:cubicBezTo>
                  <a:cubicBezTo>
                    <a:pt x="387" y="446"/>
                    <a:pt x="385" y="443"/>
                    <a:pt x="384" y="440"/>
                  </a:cubicBezTo>
                  <a:cubicBezTo>
                    <a:pt x="382" y="432"/>
                    <a:pt x="380" y="423"/>
                    <a:pt x="385" y="415"/>
                  </a:cubicBezTo>
                  <a:cubicBezTo>
                    <a:pt x="387" y="412"/>
                    <a:pt x="389" y="409"/>
                    <a:pt x="391" y="406"/>
                  </a:cubicBezTo>
                  <a:cubicBezTo>
                    <a:pt x="392" y="404"/>
                    <a:pt x="392" y="403"/>
                    <a:pt x="394" y="402"/>
                  </a:cubicBezTo>
                  <a:cubicBezTo>
                    <a:pt x="394" y="401"/>
                    <a:pt x="395" y="401"/>
                    <a:pt x="396" y="400"/>
                  </a:cubicBezTo>
                  <a:cubicBezTo>
                    <a:pt x="397" y="399"/>
                    <a:pt x="399" y="396"/>
                    <a:pt x="400" y="394"/>
                  </a:cubicBezTo>
                  <a:cubicBezTo>
                    <a:pt x="401" y="393"/>
                    <a:pt x="401" y="392"/>
                    <a:pt x="402" y="391"/>
                  </a:cubicBezTo>
                  <a:cubicBezTo>
                    <a:pt x="403" y="390"/>
                    <a:pt x="403" y="390"/>
                    <a:pt x="404" y="390"/>
                  </a:cubicBezTo>
                  <a:cubicBezTo>
                    <a:pt x="405" y="388"/>
                    <a:pt x="406" y="386"/>
                    <a:pt x="406" y="384"/>
                  </a:cubicBezTo>
                  <a:cubicBezTo>
                    <a:pt x="406" y="383"/>
                    <a:pt x="405" y="380"/>
                    <a:pt x="406" y="379"/>
                  </a:cubicBezTo>
                  <a:cubicBezTo>
                    <a:pt x="408" y="377"/>
                    <a:pt x="409" y="380"/>
                    <a:pt x="410" y="381"/>
                  </a:cubicBezTo>
                  <a:cubicBezTo>
                    <a:pt x="411" y="382"/>
                    <a:pt x="410" y="382"/>
                    <a:pt x="412" y="383"/>
                  </a:cubicBezTo>
                  <a:cubicBezTo>
                    <a:pt x="414" y="384"/>
                    <a:pt x="418" y="383"/>
                    <a:pt x="420" y="383"/>
                  </a:cubicBezTo>
                  <a:cubicBezTo>
                    <a:pt x="421" y="382"/>
                    <a:pt x="423" y="379"/>
                    <a:pt x="424" y="377"/>
                  </a:cubicBezTo>
                  <a:cubicBezTo>
                    <a:pt x="425" y="375"/>
                    <a:pt x="425" y="375"/>
                    <a:pt x="427" y="375"/>
                  </a:cubicBezTo>
                  <a:cubicBezTo>
                    <a:pt x="434" y="375"/>
                    <a:pt x="441" y="377"/>
                    <a:pt x="447" y="378"/>
                  </a:cubicBezTo>
                  <a:cubicBezTo>
                    <a:pt x="449" y="379"/>
                    <a:pt x="452" y="381"/>
                    <a:pt x="453" y="379"/>
                  </a:cubicBezTo>
                  <a:cubicBezTo>
                    <a:pt x="454" y="377"/>
                    <a:pt x="452" y="376"/>
                    <a:pt x="452" y="375"/>
                  </a:cubicBezTo>
                  <a:cubicBezTo>
                    <a:pt x="450" y="372"/>
                    <a:pt x="450" y="371"/>
                    <a:pt x="449" y="368"/>
                  </a:cubicBezTo>
                  <a:cubicBezTo>
                    <a:pt x="448" y="366"/>
                    <a:pt x="448" y="366"/>
                    <a:pt x="446" y="365"/>
                  </a:cubicBezTo>
                  <a:cubicBezTo>
                    <a:pt x="445" y="365"/>
                    <a:pt x="444" y="364"/>
                    <a:pt x="443" y="363"/>
                  </a:cubicBezTo>
                  <a:cubicBezTo>
                    <a:pt x="440" y="361"/>
                    <a:pt x="442" y="360"/>
                    <a:pt x="442" y="357"/>
                  </a:cubicBezTo>
                  <a:cubicBezTo>
                    <a:pt x="442" y="354"/>
                    <a:pt x="439" y="351"/>
                    <a:pt x="439" y="347"/>
                  </a:cubicBezTo>
                  <a:cubicBezTo>
                    <a:pt x="439" y="346"/>
                    <a:pt x="439" y="345"/>
                    <a:pt x="439" y="344"/>
                  </a:cubicBezTo>
                  <a:cubicBezTo>
                    <a:pt x="440" y="342"/>
                    <a:pt x="441" y="343"/>
                    <a:pt x="442" y="341"/>
                  </a:cubicBezTo>
                  <a:cubicBezTo>
                    <a:pt x="445" y="337"/>
                    <a:pt x="439" y="334"/>
                    <a:pt x="437" y="331"/>
                  </a:cubicBezTo>
                  <a:cubicBezTo>
                    <a:pt x="436" y="328"/>
                    <a:pt x="436" y="323"/>
                    <a:pt x="436" y="319"/>
                  </a:cubicBezTo>
                  <a:cubicBezTo>
                    <a:pt x="436" y="313"/>
                    <a:pt x="434" y="309"/>
                    <a:pt x="430" y="304"/>
                  </a:cubicBezTo>
                  <a:cubicBezTo>
                    <a:pt x="427" y="300"/>
                    <a:pt x="423" y="296"/>
                    <a:pt x="428" y="293"/>
                  </a:cubicBezTo>
                  <a:cubicBezTo>
                    <a:pt x="431" y="291"/>
                    <a:pt x="430" y="291"/>
                    <a:pt x="430" y="288"/>
                  </a:cubicBezTo>
                  <a:cubicBezTo>
                    <a:pt x="430" y="286"/>
                    <a:pt x="429" y="281"/>
                    <a:pt x="430" y="280"/>
                  </a:cubicBezTo>
                  <a:cubicBezTo>
                    <a:pt x="432" y="278"/>
                    <a:pt x="436" y="280"/>
                    <a:pt x="438" y="280"/>
                  </a:cubicBezTo>
                  <a:cubicBezTo>
                    <a:pt x="440" y="280"/>
                    <a:pt x="442" y="279"/>
                    <a:pt x="444" y="280"/>
                  </a:cubicBezTo>
                  <a:cubicBezTo>
                    <a:pt x="447" y="281"/>
                    <a:pt x="448" y="283"/>
                    <a:pt x="450" y="285"/>
                  </a:cubicBezTo>
                  <a:cubicBezTo>
                    <a:pt x="451" y="285"/>
                    <a:pt x="453" y="285"/>
                    <a:pt x="453" y="286"/>
                  </a:cubicBezTo>
                  <a:cubicBezTo>
                    <a:pt x="454" y="286"/>
                    <a:pt x="454" y="286"/>
                    <a:pt x="454" y="287"/>
                  </a:cubicBezTo>
                  <a:cubicBezTo>
                    <a:pt x="455" y="287"/>
                    <a:pt x="456" y="288"/>
                    <a:pt x="457" y="288"/>
                  </a:cubicBezTo>
                  <a:cubicBezTo>
                    <a:pt x="463" y="289"/>
                    <a:pt x="471" y="289"/>
                    <a:pt x="477" y="288"/>
                  </a:cubicBezTo>
                  <a:cubicBezTo>
                    <a:pt x="479" y="287"/>
                    <a:pt x="481" y="286"/>
                    <a:pt x="483" y="284"/>
                  </a:cubicBezTo>
                  <a:cubicBezTo>
                    <a:pt x="483" y="283"/>
                    <a:pt x="483" y="282"/>
                    <a:pt x="484" y="281"/>
                  </a:cubicBezTo>
                  <a:cubicBezTo>
                    <a:pt x="485" y="280"/>
                    <a:pt x="486" y="280"/>
                    <a:pt x="487" y="279"/>
                  </a:cubicBezTo>
                  <a:cubicBezTo>
                    <a:pt x="488" y="278"/>
                    <a:pt x="489" y="277"/>
                    <a:pt x="490" y="276"/>
                  </a:cubicBezTo>
                  <a:cubicBezTo>
                    <a:pt x="492" y="275"/>
                    <a:pt x="493" y="275"/>
                    <a:pt x="494" y="274"/>
                  </a:cubicBezTo>
                  <a:cubicBezTo>
                    <a:pt x="496" y="273"/>
                    <a:pt x="496" y="271"/>
                    <a:pt x="497" y="270"/>
                  </a:cubicBezTo>
                  <a:cubicBezTo>
                    <a:pt x="498" y="269"/>
                    <a:pt x="499" y="270"/>
                    <a:pt x="500" y="270"/>
                  </a:cubicBezTo>
                  <a:cubicBezTo>
                    <a:pt x="502" y="269"/>
                    <a:pt x="501" y="269"/>
                    <a:pt x="502" y="268"/>
                  </a:cubicBezTo>
                  <a:cubicBezTo>
                    <a:pt x="504" y="266"/>
                    <a:pt x="504" y="266"/>
                    <a:pt x="505" y="263"/>
                  </a:cubicBezTo>
                  <a:cubicBezTo>
                    <a:pt x="505" y="262"/>
                    <a:pt x="506" y="261"/>
                    <a:pt x="506" y="260"/>
                  </a:cubicBezTo>
                  <a:cubicBezTo>
                    <a:pt x="507" y="258"/>
                    <a:pt x="506" y="258"/>
                    <a:pt x="505" y="257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9" name="Freeform 39"/>
            <p:cNvSpPr>
              <a:spLocks/>
            </p:cNvSpPr>
            <p:nvPr/>
          </p:nvSpPr>
          <p:spPr bwMode="auto">
            <a:xfrm>
              <a:off x="5592763" y="3159125"/>
              <a:ext cx="746125" cy="441325"/>
            </a:xfrm>
            <a:custGeom>
              <a:avLst/>
              <a:gdLst/>
              <a:ahLst/>
              <a:cxnLst>
                <a:cxn ang="0">
                  <a:pos x="394" y="150"/>
                </a:cxn>
                <a:cxn ang="0">
                  <a:pos x="386" y="137"/>
                </a:cxn>
                <a:cxn ang="0">
                  <a:pos x="375" y="124"/>
                </a:cxn>
                <a:cxn ang="0">
                  <a:pos x="376" y="94"/>
                </a:cxn>
                <a:cxn ang="0">
                  <a:pos x="378" y="77"/>
                </a:cxn>
                <a:cxn ang="0">
                  <a:pos x="359" y="56"/>
                </a:cxn>
                <a:cxn ang="0">
                  <a:pos x="349" y="50"/>
                </a:cxn>
                <a:cxn ang="0">
                  <a:pos x="332" y="49"/>
                </a:cxn>
                <a:cxn ang="0">
                  <a:pos x="311" y="53"/>
                </a:cxn>
                <a:cxn ang="0">
                  <a:pos x="294" y="48"/>
                </a:cxn>
                <a:cxn ang="0">
                  <a:pos x="279" y="32"/>
                </a:cxn>
                <a:cxn ang="0">
                  <a:pos x="255" y="15"/>
                </a:cxn>
                <a:cxn ang="0">
                  <a:pos x="237" y="7"/>
                </a:cxn>
                <a:cxn ang="0">
                  <a:pos x="219" y="10"/>
                </a:cxn>
                <a:cxn ang="0">
                  <a:pos x="192" y="22"/>
                </a:cxn>
                <a:cxn ang="0">
                  <a:pos x="189" y="60"/>
                </a:cxn>
                <a:cxn ang="0">
                  <a:pos x="174" y="94"/>
                </a:cxn>
                <a:cxn ang="0">
                  <a:pos x="146" y="109"/>
                </a:cxn>
                <a:cxn ang="0">
                  <a:pos x="127" y="96"/>
                </a:cxn>
                <a:cxn ang="0">
                  <a:pos x="124" y="77"/>
                </a:cxn>
                <a:cxn ang="0">
                  <a:pos x="110" y="64"/>
                </a:cxn>
                <a:cxn ang="0">
                  <a:pos x="96" y="50"/>
                </a:cxn>
                <a:cxn ang="0">
                  <a:pos x="93" y="33"/>
                </a:cxn>
                <a:cxn ang="0">
                  <a:pos x="75" y="38"/>
                </a:cxn>
                <a:cxn ang="0">
                  <a:pos x="57" y="51"/>
                </a:cxn>
                <a:cxn ang="0">
                  <a:pos x="39" y="58"/>
                </a:cxn>
                <a:cxn ang="0">
                  <a:pos x="28" y="75"/>
                </a:cxn>
                <a:cxn ang="0">
                  <a:pos x="17" y="117"/>
                </a:cxn>
                <a:cxn ang="0">
                  <a:pos x="8" y="131"/>
                </a:cxn>
                <a:cxn ang="0">
                  <a:pos x="1" y="189"/>
                </a:cxn>
                <a:cxn ang="0">
                  <a:pos x="10" y="204"/>
                </a:cxn>
                <a:cxn ang="0">
                  <a:pos x="18" y="192"/>
                </a:cxn>
                <a:cxn ang="0">
                  <a:pos x="22" y="187"/>
                </a:cxn>
                <a:cxn ang="0">
                  <a:pos x="29" y="180"/>
                </a:cxn>
                <a:cxn ang="0">
                  <a:pos x="49" y="171"/>
                </a:cxn>
                <a:cxn ang="0">
                  <a:pos x="69" y="163"/>
                </a:cxn>
                <a:cxn ang="0">
                  <a:pos x="94" y="167"/>
                </a:cxn>
                <a:cxn ang="0">
                  <a:pos x="111" y="166"/>
                </a:cxn>
                <a:cxn ang="0">
                  <a:pos x="120" y="169"/>
                </a:cxn>
                <a:cxn ang="0">
                  <a:pos x="133" y="171"/>
                </a:cxn>
                <a:cxn ang="0">
                  <a:pos x="150" y="171"/>
                </a:cxn>
                <a:cxn ang="0">
                  <a:pos x="164" y="171"/>
                </a:cxn>
                <a:cxn ang="0">
                  <a:pos x="177" y="180"/>
                </a:cxn>
                <a:cxn ang="0">
                  <a:pos x="203" y="178"/>
                </a:cxn>
                <a:cxn ang="0">
                  <a:pos x="209" y="168"/>
                </a:cxn>
                <a:cxn ang="0">
                  <a:pos x="225" y="164"/>
                </a:cxn>
                <a:cxn ang="0">
                  <a:pos x="224" y="172"/>
                </a:cxn>
                <a:cxn ang="0">
                  <a:pos x="241" y="188"/>
                </a:cxn>
                <a:cxn ang="0">
                  <a:pos x="263" y="196"/>
                </a:cxn>
                <a:cxn ang="0">
                  <a:pos x="292" y="219"/>
                </a:cxn>
                <a:cxn ang="0">
                  <a:pos x="300" y="233"/>
                </a:cxn>
                <a:cxn ang="0">
                  <a:pos x="316" y="235"/>
                </a:cxn>
                <a:cxn ang="0">
                  <a:pos x="332" y="227"/>
                </a:cxn>
                <a:cxn ang="0">
                  <a:pos x="351" y="224"/>
                </a:cxn>
                <a:cxn ang="0">
                  <a:pos x="381" y="205"/>
                </a:cxn>
                <a:cxn ang="0">
                  <a:pos x="399" y="173"/>
                </a:cxn>
              </a:cxnLst>
              <a:rect l="0" t="0" r="r" b="b"/>
              <a:pathLst>
                <a:path w="399" h="236">
                  <a:moveTo>
                    <a:pt x="399" y="162"/>
                  </a:moveTo>
                  <a:cubicBezTo>
                    <a:pt x="399" y="161"/>
                    <a:pt x="398" y="161"/>
                    <a:pt x="397" y="159"/>
                  </a:cubicBezTo>
                  <a:cubicBezTo>
                    <a:pt x="396" y="157"/>
                    <a:pt x="398" y="153"/>
                    <a:pt x="397" y="151"/>
                  </a:cubicBezTo>
                  <a:cubicBezTo>
                    <a:pt x="396" y="149"/>
                    <a:pt x="396" y="150"/>
                    <a:pt x="394" y="150"/>
                  </a:cubicBezTo>
                  <a:cubicBezTo>
                    <a:pt x="392" y="149"/>
                    <a:pt x="392" y="148"/>
                    <a:pt x="391" y="146"/>
                  </a:cubicBezTo>
                  <a:cubicBezTo>
                    <a:pt x="391" y="143"/>
                    <a:pt x="392" y="143"/>
                    <a:pt x="390" y="142"/>
                  </a:cubicBezTo>
                  <a:cubicBezTo>
                    <a:pt x="389" y="141"/>
                    <a:pt x="387" y="141"/>
                    <a:pt x="387" y="140"/>
                  </a:cubicBezTo>
                  <a:cubicBezTo>
                    <a:pt x="386" y="139"/>
                    <a:pt x="386" y="138"/>
                    <a:pt x="386" y="137"/>
                  </a:cubicBezTo>
                  <a:cubicBezTo>
                    <a:pt x="385" y="135"/>
                    <a:pt x="384" y="135"/>
                    <a:pt x="384" y="133"/>
                  </a:cubicBezTo>
                  <a:cubicBezTo>
                    <a:pt x="385" y="130"/>
                    <a:pt x="387" y="129"/>
                    <a:pt x="387" y="126"/>
                  </a:cubicBezTo>
                  <a:cubicBezTo>
                    <a:pt x="382" y="126"/>
                    <a:pt x="383" y="124"/>
                    <a:pt x="383" y="121"/>
                  </a:cubicBezTo>
                  <a:cubicBezTo>
                    <a:pt x="380" y="120"/>
                    <a:pt x="378" y="123"/>
                    <a:pt x="375" y="124"/>
                  </a:cubicBezTo>
                  <a:cubicBezTo>
                    <a:pt x="373" y="124"/>
                    <a:pt x="371" y="124"/>
                    <a:pt x="369" y="125"/>
                  </a:cubicBezTo>
                  <a:cubicBezTo>
                    <a:pt x="367" y="121"/>
                    <a:pt x="373" y="118"/>
                    <a:pt x="373" y="114"/>
                  </a:cubicBezTo>
                  <a:cubicBezTo>
                    <a:pt x="374" y="110"/>
                    <a:pt x="372" y="110"/>
                    <a:pt x="371" y="107"/>
                  </a:cubicBezTo>
                  <a:cubicBezTo>
                    <a:pt x="369" y="101"/>
                    <a:pt x="374" y="98"/>
                    <a:pt x="376" y="94"/>
                  </a:cubicBezTo>
                  <a:cubicBezTo>
                    <a:pt x="377" y="94"/>
                    <a:pt x="377" y="93"/>
                    <a:pt x="377" y="93"/>
                  </a:cubicBezTo>
                  <a:cubicBezTo>
                    <a:pt x="378" y="92"/>
                    <a:pt x="380" y="91"/>
                    <a:pt x="380" y="91"/>
                  </a:cubicBezTo>
                  <a:cubicBezTo>
                    <a:pt x="381" y="90"/>
                    <a:pt x="381" y="87"/>
                    <a:pt x="381" y="86"/>
                  </a:cubicBezTo>
                  <a:cubicBezTo>
                    <a:pt x="382" y="83"/>
                    <a:pt x="381" y="79"/>
                    <a:pt x="378" y="77"/>
                  </a:cubicBezTo>
                  <a:cubicBezTo>
                    <a:pt x="376" y="75"/>
                    <a:pt x="373" y="75"/>
                    <a:pt x="370" y="73"/>
                  </a:cubicBezTo>
                  <a:cubicBezTo>
                    <a:pt x="369" y="72"/>
                    <a:pt x="368" y="70"/>
                    <a:pt x="367" y="69"/>
                  </a:cubicBezTo>
                  <a:cubicBezTo>
                    <a:pt x="364" y="66"/>
                    <a:pt x="361" y="65"/>
                    <a:pt x="358" y="63"/>
                  </a:cubicBezTo>
                  <a:cubicBezTo>
                    <a:pt x="359" y="61"/>
                    <a:pt x="359" y="58"/>
                    <a:pt x="359" y="56"/>
                  </a:cubicBezTo>
                  <a:cubicBezTo>
                    <a:pt x="357" y="56"/>
                    <a:pt x="355" y="56"/>
                    <a:pt x="354" y="56"/>
                  </a:cubicBezTo>
                  <a:cubicBezTo>
                    <a:pt x="353" y="55"/>
                    <a:pt x="353" y="55"/>
                    <a:pt x="353" y="54"/>
                  </a:cubicBezTo>
                  <a:cubicBezTo>
                    <a:pt x="351" y="52"/>
                    <a:pt x="350" y="50"/>
                    <a:pt x="349" y="47"/>
                  </a:cubicBezTo>
                  <a:cubicBezTo>
                    <a:pt x="349" y="48"/>
                    <a:pt x="349" y="49"/>
                    <a:pt x="349" y="50"/>
                  </a:cubicBezTo>
                  <a:cubicBezTo>
                    <a:pt x="349" y="53"/>
                    <a:pt x="350" y="54"/>
                    <a:pt x="350" y="56"/>
                  </a:cubicBezTo>
                  <a:cubicBezTo>
                    <a:pt x="346" y="57"/>
                    <a:pt x="343" y="56"/>
                    <a:pt x="340" y="54"/>
                  </a:cubicBezTo>
                  <a:cubicBezTo>
                    <a:pt x="338" y="53"/>
                    <a:pt x="336" y="53"/>
                    <a:pt x="334" y="52"/>
                  </a:cubicBezTo>
                  <a:cubicBezTo>
                    <a:pt x="333" y="51"/>
                    <a:pt x="333" y="50"/>
                    <a:pt x="332" y="49"/>
                  </a:cubicBezTo>
                  <a:cubicBezTo>
                    <a:pt x="331" y="48"/>
                    <a:pt x="329" y="48"/>
                    <a:pt x="327" y="48"/>
                  </a:cubicBezTo>
                  <a:cubicBezTo>
                    <a:pt x="326" y="47"/>
                    <a:pt x="327" y="47"/>
                    <a:pt x="325" y="47"/>
                  </a:cubicBezTo>
                  <a:cubicBezTo>
                    <a:pt x="324" y="46"/>
                    <a:pt x="320" y="46"/>
                    <a:pt x="319" y="47"/>
                  </a:cubicBezTo>
                  <a:cubicBezTo>
                    <a:pt x="314" y="48"/>
                    <a:pt x="315" y="52"/>
                    <a:pt x="311" y="53"/>
                  </a:cubicBezTo>
                  <a:cubicBezTo>
                    <a:pt x="310" y="53"/>
                    <a:pt x="309" y="53"/>
                    <a:pt x="308" y="53"/>
                  </a:cubicBezTo>
                  <a:cubicBezTo>
                    <a:pt x="306" y="52"/>
                    <a:pt x="303" y="52"/>
                    <a:pt x="301" y="51"/>
                  </a:cubicBezTo>
                  <a:cubicBezTo>
                    <a:pt x="300" y="51"/>
                    <a:pt x="300" y="50"/>
                    <a:pt x="299" y="50"/>
                  </a:cubicBezTo>
                  <a:cubicBezTo>
                    <a:pt x="297" y="49"/>
                    <a:pt x="296" y="48"/>
                    <a:pt x="294" y="48"/>
                  </a:cubicBezTo>
                  <a:cubicBezTo>
                    <a:pt x="294" y="48"/>
                    <a:pt x="292" y="49"/>
                    <a:pt x="291" y="48"/>
                  </a:cubicBezTo>
                  <a:cubicBezTo>
                    <a:pt x="289" y="48"/>
                    <a:pt x="288" y="45"/>
                    <a:pt x="287" y="43"/>
                  </a:cubicBezTo>
                  <a:cubicBezTo>
                    <a:pt x="285" y="41"/>
                    <a:pt x="284" y="39"/>
                    <a:pt x="282" y="36"/>
                  </a:cubicBezTo>
                  <a:cubicBezTo>
                    <a:pt x="281" y="34"/>
                    <a:pt x="281" y="33"/>
                    <a:pt x="279" y="32"/>
                  </a:cubicBezTo>
                  <a:cubicBezTo>
                    <a:pt x="276" y="31"/>
                    <a:pt x="276" y="31"/>
                    <a:pt x="276" y="28"/>
                  </a:cubicBezTo>
                  <a:cubicBezTo>
                    <a:pt x="275" y="25"/>
                    <a:pt x="277" y="24"/>
                    <a:pt x="274" y="22"/>
                  </a:cubicBezTo>
                  <a:cubicBezTo>
                    <a:pt x="271" y="21"/>
                    <a:pt x="268" y="22"/>
                    <a:pt x="266" y="20"/>
                  </a:cubicBezTo>
                  <a:cubicBezTo>
                    <a:pt x="262" y="17"/>
                    <a:pt x="262" y="13"/>
                    <a:pt x="255" y="15"/>
                  </a:cubicBezTo>
                  <a:cubicBezTo>
                    <a:pt x="256" y="10"/>
                    <a:pt x="251" y="7"/>
                    <a:pt x="247" y="5"/>
                  </a:cubicBezTo>
                  <a:cubicBezTo>
                    <a:pt x="245" y="5"/>
                    <a:pt x="244" y="4"/>
                    <a:pt x="243" y="4"/>
                  </a:cubicBezTo>
                  <a:cubicBezTo>
                    <a:pt x="241" y="2"/>
                    <a:pt x="240" y="0"/>
                    <a:pt x="237" y="0"/>
                  </a:cubicBezTo>
                  <a:cubicBezTo>
                    <a:pt x="237" y="2"/>
                    <a:pt x="237" y="5"/>
                    <a:pt x="237" y="7"/>
                  </a:cubicBezTo>
                  <a:cubicBezTo>
                    <a:pt x="232" y="8"/>
                    <a:pt x="235" y="2"/>
                    <a:pt x="233" y="1"/>
                  </a:cubicBezTo>
                  <a:cubicBezTo>
                    <a:pt x="231" y="0"/>
                    <a:pt x="226" y="4"/>
                    <a:pt x="224" y="5"/>
                  </a:cubicBezTo>
                  <a:cubicBezTo>
                    <a:pt x="223" y="6"/>
                    <a:pt x="222" y="6"/>
                    <a:pt x="221" y="7"/>
                  </a:cubicBezTo>
                  <a:cubicBezTo>
                    <a:pt x="220" y="8"/>
                    <a:pt x="219" y="9"/>
                    <a:pt x="219" y="10"/>
                  </a:cubicBezTo>
                  <a:cubicBezTo>
                    <a:pt x="215" y="13"/>
                    <a:pt x="209" y="12"/>
                    <a:pt x="204" y="13"/>
                  </a:cubicBezTo>
                  <a:cubicBezTo>
                    <a:pt x="201" y="13"/>
                    <a:pt x="202" y="13"/>
                    <a:pt x="201" y="15"/>
                  </a:cubicBezTo>
                  <a:cubicBezTo>
                    <a:pt x="199" y="17"/>
                    <a:pt x="198" y="18"/>
                    <a:pt x="196" y="20"/>
                  </a:cubicBezTo>
                  <a:cubicBezTo>
                    <a:pt x="195" y="20"/>
                    <a:pt x="193" y="22"/>
                    <a:pt x="192" y="22"/>
                  </a:cubicBezTo>
                  <a:cubicBezTo>
                    <a:pt x="189" y="23"/>
                    <a:pt x="188" y="22"/>
                    <a:pt x="188" y="21"/>
                  </a:cubicBezTo>
                  <a:cubicBezTo>
                    <a:pt x="188" y="23"/>
                    <a:pt x="188" y="25"/>
                    <a:pt x="188" y="27"/>
                  </a:cubicBezTo>
                  <a:cubicBezTo>
                    <a:pt x="188" y="30"/>
                    <a:pt x="189" y="34"/>
                    <a:pt x="189" y="37"/>
                  </a:cubicBezTo>
                  <a:cubicBezTo>
                    <a:pt x="189" y="45"/>
                    <a:pt x="189" y="52"/>
                    <a:pt x="189" y="60"/>
                  </a:cubicBezTo>
                  <a:cubicBezTo>
                    <a:pt x="189" y="68"/>
                    <a:pt x="190" y="77"/>
                    <a:pt x="189" y="85"/>
                  </a:cubicBezTo>
                  <a:cubicBezTo>
                    <a:pt x="188" y="90"/>
                    <a:pt x="185" y="91"/>
                    <a:pt x="181" y="92"/>
                  </a:cubicBezTo>
                  <a:cubicBezTo>
                    <a:pt x="179" y="93"/>
                    <a:pt x="178" y="94"/>
                    <a:pt x="176" y="94"/>
                  </a:cubicBezTo>
                  <a:cubicBezTo>
                    <a:pt x="175" y="94"/>
                    <a:pt x="174" y="94"/>
                    <a:pt x="174" y="94"/>
                  </a:cubicBezTo>
                  <a:cubicBezTo>
                    <a:pt x="173" y="93"/>
                    <a:pt x="173" y="92"/>
                    <a:pt x="172" y="92"/>
                  </a:cubicBezTo>
                  <a:cubicBezTo>
                    <a:pt x="165" y="90"/>
                    <a:pt x="163" y="102"/>
                    <a:pt x="159" y="105"/>
                  </a:cubicBezTo>
                  <a:cubicBezTo>
                    <a:pt x="158" y="106"/>
                    <a:pt x="156" y="106"/>
                    <a:pt x="154" y="107"/>
                  </a:cubicBezTo>
                  <a:cubicBezTo>
                    <a:pt x="151" y="108"/>
                    <a:pt x="148" y="109"/>
                    <a:pt x="146" y="109"/>
                  </a:cubicBezTo>
                  <a:cubicBezTo>
                    <a:pt x="142" y="110"/>
                    <a:pt x="140" y="108"/>
                    <a:pt x="140" y="104"/>
                  </a:cubicBezTo>
                  <a:cubicBezTo>
                    <a:pt x="138" y="104"/>
                    <a:pt x="135" y="105"/>
                    <a:pt x="133" y="104"/>
                  </a:cubicBezTo>
                  <a:cubicBezTo>
                    <a:pt x="131" y="103"/>
                    <a:pt x="131" y="103"/>
                    <a:pt x="131" y="101"/>
                  </a:cubicBezTo>
                  <a:cubicBezTo>
                    <a:pt x="129" y="99"/>
                    <a:pt x="128" y="98"/>
                    <a:pt x="127" y="96"/>
                  </a:cubicBezTo>
                  <a:cubicBezTo>
                    <a:pt x="127" y="96"/>
                    <a:pt x="127" y="95"/>
                    <a:pt x="127" y="95"/>
                  </a:cubicBezTo>
                  <a:cubicBezTo>
                    <a:pt x="126" y="94"/>
                    <a:pt x="125" y="93"/>
                    <a:pt x="125" y="92"/>
                  </a:cubicBezTo>
                  <a:cubicBezTo>
                    <a:pt x="124" y="91"/>
                    <a:pt x="124" y="90"/>
                    <a:pt x="124" y="88"/>
                  </a:cubicBezTo>
                  <a:cubicBezTo>
                    <a:pt x="124" y="85"/>
                    <a:pt x="124" y="81"/>
                    <a:pt x="124" y="77"/>
                  </a:cubicBezTo>
                  <a:cubicBezTo>
                    <a:pt x="124" y="73"/>
                    <a:pt x="125" y="72"/>
                    <a:pt x="121" y="71"/>
                  </a:cubicBezTo>
                  <a:cubicBezTo>
                    <a:pt x="118" y="70"/>
                    <a:pt x="114" y="70"/>
                    <a:pt x="112" y="68"/>
                  </a:cubicBezTo>
                  <a:cubicBezTo>
                    <a:pt x="111" y="67"/>
                    <a:pt x="110" y="67"/>
                    <a:pt x="110" y="66"/>
                  </a:cubicBezTo>
                  <a:cubicBezTo>
                    <a:pt x="110" y="65"/>
                    <a:pt x="110" y="64"/>
                    <a:pt x="110" y="64"/>
                  </a:cubicBezTo>
                  <a:cubicBezTo>
                    <a:pt x="110" y="63"/>
                    <a:pt x="109" y="62"/>
                    <a:pt x="108" y="62"/>
                  </a:cubicBezTo>
                  <a:cubicBezTo>
                    <a:pt x="107" y="61"/>
                    <a:pt x="105" y="59"/>
                    <a:pt x="105" y="57"/>
                  </a:cubicBezTo>
                  <a:cubicBezTo>
                    <a:pt x="103" y="57"/>
                    <a:pt x="101" y="58"/>
                    <a:pt x="99" y="56"/>
                  </a:cubicBezTo>
                  <a:cubicBezTo>
                    <a:pt x="98" y="54"/>
                    <a:pt x="98" y="52"/>
                    <a:pt x="96" y="50"/>
                  </a:cubicBezTo>
                  <a:cubicBezTo>
                    <a:pt x="96" y="49"/>
                    <a:pt x="95" y="49"/>
                    <a:pt x="94" y="48"/>
                  </a:cubicBezTo>
                  <a:cubicBezTo>
                    <a:pt x="92" y="47"/>
                    <a:pt x="92" y="48"/>
                    <a:pt x="92" y="45"/>
                  </a:cubicBezTo>
                  <a:cubicBezTo>
                    <a:pt x="92" y="43"/>
                    <a:pt x="92" y="41"/>
                    <a:pt x="92" y="39"/>
                  </a:cubicBezTo>
                  <a:cubicBezTo>
                    <a:pt x="92" y="38"/>
                    <a:pt x="93" y="35"/>
                    <a:pt x="93" y="33"/>
                  </a:cubicBezTo>
                  <a:cubicBezTo>
                    <a:pt x="92" y="32"/>
                    <a:pt x="91" y="32"/>
                    <a:pt x="91" y="30"/>
                  </a:cubicBezTo>
                  <a:cubicBezTo>
                    <a:pt x="90" y="30"/>
                    <a:pt x="88" y="32"/>
                    <a:pt x="87" y="33"/>
                  </a:cubicBezTo>
                  <a:cubicBezTo>
                    <a:pt x="85" y="35"/>
                    <a:pt x="86" y="35"/>
                    <a:pt x="84" y="35"/>
                  </a:cubicBezTo>
                  <a:cubicBezTo>
                    <a:pt x="81" y="36"/>
                    <a:pt x="78" y="37"/>
                    <a:pt x="75" y="38"/>
                  </a:cubicBezTo>
                  <a:cubicBezTo>
                    <a:pt x="73" y="39"/>
                    <a:pt x="72" y="40"/>
                    <a:pt x="70" y="41"/>
                  </a:cubicBezTo>
                  <a:cubicBezTo>
                    <a:pt x="68" y="43"/>
                    <a:pt x="67" y="42"/>
                    <a:pt x="65" y="43"/>
                  </a:cubicBezTo>
                  <a:cubicBezTo>
                    <a:pt x="61" y="45"/>
                    <a:pt x="61" y="48"/>
                    <a:pt x="61" y="51"/>
                  </a:cubicBezTo>
                  <a:cubicBezTo>
                    <a:pt x="59" y="51"/>
                    <a:pt x="58" y="51"/>
                    <a:pt x="57" y="51"/>
                  </a:cubicBezTo>
                  <a:cubicBezTo>
                    <a:pt x="57" y="51"/>
                    <a:pt x="55" y="50"/>
                    <a:pt x="55" y="50"/>
                  </a:cubicBezTo>
                  <a:cubicBezTo>
                    <a:pt x="54" y="49"/>
                    <a:pt x="52" y="49"/>
                    <a:pt x="50" y="49"/>
                  </a:cubicBezTo>
                  <a:cubicBezTo>
                    <a:pt x="47" y="49"/>
                    <a:pt x="44" y="51"/>
                    <a:pt x="42" y="53"/>
                  </a:cubicBezTo>
                  <a:cubicBezTo>
                    <a:pt x="41" y="55"/>
                    <a:pt x="40" y="56"/>
                    <a:pt x="39" y="58"/>
                  </a:cubicBezTo>
                  <a:cubicBezTo>
                    <a:pt x="37" y="59"/>
                    <a:pt x="37" y="62"/>
                    <a:pt x="36" y="64"/>
                  </a:cubicBezTo>
                  <a:cubicBezTo>
                    <a:pt x="34" y="66"/>
                    <a:pt x="33" y="67"/>
                    <a:pt x="32" y="69"/>
                  </a:cubicBezTo>
                  <a:cubicBezTo>
                    <a:pt x="31" y="70"/>
                    <a:pt x="31" y="71"/>
                    <a:pt x="30" y="72"/>
                  </a:cubicBezTo>
                  <a:cubicBezTo>
                    <a:pt x="30" y="73"/>
                    <a:pt x="28" y="74"/>
                    <a:pt x="28" y="75"/>
                  </a:cubicBezTo>
                  <a:cubicBezTo>
                    <a:pt x="27" y="77"/>
                    <a:pt x="26" y="80"/>
                    <a:pt x="25" y="83"/>
                  </a:cubicBezTo>
                  <a:cubicBezTo>
                    <a:pt x="24" y="88"/>
                    <a:pt x="26" y="94"/>
                    <a:pt x="25" y="99"/>
                  </a:cubicBezTo>
                  <a:cubicBezTo>
                    <a:pt x="24" y="103"/>
                    <a:pt x="23" y="107"/>
                    <a:pt x="22" y="110"/>
                  </a:cubicBezTo>
                  <a:cubicBezTo>
                    <a:pt x="21" y="113"/>
                    <a:pt x="19" y="115"/>
                    <a:pt x="17" y="117"/>
                  </a:cubicBezTo>
                  <a:cubicBezTo>
                    <a:pt x="17" y="117"/>
                    <a:pt x="15" y="118"/>
                    <a:pt x="15" y="119"/>
                  </a:cubicBezTo>
                  <a:cubicBezTo>
                    <a:pt x="14" y="120"/>
                    <a:pt x="14" y="120"/>
                    <a:pt x="14" y="122"/>
                  </a:cubicBezTo>
                  <a:cubicBezTo>
                    <a:pt x="13" y="123"/>
                    <a:pt x="12" y="125"/>
                    <a:pt x="11" y="126"/>
                  </a:cubicBezTo>
                  <a:cubicBezTo>
                    <a:pt x="10" y="128"/>
                    <a:pt x="9" y="130"/>
                    <a:pt x="8" y="131"/>
                  </a:cubicBezTo>
                  <a:cubicBezTo>
                    <a:pt x="7" y="135"/>
                    <a:pt x="8" y="141"/>
                    <a:pt x="6" y="146"/>
                  </a:cubicBezTo>
                  <a:cubicBezTo>
                    <a:pt x="5" y="149"/>
                    <a:pt x="2" y="152"/>
                    <a:pt x="1" y="156"/>
                  </a:cubicBezTo>
                  <a:cubicBezTo>
                    <a:pt x="0" y="160"/>
                    <a:pt x="0" y="164"/>
                    <a:pt x="0" y="168"/>
                  </a:cubicBezTo>
                  <a:cubicBezTo>
                    <a:pt x="0" y="175"/>
                    <a:pt x="0" y="182"/>
                    <a:pt x="1" y="189"/>
                  </a:cubicBezTo>
                  <a:cubicBezTo>
                    <a:pt x="1" y="191"/>
                    <a:pt x="0" y="191"/>
                    <a:pt x="2" y="193"/>
                  </a:cubicBezTo>
                  <a:cubicBezTo>
                    <a:pt x="2" y="194"/>
                    <a:pt x="3" y="194"/>
                    <a:pt x="4" y="195"/>
                  </a:cubicBezTo>
                  <a:cubicBezTo>
                    <a:pt x="5" y="196"/>
                    <a:pt x="6" y="198"/>
                    <a:pt x="6" y="199"/>
                  </a:cubicBezTo>
                  <a:cubicBezTo>
                    <a:pt x="7" y="201"/>
                    <a:pt x="9" y="202"/>
                    <a:pt x="10" y="204"/>
                  </a:cubicBezTo>
                  <a:cubicBezTo>
                    <a:pt x="11" y="203"/>
                    <a:pt x="11" y="202"/>
                    <a:pt x="11" y="201"/>
                  </a:cubicBezTo>
                  <a:cubicBezTo>
                    <a:pt x="11" y="199"/>
                    <a:pt x="11" y="196"/>
                    <a:pt x="13" y="195"/>
                  </a:cubicBezTo>
                  <a:cubicBezTo>
                    <a:pt x="14" y="194"/>
                    <a:pt x="15" y="195"/>
                    <a:pt x="16" y="195"/>
                  </a:cubicBezTo>
                  <a:cubicBezTo>
                    <a:pt x="17" y="194"/>
                    <a:pt x="17" y="193"/>
                    <a:pt x="18" y="192"/>
                  </a:cubicBezTo>
                  <a:cubicBezTo>
                    <a:pt x="18" y="192"/>
                    <a:pt x="19" y="191"/>
                    <a:pt x="19" y="190"/>
                  </a:cubicBezTo>
                  <a:cubicBezTo>
                    <a:pt x="19" y="190"/>
                    <a:pt x="20" y="190"/>
                    <a:pt x="20" y="189"/>
                  </a:cubicBezTo>
                  <a:cubicBezTo>
                    <a:pt x="20" y="189"/>
                    <a:pt x="19" y="188"/>
                    <a:pt x="20" y="188"/>
                  </a:cubicBezTo>
                  <a:cubicBezTo>
                    <a:pt x="20" y="187"/>
                    <a:pt x="22" y="187"/>
                    <a:pt x="22" y="187"/>
                  </a:cubicBezTo>
                  <a:cubicBezTo>
                    <a:pt x="22" y="187"/>
                    <a:pt x="23" y="186"/>
                    <a:pt x="23" y="186"/>
                  </a:cubicBezTo>
                  <a:cubicBezTo>
                    <a:pt x="23" y="186"/>
                    <a:pt x="24" y="185"/>
                    <a:pt x="25" y="185"/>
                  </a:cubicBezTo>
                  <a:cubicBezTo>
                    <a:pt x="26" y="185"/>
                    <a:pt x="27" y="184"/>
                    <a:pt x="28" y="184"/>
                  </a:cubicBezTo>
                  <a:cubicBezTo>
                    <a:pt x="29" y="183"/>
                    <a:pt x="29" y="181"/>
                    <a:pt x="29" y="180"/>
                  </a:cubicBezTo>
                  <a:cubicBezTo>
                    <a:pt x="30" y="178"/>
                    <a:pt x="31" y="178"/>
                    <a:pt x="33" y="178"/>
                  </a:cubicBezTo>
                  <a:cubicBezTo>
                    <a:pt x="34" y="177"/>
                    <a:pt x="36" y="175"/>
                    <a:pt x="37" y="175"/>
                  </a:cubicBezTo>
                  <a:cubicBezTo>
                    <a:pt x="39" y="173"/>
                    <a:pt x="41" y="174"/>
                    <a:pt x="44" y="174"/>
                  </a:cubicBezTo>
                  <a:cubicBezTo>
                    <a:pt x="47" y="174"/>
                    <a:pt x="47" y="173"/>
                    <a:pt x="49" y="171"/>
                  </a:cubicBezTo>
                  <a:cubicBezTo>
                    <a:pt x="50" y="170"/>
                    <a:pt x="53" y="169"/>
                    <a:pt x="55" y="169"/>
                  </a:cubicBezTo>
                  <a:cubicBezTo>
                    <a:pt x="56" y="168"/>
                    <a:pt x="57" y="168"/>
                    <a:pt x="58" y="168"/>
                  </a:cubicBezTo>
                  <a:cubicBezTo>
                    <a:pt x="62" y="168"/>
                    <a:pt x="60" y="166"/>
                    <a:pt x="61" y="164"/>
                  </a:cubicBezTo>
                  <a:cubicBezTo>
                    <a:pt x="62" y="162"/>
                    <a:pt x="68" y="162"/>
                    <a:pt x="69" y="163"/>
                  </a:cubicBezTo>
                  <a:cubicBezTo>
                    <a:pt x="70" y="163"/>
                    <a:pt x="71" y="164"/>
                    <a:pt x="72" y="164"/>
                  </a:cubicBezTo>
                  <a:cubicBezTo>
                    <a:pt x="73" y="164"/>
                    <a:pt x="74" y="165"/>
                    <a:pt x="75" y="165"/>
                  </a:cubicBezTo>
                  <a:cubicBezTo>
                    <a:pt x="79" y="166"/>
                    <a:pt x="83" y="166"/>
                    <a:pt x="86" y="166"/>
                  </a:cubicBezTo>
                  <a:cubicBezTo>
                    <a:pt x="89" y="166"/>
                    <a:pt x="91" y="166"/>
                    <a:pt x="94" y="167"/>
                  </a:cubicBezTo>
                  <a:cubicBezTo>
                    <a:pt x="97" y="168"/>
                    <a:pt x="99" y="168"/>
                    <a:pt x="102" y="168"/>
                  </a:cubicBezTo>
                  <a:cubicBezTo>
                    <a:pt x="104" y="168"/>
                    <a:pt x="105" y="168"/>
                    <a:pt x="107" y="168"/>
                  </a:cubicBezTo>
                  <a:cubicBezTo>
                    <a:pt x="107" y="168"/>
                    <a:pt x="108" y="168"/>
                    <a:pt x="109" y="168"/>
                  </a:cubicBezTo>
                  <a:cubicBezTo>
                    <a:pt x="110" y="168"/>
                    <a:pt x="110" y="167"/>
                    <a:pt x="111" y="166"/>
                  </a:cubicBezTo>
                  <a:cubicBezTo>
                    <a:pt x="112" y="166"/>
                    <a:pt x="113" y="166"/>
                    <a:pt x="114" y="166"/>
                  </a:cubicBezTo>
                  <a:cubicBezTo>
                    <a:pt x="115" y="166"/>
                    <a:pt x="117" y="166"/>
                    <a:pt x="118" y="167"/>
                  </a:cubicBezTo>
                  <a:cubicBezTo>
                    <a:pt x="118" y="167"/>
                    <a:pt x="120" y="166"/>
                    <a:pt x="120" y="167"/>
                  </a:cubicBezTo>
                  <a:cubicBezTo>
                    <a:pt x="120" y="167"/>
                    <a:pt x="120" y="168"/>
                    <a:pt x="120" y="169"/>
                  </a:cubicBezTo>
                  <a:cubicBezTo>
                    <a:pt x="120" y="169"/>
                    <a:pt x="121" y="169"/>
                    <a:pt x="121" y="170"/>
                  </a:cubicBezTo>
                  <a:cubicBezTo>
                    <a:pt x="121" y="171"/>
                    <a:pt x="121" y="174"/>
                    <a:pt x="123" y="175"/>
                  </a:cubicBezTo>
                  <a:cubicBezTo>
                    <a:pt x="125" y="175"/>
                    <a:pt x="129" y="173"/>
                    <a:pt x="129" y="171"/>
                  </a:cubicBezTo>
                  <a:cubicBezTo>
                    <a:pt x="130" y="170"/>
                    <a:pt x="132" y="171"/>
                    <a:pt x="133" y="171"/>
                  </a:cubicBezTo>
                  <a:cubicBezTo>
                    <a:pt x="135" y="171"/>
                    <a:pt x="135" y="169"/>
                    <a:pt x="136" y="168"/>
                  </a:cubicBezTo>
                  <a:cubicBezTo>
                    <a:pt x="137" y="168"/>
                    <a:pt x="139" y="169"/>
                    <a:pt x="140" y="169"/>
                  </a:cubicBezTo>
                  <a:cubicBezTo>
                    <a:pt x="142" y="169"/>
                    <a:pt x="143" y="170"/>
                    <a:pt x="145" y="171"/>
                  </a:cubicBezTo>
                  <a:cubicBezTo>
                    <a:pt x="146" y="171"/>
                    <a:pt x="148" y="171"/>
                    <a:pt x="150" y="171"/>
                  </a:cubicBezTo>
                  <a:cubicBezTo>
                    <a:pt x="151" y="171"/>
                    <a:pt x="152" y="170"/>
                    <a:pt x="153" y="170"/>
                  </a:cubicBezTo>
                  <a:cubicBezTo>
                    <a:pt x="156" y="169"/>
                    <a:pt x="158" y="169"/>
                    <a:pt x="161" y="170"/>
                  </a:cubicBezTo>
                  <a:cubicBezTo>
                    <a:pt x="161" y="171"/>
                    <a:pt x="161" y="173"/>
                    <a:pt x="162" y="174"/>
                  </a:cubicBezTo>
                  <a:cubicBezTo>
                    <a:pt x="163" y="174"/>
                    <a:pt x="162" y="171"/>
                    <a:pt x="164" y="171"/>
                  </a:cubicBezTo>
                  <a:cubicBezTo>
                    <a:pt x="165" y="171"/>
                    <a:pt x="166" y="172"/>
                    <a:pt x="167" y="173"/>
                  </a:cubicBezTo>
                  <a:cubicBezTo>
                    <a:pt x="169" y="174"/>
                    <a:pt x="171" y="175"/>
                    <a:pt x="173" y="176"/>
                  </a:cubicBezTo>
                  <a:cubicBezTo>
                    <a:pt x="174" y="176"/>
                    <a:pt x="176" y="176"/>
                    <a:pt x="176" y="177"/>
                  </a:cubicBezTo>
                  <a:cubicBezTo>
                    <a:pt x="177" y="178"/>
                    <a:pt x="176" y="179"/>
                    <a:pt x="177" y="180"/>
                  </a:cubicBezTo>
                  <a:cubicBezTo>
                    <a:pt x="177" y="181"/>
                    <a:pt x="178" y="181"/>
                    <a:pt x="179" y="181"/>
                  </a:cubicBezTo>
                  <a:cubicBezTo>
                    <a:pt x="181" y="181"/>
                    <a:pt x="182" y="179"/>
                    <a:pt x="183" y="179"/>
                  </a:cubicBezTo>
                  <a:cubicBezTo>
                    <a:pt x="187" y="176"/>
                    <a:pt x="192" y="178"/>
                    <a:pt x="197" y="179"/>
                  </a:cubicBezTo>
                  <a:cubicBezTo>
                    <a:pt x="198" y="179"/>
                    <a:pt x="201" y="179"/>
                    <a:pt x="203" y="178"/>
                  </a:cubicBezTo>
                  <a:cubicBezTo>
                    <a:pt x="204" y="177"/>
                    <a:pt x="204" y="176"/>
                    <a:pt x="205" y="175"/>
                  </a:cubicBezTo>
                  <a:cubicBezTo>
                    <a:pt x="206" y="175"/>
                    <a:pt x="207" y="175"/>
                    <a:pt x="208" y="175"/>
                  </a:cubicBezTo>
                  <a:cubicBezTo>
                    <a:pt x="208" y="174"/>
                    <a:pt x="208" y="173"/>
                    <a:pt x="208" y="172"/>
                  </a:cubicBezTo>
                  <a:cubicBezTo>
                    <a:pt x="208" y="171"/>
                    <a:pt x="208" y="169"/>
                    <a:pt x="209" y="168"/>
                  </a:cubicBezTo>
                  <a:cubicBezTo>
                    <a:pt x="210" y="167"/>
                    <a:pt x="212" y="166"/>
                    <a:pt x="213" y="165"/>
                  </a:cubicBezTo>
                  <a:cubicBezTo>
                    <a:pt x="214" y="165"/>
                    <a:pt x="215" y="165"/>
                    <a:pt x="215" y="164"/>
                  </a:cubicBezTo>
                  <a:cubicBezTo>
                    <a:pt x="216" y="164"/>
                    <a:pt x="216" y="163"/>
                    <a:pt x="216" y="163"/>
                  </a:cubicBezTo>
                  <a:cubicBezTo>
                    <a:pt x="218" y="161"/>
                    <a:pt x="225" y="161"/>
                    <a:pt x="225" y="164"/>
                  </a:cubicBezTo>
                  <a:cubicBezTo>
                    <a:pt x="222" y="166"/>
                    <a:pt x="222" y="166"/>
                    <a:pt x="222" y="166"/>
                  </a:cubicBezTo>
                  <a:cubicBezTo>
                    <a:pt x="221" y="167"/>
                    <a:pt x="222" y="167"/>
                    <a:pt x="221" y="168"/>
                  </a:cubicBezTo>
                  <a:cubicBezTo>
                    <a:pt x="221" y="169"/>
                    <a:pt x="221" y="169"/>
                    <a:pt x="221" y="170"/>
                  </a:cubicBezTo>
                  <a:cubicBezTo>
                    <a:pt x="222" y="170"/>
                    <a:pt x="223" y="171"/>
                    <a:pt x="224" y="172"/>
                  </a:cubicBezTo>
                  <a:cubicBezTo>
                    <a:pt x="225" y="175"/>
                    <a:pt x="227" y="177"/>
                    <a:pt x="229" y="180"/>
                  </a:cubicBezTo>
                  <a:cubicBezTo>
                    <a:pt x="230" y="183"/>
                    <a:pt x="231" y="185"/>
                    <a:pt x="234" y="186"/>
                  </a:cubicBezTo>
                  <a:cubicBezTo>
                    <a:pt x="234" y="187"/>
                    <a:pt x="235" y="190"/>
                    <a:pt x="237" y="190"/>
                  </a:cubicBezTo>
                  <a:cubicBezTo>
                    <a:pt x="237" y="188"/>
                    <a:pt x="240" y="187"/>
                    <a:pt x="241" y="188"/>
                  </a:cubicBezTo>
                  <a:cubicBezTo>
                    <a:pt x="242" y="188"/>
                    <a:pt x="243" y="190"/>
                    <a:pt x="244" y="190"/>
                  </a:cubicBezTo>
                  <a:cubicBezTo>
                    <a:pt x="247" y="192"/>
                    <a:pt x="251" y="191"/>
                    <a:pt x="254" y="191"/>
                  </a:cubicBezTo>
                  <a:cubicBezTo>
                    <a:pt x="256" y="191"/>
                    <a:pt x="258" y="191"/>
                    <a:pt x="260" y="193"/>
                  </a:cubicBezTo>
                  <a:cubicBezTo>
                    <a:pt x="261" y="193"/>
                    <a:pt x="262" y="195"/>
                    <a:pt x="263" y="196"/>
                  </a:cubicBezTo>
                  <a:cubicBezTo>
                    <a:pt x="266" y="197"/>
                    <a:pt x="268" y="198"/>
                    <a:pt x="270" y="200"/>
                  </a:cubicBezTo>
                  <a:cubicBezTo>
                    <a:pt x="273" y="201"/>
                    <a:pt x="275" y="203"/>
                    <a:pt x="278" y="205"/>
                  </a:cubicBezTo>
                  <a:cubicBezTo>
                    <a:pt x="281" y="207"/>
                    <a:pt x="283" y="209"/>
                    <a:pt x="286" y="211"/>
                  </a:cubicBezTo>
                  <a:cubicBezTo>
                    <a:pt x="288" y="213"/>
                    <a:pt x="291" y="216"/>
                    <a:pt x="292" y="219"/>
                  </a:cubicBezTo>
                  <a:cubicBezTo>
                    <a:pt x="292" y="220"/>
                    <a:pt x="292" y="221"/>
                    <a:pt x="293" y="221"/>
                  </a:cubicBezTo>
                  <a:cubicBezTo>
                    <a:pt x="293" y="222"/>
                    <a:pt x="294" y="223"/>
                    <a:pt x="295" y="224"/>
                  </a:cubicBezTo>
                  <a:cubicBezTo>
                    <a:pt x="296" y="226"/>
                    <a:pt x="298" y="228"/>
                    <a:pt x="299" y="230"/>
                  </a:cubicBezTo>
                  <a:cubicBezTo>
                    <a:pt x="299" y="231"/>
                    <a:pt x="299" y="232"/>
                    <a:pt x="300" y="233"/>
                  </a:cubicBezTo>
                  <a:cubicBezTo>
                    <a:pt x="301" y="234"/>
                    <a:pt x="305" y="234"/>
                    <a:pt x="307" y="235"/>
                  </a:cubicBezTo>
                  <a:cubicBezTo>
                    <a:pt x="309" y="235"/>
                    <a:pt x="311" y="236"/>
                    <a:pt x="313" y="236"/>
                  </a:cubicBezTo>
                  <a:cubicBezTo>
                    <a:pt x="313" y="236"/>
                    <a:pt x="313" y="236"/>
                    <a:pt x="314" y="236"/>
                  </a:cubicBezTo>
                  <a:cubicBezTo>
                    <a:pt x="315" y="236"/>
                    <a:pt x="315" y="236"/>
                    <a:pt x="316" y="235"/>
                  </a:cubicBezTo>
                  <a:cubicBezTo>
                    <a:pt x="317" y="235"/>
                    <a:pt x="319" y="236"/>
                    <a:pt x="321" y="236"/>
                  </a:cubicBezTo>
                  <a:cubicBezTo>
                    <a:pt x="323" y="236"/>
                    <a:pt x="324" y="236"/>
                    <a:pt x="325" y="234"/>
                  </a:cubicBezTo>
                  <a:cubicBezTo>
                    <a:pt x="326" y="233"/>
                    <a:pt x="327" y="230"/>
                    <a:pt x="329" y="229"/>
                  </a:cubicBezTo>
                  <a:cubicBezTo>
                    <a:pt x="329" y="228"/>
                    <a:pt x="331" y="227"/>
                    <a:pt x="332" y="227"/>
                  </a:cubicBezTo>
                  <a:cubicBezTo>
                    <a:pt x="333" y="226"/>
                    <a:pt x="334" y="226"/>
                    <a:pt x="335" y="226"/>
                  </a:cubicBezTo>
                  <a:cubicBezTo>
                    <a:pt x="336" y="226"/>
                    <a:pt x="336" y="224"/>
                    <a:pt x="337" y="224"/>
                  </a:cubicBezTo>
                  <a:cubicBezTo>
                    <a:pt x="339" y="222"/>
                    <a:pt x="343" y="220"/>
                    <a:pt x="346" y="222"/>
                  </a:cubicBezTo>
                  <a:cubicBezTo>
                    <a:pt x="348" y="223"/>
                    <a:pt x="348" y="223"/>
                    <a:pt x="351" y="224"/>
                  </a:cubicBezTo>
                  <a:cubicBezTo>
                    <a:pt x="353" y="224"/>
                    <a:pt x="356" y="224"/>
                    <a:pt x="359" y="224"/>
                  </a:cubicBezTo>
                  <a:cubicBezTo>
                    <a:pt x="363" y="223"/>
                    <a:pt x="366" y="228"/>
                    <a:pt x="370" y="225"/>
                  </a:cubicBezTo>
                  <a:cubicBezTo>
                    <a:pt x="374" y="222"/>
                    <a:pt x="371" y="217"/>
                    <a:pt x="372" y="213"/>
                  </a:cubicBezTo>
                  <a:cubicBezTo>
                    <a:pt x="373" y="208"/>
                    <a:pt x="376" y="206"/>
                    <a:pt x="381" y="205"/>
                  </a:cubicBezTo>
                  <a:cubicBezTo>
                    <a:pt x="385" y="205"/>
                    <a:pt x="389" y="200"/>
                    <a:pt x="392" y="197"/>
                  </a:cubicBezTo>
                  <a:cubicBezTo>
                    <a:pt x="392" y="196"/>
                    <a:pt x="393" y="195"/>
                    <a:pt x="394" y="194"/>
                  </a:cubicBezTo>
                  <a:cubicBezTo>
                    <a:pt x="394" y="191"/>
                    <a:pt x="395" y="188"/>
                    <a:pt x="395" y="187"/>
                  </a:cubicBezTo>
                  <a:cubicBezTo>
                    <a:pt x="396" y="182"/>
                    <a:pt x="398" y="177"/>
                    <a:pt x="399" y="173"/>
                  </a:cubicBezTo>
                  <a:cubicBezTo>
                    <a:pt x="399" y="170"/>
                    <a:pt x="399" y="167"/>
                    <a:pt x="399" y="165"/>
                  </a:cubicBezTo>
                  <a:cubicBezTo>
                    <a:pt x="399" y="164"/>
                    <a:pt x="399" y="162"/>
                    <a:pt x="399" y="16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0" name="Freeform 40"/>
            <p:cNvSpPr>
              <a:spLocks/>
            </p:cNvSpPr>
            <p:nvPr/>
          </p:nvSpPr>
          <p:spPr bwMode="auto">
            <a:xfrm>
              <a:off x="5822950" y="2852738"/>
              <a:ext cx="508000" cy="412750"/>
            </a:xfrm>
            <a:custGeom>
              <a:avLst/>
              <a:gdLst/>
              <a:ahLst/>
              <a:cxnLst>
                <a:cxn ang="0">
                  <a:pos x="269" y="22"/>
                </a:cxn>
                <a:cxn ang="0">
                  <a:pos x="268" y="32"/>
                </a:cxn>
                <a:cxn ang="0">
                  <a:pos x="255" y="49"/>
                </a:cxn>
                <a:cxn ang="0">
                  <a:pos x="252" y="66"/>
                </a:cxn>
                <a:cxn ang="0">
                  <a:pos x="234" y="69"/>
                </a:cxn>
                <a:cxn ang="0">
                  <a:pos x="209" y="77"/>
                </a:cxn>
                <a:cxn ang="0">
                  <a:pos x="212" y="94"/>
                </a:cxn>
                <a:cxn ang="0">
                  <a:pos x="219" y="119"/>
                </a:cxn>
                <a:cxn ang="0">
                  <a:pos x="240" y="136"/>
                </a:cxn>
                <a:cxn ang="0">
                  <a:pos x="237" y="157"/>
                </a:cxn>
                <a:cxn ang="0">
                  <a:pos x="242" y="171"/>
                </a:cxn>
                <a:cxn ang="0">
                  <a:pos x="248" y="184"/>
                </a:cxn>
                <a:cxn ang="0">
                  <a:pos x="236" y="187"/>
                </a:cxn>
                <a:cxn ang="0">
                  <a:pos x="232" y="195"/>
                </a:cxn>
                <a:cxn ang="0">
                  <a:pos x="228" y="209"/>
                </a:cxn>
                <a:cxn ang="0">
                  <a:pos x="217" y="218"/>
                </a:cxn>
                <a:cxn ang="0">
                  <a:pos x="204" y="212"/>
                </a:cxn>
                <a:cxn ang="0">
                  <a:pos x="188" y="217"/>
                </a:cxn>
                <a:cxn ang="0">
                  <a:pos x="176" y="214"/>
                </a:cxn>
                <a:cxn ang="0">
                  <a:pos x="164" y="207"/>
                </a:cxn>
                <a:cxn ang="0">
                  <a:pos x="153" y="192"/>
                </a:cxn>
                <a:cxn ang="0">
                  <a:pos x="132" y="179"/>
                </a:cxn>
                <a:cxn ang="0">
                  <a:pos x="114" y="164"/>
                </a:cxn>
                <a:cxn ang="0">
                  <a:pos x="101" y="169"/>
                </a:cxn>
                <a:cxn ang="0">
                  <a:pos x="81" y="177"/>
                </a:cxn>
                <a:cxn ang="0">
                  <a:pos x="69" y="186"/>
                </a:cxn>
                <a:cxn ang="0">
                  <a:pos x="70" y="159"/>
                </a:cxn>
                <a:cxn ang="0">
                  <a:pos x="78" y="138"/>
                </a:cxn>
                <a:cxn ang="0">
                  <a:pos x="44" y="143"/>
                </a:cxn>
                <a:cxn ang="0">
                  <a:pos x="23" y="119"/>
                </a:cxn>
                <a:cxn ang="0">
                  <a:pos x="21" y="107"/>
                </a:cxn>
                <a:cxn ang="0">
                  <a:pos x="28" y="96"/>
                </a:cxn>
                <a:cxn ang="0">
                  <a:pos x="22" y="87"/>
                </a:cxn>
                <a:cxn ang="0">
                  <a:pos x="20" y="68"/>
                </a:cxn>
                <a:cxn ang="0">
                  <a:pos x="3" y="63"/>
                </a:cxn>
                <a:cxn ang="0">
                  <a:pos x="13" y="59"/>
                </a:cxn>
                <a:cxn ang="0">
                  <a:pos x="17" y="44"/>
                </a:cxn>
                <a:cxn ang="0">
                  <a:pos x="29" y="39"/>
                </a:cxn>
                <a:cxn ang="0">
                  <a:pos x="46" y="32"/>
                </a:cxn>
                <a:cxn ang="0">
                  <a:pos x="58" y="25"/>
                </a:cxn>
                <a:cxn ang="0">
                  <a:pos x="81" y="18"/>
                </a:cxn>
                <a:cxn ang="0">
                  <a:pos x="97" y="8"/>
                </a:cxn>
                <a:cxn ang="0">
                  <a:pos x="109" y="14"/>
                </a:cxn>
                <a:cxn ang="0">
                  <a:pos x="128" y="5"/>
                </a:cxn>
                <a:cxn ang="0">
                  <a:pos x="136" y="4"/>
                </a:cxn>
                <a:cxn ang="0">
                  <a:pos x="153" y="6"/>
                </a:cxn>
                <a:cxn ang="0">
                  <a:pos x="167" y="6"/>
                </a:cxn>
                <a:cxn ang="0">
                  <a:pos x="183" y="12"/>
                </a:cxn>
                <a:cxn ang="0">
                  <a:pos x="195" y="14"/>
                </a:cxn>
                <a:cxn ang="0">
                  <a:pos x="227" y="23"/>
                </a:cxn>
                <a:cxn ang="0">
                  <a:pos x="247" y="19"/>
                </a:cxn>
              </a:cxnLst>
              <a:rect l="0" t="0" r="r" b="b"/>
              <a:pathLst>
                <a:path w="272" h="221">
                  <a:moveTo>
                    <a:pt x="264" y="14"/>
                  </a:moveTo>
                  <a:cubicBezTo>
                    <a:pt x="264" y="14"/>
                    <a:pt x="264" y="15"/>
                    <a:pt x="264" y="15"/>
                  </a:cubicBezTo>
                  <a:cubicBezTo>
                    <a:pt x="265" y="18"/>
                    <a:pt x="267" y="20"/>
                    <a:pt x="269" y="22"/>
                  </a:cubicBezTo>
                  <a:cubicBezTo>
                    <a:pt x="270" y="23"/>
                    <a:pt x="271" y="24"/>
                    <a:pt x="271" y="26"/>
                  </a:cubicBezTo>
                  <a:cubicBezTo>
                    <a:pt x="272" y="28"/>
                    <a:pt x="271" y="27"/>
                    <a:pt x="270" y="29"/>
                  </a:cubicBezTo>
                  <a:cubicBezTo>
                    <a:pt x="269" y="30"/>
                    <a:pt x="269" y="31"/>
                    <a:pt x="268" y="32"/>
                  </a:cubicBezTo>
                  <a:cubicBezTo>
                    <a:pt x="267" y="35"/>
                    <a:pt x="265" y="34"/>
                    <a:pt x="264" y="35"/>
                  </a:cubicBezTo>
                  <a:cubicBezTo>
                    <a:pt x="260" y="37"/>
                    <a:pt x="257" y="41"/>
                    <a:pt x="256" y="45"/>
                  </a:cubicBezTo>
                  <a:cubicBezTo>
                    <a:pt x="255" y="46"/>
                    <a:pt x="255" y="48"/>
                    <a:pt x="255" y="49"/>
                  </a:cubicBezTo>
                  <a:cubicBezTo>
                    <a:pt x="254" y="51"/>
                    <a:pt x="254" y="53"/>
                    <a:pt x="254" y="54"/>
                  </a:cubicBezTo>
                  <a:cubicBezTo>
                    <a:pt x="254" y="57"/>
                    <a:pt x="253" y="58"/>
                    <a:pt x="253" y="60"/>
                  </a:cubicBezTo>
                  <a:cubicBezTo>
                    <a:pt x="252" y="62"/>
                    <a:pt x="253" y="64"/>
                    <a:pt x="252" y="66"/>
                  </a:cubicBezTo>
                  <a:cubicBezTo>
                    <a:pt x="251" y="69"/>
                    <a:pt x="248" y="71"/>
                    <a:pt x="245" y="71"/>
                  </a:cubicBezTo>
                  <a:cubicBezTo>
                    <a:pt x="242" y="71"/>
                    <a:pt x="242" y="70"/>
                    <a:pt x="240" y="69"/>
                  </a:cubicBezTo>
                  <a:cubicBezTo>
                    <a:pt x="238" y="68"/>
                    <a:pt x="236" y="69"/>
                    <a:pt x="234" y="69"/>
                  </a:cubicBezTo>
                  <a:cubicBezTo>
                    <a:pt x="230" y="69"/>
                    <a:pt x="227" y="71"/>
                    <a:pt x="223" y="72"/>
                  </a:cubicBezTo>
                  <a:cubicBezTo>
                    <a:pt x="220" y="73"/>
                    <a:pt x="218" y="73"/>
                    <a:pt x="215" y="74"/>
                  </a:cubicBezTo>
                  <a:cubicBezTo>
                    <a:pt x="213" y="75"/>
                    <a:pt x="211" y="76"/>
                    <a:pt x="209" y="77"/>
                  </a:cubicBezTo>
                  <a:cubicBezTo>
                    <a:pt x="206" y="79"/>
                    <a:pt x="202" y="80"/>
                    <a:pt x="203" y="84"/>
                  </a:cubicBezTo>
                  <a:cubicBezTo>
                    <a:pt x="204" y="86"/>
                    <a:pt x="207" y="89"/>
                    <a:pt x="209" y="91"/>
                  </a:cubicBezTo>
                  <a:cubicBezTo>
                    <a:pt x="210" y="92"/>
                    <a:pt x="211" y="93"/>
                    <a:pt x="212" y="94"/>
                  </a:cubicBezTo>
                  <a:cubicBezTo>
                    <a:pt x="215" y="97"/>
                    <a:pt x="215" y="101"/>
                    <a:pt x="216" y="105"/>
                  </a:cubicBezTo>
                  <a:cubicBezTo>
                    <a:pt x="216" y="108"/>
                    <a:pt x="216" y="111"/>
                    <a:pt x="216" y="114"/>
                  </a:cubicBezTo>
                  <a:cubicBezTo>
                    <a:pt x="217" y="116"/>
                    <a:pt x="218" y="117"/>
                    <a:pt x="219" y="119"/>
                  </a:cubicBezTo>
                  <a:cubicBezTo>
                    <a:pt x="220" y="123"/>
                    <a:pt x="219" y="126"/>
                    <a:pt x="222" y="129"/>
                  </a:cubicBezTo>
                  <a:cubicBezTo>
                    <a:pt x="224" y="130"/>
                    <a:pt x="229" y="131"/>
                    <a:pt x="229" y="135"/>
                  </a:cubicBezTo>
                  <a:cubicBezTo>
                    <a:pt x="232" y="136"/>
                    <a:pt x="237" y="134"/>
                    <a:pt x="240" y="136"/>
                  </a:cubicBezTo>
                  <a:cubicBezTo>
                    <a:pt x="243" y="140"/>
                    <a:pt x="237" y="140"/>
                    <a:pt x="236" y="141"/>
                  </a:cubicBezTo>
                  <a:cubicBezTo>
                    <a:pt x="235" y="142"/>
                    <a:pt x="235" y="144"/>
                    <a:pt x="235" y="146"/>
                  </a:cubicBezTo>
                  <a:cubicBezTo>
                    <a:pt x="235" y="151"/>
                    <a:pt x="234" y="154"/>
                    <a:pt x="237" y="157"/>
                  </a:cubicBezTo>
                  <a:cubicBezTo>
                    <a:pt x="238" y="159"/>
                    <a:pt x="239" y="161"/>
                    <a:pt x="240" y="163"/>
                  </a:cubicBezTo>
                  <a:cubicBezTo>
                    <a:pt x="241" y="165"/>
                    <a:pt x="242" y="166"/>
                    <a:pt x="242" y="168"/>
                  </a:cubicBezTo>
                  <a:cubicBezTo>
                    <a:pt x="242" y="169"/>
                    <a:pt x="242" y="170"/>
                    <a:pt x="242" y="171"/>
                  </a:cubicBezTo>
                  <a:cubicBezTo>
                    <a:pt x="242" y="172"/>
                    <a:pt x="244" y="173"/>
                    <a:pt x="244" y="174"/>
                  </a:cubicBezTo>
                  <a:cubicBezTo>
                    <a:pt x="245" y="174"/>
                    <a:pt x="245" y="177"/>
                    <a:pt x="245" y="178"/>
                  </a:cubicBezTo>
                  <a:cubicBezTo>
                    <a:pt x="245" y="180"/>
                    <a:pt x="246" y="182"/>
                    <a:pt x="248" y="184"/>
                  </a:cubicBezTo>
                  <a:cubicBezTo>
                    <a:pt x="248" y="185"/>
                    <a:pt x="250" y="184"/>
                    <a:pt x="250" y="186"/>
                  </a:cubicBezTo>
                  <a:cubicBezTo>
                    <a:pt x="249" y="188"/>
                    <a:pt x="248" y="187"/>
                    <a:pt x="247" y="187"/>
                  </a:cubicBezTo>
                  <a:cubicBezTo>
                    <a:pt x="244" y="188"/>
                    <a:pt x="239" y="186"/>
                    <a:pt x="236" y="187"/>
                  </a:cubicBezTo>
                  <a:cubicBezTo>
                    <a:pt x="234" y="188"/>
                    <a:pt x="235" y="189"/>
                    <a:pt x="234" y="191"/>
                  </a:cubicBezTo>
                  <a:cubicBezTo>
                    <a:pt x="233" y="192"/>
                    <a:pt x="232" y="191"/>
                    <a:pt x="232" y="193"/>
                  </a:cubicBezTo>
                  <a:cubicBezTo>
                    <a:pt x="232" y="194"/>
                    <a:pt x="232" y="195"/>
                    <a:pt x="232" y="195"/>
                  </a:cubicBezTo>
                  <a:cubicBezTo>
                    <a:pt x="234" y="198"/>
                    <a:pt x="234" y="197"/>
                    <a:pt x="234" y="200"/>
                  </a:cubicBezTo>
                  <a:cubicBezTo>
                    <a:pt x="234" y="200"/>
                    <a:pt x="235" y="203"/>
                    <a:pt x="234" y="204"/>
                  </a:cubicBezTo>
                  <a:cubicBezTo>
                    <a:pt x="233" y="207"/>
                    <a:pt x="230" y="207"/>
                    <a:pt x="228" y="209"/>
                  </a:cubicBezTo>
                  <a:cubicBezTo>
                    <a:pt x="226" y="210"/>
                    <a:pt x="226" y="211"/>
                    <a:pt x="226" y="214"/>
                  </a:cubicBezTo>
                  <a:cubicBezTo>
                    <a:pt x="226" y="217"/>
                    <a:pt x="227" y="218"/>
                    <a:pt x="227" y="220"/>
                  </a:cubicBezTo>
                  <a:cubicBezTo>
                    <a:pt x="223" y="221"/>
                    <a:pt x="220" y="220"/>
                    <a:pt x="217" y="218"/>
                  </a:cubicBezTo>
                  <a:cubicBezTo>
                    <a:pt x="215" y="217"/>
                    <a:pt x="213" y="217"/>
                    <a:pt x="211" y="216"/>
                  </a:cubicBezTo>
                  <a:cubicBezTo>
                    <a:pt x="210" y="215"/>
                    <a:pt x="210" y="214"/>
                    <a:pt x="209" y="213"/>
                  </a:cubicBezTo>
                  <a:cubicBezTo>
                    <a:pt x="208" y="212"/>
                    <a:pt x="206" y="212"/>
                    <a:pt x="204" y="212"/>
                  </a:cubicBezTo>
                  <a:cubicBezTo>
                    <a:pt x="203" y="211"/>
                    <a:pt x="204" y="211"/>
                    <a:pt x="202" y="211"/>
                  </a:cubicBezTo>
                  <a:cubicBezTo>
                    <a:pt x="201" y="210"/>
                    <a:pt x="197" y="210"/>
                    <a:pt x="196" y="211"/>
                  </a:cubicBezTo>
                  <a:cubicBezTo>
                    <a:pt x="191" y="212"/>
                    <a:pt x="192" y="216"/>
                    <a:pt x="188" y="217"/>
                  </a:cubicBezTo>
                  <a:cubicBezTo>
                    <a:pt x="187" y="217"/>
                    <a:pt x="186" y="217"/>
                    <a:pt x="185" y="217"/>
                  </a:cubicBezTo>
                  <a:cubicBezTo>
                    <a:pt x="183" y="216"/>
                    <a:pt x="180" y="216"/>
                    <a:pt x="178" y="215"/>
                  </a:cubicBezTo>
                  <a:cubicBezTo>
                    <a:pt x="177" y="215"/>
                    <a:pt x="177" y="214"/>
                    <a:pt x="176" y="214"/>
                  </a:cubicBezTo>
                  <a:cubicBezTo>
                    <a:pt x="174" y="213"/>
                    <a:pt x="173" y="212"/>
                    <a:pt x="171" y="212"/>
                  </a:cubicBezTo>
                  <a:cubicBezTo>
                    <a:pt x="171" y="212"/>
                    <a:pt x="169" y="213"/>
                    <a:pt x="168" y="212"/>
                  </a:cubicBezTo>
                  <a:cubicBezTo>
                    <a:pt x="166" y="212"/>
                    <a:pt x="165" y="209"/>
                    <a:pt x="164" y="207"/>
                  </a:cubicBezTo>
                  <a:cubicBezTo>
                    <a:pt x="162" y="205"/>
                    <a:pt x="161" y="203"/>
                    <a:pt x="159" y="200"/>
                  </a:cubicBezTo>
                  <a:cubicBezTo>
                    <a:pt x="158" y="198"/>
                    <a:pt x="158" y="197"/>
                    <a:pt x="156" y="196"/>
                  </a:cubicBezTo>
                  <a:cubicBezTo>
                    <a:pt x="153" y="195"/>
                    <a:pt x="153" y="195"/>
                    <a:pt x="153" y="192"/>
                  </a:cubicBezTo>
                  <a:cubicBezTo>
                    <a:pt x="152" y="189"/>
                    <a:pt x="154" y="188"/>
                    <a:pt x="151" y="186"/>
                  </a:cubicBezTo>
                  <a:cubicBezTo>
                    <a:pt x="148" y="185"/>
                    <a:pt x="145" y="186"/>
                    <a:pt x="143" y="184"/>
                  </a:cubicBezTo>
                  <a:cubicBezTo>
                    <a:pt x="139" y="181"/>
                    <a:pt x="139" y="177"/>
                    <a:pt x="132" y="179"/>
                  </a:cubicBezTo>
                  <a:cubicBezTo>
                    <a:pt x="133" y="174"/>
                    <a:pt x="128" y="171"/>
                    <a:pt x="124" y="169"/>
                  </a:cubicBezTo>
                  <a:cubicBezTo>
                    <a:pt x="122" y="169"/>
                    <a:pt x="121" y="168"/>
                    <a:pt x="120" y="168"/>
                  </a:cubicBezTo>
                  <a:cubicBezTo>
                    <a:pt x="118" y="166"/>
                    <a:pt x="117" y="164"/>
                    <a:pt x="114" y="164"/>
                  </a:cubicBezTo>
                  <a:cubicBezTo>
                    <a:pt x="114" y="166"/>
                    <a:pt x="114" y="169"/>
                    <a:pt x="114" y="171"/>
                  </a:cubicBezTo>
                  <a:cubicBezTo>
                    <a:pt x="109" y="172"/>
                    <a:pt x="112" y="166"/>
                    <a:pt x="110" y="165"/>
                  </a:cubicBezTo>
                  <a:cubicBezTo>
                    <a:pt x="108" y="164"/>
                    <a:pt x="103" y="168"/>
                    <a:pt x="101" y="169"/>
                  </a:cubicBezTo>
                  <a:cubicBezTo>
                    <a:pt x="100" y="170"/>
                    <a:pt x="99" y="170"/>
                    <a:pt x="98" y="171"/>
                  </a:cubicBezTo>
                  <a:cubicBezTo>
                    <a:pt x="97" y="172"/>
                    <a:pt x="96" y="173"/>
                    <a:pt x="96" y="174"/>
                  </a:cubicBezTo>
                  <a:cubicBezTo>
                    <a:pt x="92" y="177"/>
                    <a:pt x="86" y="176"/>
                    <a:pt x="81" y="177"/>
                  </a:cubicBezTo>
                  <a:cubicBezTo>
                    <a:pt x="78" y="177"/>
                    <a:pt x="79" y="177"/>
                    <a:pt x="78" y="179"/>
                  </a:cubicBezTo>
                  <a:cubicBezTo>
                    <a:pt x="76" y="181"/>
                    <a:pt x="75" y="182"/>
                    <a:pt x="73" y="184"/>
                  </a:cubicBezTo>
                  <a:cubicBezTo>
                    <a:pt x="72" y="184"/>
                    <a:pt x="70" y="186"/>
                    <a:pt x="69" y="186"/>
                  </a:cubicBezTo>
                  <a:cubicBezTo>
                    <a:pt x="65" y="188"/>
                    <a:pt x="65" y="185"/>
                    <a:pt x="64" y="182"/>
                  </a:cubicBezTo>
                  <a:cubicBezTo>
                    <a:pt x="63" y="176"/>
                    <a:pt x="67" y="174"/>
                    <a:pt x="68" y="169"/>
                  </a:cubicBezTo>
                  <a:cubicBezTo>
                    <a:pt x="70" y="165"/>
                    <a:pt x="71" y="163"/>
                    <a:pt x="70" y="159"/>
                  </a:cubicBezTo>
                  <a:cubicBezTo>
                    <a:pt x="70" y="157"/>
                    <a:pt x="70" y="156"/>
                    <a:pt x="69" y="154"/>
                  </a:cubicBezTo>
                  <a:cubicBezTo>
                    <a:pt x="69" y="150"/>
                    <a:pt x="70" y="145"/>
                    <a:pt x="73" y="142"/>
                  </a:cubicBezTo>
                  <a:cubicBezTo>
                    <a:pt x="74" y="140"/>
                    <a:pt x="77" y="140"/>
                    <a:pt x="78" y="138"/>
                  </a:cubicBezTo>
                  <a:cubicBezTo>
                    <a:pt x="76" y="135"/>
                    <a:pt x="64" y="134"/>
                    <a:pt x="62" y="137"/>
                  </a:cubicBezTo>
                  <a:cubicBezTo>
                    <a:pt x="59" y="140"/>
                    <a:pt x="59" y="144"/>
                    <a:pt x="55" y="147"/>
                  </a:cubicBezTo>
                  <a:cubicBezTo>
                    <a:pt x="51" y="150"/>
                    <a:pt x="47" y="147"/>
                    <a:pt x="44" y="143"/>
                  </a:cubicBezTo>
                  <a:cubicBezTo>
                    <a:pt x="43" y="140"/>
                    <a:pt x="37" y="130"/>
                    <a:pt x="33" y="134"/>
                  </a:cubicBezTo>
                  <a:cubicBezTo>
                    <a:pt x="31" y="131"/>
                    <a:pt x="30" y="127"/>
                    <a:pt x="27" y="124"/>
                  </a:cubicBezTo>
                  <a:cubicBezTo>
                    <a:pt x="26" y="122"/>
                    <a:pt x="24" y="121"/>
                    <a:pt x="23" y="119"/>
                  </a:cubicBezTo>
                  <a:cubicBezTo>
                    <a:pt x="22" y="118"/>
                    <a:pt x="23" y="114"/>
                    <a:pt x="23" y="112"/>
                  </a:cubicBezTo>
                  <a:cubicBezTo>
                    <a:pt x="22" y="111"/>
                    <a:pt x="22" y="110"/>
                    <a:pt x="21" y="109"/>
                  </a:cubicBezTo>
                  <a:cubicBezTo>
                    <a:pt x="21" y="108"/>
                    <a:pt x="21" y="108"/>
                    <a:pt x="21" y="107"/>
                  </a:cubicBezTo>
                  <a:cubicBezTo>
                    <a:pt x="21" y="107"/>
                    <a:pt x="21" y="106"/>
                    <a:pt x="20" y="106"/>
                  </a:cubicBezTo>
                  <a:cubicBezTo>
                    <a:pt x="19" y="104"/>
                    <a:pt x="16" y="97"/>
                    <a:pt x="20" y="96"/>
                  </a:cubicBezTo>
                  <a:cubicBezTo>
                    <a:pt x="22" y="95"/>
                    <a:pt x="26" y="97"/>
                    <a:pt x="28" y="96"/>
                  </a:cubicBezTo>
                  <a:cubicBezTo>
                    <a:pt x="28" y="96"/>
                    <a:pt x="30" y="93"/>
                    <a:pt x="30" y="93"/>
                  </a:cubicBezTo>
                  <a:cubicBezTo>
                    <a:pt x="31" y="91"/>
                    <a:pt x="32" y="90"/>
                    <a:pt x="32" y="88"/>
                  </a:cubicBezTo>
                  <a:cubicBezTo>
                    <a:pt x="28" y="87"/>
                    <a:pt x="25" y="88"/>
                    <a:pt x="22" y="87"/>
                  </a:cubicBezTo>
                  <a:cubicBezTo>
                    <a:pt x="22" y="86"/>
                    <a:pt x="22" y="84"/>
                    <a:pt x="22" y="82"/>
                  </a:cubicBezTo>
                  <a:cubicBezTo>
                    <a:pt x="21" y="80"/>
                    <a:pt x="18" y="79"/>
                    <a:pt x="17" y="76"/>
                  </a:cubicBezTo>
                  <a:cubicBezTo>
                    <a:pt x="16" y="72"/>
                    <a:pt x="18" y="70"/>
                    <a:pt x="20" y="68"/>
                  </a:cubicBezTo>
                  <a:cubicBezTo>
                    <a:pt x="19" y="66"/>
                    <a:pt x="14" y="67"/>
                    <a:pt x="12" y="67"/>
                  </a:cubicBezTo>
                  <a:cubicBezTo>
                    <a:pt x="9" y="67"/>
                    <a:pt x="6" y="70"/>
                    <a:pt x="4" y="69"/>
                  </a:cubicBezTo>
                  <a:cubicBezTo>
                    <a:pt x="0" y="68"/>
                    <a:pt x="1" y="64"/>
                    <a:pt x="3" y="63"/>
                  </a:cubicBezTo>
                  <a:cubicBezTo>
                    <a:pt x="6" y="62"/>
                    <a:pt x="6" y="62"/>
                    <a:pt x="8" y="63"/>
                  </a:cubicBezTo>
                  <a:cubicBezTo>
                    <a:pt x="10" y="63"/>
                    <a:pt x="11" y="62"/>
                    <a:pt x="12" y="61"/>
                  </a:cubicBezTo>
                  <a:cubicBezTo>
                    <a:pt x="12" y="60"/>
                    <a:pt x="12" y="59"/>
                    <a:pt x="13" y="59"/>
                  </a:cubicBezTo>
                  <a:cubicBezTo>
                    <a:pt x="13" y="58"/>
                    <a:pt x="14" y="59"/>
                    <a:pt x="14" y="58"/>
                  </a:cubicBezTo>
                  <a:cubicBezTo>
                    <a:pt x="16" y="57"/>
                    <a:pt x="16" y="57"/>
                    <a:pt x="17" y="55"/>
                  </a:cubicBezTo>
                  <a:cubicBezTo>
                    <a:pt x="18" y="51"/>
                    <a:pt x="17" y="48"/>
                    <a:pt x="17" y="44"/>
                  </a:cubicBezTo>
                  <a:cubicBezTo>
                    <a:pt x="16" y="40"/>
                    <a:pt x="17" y="37"/>
                    <a:pt x="21" y="39"/>
                  </a:cubicBezTo>
                  <a:cubicBezTo>
                    <a:pt x="22" y="39"/>
                    <a:pt x="23" y="41"/>
                    <a:pt x="25" y="41"/>
                  </a:cubicBezTo>
                  <a:cubicBezTo>
                    <a:pt x="27" y="42"/>
                    <a:pt x="28" y="40"/>
                    <a:pt x="29" y="39"/>
                  </a:cubicBezTo>
                  <a:cubicBezTo>
                    <a:pt x="31" y="37"/>
                    <a:pt x="41" y="36"/>
                    <a:pt x="41" y="40"/>
                  </a:cubicBezTo>
                  <a:cubicBezTo>
                    <a:pt x="43" y="40"/>
                    <a:pt x="52" y="40"/>
                    <a:pt x="50" y="36"/>
                  </a:cubicBezTo>
                  <a:cubicBezTo>
                    <a:pt x="50" y="34"/>
                    <a:pt x="47" y="34"/>
                    <a:pt x="46" y="32"/>
                  </a:cubicBezTo>
                  <a:cubicBezTo>
                    <a:pt x="45" y="30"/>
                    <a:pt x="47" y="29"/>
                    <a:pt x="48" y="29"/>
                  </a:cubicBezTo>
                  <a:cubicBezTo>
                    <a:pt x="50" y="29"/>
                    <a:pt x="52" y="30"/>
                    <a:pt x="53" y="29"/>
                  </a:cubicBezTo>
                  <a:cubicBezTo>
                    <a:pt x="56" y="29"/>
                    <a:pt x="56" y="27"/>
                    <a:pt x="58" y="25"/>
                  </a:cubicBezTo>
                  <a:cubicBezTo>
                    <a:pt x="61" y="22"/>
                    <a:pt x="66" y="20"/>
                    <a:pt x="69" y="20"/>
                  </a:cubicBezTo>
                  <a:cubicBezTo>
                    <a:pt x="72" y="20"/>
                    <a:pt x="73" y="20"/>
                    <a:pt x="75" y="19"/>
                  </a:cubicBezTo>
                  <a:cubicBezTo>
                    <a:pt x="77" y="19"/>
                    <a:pt x="79" y="18"/>
                    <a:pt x="81" y="18"/>
                  </a:cubicBezTo>
                  <a:cubicBezTo>
                    <a:pt x="83" y="17"/>
                    <a:pt x="83" y="17"/>
                    <a:pt x="84" y="16"/>
                  </a:cubicBezTo>
                  <a:cubicBezTo>
                    <a:pt x="85" y="15"/>
                    <a:pt x="87" y="15"/>
                    <a:pt x="89" y="14"/>
                  </a:cubicBezTo>
                  <a:cubicBezTo>
                    <a:pt x="92" y="11"/>
                    <a:pt x="93" y="9"/>
                    <a:pt x="97" y="8"/>
                  </a:cubicBezTo>
                  <a:cubicBezTo>
                    <a:pt x="100" y="7"/>
                    <a:pt x="102" y="8"/>
                    <a:pt x="105" y="10"/>
                  </a:cubicBezTo>
                  <a:cubicBezTo>
                    <a:pt x="106" y="11"/>
                    <a:pt x="108" y="11"/>
                    <a:pt x="109" y="12"/>
                  </a:cubicBezTo>
                  <a:cubicBezTo>
                    <a:pt x="109" y="13"/>
                    <a:pt x="109" y="14"/>
                    <a:pt x="109" y="14"/>
                  </a:cubicBezTo>
                  <a:cubicBezTo>
                    <a:pt x="110" y="14"/>
                    <a:pt x="111" y="14"/>
                    <a:pt x="111" y="14"/>
                  </a:cubicBezTo>
                  <a:cubicBezTo>
                    <a:pt x="116" y="16"/>
                    <a:pt x="123" y="16"/>
                    <a:pt x="128" y="15"/>
                  </a:cubicBezTo>
                  <a:cubicBezTo>
                    <a:pt x="128" y="12"/>
                    <a:pt x="127" y="8"/>
                    <a:pt x="128" y="5"/>
                  </a:cubicBezTo>
                  <a:cubicBezTo>
                    <a:pt x="128" y="4"/>
                    <a:pt x="128" y="2"/>
                    <a:pt x="130" y="3"/>
                  </a:cubicBezTo>
                  <a:cubicBezTo>
                    <a:pt x="133" y="3"/>
                    <a:pt x="132" y="7"/>
                    <a:pt x="132" y="9"/>
                  </a:cubicBezTo>
                  <a:cubicBezTo>
                    <a:pt x="136" y="10"/>
                    <a:pt x="135" y="5"/>
                    <a:pt x="136" y="4"/>
                  </a:cubicBezTo>
                  <a:cubicBezTo>
                    <a:pt x="139" y="0"/>
                    <a:pt x="140" y="6"/>
                    <a:pt x="141" y="8"/>
                  </a:cubicBezTo>
                  <a:cubicBezTo>
                    <a:pt x="143" y="8"/>
                    <a:pt x="145" y="9"/>
                    <a:pt x="147" y="8"/>
                  </a:cubicBezTo>
                  <a:cubicBezTo>
                    <a:pt x="150" y="8"/>
                    <a:pt x="151" y="7"/>
                    <a:pt x="153" y="6"/>
                  </a:cubicBezTo>
                  <a:cubicBezTo>
                    <a:pt x="156" y="5"/>
                    <a:pt x="158" y="5"/>
                    <a:pt x="161" y="5"/>
                  </a:cubicBezTo>
                  <a:cubicBezTo>
                    <a:pt x="163" y="4"/>
                    <a:pt x="163" y="3"/>
                    <a:pt x="166" y="4"/>
                  </a:cubicBezTo>
                  <a:cubicBezTo>
                    <a:pt x="166" y="5"/>
                    <a:pt x="167" y="6"/>
                    <a:pt x="167" y="6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2" y="8"/>
                    <a:pt x="173" y="9"/>
                    <a:pt x="175" y="9"/>
                  </a:cubicBezTo>
                  <a:cubicBezTo>
                    <a:pt x="177" y="10"/>
                    <a:pt x="180" y="12"/>
                    <a:pt x="183" y="12"/>
                  </a:cubicBezTo>
                  <a:cubicBezTo>
                    <a:pt x="183" y="11"/>
                    <a:pt x="183" y="9"/>
                    <a:pt x="183" y="8"/>
                  </a:cubicBezTo>
                  <a:cubicBezTo>
                    <a:pt x="185" y="8"/>
                    <a:pt x="187" y="10"/>
                    <a:pt x="188" y="11"/>
                  </a:cubicBezTo>
                  <a:cubicBezTo>
                    <a:pt x="191" y="13"/>
                    <a:pt x="192" y="14"/>
                    <a:pt x="195" y="14"/>
                  </a:cubicBezTo>
                  <a:cubicBezTo>
                    <a:pt x="198" y="15"/>
                    <a:pt x="202" y="14"/>
                    <a:pt x="205" y="16"/>
                  </a:cubicBezTo>
                  <a:cubicBezTo>
                    <a:pt x="209" y="17"/>
                    <a:pt x="211" y="20"/>
                    <a:pt x="214" y="21"/>
                  </a:cubicBezTo>
                  <a:cubicBezTo>
                    <a:pt x="218" y="23"/>
                    <a:pt x="223" y="23"/>
                    <a:pt x="227" y="23"/>
                  </a:cubicBezTo>
                  <a:cubicBezTo>
                    <a:pt x="231" y="22"/>
                    <a:pt x="233" y="20"/>
                    <a:pt x="237" y="19"/>
                  </a:cubicBezTo>
                  <a:cubicBezTo>
                    <a:pt x="238" y="19"/>
                    <a:pt x="243" y="17"/>
                    <a:pt x="244" y="17"/>
                  </a:cubicBezTo>
                  <a:cubicBezTo>
                    <a:pt x="246" y="18"/>
                    <a:pt x="245" y="18"/>
                    <a:pt x="247" y="19"/>
                  </a:cubicBezTo>
                  <a:cubicBezTo>
                    <a:pt x="251" y="22"/>
                    <a:pt x="259" y="21"/>
                    <a:pt x="264" y="21"/>
                  </a:cubicBezTo>
                  <a:lnTo>
                    <a:pt x="264" y="1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1" name="Freeform 41"/>
            <p:cNvSpPr>
              <a:spLocks/>
            </p:cNvSpPr>
            <p:nvPr/>
          </p:nvSpPr>
          <p:spPr bwMode="auto">
            <a:xfrm>
              <a:off x="5683250" y="3044825"/>
              <a:ext cx="171450" cy="144463"/>
            </a:xfrm>
            <a:custGeom>
              <a:avLst/>
              <a:gdLst/>
              <a:ahLst/>
              <a:cxnLst>
                <a:cxn ang="0">
                  <a:pos x="83" y="0"/>
                </a:cxn>
                <a:cxn ang="0">
                  <a:pos x="76" y="1"/>
                </a:cxn>
                <a:cxn ang="0">
                  <a:pos x="75" y="8"/>
                </a:cxn>
                <a:cxn ang="0">
                  <a:pos x="75" y="11"/>
                </a:cxn>
                <a:cxn ang="0">
                  <a:pos x="72" y="9"/>
                </a:cxn>
                <a:cxn ang="0">
                  <a:pos x="69" y="8"/>
                </a:cxn>
                <a:cxn ang="0">
                  <a:pos x="66" y="6"/>
                </a:cxn>
                <a:cxn ang="0">
                  <a:pos x="62" y="6"/>
                </a:cxn>
                <a:cxn ang="0">
                  <a:pos x="59" y="4"/>
                </a:cxn>
                <a:cxn ang="0">
                  <a:pos x="55" y="9"/>
                </a:cxn>
                <a:cxn ang="0">
                  <a:pos x="49" y="9"/>
                </a:cxn>
                <a:cxn ang="0">
                  <a:pos x="46" y="7"/>
                </a:cxn>
                <a:cxn ang="0">
                  <a:pos x="42" y="7"/>
                </a:cxn>
                <a:cxn ang="0">
                  <a:pos x="38" y="3"/>
                </a:cxn>
                <a:cxn ang="0">
                  <a:pos x="36" y="7"/>
                </a:cxn>
                <a:cxn ang="0">
                  <a:pos x="32" y="9"/>
                </a:cxn>
                <a:cxn ang="0">
                  <a:pos x="28" y="20"/>
                </a:cxn>
                <a:cxn ang="0">
                  <a:pos x="22" y="18"/>
                </a:cxn>
                <a:cxn ang="0">
                  <a:pos x="22" y="13"/>
                </a:cxn>
                <a:cxn ang="0">
                  <a:pos x="16" y="25"/>
                </a:cxn>
                <a:cxn ang="0">
                  <a:pos x="7" y="17"/>
                </a:cxn>
                <a:cxn ang="0">
                  <a:pos x="1" y="20"/>
                </a:cxn>
                <a:cxn ang="0">
                  <a:pos x="7" y="27"/>
                </a:cxn>
                <a:cxn ang="0">
                  <a:pos x="5" y="31"/>
                </a:cxn>
                <a:cxn ang="0">
                  <a:pos x="9" y="36"/>
                </a:cxn>
                <a:cxn ang="0">
                  <a:pos x="3" y="39"/>
                </a:cxn>
                <a:cxn ang="0">
                  <a:pos x="10" y="42"/>
                </a:cxn>
                <a:cxn ang="0">
                  <a:pos x="19" y="51"/>
                </a:cxn>
                <a:cxn ang="0">
                  <a:pos x="20" y="59"/>
                </a:cxn>
                <a:cxn ang="0">
                  <a:pos x="14" y="63"/>
                </a:cxn>
                <a:cxn ang="0">
                  <a:pos x="18" y="77"/>
                </a:cxn>
                <a:cxn ang="0">
                  <a:pos x="22" y="75"/>
                </a:cxn>
                <a:cxn ang="0">
                  <a:pos x="23" y="69"/>
                </a:cxn>
                <a:cxn ang="0">
                  <a:pos x="22" y="64"/>
                </a:cxn>
                <a:cxn ang="0">
                  <a:pos x="21" y="59"/>
                </a:cxn>
                <a:cxn ang="0">
                  <a:pos x="24" y="53"/>
                </a:cxn>
                <a:cxn ang="0">
                  <a:pos x="27" y="49"/>
                </a:cxn>
                <a:cxn ang="0">
                  <a:pos x="28" y="48"/>
                </a:cxn>
                <a:cxn ang="0">
                  <a:pos x="31" y="50"/>
                </a:cxn>
                <a:cxn ang="0">
                  <a:pos x="34" y="48"/>
                </a:cxn>
                <a:cxn ang="0">
                  <a:pos x="39" y="50"/>
                </a:cxn>
                <a:cxn ang="0">
                  <a:pos x="48" y="45"/>
                </a:cxn>
                <a:cxn ang="0">
                  <a:pos x="56" y="44"/>
                </a:cxn>
                <a:cxn ang="0">
                  <a:pos x="57" y="38"/>
                </a:cxn>
                <a:cxn ang="0">
                  <a:pos x="62" y="37"/>
                </a:cxn>
                <a:cxn ang="0">
                  <a:pos x="68" y="31"/>
                </a:cxn>
                <a:cxn ang="0">
                  <a:pos x="72" y="27"/>
                </a:cxn>
                <a:cxn ang="0">
                  <a:pos x="80" y="20"/>
                </a:cxn>
                <a:cxn ang="0">
                  <a:pos x="75" y="17"/>
                </a:cxn>
                <a:cxn ang="0">
                  <a:pos x="72" y="13"/>
                </a:cxn>
                <a:cxn ang="0">
                  <a:pos x="90" y="12"/>
                </a:cxn>
                <a:cxn ang="0">
                  <a:pos x="82" y="1"/>
                </a:cxn>
                <a:cxn ang="0">
                  <a:pos x="83" y="0"/>
                </a:cxn>
              </a:cxnLst>
              <a:rect l="0" t="0" r="r" b="b"/>
              <a:pathLst>
                <a:path w="91" h="77">
                  <a:moveTo>
                    <a:pt x="83" y="0"/>
                  </a:moveTo>
                  <a:cubicBezTo>
                    <a:pt x="81" y="0"/>
                    <a:pt x="77" y="0"/>
                    <a:pt x="76" y="1"/>
                  </a:cubicBezTo>
                  <a:cubicBezTo>
                    <a:pt x="72" y="2"/>
                    <a:pt x="74" y="5"/>
                    <a:pt x="75" y="8"/>
                  </a:cubicBezTo>
                  <a:cubicBezTo>
                    <a:pt x="75" y="9"/>
                    <a:pt x="76" y="10"/>
                    <a:pt x="75" y="11"/>
                  </a:cubicBezTo>
                  <a:cubicBezTo>
                    <a:pt x="73" y="12"/>
                    <a:pt x="73" y="10"/>
                    <a:pt x="72" y="9"/>
                  </a:cubicBezTo>
                  <a:cubicBezTo>
                    <a:pt x="70" y="8"/>
                    <a:pt x="70" y="9"/>
                    <a:pt x="69" y="8"/>
                  </a:cubicBezTo>
                  <a:cubicBezTo>
                    <a:pt x="68" y="7"/>
                    <a:pt x="68" y="7"/>
                    <a:pt x="66" y="6"/>
                  </a:cubicBezTo>
                  <a:cubicBezTo>
                    <a:pt x="65" y="6"/>
                    <a:pt x="63" y="6"/>
                    <a:pt x="62" y="6"/>
                  </a:cubicBezTo>
                  <a:cubicBezTo>
                    <a:pt x="61" y="6"/>
                    <a:pt x="60" y="4"/>
                    <a:pt x="59" y="4"/>
                  </a:cubicBezTo>
                  <a:cubicBezTo>
                    <a:pt x="56" y="4"/>
                    <a:pt x="57" y="8"/>
                    <a:pt x="55" y="9"/>
                  </a:cubicBezTo>
                  <a:cubicBezTo>
                    <a:pt x="54" y="9"/>
                    <a:pt x="50" y="9"/>
                    <a:pt x="49" y="9"/>
                  </a:cubicBezTo>
                  <a:cubicBezTo>
                    <a:pt x="48" y="8"/>
                    <a:pt x="47" y="7"/>
                    <a:pt x="46" y="7"/>
                  </a:cubicBezTo>
                  <a:cubicBezTo>
                    <a:pt x="44" y="7"/>
                    <a:pt x="43" y="7"/>
                    <a:pt x="42" y="7"/>
                  </a:cubicBezTo>
                  <a:cubicBezTo>
                    <a:pt x="41" y="5"/>
                    <a:pt x="41" y="1"/>
                    <a:pt x="38" y="3"/>
                  </a:cubicBezTo>
                  <a:cubicBezTo>
                    <a:pt x="36" y="4"/>
                    <a:pt x="37" y="6"/>
                    <a:pt x="36" y="7"/>
                  </a:cubicBezTo>
                  <a:cubicBezTo>
                    <a:pt x="34" y="9"/>
                    <a:pt x="33" y="8"/>
                    <a:pt x="32" y="9"/>
                  </a:cubicBezTo>
                  <a:cubicBezTo>
                    <a:pt x="28" y="11"/>
                    <a:pt x="31" y="17"/>
                    <a:pt x="28" y="20"/>
                  </a:cubicBezTo>
                  <a:cubicBezTo>
                    <a:pt x="27" y="21"/>
                    <a:pt x="23" y="19"/>
                    <a:pt x="22" y="18"/>
                  </a:cubicBezTo>
                  <a:cubicBezTo>
                    <a:pt x="22" y="17"/>
                    <a:pt x="23" y="15"/>
                    <a:pt x="22" y="13"/>
                  </a:cubicBezTo>
                  <a:cubicBezTo>
                    <a:pt x="16" y="12"/>
                    <a:pt x="16" y="21"/>
                    <a:pt x="16" y="25"/>
                  </a:cubicBezTo>
                  <a:cubicBezTo>
                    <a:pt x="12" y="27"/>
                    <a:pt x="9" y="18"/>
                    <a:pt x="7" y="17"/>
                  </a:cubicBezTo>
                  <a:cubicBezTo>
                    <a:pt x="5" y="15"/>
                    <a:pt x="0" y="16"/>
                    <a:pt x="1" y="20"/>
                  </a:cubicBezTo>
                  <a:cubicBezTo>
                    <a:pt x="5" y="20"/>
                    <a:pt x="7" y="24"/>
                    <a:pt x="7" y="27"/>
                  </a:cubicBezTo>
                  <a:cubicBezTo>
                    <a:pt x="6" y="28"/>
                    <a:pt x="5" y="29"/>
                    <a:pt x="5" y="31"/>
                  </a:cubicBezTo>
                  <a:cubicBezTo>
                    <a:pt x="4" y="34"/>
                    <a:pt x="7" y="34"/>
                    <a:pt x="9" y="36"/>
                  </a:cubicBezTo>
                  <a:cubicBezTo>
                    <a:pt x="8" y="38"/>
                    <a:pt x="4" y="37"/>
                    <a:pt x="3" y="39"/>
                  </a:cubicBezTo>
                  <a:cubicBezTo>
                    <a:pt x="1" y="42"/>
                    <a:pt x="8" y="42"/>
                    <a:pt x="10" y="42"/>
                  </a:cubicBezTo>
                  <a:cubicBezTo>
                    <a:pt x="10" y="48"/>
                    <a:pt x="18" y="45"/>
                    <a:pt x="19" y="51"/>
                  </a:cubicBezTo>
                  <a:cubicBezTo>
                    <a:pt x="19" y="53"/>
                    <a:pt x="21" y="57"/>
                    <a:pt x="20" y="59"/>
                  </a:cubicBezTo>
                  <a:cubicBezTo>
                    <a:pt x="19" y="60"/>
                    <a:pt x="16" y="62"/>
                    <a:pt x="14" y="63"/>
                  </a:cubicBezTo>
                  <a:cubicBezTo>
                    <a:pt x="9" y="67"/>
                    <a:pt x="10" y="77"/>
                    <a:pt x="18" y="77"/>
                  </a:cubicBezTo>
                  <a:cubicBezTo>
                    <a:pt x="21" y="77"/>
                    <a:pt x="21" y="77"/>
                    <a:pt x="22" y="75"/>
                  </a:cubicBezTo>
                  <a:cubicBezTo>
                    <a:pt x="23" y="74"/>
                    <a:pt x="24" y="70"/>
                    <a:pt x="23" y="69"/>
                  </a:cubicBezTo>
                  <a:cubicBezTo>
                    <a:pt x="23" y="67"/>
                    <a:pt x="22" y="66"/>
                    <a:pt x="22" y="64"/>
                  </a:cubicBezTo>
                  <a:cubicBezTo>
                    <a:pt x="21" y="62"/>
                    <a:pt x="22" y="61"/>
                    <a:pt x="21" y="59"/>
                  </a:cubicBezTo>
                  <a:cubicBezTo>
                    <a:pt x="23" y="59"/>
                    <a:pt x="23" y="55"/>
                    <a:pt x="24" y="53"/>
                  </a:cubicBezTo>
                  <a:cubicBezTo>
                    <a:pt x="25" y="52"/>
                    <a:pt x="25" y="50"/>
                    <a:pt x="27" y="49"/>
                  </a:cubicBezTo>
                  <a:cubicBezTo>
                    <a:pt x="28" y="48"/>
                    <a:pt x="27" y="48"/>
                    <a:pt x="28" y="48"/>
                  </a:cubicBezTo>
                  <a:cubicBezTo>
                    <a:pt x="30" y="48"/>
                    <a:pt x="30" y="50"/>
                    <a:pt x="31" y="50"/>
                  </a:cubicBezTo>
                  <a:cubicBezTo>
                    <a:pt x="33" y="51"/>
                    <a:pt x="32" y="49"/>
                    <a:pt x="34" y="48"/>
                  </a:cubicBezTo>
                  <a:cubicBezTo>
                    <a:pt x="37" y="46"/>
                    <a:pt x="38" y="49"/>
                    <a:pt x="39" y="50"/>
                  </a:cubicBezTo>
                  <a:cubicBezTo>
                    <a:pt x="44" y="53"/>
                    <a:pt x="46" y="47"/>
                    <a:pt x="48" y="45"/>
                  </a:cubicBezTo>
                  <a:cubicBezTo>
                    <a:pt x="51" y="42"/>
                    <a:pt x="53" y="45"/>
                    <a:pt x="56" y="44"/>
                  </a:cubicBezTo>
                  <a:cubicBezTo>
                    <a:pt x="56" y="42"/>
                    <a:pt x="55" y="40"/>
                    <a:pt x="57" y="38"/>
                  </a:cubicBezTo>
                  <a:cubicBezTo>
                    <a:pt x="59" y="36"/>
                    <a:pt x="60" y="37"/>
                    <a:pt x="62" y="37"/>
                  </a:cubicBezTo>
                  <a:cubicBezTo>
                    <a:pt x="66" y="36"/>
                    <a:pt x="66" y="34"/>
                    <a:pt x="68" y="31"/>
                  </a:cubicBezTo>
                  <a:cubicBezTo>
                    <a:pt x="69" y="28"/>
                    <a:pt x="69" y="28"/>
                    <a:pt x="72" y="27"/>
                  </a:cubicBezTo>
                  <a:cubicBezTo>
                    <a:pt x="76" y="25"/>
                    <a:pt x="84" y="25"/>
                    <a:pt x="80" y="20"/>
                  </a:cubicBezTo>
                  <a:cubicBezTo>
                    <a:pt x="79" y="17"/>
                    <a:pt x="77" y="17"/>
                    <a:pt x="75" y="17"/>
                  </a:cubicBezTo>
                  <a:cubicBezTo>
                    <a:pt x="72" y="16"/>
                    <a:pt x="73" y="15"/>
                    <a:pt x="72" y="13"/>
                  </a:cubicBezTo>
                  <a:cubicBezTo>
                    <a:pt x="76" y="15"/>
                    <a:pt x="87" y="17"/>
                    <a:pt x="90" y="12"/>
                  </a:cubicBezTo>
                  <a:cubicBezTo>
                    <a:pt x="91" y="8"/>
                    <a:pt x="85" y="2"/>
                    <a:pt x="82" y="1"/>
                  </a:cubicBezTo>
                  <a:lnTo>
                    <a:pt x="8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2" name="Freeform 42"/>
            <p:cNvSpPr>
              <a:spLocks/>
            </p:cNvSpPr>
            <p:nvPr/>
          </p:nvSpPr>
          <p:spPr bwMode="auto">
            <a:xfrm>
              <a:off x="5713413" y="2960688"/>
              <a:ext cx="101600" cy="79375"/>
            </a:xfrm>
            <a:custGeom>
              <a:avLst/>
              <a:gdLst/>
              <a:ahLst/>
              <a:cxnLst>
                <a:cxn ang="0">
                  <a:pos x="50" y="21"/>
                </a:cxn>
                <a:cxn ang="0">
                  <a:pos x="53" y="27"/>
                </a:cxn>
                <a:cxn ang="0">
                  <a:pos x="44" y="26"/>
                </a:cxn>
                <a:cxn ang="0">
                  <a:pos x="36" y="25"/>
                </a:cxn>
                <a:cxn ang="0">
                  <a:pos x="37" y="34"/>
                </a:cxn>
                <a:cxn ang="0">
                  <a:pos x="38" y="39"/>
                </a:cxn>
                <a:cxn ang="0">
                  <a:pos x="31" y="38"/>
                </a:cxn>
                <a:cxn ang="0">
                  <a:pos x="29" y="36"/>
                </a:cxn>
                <a:cxn ang="0">
                  <a:pos x="28" y="40"/>
                </a:cxn>
                <a:cxn ang="0">
                  <a:pos x="23" y="41"/>
                </a:cxn>
                <a:cxn ang="0">
                  <a:pos x="20" y="36"/>
                </a:cxn>
                <a:cxn ang="0">
                  <a:pos x="14" y="25"/>
                </a:cxn>
                <a:cxn ang="0">
                  <a:pos x="3" y="24"/>
                </a:cxn>
                <a:cxn ang="0">
                  <a:pos x="1" y="19"/>
                </a:cxn>
                <a:cxn ang="0">
                  <a:pos x="1" y="16"/>
                </a:cxn>
                <a:cxn ang="0">
                  <a:pos x="10" y="17"/>
                </a:cxn>
                <a:cxn ang="0">
                  <a:pos x="12" y="16"/>
                </a:cxn>
                <a:cxn ang="0">
                  <a:pos x="16" y="17"/>
                </a:cxn>
                <a:cxn ang="0">
                  <a:pos x="20" y="6"/>
                </a:cxn>
                <a:cxn ang="0">
                  <a:pos x="28" y="4"/>
                </a:cxn>
                <a:cxn ang="0">
                  <a:pos x="34" y="0"/>
                </a:cxn>
                <a:cxn ang="0">
                  <a:pos x="35" y="9"/>
                </a:cxn>
                <a:cxn ang="0">
                  <a:pos x="41" y="10"/>
                </a:cxn>
                <a:cxn ang="0">
                  <a:pos x="43" y="15"/>
                </a:cxn>
                <a:cxn ang="0">
                  <a:pos x="53" y="17"/>
                </a:cxn>
                <a:cxn ang="0">
                  <a:pos x="53" y="23"/>
                </a:cxn>
                <a:cxn ang="0">
                  <a:pos x="50" y="21"/>
                </a:cxn>
              </a:cxnLst>
              <a:rect l="0" t="0" r="r" b="b"/>
              <a:pathLst>
                <a:path w="54" h="42">
                  <a:moveTo>
                    <a:pt x="50" y="21"/>
                  </a:moveTo>
                  <a:cubicBezTo>
                    <a:pt x="50" y="24"/>
                    <a:pt x="54" y="24"/>
                    <a:pt x="53" y="27"/>
                  </a:cubicBezTo>
                  <a:cubicBezTo>
                    <a:pt x="50" y="28"/>
                    <a:pt x="47" y="27"/>
                    <a:pt x="44" y="26"/>
                  </a:cubicBezTo>
                  <a:cubicBezTo>
                    <a:pt x="41" y="24"/>
                    <a:pt x="39" y="21"/>
                    <a:pt x="36" y="25"/>
                  </a:cubicBezTo>
                  <a:cubicBezTo>
                    <a:pt x="34" y="29"/>
                    <a:pt x="34" y="31"/>
                    <a:pt x="37" y="34"/>
                  </a:cubicBezTo>
                  <a:cubicBezTo>
                    <a:pt x="38" y="36"/>
                    <a:pt x="39" y="37"/>
                    <a:pt x="38" y="39"/>
                  </a:cubicBezTo>
                  <a:cubicBezTo>
                    <a:pt x="36" y="39"/>
                    <a:pt x="33" y="39"/>
                    <a:pt x="31" y="38"/>
                  </a:cubicBezTo>
                  <a:cubicBezTo>
                    <a:pt x="30" y="38"/>
                    <a:pt x="31" y="36"/>
                    <a:pt x="29" y="36"/>
                  </a:cubicBezTo>
                  <a:cubicBezTo>
                    <a:pt x="28" y="37"/>
                    <a:pt x="29" y="39"/>
                    <a:pt x="28" y="40"/>
                  </a:cubicBezTo>
                  <a:cubicBezTo>
                    <a:pt x="28" y="42"/>
                    <a:pt x="25" y="42"/>
                    <a:pt x="23" y="41"/>
                  </a:cubicBezTo>
                  <a:cubicBezTo>
                    <a:pt x="20" y="40"/>
                    <a:pt x="20" y="39"/>
                    <a:pt x="20" y="36"/>
                  </a:cubicBezTo>
                  <a:cubicBezTo>
                    <a:pt x="20" y="31"/>
                    <a:pt x="20" y="26"/>
                    <a:pt x="14" y="25"/>
                  </a:cubicBezTo>
                  <a:cubicBezTo>
                    <a:pt x="11" y="25"/>
                    <a:pt x="5" y="27"/>
                    <a:pt x="3" y="24"/>
                  </a:cubicBezTo>
                  <a:cubicBezTo>
                    <a:pt x="2" y="23"/>
                    <a:pt x="1" y="20"/>
                    <a:pt x="1" y="19"/>
                  </a:cubicBezTo>
                  <a:cubicBezTo>
                    <a:pt x="1" y="18"/>
                    <a:pt x="0" y="17"/>
                    <a:pt x="1" y="16"/>
                  </a:cubicBezTo>
                  <a:cubicBezTo>
                    <a:pt x="4" y="15"/>
                    <a:pt x="6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4" y="16"/>
                    <a:pt x="15" y="17"/>
                    <a:pt x="16" y="17"/>
                  </a:cubicBezTo>
                  <a:cubicBezTo>
                    <a:pt x="17" y="12"/>
                    <a:pt x="14" y="9"/>
                    <a:pt x="20" y="6"/>
                  </a:cubicBezTo>
                  <a:cubicBezTo>
                    <a:pt x="22" y="5"/>
                    <a:pt x="25" y="5"/>
                    <a:pt x="28" y="4"/>
                  </a:cubicBezTo>
                  <a:cubicBezTo>
                    <a:pt x="30" y="3"/>
                    <a:pt x="31" y="1"/>
                    <a:pt x="34" y="0"/>
                  </a:cubicBezTo>
                  <a:cubicBezTo>
                    <a:pt x="34" y="3"/>
                    <a:pt x="34" y="6"/>
                    <a:pt x="35" y="9"/>
                  </a:cubicBezTo>
                  <a:cubicBezTo>
                    <a:pt x="37" y="9"/>
                    <a:pt x="39" y="9"/>
                    <a:pt x="41" y="10"/>
                  </a:cubicBezTo>
                  <a:cubicBezTo>
                    <a:pt x="42" y="12"/>
                    <a:pt x="41" y="14"/>
                    <a:pt x="43" y="15"/>
                  </a:cubicBezTo>
                  <a:cubicBezTo>
                    <a:pt x="45" y="17"/>
                    <a:pt x="50" y="14"/>
                    <a:pt x="53" y="17"/>
                  </a:cubicBezTo>
                  <a:cubicBezTo>
                    <a:pt x="53" y="18"/>
                    <a:pt x="54" y="21"/>
                    <a:pt x="53" y="23"/>
                  </a:cubicBezTo>
                  <a:lnTo>
                    <a:pt x="50" y="2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3" name="Freeform 43"/>
            <p:cNvSpPr>
              <a:spLocks noEditPoints="1"/>
            </p:cNvSpPr>
            <p:nvPr/>
          </p:nvSpPr>
          <p:spPr bwMode="auto">
            <a:xfrm>
              <a:off x="5429250" y="5822950"/>
              <a:ext cx="688975" cy="779463"/>
            </a:xfrm>
            <a:custGeom>
              <a:avLst/>
              <a:gdLst/>
              <a:ahLst/>
              <a:cxnLst>
                <a:cxn ang="0">
                  <a:pos x="116" y="274"/>
                </a:cxn>
                <a:cxn ang="0">
                  <a:pos x="84" y="265"/>
                </a:cxn>
                <a:cxn ang="0">
                  <a:pos x="52" y="293"/>
                </a:cxn>
                <a:cxn ang="0">
                  <a:pos x="79" y="343"/>
                </a:cxn>
                <a:cxn ang="0">
                  <a:pos x="77" y="372"/>
                </a:cxn>
                <a:cxn ang="0">
                  <a:pos x="109" y="379"/>
                </a:cxn>
                <a:cxn ang="0">
                  <a:pos x="139" y="385"/>
                </a:cxn>
                <a:cxn ang="0">
                  <a:pos x="154" y="408"/>
                </a:cxn>
                <a:cxn ang="0">
                  <a:pos x="155" y="380"/>
                </a:cxn>
                <a:cxn ang="0">
                  <a:pos x="142" y="334"/>
                </a:cxn>
                <a:cxn ang="0">
                  <a:pos x="160" y="334"/>
                </a:cxn>
                <a:cxn ang="0">
                  <a:pos x="171" y="346"/>
                </a:cxn>
                <a:cxn ang="0">
                  <a:pos x="183" y="335"/>
                </a:cxn>
                <a:cxn ang="0">
                  <a:pos x="160" y="315"/>
                </a:cxn>
                <a:cxn ang="0">
                  <a:pos x="158" y="293"/>
                </a:cxn>
                <a:cxn ang="0">
                  <a:pos x="18" y="191"/>
                </a:cxn>
                <a:cxn ang="0">
                  <a:pos x="48" y="216"/>
                </a:cxn>
                <a:cxn ang="0">
                  <a:pos x="24" y="239"/>
                </a:cxn>
                <a:cxn ang="0">
                  <a:pos x="40" y="236"/>
                </a:cxn>
                <a:cxn ang="0">
                  <a:pos x="69" y="257"/>
                </a:cxn>
                <a:cxn ang="0">
                  <a:pos x="120" y="261"/>
                </a:cxn>
                <a:cxn ang="0">
                  <a:pos x="155" y="271"/>
                </a:cxn>
                <a:cxn ang="0">
                  <a:pos x="152" y="289"/>
                </a:cxn>
                <a:cxn ang="0">
                  <a:pos x="180" y="295"/>
                </a:cxn>
                <a:cxn ang="0">
                  <a:pos x="211" y="312"/>
                </a:cxn>
                <a:cxn ang="0">
                  <a:pos x="216" y="287"/>
                </a:cxn>
                <a:cxn ang="0">
                  <a:pos x="247" y="294"/>
                </a:cxn>
                <a:cxn ang="0">
                  <a:pos x="224" y="248"/>
                </a:cxn>
                <a:cxn ang="0">
                  <a:pos x="168" y="210"/>
                </a:cxn>
                <a:cxn ang="0">
                  <a:pos x="162" y="230"/>
                </a:cxn>
                <a:cxn ang="0">
                  <a:pos x="176" y="249"/>
                </a:cxn>
                <a:cxn ang="0">
                  <a:pos x="149" y="219"/>
                </a:cxn>
                <a:cxn ang="0">
                  <a:pos x="166" y="201"/>
                </a:cxn>
                <a:cxn ang="0">
                  <a:pos x="155" y="166"/>
                </a:cxn>
                <a:cxn ang="0">
                  <a:pos x="132" y="116"/>
                </a:cxn>
                <a:cxn ang="0">
                  <a:pos x="156" y="96"/>
                </a:cxn>
                <a:cxn ang="0">
                  <a:pos x="178" y="138"/>
                </a:cxn>
                <a:cxn ang="0">
                  <a:pos x="196" y="124"/>
                </a:cxn>
                <a:cxn ang="0">
                  <a:pos x="208" y="110"/>
                </a:cxn>
                <a:cxn ang="0">
                  <a:pos x="238" y="121"/>
                </a:cxn>
                <a:cxn ang="0">
                  <a:pos x="210" y="92"/>
                </a:cxn>
                <a:cxn ang="0">
                  <a:pos x="228" y="72"/>
                </a:cxn>
                <a:cxn ang="0">
                  <a:pos x="275" y="53"/>
                </a:cxn>
                <a:cxn ang="0">
                  <a:pos x="333" y="79"/>
                </a:cxn>
                <a:cxn ang="0">
                  <a:pos x="366" y="22"/>
                </a:cxn>
                <a:cxn ang="0">
                  <a:pos x="338" y="13"/>
                </a:cxn>
                <a:cxn ang="0">
                  <a:pos x="320" y="33"/>
                </a:cxn>
                <a:cxn ang="0">
                  <a:pos x="283" y="36"/>
                </a:cxn>
                <a:cxn ang="0">
                  <a:pos x="258" y="27"/>
                </a:cxn>
                <a:cxn ang="0">
                  <a:pos x="239" y="13"/>
                </a:cxn>
                <a:cxn ang="0">
                  <a:pos x="214" y="17"/>
                </a:cxn>
                <a:cxn ang="0">
                  <a:pos x="180" y="25"/>
                </a:cxn>
                <a:cxn ang="0">
                  <a:pos x="155" y="22"/>
                </a:cxn>
                <a:cxn ang="0">
                  <a:pos x="144" y="40"/>
                </a:cxn>
                <a:cxn ang="0">
                  <a:pos x="118" y="37"/>
                </a:cxn>
                <a:cxn ang="0">
                  <a:pos x="93" y="52"/>
                </a:cxn>
                <a:cxn ang="0">
                  <a:pos x="70" y="57"/>
                </a:cxn>
                <a:cxn ang="0">
                  <a:pos x="50" y="82"/>
                </a:cxn>
                <a:cxn ang="0">
                  <a:pos x="33" y="100"/>
                </a:cxn>
                <a:cxn ang="0">
                  <a:pos x="22" y="120"/>
                </a:cxn>
                <a:cxn ang="0">
                  <a:pos x="12" y="140"/>
                </a:cxn>
                <a:cxn ang="0">
                  <a:pos x="2" y="153"/>
                </a:cxn>
              </a:cxnLst>
              <a:rect l="0" t="0" r="r" b="b"/>
              <a:pathLst>
                <a:path w="368" h="417">
                  <a:moveTo>
                    <a:pt x="155" y="296"/>
                  </a:moveTo>
                  <a:cubicBezTo>
                    <a:pt x="155" y="296"/>
                    <a:pt x="155" y="296"/>
                    <a:pt x="155" y="296"/>
                  </a:cubicBezTo>
                  <a:cubicBezTo>
                    <a:pt x="151" y="295"/>
                    <a:pt x="146" y="291"/>
                    <a:pt x="145" y="290"/>
                  </a:cubicBezTo>
                  <a:cubicBezTo>
                    <a:pt x="144" y="289"/>
                    <a:pt x="142" y="288"/>
                    <a:pt x="141" y="287"/>
                  </a:cubicBezTo>
                  <a:cubicBezTo>
                    <a:pt x="141" y="285"/>
                    <a:pt x="140" y="283"/>
                    <a:pt x="139" y="282"/>
                  </a:cubicBezTo>
                  <a:cubicBezTo>
                    <a:pt x="137" y="281"/>
                    <a:pt x="135" y="282"/>
                    <a:pt x="134" y="281"/>
                  </a:cubicBezTo>
                  <a:cubicBezTo>
                    <a:pt x="132" y="281"/>
                    <a:pt x="131" y="280"/>
                    <a:pt x="129" y="279"/>
                  </a:cubicBezTo>
                  <a:cubicBezTo>
                    <a:pt x="125" y="277"/>
                    <a:pt x="120" y="275"/>
                    <a:pt x="116" y="274"/>
                  </a:cubicBezTo>
                  <a:cubicBezTo>
                    <a:pt x="114" y="273"/>
                    <a:pt x="112" y="272"/>
                    <a:pt x="110" y="271"/>
                  </a:cubicBezTo>
                  <a:cubicBezTo>
                    <a:pt x="109" y="271"/>
                    <a:pt x="108" y="271"/>
                    <a:pt x="107" y="270"/>
                  </a:cubicBezTo>
                  <a:cubicBezTo>
                    <a:pt x="106" y="269"/>
                    <a:pt x="107" y="268"/>
                    <a:pt x="106" y="267"/>
                  </a:cubicBezTo>
                  <a:cubicBezTo>
                    <a:pt x="104" y="265"/>
                    <a:pt x="100" y="267"/>
                    <a:pt x="98" y="264"/>
                  </a:cubicBezTo>
                  <a:cubicBezTo>
                    <a:pt x="97" y="262"/>
                    <a:pt x="97" y="261"/>
                    <a:pt x="94" y="261"/>
                  </a:cubicBezTo>
                  <a:cubicBezTo>
                    <a:pt x="92" y="261"/>
                    <a:pt x="91" y="260"/>
                    <a:pt x="89" y="261"/>
                  </a:cubicBezTo>
                  <a:cubicBezTo>
                    <a:pt x="87" y="261"/>
                    <a:pt x="87" y="262"/>
                    <a:pt x="86" y="263"/>
                  </a:cubicBezTo>
                  <a:cubicBezTo>
                    <a:pt x="85" y="264"/>
                    <a:pt x="85" y="265"/>
                    <a:pt x="84" y="265"/>
                  </a:cubicBezTo>
                  <a:cubicBezTo>
                    <a:pt x="82" y="266"/>
                    <a:pt x="81" y="267"/>
                    <a:pt x="79" y="268"/>
                  </a:cubicBezTo>
                  <a:cubicBezTo>
                    <a:pt x="78" y="268"/>
                    <a:pt x="77" y="270"/>
                    <a:pt x="77" y="270"/>
                  </a:cubicBezTo>
                  <a:cubicBezTo>
                    <a:pt x="75" y="271"/>
                    <a:pt x="73" y="270"/>
                    <a:pt x="71" y="269"/>
                  </a:cubicBezTo>
                  <a:cubicBezTo>
                    <a:pt x="70" y="269"/>
                    <a:pt x="67" y="266"/>
                    <a:pt x="65" y="266"/>
                  </a:cubicBezTo>
                  <a:cubicBezTo>
                    <a:pt x="65" y="269"/>
                    <a:pt x="66" y="274"/>
                    <a:pt x="64" y="276"/>
                  </a:cubicBezTo>
                  <a:cubicBezTo>
                    <a:pt x="63" y="277"/>
                    <a:pt x="61" y="277"/>
                    <a:pt x="60" y="278"/>
                  </a:cubicBezTo>
                  <a:cubicBezTo>
                    <a:pt x="57" y="281"/>
                    <a:pt x="55" y="288"/>
                    <a:pt x="55" y="292"/>
                  </a:cubicBezTo>
                  <a:cubicBezTo>
                    <a:pt x="54" y="292"/>
                    <a:pt x="53" y="293"/>
                    <a:pt x="52" y="293"/>
                  </a:cubicBezTo>
                  <a:cubicBezTo>
                    <a:pt x="51" y="293"/>
                    <a:pt x="49" y="292"/>
                    <a:pt x="48" y="293"/>
                  </a:cubicBezTo>
                  <a:cubicBezTo>
                    <a:pt x="45" y="294"/>
                    <a:pt x="44" y="297"/>
                    <a:pt x="46" y="299"/>
                  </a:cubicBezTo>
                  <a:cubicBezTo>
                    <a:pt x="49" y="302"/>
                    <a:pt x="54" y="301"/>
                    <a:pt x="57" y="304"/>
                  </a:cubicBezTo>
                  <a:cubicBezTo>
                    <a:pt x="60" y="307"/>
                    <a:pt x="56" y="309"/>
                    <a:pt x="57" y="312"/>
                  </a:cubicBezTo>
                  <a:cubicBezTo>
                    <a:pt x="61" y="313"/>
                    <a:pt x="65" y="314"/>
                    <a:pt x="69" y="315"/>
                  </a:cubicBezTo>
                  <a:cubicBezTo>
                    <a:pt x="74" y="316"/>
                    <a:pt x="75" y="319"/>
                    <a:pt x="75" y="325"/>
                  </a:cubicBezTo>
                  <a:cubicBezTo>
                    <a:pt x="75" y="328"/>
                    <a:pt x="74" y="331"/>
                    <a:pt x="75" y="334"/>
                  </a:cubicBezTo>
                  <a:cubicBezTo>
                    <a:pt x="76" y="337"/>
                    <a:pt x="80" y="340"/>
                    <a:pt x="79" y="343"/>
                  </a:cubicBezTo>
                  <a:cubicBezTo>
                    <a:pt x="79" y="345"/>
                    <a:pt x="76" y="345"/>
                    <a:pt x="74" y="345"/>
                  </a:cubicBezTo>
                  <a:cubicBezTo>
                    <a:pt x="70" y="346"/>
                    <a:pt x="70" y="346"/>
                    <a:pt x="71" y="349"/>
                  </a:cubicBezTo>
                  <a:cubicBezTo>
                    <a:pt x="71" y="352"/>
                    <a:pt x="71" y="355"/>
                    <a:pt x="71" y="358"/>
                  </a:cubicBezTo>
                  <a:cubicBezTo>
                    <a:pt x="72" y="359"/>
                    <a:pt x="72" y="361"/>
                    <a:pt x="72" y="361"/>
                  </a:cubicBezTo>
                  <a:cubicBezTo>
                    <a:pt x="73" y="362"/>
                    <a:pt x="74" y="362"/>
                    <a:pt x="74" y="362"/>
                  </a:cubicBezTo>
                  <a:cubicBezTo>
                    <a:pt x="75" y="363"/>
                    <a:pt x="75" y="364"/>
                    <a:pt x="76" y="364"/>
                  </a:cubicBezTo>
                  <a:cubicBezTo>
                    <a:pt x="77" y="366"/>
                    <a:pt x="77" y="368"/>
                    <a:pt x="78" y="370"/>
                  </a:cubicBezTo>
                  <a:cubicBezTo>
                    <a:pt x="78" y="371"/>
                    <a:pt x="77" y="371"/>
                    <a:pt x="77" y="372"/>
                  </a:cubicBezTo>
                  <a:cubicBezTo>
                    <a:pt x="75" y="376"/>
                    <a:pt x="76" y="380"/>
                    <a:pt x="77" y="384"/>
                  </a:cubicBezTo>
                  <a:cubicBezTo>
                    <a:pt x="80" y="384"/>
                    <a:pt x="82" y="384"/>
                    <a:pt x="84" y="386"/>
                  </a:cubicBezTo>
                  <a:cubicBezTo>
                    <a:pt x="85" y="387"/>
                    <a:pt x="86" y="388"/>
                    <a:pt x="87" y="389"/>
                  </a:cubicBezTo>
                  <a:cubicBezTo>
                    <a:pt x="88" y="390"/>
                    <a:pt x="90" y="390"/>
                    <a:pt x="90" y="390"/>
                  </a:cubicBezTo>
                  <a:cubicBezTo>
                    <a:pt x="94" y="385"/>
                    <a:pt x="90" y="377"/>
                    <a:pt x="91" y="371"/>
                  </a:cubicBezTo>
                  <a:cubicBezTo>
                    <a:pt x="92" y="364"/>
                    <a:pt x="98" y="366"/>
                    <a:pt x="103" y="367"/>
                  </a:cubicBezTo>
                  <a:cubicBezTo>
                    <a:pt x="103" y="369"/>
                    <a:pt x="103" y="372"/>
                    <a:pt x="104" y="373"/>
                  </a:cubicBezTo>
                  <a:cubicBezTo>
                    <a:pt x="105" y="375"/>
                    <a:pt x="107" y="377"/>
                    <a:pt x="109" y="379"/>
                  </a:cubicBezTo>
                  <a:cubicBezTo>
                    <a:pt x="111" y="381"/>
                    <a:pt x="112" y="383"/>
                    <a:pt x="113" y="386"/>
                  </a:cubicBezTo>
                  <a:cubicBezTo>
                    <a:pt x="114" y="389"/>
                    <a:pt x="116" y="391"/>
                    <a:pt x="117" y="394"/>
                  </a:cubicBezTo>
                  <a:cubicBezTo>
                    <a:pt x="119" y="400"/>
                    <a:pt x="113" y="411"/>
                    <a:pt x="120" y="414"/>
                  </a:cubicBezTo>
                  <a:cubicBezTo>
                    <a:pt x="126" y="417"/>
                    <a:pt x="124" y="408"/>
                    <a:pt x="124" y="405"/>
                  </a:cubicBezTo>
                  <a:cubicBezTo>
                    <a:pt x="124" y="401"/>
                    <a:pt x="123" y="399"/>
                    <a:pt x="125" y="396"/>
                  </a:cubicBezTo>
                  <a:cubicBezTo>
                    <a:pt x="126" y="393"/>
                    <a:pt x="127" y="392"/>
                    <a:pt x="129" y="390"/>
                  </a:cubicBezTo>
                  <a:cubicBezTo>
                    <a:pt x="132" y="388"/>
                    <a:pt x="131" y="385"/>
                    <a:pt x="135" y="385"/>
                  </a:cubicBezTo>
                  <a:cubicBezTo>
                    <a:pt x="136" y="385"/>
                    <a:pt x="138" y="384"/>
                    <a:pt x="139" y="385"/>
                  </a:cubicBezTo>
                  <a:cubicBezTo>
                    <a:pt x="141" y="385"/>
                    <a:pt x="140" y="386"/>
                    <a:pt x="140" y="387"/>
                  </a:cubicBezTo>
                  <a:cubicBezTo>
                    <a:pt x="141" y="389"/>
                    <a:pt x="140" y="389"/>
                    <a:pt x="141" y="391"/>
                  </a:cubicBezTo>
                  <a:cubicBezTo>
                    <a:pt x="142" y="391"/>
                    <a:pt x="143" y="391"/>
                    <a:pt x="144" y="392"/>
                  </a:cubicBezTo>
                  <a:cubicBezTo>
                    <a:pt x="145" y="393"/>
                    <a:pt x="145" y="393"/>
                    <a:pt x="145" y="394"/>
                  </a:cubicBezTo>
                  <a:cubicBezTo>
                    <a:pt x="146" y="396"/>
                    <a:pt x="145" y="398"/>
                    <a:pt x="146" y="400"/>
                  </a:cubicBezTo>
                  <a:cubicBezTo>
                    <a:pt x="146" y="402"/>
                    <a:pt x="146" y="402"/>
                    <a:pt x="147" y="403"/>
                  </a:cubicBezTo>
                  <a:cubicBezTo>
                    <a:pt x="148" y="405"/>
                    <a:pt x="148" y="406"/>
                    <a:pt x="150" y="407"/>
                  </a:cubicBezTo>
                  <a:cubicBezTo>
                    <a:pt x="151" y="407"/>
                    <a:pt x="153" y="407"/>
                    <a:pt x="154" y="408"/>
                  </a:cubicBezTo>
                  <a:cubicBezTo>
                    <a:pt x="155" y="409"/>
                    <a:pt x="155" y="410"/>
                    <a:pt x="155" y="411"/>
                  </a:cubicBezTo>
                  <a:cubicBezTo>
                    <a:pt x="156" y="412"/>
                    <a:pt x="160" y="415"/>
                    <a:pt x="162" y="415"/>
                  </a:cubicBezTo>
                  <a:cubicBezTo>
                    <a:pt x="162" y="413"/>
                    <a:pt x="160" y="412"/>
                    <a:pt x="160" y="410"/>
                  </a:cubicBezTo>
                  <a:cubicBezTo>
                    <a:pt x="159" y="408"/>
                    <a:pt x="159" y="405"/>
                    <a:pt x="157" y="404"/>
                  </a:cubicBezTo>
                  <a:cubicBezTo>
                    <a:pt x="156" y="401"/>
                    <a:pt x="155" y="402"/>
                    <a:pt x="155" y="399"/>
                  </a:cubicBezTo>
                  <a:cubicBezTo>
                    <a:pt x="155" y="397"/>
                    <a:pt x="154" y="395"/>
                    <a:pt x="155" y="393"/>
                  </a:cubicBezTo>
                  <a:cubicBezTo>
                    <a:pt x="155" y="390"/>
                    <a:pt x="157" y="389"/>
                    <a:pt x="156" y="386"/>
                  </a:cubicBezTo>
                  <a:cubicBezTo>
                    <a:pt x="156" y="384"/>
                    <a:pt x="155" y="382"/>
                    <a:pt x="155" y="380"/>
                  </a:cubicBezTo>
                  <a:cubicBezTo>
                    <a:pt x="154" y="378"/>
                    <a:pt x="155" y="375"/>
                    <a:pt x="155" y="373"/>
                  </a:cubicBezTo>
                  <a:cubicBezTo>
                    <a:pt x="155" y="371"/>
                    <a:pt x="155" y="368"/>
                    <a:pt x="155" y="367"/>
                  </a:cubicBezTo>
                  <a:cubicBezTo>
                    <a:pt x="154" y="366"/>
                    <a:pt x="152" y="365"/>
                    <a:pt x="150" y="363"/>
                  </a:cubicBezTo>
                  <a:cubicBezTo>
                    <a:pt x="149" y="362"/>
                    <a:pt x="149" y="361"/>
                    <a:pt x="149" y="359"/>
                  </a:cubicBezTo>
                  <a:cubicBezTo>
                    <a:pt x="149" y="356"/>
                    <a:pt x="150" y="352"/>
                    <a:pt x="149" y="350"/>
                  </a:cubicBezTo>
                  <a:cubicBezTo>
                    <a:pt x="148" y="349"/>
                    <a:pt x="147" y="348"/>
                    <a:pt x="146" y="347"/>
                  </a:cubicBezTo>
                  <a:cubicBezTo>
                    <a:pt x="145" y="345"/>
                    <a:pt x="144" y="342"/>
                    <a:pt x="144" y="340"/>
                  </a:cubicBezTo>
                  <a:cubicBezTo>
                    <a:pt x="143" y="338"/>
                    <a:pt x="143" y="337"/>
                    <a:pt x="142" y="334"/>
                  </a:cubicBezTo>
                  <a:cubicBezTo>
                    <a:pt x="141" y="333"/>
                    <a:pt x="141" y="332"/>
                    <a:pt x="141" y="331"/>
                  </a:cubicBezTo>
                  <a:cubicBezTo>
                    <a:pt x="140" y="330"/>
                    <a:pt x="139" y="329"/>
                    <a:pt x="139" y="329"/>
                  </a:cubicBezTo>
                  <a:cubicBezTo>
                    <a:pt x="138" y="327"/>
                    <a:pt x="138" y="323"/>
                    <a:pt x="140" y="322"/>
                  </a:cubicBezTo>
                  <a:cubicBezTo>
                    <a:pt x="141" y="322"/>
                    <a:pt x="142" y="324"/>
                    <a:pt x="143" y="325"/>
                  </a:cubicBezTo>
                  <a:cubicBezTo>
                    <a:pt x="145" y="325"/>
                    <a:pt x="147" y="324"/>
                    <a:pt x="149" y="326"/>
                  </a:cubicBezTo>
                  <a:cubicBezTo>
                    <a:pt x="149" y="326"/>
                    <a:pt x="150" y="328"/>
                    <a:pt x="150" y="328"/>
                  </a:cubicBezTo>
                  <a:cubicBezTo>
                    <a:pt x="150" y="329"/>
                    <a:pt x="152" y="330"/>
                    <a:pt x="152" y="330"/>
                  </a:cubicBezTo>
                  <a:cubicBezTo>
                    <a:pt x="154" y="332"/>
                    <a:pt x="158" y="332"/>
                    <a:pt x="160" y="334"/>
                  </a:cubicBezTo>
                  <a:cubicBezTo>
                    <a:pt x="160" y="335"/>
                    <a:pt x="159" y="337"/>
                    <a:pt x="159" y="339"/>
                  </a:cubicBezTo>
                  <a:cubicBezTo>
                    <a:pt x="159" y="341"/>
                    <a:pt x="160" y="343"/>
                    <a:pt x="158" y="345"/>
                  </a:cubicBezTo>
                  <a:cubicBezTo>
                    <a:pt x="157" y="347"/>
                    <a:pt x="155" y="347"/>
                    <a:pt x="156" y="350"/>
                  </a:cubicBezTo>
                  <a:cubicBezTo>
                    <a:pt x="156" y="352"/>
                    <a:pt x="156" y="352"/>
                    <a:pt x="158" y="352"/>
                  </a:cubicBezTo>
                  <a:cubicBezTo>
                    <a:pt x="158" y="352"/>
                    <a:pt x="160" y="352"/>
                    <a:pt x="161" y="352"/>
                  </a:cubicBezTo>
                  <a:cubicBezTo>
                    <a:pt x="163" y="351"/>
                    <a:pt x="163" y="349"/>
                    <a:pt x="165" y="349"/>
                  </a:cubicBezTo>
                  <a:cubicBezTo>
                    <a:pt x="165" y="347"/>
                    <a:pt x="165" y="346"/>
                    <a:pt x="165" y="345"/>
                  </a:cubicBezTo>
                  <a:cubicBezTo>
                    <a:pt x="167" y="345"/>
                    <a:pt x="169" y="346"/>
                    <a:pt x="171" y="346"/>
                  </a:cubicBezTo>
                  <a:cubicBezTo>
                    <a:pt x="173" y="346"/>
                    <a:pt x="180" y="347"/>
                    <a:pt x="180" y="344"/>
                  </a:cubicBezTo>
                  <a:cubicBezTo>
                    <a:pt x="179" y="344"/>
                    <a:pt x="178" y="344"/>
                    <a:pt x="177" y="344"/>
                  </a:cubicBezTo>
                  <a:cubicBezTo>
                    <a:pt x="175" y="343"/>
                    <a:pt x="174" y="343"/>
                    <a:pt x="172" y="343"/>
                  </a:cubicBezTo>
                  <a:cubicBezTo>
                    <a:pt x="170" y="343"/>
                    <a:pt x="168" y="342"/>
                    <a:pt x="170" y="339"/>
                  </a:cubicBezTo>
                  <a:cubicBezTo>
                    <a:pt x="171" y="339"/>
                    <a:pt x="172" y="340"/>
                    <a:pt x="172" y="339"/>
                  </a:cubicBezTo>
                  <a:cubicBezTo>
                    <a:pt x="172" y="339"/>
                    <a:pt x="173" y="338"/>
                    <a:pt x="173" y="338"/>
                  </a:cubicBezTo>
                  <a:cubicBezTo>
                    <a:pt x="173" y="337"/>
                    <a:pt x="174" y="336"/>
                    <a:pt x="175" y="336"/>
                  </a:cubicBezTo>
                  <a:cubicBezTo>
                    <a:pt x="177" y="334"/>
                    <a:pt x="180" y="336"/>
                    <a:pt x="183" y="335"/>
                  </a:cubicBezTo>
                  <a:cubicBezTo>
                    <a:pt x="184" y="333"/>
                    <a:pt x="184" y="331"/>
                    <a:pt x="183" y="330"/>
                  </a:cubicBezTo>
                  <a:cubicBezTo>
                    <a:pt x="182" y="329"/>
                    <a:pt x="177" y="327"/>
                    <a:pt x="176" y="327"/>
                  </a:cubicBezTo>
                  <a:cubicBezTo>
                    <a:pt x="174" y="327"/>
                    <a:pt x="172" y="329"/>
                    <a:pt x="170" y="329"/>
                  </a:cubicBezTo>
                  <a:cubicBezTo>
                    <a:pt x="169" y="328"/>
                    <a:pt x="169" y="326"/>
                    <a:pt x="167" y="325"/>
                  </a:cubicBezTo>
                  <a:cubicBezTo>
                    <a:pt x="166" y="325"/>
                    <a:pt x="166" y="326"/>
                    <a:pt x="165" y="326"/>
                  </a:cubicBezTo>
                  <a:cubicBezTo>
                    <a:pt x="164" y="326"/>
                    <a:pt x="161" y="324"/>
                    <a:pt x="161" y="323"/>
                  </a:cubicBezTo>
                  <a:cubicBezTo>
                    <a:pt x="160" y="321"/>
                    <a:pt x="161" y="319"/>
                    <a:pt x="161" y="318"/>
                  </a:cubicBezTo>
                  <a:cubicBezTo>
                    <a:pt x="161" y="317"/>
                    <a:pt x="160" y="316"/>
                    <a:pt x="160" y="315"/>
                  </a:cubicBezTo>
                  <a:cubicBezTo>
                    <a:pt x="159" y="313"/>
                    <a:pt x="160" y="313"/>
                    <a:pt x="161" y="312"/>
                  </a:cubicBezTo>
                  <a:cubicBezTo>
                    <a:pt x="162" y="310"/>
                    <a:pt x="162" y="311"/>
                    <a:pt x="162" y="309"/>
                  </a:cubicBezTo>
                  <a:cubicBezTo>
                    <a:pt x="162" y="305"/>
                    <a:pt x="162" y="304"/>
                    <a:pt x="159" y="301"/>
                  </a:cubicBezTo>
                  <a:cubicBezTo>
                    <a:pt x="157" y="300"/>
                    <a:pt x="154" y="299"/>
                    <a:pt x="155" y="296"/>
                  </a:cubicBezTo>
                  <a:moveTo>
                    <a:pt x="158" y="293"/>
                  </a:moveTo>
                  <a:cubicBezTo>
                    <a:pt x="156" y="293"/>
                    <a:pt x="155" y="294"/>
                    <a:pt x="155" y="296"/>
                  </a:cubicBezTo>
                  <a:cubicBezTo>
                    <a:pt x="156" y="296"/>
                    <a:pt x="157" y="295"/>
                    <a:pt x="158" y="294"/>
                  </a:cubicBezTo>
                  <a:cubicBezTo>
                    <a:pt x="158" y="293"/>
                    <a:pt x="158" y="293"/>
                    <a:pt x="158" y="293"/>
                  </a:cubicBezTo>
                  <a:moveTo>
                    <a:pt x="0" y="153"/>
                  </a:moveTo>
                  <a:cubicBezTo>
                    <a:pt x="0" y="154"/>
                    <a:pt x="0" y="155"/>
                    <a:pt x="0" y="156"/>
                  </a:cubicBezTo>
                  <a:cubicBezTo>
                    <a:pt x="0" y="158"/>
                    <a:pt x="1" y="159"/>
                    <a:pt x="1" y="161"/>
                  </a:cubicBezTo>
                  <a:cubicBezTo>
                    <a:pt x="2" y="163"/>
                    <a:pt x="2" y="164"/>
                    <a:pt x="2" y="165"/>
                  </a:cubicBezTo>
                  <a:cubicBezTo>
                    <a:pt x="2" y="169"/>
                    <a:pt x="2" y="171"/>
                    <a:pt x="4" y="174"/>
                  </a:cubicBezTo>
                  <a:cubicBezTo>
                    <a:pt x="6" y="176"/>
                    <a:pt x="7" y="179"/>
                    <a:pt x="8" y="181"/>
                  </a:cubicBezTo>
                  <a:cubicBezTo>
                    <a:pt x="10" y="183"/>
                    <a:pt x="13" y="182"/>
                    <a:pt x="15" y="182"/>
                  </a:cubicBezTo>
                  <a:cubicBezTo>
                    <a:pt x="18" y="184"/>
                    <a:pt x="18" y="188"/>
                    <a:pt x="18" y="191"/>
                  </a:cubicBezTo>
                  <a:cubicBezTo>
                    <a:pt x="19" y="196"/>
                    <a:pt x="23" y="197"/>
                    <a:pt x="26" y="200"/>
                  </a:cubicBezTo>
                  <a:cubicBezTo>
                    <a:pt x="28" y="202"/>
                    <a:pt x="29" y="204"/>
                    <a:pt x="30" y="207"/>
                  </a:cubicBezTo>
                  <a:cubicBezTo>
                    <a:pt x="33" y="208"/>
                    <a:pt x="33" y="202"/>
                    <a:pt x="34" y="200"/>
                  </a:cubicBezTo>
                  <a:cubicBezTo>
                    <a:pt x="35" y="199"/>
                    <a:pt x="39" y="198"/>
                    <a:pt x="41" y="199"/>
                  </a:cubicBezTo>
                  <a:cubicBezTo>
                    <a:pt x="43" y="200"/>
                    <a:pt x="42" y="204"/>
                    <a:pt x="43" y="205"/>
                  </a:cubicBezTo>
                  <a:cubicBezTo>
                    <a:pt x="45" y="207"/>
                    <a:pt x="48" y="205"/>
                    <a:pt x="51" y="206"/>
                  </a:cubicBezTo>
                  <a:cubicBezTo>
                    <a:pt x="53" y="206"/>
                    <a:pt x="53" y="207"/>
                    <a:pt x="54" y="209"/>
                  </a:cubicBezTo>
                  <a:cubicBezTo>
                    <a:pt x="57" y="214"/>
                    <a:pt x="54" y="217"/>
                    <a:pt x="48" y="216"/>
                  </a:cubicBezTo>
                  <a:cubicBezTo>
                    <a:pt x="48" y="214"/>
                    <a:pt x="49" y="211"/>
                    <a:pt x="48" y="210"/>
                  </a:cubicBezTo>
                  <a:cubicBezTo>
                    <a:pt x="47" y="208"/>
                    <a:pt x="38" y="209"/>
                    <a:pt x="36" y="210"/>
                  </a:cubicBezTo>
                  <a:cubicBezTo>
                    <a:pt x="30" y="211"/>
                    <a:pt x="32" y="215"/>
                    <a:pt x="32" y="220"/>
                  </a:cubicBezTo>
                  <a:cubicBezTo>
                    <a:pt x="30" y="219"/>
                    <a:pt x="30" y="216"/>
                    <a:pt x="28" y="215"/>
                  </a:cubicBezTo>
                  <a:cubicBezTo>
                    <a:pt x="25" y="215"/>
                    <a:pt x="23" y="218"/>
                    <a:pt x="22" y="220"/>
                  </a:cubicBezTo>
                  <a:cubicBezTo>
                    <a:pt x="21" y="222"/>
                    <a:pt x="22" y="223"/>
                    <a:pt x="20" y="224"/>
                  </a:cubicBezTo>
                  <a:cubicBezTo>
                    <a:pt x="18" y="227"/>
                    <a:pt x="14" y="230"/>
                    <a:pt x="15" y="233"/>
                  </a:cubicBezTo>
                  <a:cubicBezTo>
                    <a:pt x="19" y="234"/>
                    <a:pt x="20" y="238"/>
                    <a:pt x="24" y="239"/>
                  </a:cubicBezTo>
                  <a:cubicBezTo>
                    <a:pt x="25" y="239"/>
                    <a:pt x="28" y="238"/>
                    <a:pt x="29" y="236"/>
                  </a:cubicBezTo>
                  <a:cubicBezTo>
                    <a:pt x="31" y="233"/>
                    <a:pt x="29" y="233"/>
                    <a:pt x="28" y="231"/>
                  </a:cubicBezTo>
                  <a:cubicBezTo>
                    <a:pt x="27" y="230"/>
                    <a:pt x="28" y="227"/>
                    <a:pt x="28" y="226"/>
                  </a:cubicBezTo>
                  <a:cubicBezTo>
                    <a:pt x="29" y="226"/>
                    <a:pt x="30" y="227"/>
                    <a:pt x="32" y="226"/>
                  </a:cubicBezTo>
                  <a:cubicBezTo>
                    <a:pt x="32" y="224"/>
                    <a:pt x="32" y="223"/>
                    <a:pt x="34" y="224"/>
                  </a:cubicBezTo>
                  <a:cubicBezTo>
                    <a:pt x="34" y="225"/>
                    <a:pt x="34" y="226"/>
                    <a:pt x="34" y="227"/>
                  </a:cubicBezTo>
                  <a:cubicBezTo>
                    <a:pt x="35" y="227"/>
                    <a:pt x="36" y="227"/>
                    <a:pt x="37" y="227"/>
                  </a:cubicBezTo>
                  <a:cubicBezTo>
                    <a:pt x="40" y="230"/>
                    <a:pt x="40" y="232"/>
                    <a:pt x="40" y="236"/>
                  </a:cubicBezTo>
                  <a:cubicBezTo>
                    <a:pt x="40" y="238"/>
                    <a:pt x="39" y="240"/>
                    <a:pt x="40" y="242"/>
                  </a:cubicBezTo>
                  <a:cubicBezTo>
                    <a:pt x="41" y="243"/>
                    <a:pt x="44" y="245"/>
                    <a:pt x="46" y="246"/>
                  </a:cubicBezTo>
                  <a:cubicBezTo>
                    <a:pt x="48" y="247"/>
                    <a:pt x="49" y="247"/>
                    <a:pt x="48" y="250"/>
                  </a:cubicBezTo>
                  <a:cubicBezTo>
                    <a:pt x="47" y="252"/>
                    <a:pt x="46" y="252"/>
                    <a:pt x="46" y="254"/>
                  </a:cubicBezTo>
                  <a:cubicBezTo>
                    <a:pt x="45" y="258"/>
                    <a:pt x="46" y="261"/>
                    <a:pt x="51" y="261"/>
                  </a:cubicBezTo>
                  <a:cubicBezTo>
                    <a:pt x="54" y="262"/>
                    <a:pt x="57" y="260"/>
                    <a:pt x="59" y="258"/>
                  </a:cubicBezTo>
                  <a:cubicBezTo>
                    <a:pt x="61" y="257"/>
                    <a:pt x="63" y="256"/>
                    <a:pt x="65" y="256"/>
                  </a:cubicBezTo>
                  <a:cubicBezTo>
                    <a:pt x="67" y="256"/>
                    <a:pt x="68" y="256"/>
                    <a:pt x="69" y="257"/>
                  </a:cubicBezTo>
                  <a:cubicBezTo>
                    <a:pt x="70" y="258"/>
                    <a:pt x="69" y="260"/>
                    <a:pt x="71" y="260"/>
                  </a:cubicBezTo>
                  <a:cubicBezTo>
                    <a:pt x="71" y="255"/>
                    <a:pt x="77" y="260"/>
                    <a:pt x="79" y="260"/>
                  </a:cubicBezTo>
                  <a:cubicBezTo>
                    <a:pt x="81" y="260"/>
                    <a:pt x="83" y="258"/>
                    <a:pt x="86" y="258"/>
                  </a:cubicBezTo>
                  <a:cubicBezTo>
                    <a:pt x="88" y="258"/>
                    <a:pt x="91" y="259"/>
                    <a:pt x="91" y="256"/>
                  </a:cubicBezTo>
                  <a:cubicBezTo>
                    <a:pt x="95" y="256"/>
                    <a:pt x="100" y="256"/>
                    <a:pt x="103" y="258"/>
                  </a:cubicBezTo>
                  <a:cubicBezTo>
                    <a:pt x="107" y="259"/>
                    <a:pt x="110" y="262"/>
                    <a:pt x="115" y="262"/>
                  </a:cubicBezTo>
                  <a:cubicBezTo>
                    <a:pt x="116" y="262"/>
                    <a:pt x="117" y="262"/>
                    <a:pt x="118" y="262"/>
                  </a:cubicBezTo>
                  <a:cubicBezTo>
                    <a:pt x="119" y="262"/>
                    <a:pt x="119" y="261"/>
                    <a:pt x="120" y="261"/>
                  </a:cubicBezTo>
                  <a:cubicBezTo>
                    <a:pt x="121" y="260"/>
                    <a:pt x="123" y="259"/>
                    <a:pt x="124" y="259"/>
                  </a:cubicBezTo>
                  <a:cubicBezTo>
                    <a:pt x="126" y="259"/>
                    <a:pt x="125" y="261"/>
                    <a:pt x="126" y="263"/>
                  </a:cubicBezTo>
                  <a:cubicBezTo>
                    <a:pt x="127" y="265"/>
                    <a:pt x="129" y="267"/>
                    <a:pt x="132" y="266"/>
                  </a:cubicBezTo>
                  <a:cubicBezTo>
                    <a:pt x="133" y="264"/>
                    <a:pt x="131" y="260"/>
                    <a:pt x="134" y="259"/>
                  </a:cubicBezTo>
                  <a:cubicBezTo>
                    <a:pt x="138" y="259"/>
                    <a:pt x="137" y="267"/>
                    <a:pt x="139" y="269"/>
                  </a:cubicBezTo>
                  <a:cubicBezTo>
                    <a:pt x="139" y="266"/>
                    <a:pt x="139" y="266"/>
                    <a:pt x="141" y="266"/>
                  </a:cubicBezTo>
                  <a:cubicBezTo>
                    <a:pt x="144" y="265"/>
                    <a:pt x="146" y="267"/>
                    <a:pt x="148" y="268"/>
                  </a:cubicBezTo>
                  <a:cubicBezTo>
                    <a:pt x="150" y="270"/>
                    <a:pt x="152" y="270"/>
                    <a:pt x="155" y="271"/>
                  </a:cubicBezTo>
                  <a:cubicBezTo>
                    <a:pt x="157" y="272"/>
                    <a:pt x="159" y="274"/>
                    <a:pt x="161" y="275"/>
                  </a:cubicBezTo>
                  <a:cubicBezTo>
                    <a:pt x="164" y="276"/>
                    <a:pt x="167" y="275"/>
                    <a:pt x="170" y="275"/>
                  </a:cubicBezTo>
                  <a:cubicBezTo>
                    <a:pt x="172" y="275"/>
                    <a:pt x="173" y="275"/>
                    <a:pt x="171" y="278"/>
                  </a:cubicBezTo>
                  <a:cubicBezTo>
                    <a:pt x="171" y="279"/>
                    <a:pt x="169" y="280"/>
                    <a:pt x="168" y="281"/>
                  </a:cubicBezTo>
                  <a:cubicBezTo>
                    <a:pt x="168" y="282"/>
                    <a:pt x="166" y="283"/>
                    <a:pt x="165" y="283"/>
                  </a:cubicBezTo>
                  <a:cubicBezTo>
                    <a:pt x="163" y="284"/>
                    <a:pt x="161" y="282"/>
                    <a:pt x="158" y="282"/>
                  </a:cubicBezTo>
                  <a:cubicBezTo>
                    <a:pt x="155" y="282"/>
                    <a:pt x="149" y="282"/>
                    <a:pt x="150" y="286"/>
                  </a:cubicBezTo>
                  <a:cubicBezTo>
                    <a:pt x="151" y="288"/>
                    <a:pt x="151" y="288"/>
                    <a:pt x="152" y="289"/>
                  </a:cubicBezTo>
                  <a:cubicBezTo>
                    <a:pt x="153" y="290"/>
                    <a:pt x="152" y="290"/>
                    <a:pt x="153" y="291"/>
                  </a:cubicBezTo>
                  <a:cubicBezTo>
                    <a:pt x="154" y="292"/>
                    <a:pt x="155" y="291"/>
                    <a:pt x="155" y="291"/>
                  </a:cubicBezTo>
                  <a:cubicBezTo>
                    <a:pt x="156" y="292"/>
                    <a:pt x="157" y="292"/>
                    <a:pt x="158" y="293"/>
                  </a:cubicBezTo>
                  <a:cubicBezTo>
                    <a:pt x="159" y="292"/>
                    <a:pt x="160" y="292"/>
                    <a:pt x="161" y="292"/>
                  </a:cubicBezTo>
                  <a:cubicBezTo>
                    <a:pt x="160" y="289"/>
                    <a:pt x="162" y="290"/>
                    <a:pt x="163" y="291"/>
                  </a:cubicBezTo>
                  <a:cubicBezTo>
                    <a:pt x="165" y="291"/>
                    <a:pt x="164" y="292"/>
                    <a:pt x="166" y="292"/>
                  </a:cubicBezTo>
                  <a:cubicBezTo>
                    <a:pt x="169" y="292"/>
                    <a:pt x="171" y="288"/>
                    <a:pt x="175" y="287"/>
                  </a:cubicBezTo>
                  <a:cubicBezTo>
                    <a:pt x="179" y="287"/>
                    <a:pt x="181" y="291"/>
                    <a:pt x="180" y="295"/>
                  </a:cubicBezTo>
                  <a:cubicBezTo>
                    <a:pt x="180" y="297"/>
                    <a:pt x="178" y="299"/>
                    <a:pt x="179" y="302"/>
                  </a:cubicBezTo>
                  <a:cubicBezTo>
                    <a:pt x="181" y="303"/>
                    <a:pt x="184" y="302"/>
                    <a:pt x="187" y="301"/>
                  </a:cubicBezTo>
                  <a:cubicBezTo>
                    <a:pt x="187" y="297"/>
                    <a:pt x="186" y="292"/>
                    <a:pt x="186" y="288"/>
                  </a:cubicBezTo>
                  <a:cubicBezTo>
                    <a:pt x="188" y="287"/>
                    <a:pt x="188" y="288"/>
                    <a:pt x="190" y="289"/>
                  </a:cubicBezTo>
                  <a:cubicBezTo>
                    <a:pt x="191" y="289"/>
                    <a:pt x="194" y="289"/>
                    <a:pt x="195" y="290"/>
                  </a:cubicBezTo>
                  <a:cubicBezTo>
                    <a:pt x="199" y="293"/>
                    <a:pt x="197" y="298"/>
                    <a:pt x="198" y="302"/>
                  </a:cubicBezTo>
                  <a:cubicBezTo>
                    <a:pt x="198" y="305"/>
                    <a:pt x="201" y="309"/>
                    <a:pt x="203" y="311"/>
                  </a:cubicBezTo>
                  <a:cubicBezTo>
                    <a:pt x="206" y="313"/>
                    <a:pt x="208" y="312"/>
                    <a:pt x="211" y="312"/>
                  </a:cubicBezTo>
                  <a:cubicBezTo>
                    <a:pt x="211" y="314"/>
                    <a:pt x="211" y="315"/>
                    <a:pt x="211" y="316"/>
                  </a:cubicBezTo>
                  <a:cubicBezTo>
                    <a:pt x="212" y="317"/>
                    <a:pt x="211" y="318"/>
                    <a:pt x="211" y="320"/>
                  </a:cubicBezTo>
                  <a:cubicBezTo>
                    <a:pt x="212" y="323"/>
                    <a:pt x="213" y="323"/>
                    <a:pt x="216" y="322"/>
                  </a:cubicBezTo>
                  <a:cubicBezTo>
                    <a:pt x="217" y="319"/>
                    <a:pt x="216" y="316"/>
                    <a:pt x="216" y="312"/>
                  </a:cubicBezTo>
                  <a:cubicBezTo>
                    <a:pt x="216" y="309"/>
                    <a:pt x="216" y="306"/>
                    <a:pt x="215" y="303"/>
                  </a:cubicBezTo>
                  <a:cubicBezTo>
                    <a:pt x="215" y="301"/>
                    <a:pt x="214" y="299"/>
                    <a:pt x="214" y="297"/>
                  </a:cubicBezTo>
                  <a:cubicBezTo>
                    <a:pt x="215" y="295"/>
                    <a:pt x="216" y="294"/>
                    <a:pt x="216" y="293"/>
                  </a:cubicBezTo>
                  <a:cubicBezTo>
                    <a:pt x="216" y="291"/>
                    <a:pt x="216" y="288"/>
                    <a:pt x="216" y="287"/>
                  </a:cubicBezTo>
                  <a:cubicBezTo>
                    <a:pt x="215" y="285"/>
                    <a:pt x="214" y="285"/>
                    <a:pt x="214" y="283"/>
                  </a:cubicBezTo>
                  <a:cubicBezTo>
                    <a:pt x="213" y="281"/>
                    <a:pt x="215" y="280"/>
                    <a:pt x="216" y="278"/>
                  </a:cubicBezTo>
                  <a:cubicBezTo>
                    <a:pt x="216" y="277"/>
                    <a:pt x="220" y="272"/>
                    <a:pt x="221" y="272"/>
                  </a:cubicBezTo>
                  <a:cubicBezTo>
                    <a:pt x="223" y="272"/>
                    <a:pt x="226" y="280"/>
                    <a:pt x="227" y="282"/>
                  </a:cubicBezTo>
                  <a:cubicBezTo>
                    <a:pt x="229" y="284"/>
                    <a:pt x="230" y="286"/>
                    <a:pt x="231" y="288"/>
                  </a:cubicBezTo>
                  <a:cubicBezTo>
                    <a:pt x="232" y="291"/>
                    <a:pt x="233" y="291"/>
                    <a:pt x="235" y="293"/>
                  </a:cubicBezTo>
                  <a:cubicBezTo>
                    <a:pt x="237" y="296"/>
                    <a:pt x="238" y="298"/>
                    <a:pt x="241" y="297"/>
                  </a:cubicBezTo>
                  <a:cubicBezTo>
                    <a:pt x="244" y="297"/>
                    <a:pt x="246" y="296"/>
                    <a:pt x="247" y="294"/>
                  </a:cubicBezTo>
                  <a:cubicBezTo>
                    <a:pt x="250" y="292"/>
                    <a:pt x="250" y="286"/>
                    <a:pt x="249" y="283"/>
                  </a:cubicBezTo>
                  <a:cubicBezTo>
                    <a:pt x="247" y="279"/>
                    <a:pt x="241" y="281"/>
                    <a:pt x="238" y="280"/>
                  </a:cubicBezTo>
                  <a:cubicBezTo>
                    <a:pt x="235" y="279"/>
                    <a:pt x="233" y="279"/>
                    <a:pt x="231" y="277"/>
                  </a:cubicBezTo>
                  <a:cubicBezTo>
                    <a:pt x="230" y="276"/>
                    <a:pt x="230" y="274"/>
                    <a:pt x="229" y="273"/>
                  </a:cubicBezTo>
                  <a:cubicBezTo>
                    <a:pt x="228" y="273"/>
                    <a:pt x="226" y="272"/>
                    <a:pt x="225" y="271"/>
                  </a:cubicBezTo>
                  <a:cubicBezTo>
                    <a:pt x="223" y="270"/>
                    <a:pt x="221" y="268"/>
                    <a:pt x="220" y="265"/>
                  </a:cubicBezTo>
                  <a:cubicBezTo>
                    <a:pt x="217" y="261"/>
                    <a:pt x="216" y="258"/>
                    <a:pt x="220" y="254"/>
                  </a:cubicBezTo>
                  <a:cubicBezTo>
                    <a:pt x="222" y="252"/>
                    <a:pt x="224" y="252"/>
                    <a:pt x="224" y="248"/>
                  </a:cubicBezTo>
                  <a:cubicBezTo>
                    <a:pt x="224" y="247"/>
                    <a:pt x="224" y="246"/>
                    <a:pt x="222" y="245"/>
                  </a:cubicBezTo>
                  <a:cubicBezTo>
                    <a:pt x="217" y="242"/>
                    <a:pt x="209" y="241"/>
                    <a:pt x="204" y="238"/>
                  </a:cubicBezTo>
                  <a:cubicBezTo>
                    <a:pt x="203" y="237"/>
                    <a:pt x="203" y="236"/>
                    <a:pt x="202" y="236"/>
                  </a:cubicBezTo>
                  <a:cubicBezTo>
                    <a:pt x="201" y="235"/>
                    <a:pt x="199" y="234"/>
                    <a:pt x="198" y="234"/>
                  </a:cubicBezTo>
                  <a:cubicBezTo>
                    <a:pt x="196" y="233"/>
                    <a:pt x="195" y="232"/>
                    <a:pt x="193" y="231"/>
                  </a:cubicBezTo>
                  <a:cubicBezTo>
                    <a:pt x="190" y="228"/>
                    <a:pt x="183" y="229"/>
                    <a:pt x="182" y="224"/>
                  </a:cubicBezTo>
                  <a:cubicBezTo>
                    <a:pt x="180" y="219"/>
                    <a:pt x="182" y="214"/>
                    <a:pt x="181" y="209"/>
                  </a:cubicBezTo>
                  <a:cubicBezTo>
                    <a:pt x="177" y="210"/>
                    <a:pt x="172" y="209"/>
                    <a:pt x="168" y="210"/>
                  </a:cubicBezTo>
                  <a:cubicBezTo>
                    <a:pt x="167" y="211"/>
                    <a:pt x="165" y="211"/>
                    <a:pt x="164" y="213"/>
                  </a:cubicBezTo>
                  <a:cubicBezTo>
                    <a:pt x="163" y="214"/>
                    <a:pt x="164" y="215"/>
                    <a:pt x="163" y="216"/>
                  </a:cubicBezTo>
                  <a:cubicBezTo>
                    <a:pt x="161" y="218"/>
                    <a:pt x="157" y="218"/>
                    <a:pt x="155" y="218"/>
                  </a:cubicBezTo>
                  <a:cubicBezTo>
                    <a:pt x="151" y="218"/>
                    <a:pt x="145" y="220"/>
                    <a:pt x="145" y="224"/>
                  </a:cubicBezTo>
                  <a:cubicBezTo>
                    <a:pt x="148" y="225"/>
                    <a:pt x="148" y="225"/>
                    <a:pt x="150" y="226"/>
                  </a:cubicBezTo>
                  <a:cubicBezTo>
                    <a:pt x="152" y="228"/>
                    <a:pt x="155" y="229"/>
                    <a:pt x="157" y="229"/>
                  </a:cubicBezTo>
                  <a:cubicBezTo>
                    <a:pt x="158" y="229"/>
                    <a:pt x="159" y="229"/>
                    <a:pt x="160" y="229"/>
                  </a:cubicBezTo>
                  <a:cubicBezTo>
                    <a:pt x="161" y="229"/>
                    <a:pt x="161" y="230"/>
                    <a:pt x="162" y="230"/>
                  </a:cubicBezTo>
                  <a:cubicBezTo>
                    <a:pt x="165" y="231"/>
                    <a:pt x="167" y="230"/>
                    <a:pt x="169" y="231"/>
                  </a:cubicBezTo>
                  <a:cubicBezTo>
                    <a:pt x="170" y="232"/>
                    <a:pt x="172" y="233"/>
                    <a:pt x="172" y="234"/>
                  </a:cubicBezTo>
                  <a:cubicBezTo>
                    <a:pt x="173" y="235"/>
                    <a:pt x="172" y="237"/>
                    <a:pt x="172" y="239"/>
                  </a:cubicBezTo>
                  <a:cubicBezTo>
                    <a:pt x="173" y="241"/>
                    <a:pt x="177" y="241"/>
                    <a:pt x="180" y="242"/>
                  </a:cubicBezTo>
                  <a:cubicBezTo>
                    <a:pt x="182" y="243"/>
                    <a:pt x="189" y="246"/>
                    <a:pt x="189" y="249"/>
                  </a:cubicBezTo>
                  <a:cubicBezTo>
                    <a:pt x="189" y="250"/>
                    <a:pt x="188" y="252"/>
                    <a:pt x="186" y="253"/>
                  </a:cubicBezTo>
                  <a:cubicBezTo>
                    <a:pt x="184" y="254"/>
                    <a:pt x="178" y="254"/>
                    <a:pt x="177" y="252"/>
                  </a:cubicBezTo>
                  <a:cubicBezTo>
                    <a:pt x="176" y="252"/>
                    <a:pt x="177" y="250"/>
                    <a:pt x="176" y="249"/>
                  </a:cubicBezTo>
                  <a:cubicBezTo>
                    <a:pt x="175" y="248"/>
                    <a:pt x="175" y="247"/>
                    <a:pt x="174" y="246"/>
                  </a:cubicBezTo>
                  <a:cubicBezTo>
                    <a:pt x="170" y="244"/>
                    <a:pt x="167" y="241"/>
                    <a:pt x="164" y="239"/>
                  </a:cubicBezTo>
                  <a:cubicBezTo>
                    <a:pt x="163" y="238"/>
                    <a:pt x="161" y="237"/>
                    <a:pt x="160" y="236"/>
                  </a:cubicBezTo>
                  <a:cubicBezTo>
                    <a:pt x="158" y="234"/>
                    <a:pt x="157" y="234"/>
                    <a:pt x="154" y="233"/>
                  </a:cubicBezTo>
                  <a:cubicBezTo>
                    <a:pt x="151" y="232"/>
                    <a:pt x="148" y="229"/>
                    <a:pt x="145" y="228"/>
                  </a:cubicBezTo>
                  <a:cubicBezTo>
                    <a:pt x="142" y="228"/>
                    <a:pt x="132" y="227"/>
                    <a:pt x="133" y="223"/>
                  </a:cubicBezTo>
                  <a:cubicBezTo>
                    <a:pt x="133" y="219"/>
                    <a:pt x="139" y="221"/>
                    <a:pt x="141" y="221"/>
                  </a:cubicBezTo>
                  <a:cubicBezTo>
                    <a:pt x="145" y="222"/>
                    <a:pt x="146" y="221"/>
                    <a:pt x="149" y="219"/>
                  </a:cubicBezTo>
                  <a:cubicBezTo>
                    <a:pt x="152" y="217"/>
                    <a:pt x="157" y="217"/>
                    <a:pt x="161" y="215"/>
                  </a:cubicBezTo>
                  <a:cubicBezTo>
                    <a:pt x="157" y="216"/>
                    <a:pt x="157" y="209"/>
                    <a:pt x="157" y="207"/>
                  </a:cubicBezTo>
                  <a:cubicBezTo>
                    <a:pt x="157" y="205"/>
                    <a:pt x="156" y="205"/>
                    <a:pt x="156" y="204"/>
                  </a:cubicBezTo>
                  <a:cubicBezTo>
                    <a:pt x="155" y="202"/>
                    <a:pt x="156" y="202"/>
                    <a:pt x="155" y="200"/>
                  </a:cubicBezTo>
                  <a:cubicBezTo>
                    <a:pt x="153" y="198"/>
                    <a:pt x="150" y="196"/>
                    <a:pt x="150" y="193"/>
                  </a:cubicBezTo>
                  <a:cubicBezTo>
                    <a:pt x="151" y="191"/>
                    <a:pt x="153" y="189"/>
                    <a:pt x="154" y="188"/>
                  </a:cubicBezTo>
                  <a:cubicBezTo>
                    <a:pt x="157" y="185"/>
                    <a:pt x="161" y="186"/>
                    <a:pt x="163" y="189"/>
                  </a:cubicBezTo>
                  <a:cubicBezTo>
                    <a:pt x="165" y="192"/>
                    <a:pt x="163" y="199"/>
                    <a:pt x="166" y="201"/>
                  </a:cubicBezTo>
                  <a:cubicBezTo>
                    <a:pt x="168" y="202"/>
                    <a:pt x="174" y="199"/>
                    <a:pt x="175" y="198"/>
                  </a:cubicBezTo>
                  <a:cubicBezTo>
                    <a:pt x="178" y="197"/>
                    <a:pt x="177" y="193"/>
                    <a:pt x="175" y="192"/>
                  </a:cubicBezTo>
                  <a:cubicBezTo>
                    <a:pt x="173" y="190"/>
                    <a:pt x="171" y="189"/>
                    <a:pt x="170" y="187"/>
                  </a:cubicBezTo>
                  <a:cubicBezTo>
                    <a:pt x="169" y="185"/>
                    <a:pt x="169" y="184"/>
                    <a:pt x="168" y="182"/>
                  </a:cubicBezTo>
                  <a:cubicBezTo>
                    <a:pt x="166" y="181"/>
                    <a:pt x="164" y="179"/>
                    <a:pt x="163" y="177"/>
                  </a:cubicBezTo>
                  <a:cubicBezTo>
                    <a:pt x="161" y="175"/>
                    <a:pt x="160" y="172"/>
                    <a:pt x="158" y="170"/>
                  </a:cubicBezTo>
                  <a:cubicBezTo>
                    <a:pt x="158" y="169"/>
                    <a:pt x="157" y="169"/>
                    <a:pt x="156" y="168"/>
                  </a:cubicBezTo>
                  <a:cubicBezTo>
                    <a:pt x="156" y="167"/>
                    <a:pt x="156" y="167"/>
                    <a:pt x="155" y="166"/>
                  </a:cubicBezTo>
                  <a:cubicBezTo>
                    <a:pt x="154" y="165"/>
                    <a:pt x="151" y="166"/>
                    <a:pt x="150" y="165"/>
                  </a:cubicBezTo>
                  <a:cubicBezTo>
                    <a:pt x="149" y="165"/>
                    <a:pt x="147" y="163"/>
                    <a:pt x="146" y="162"/>
                  </a:cubicBezTo>
                  <a:cubicBezTo>
                    <a:pt x="144" y="160"/>
                    <a:pt x="143" y="158"/>
                    <a:pt x="143" y="155"/>
                  </a:cubicBezTo>
                  <a:cubicBezTo>
                    <a:pt x="142" y="152"/>
                    <a:pt x="143" y="150"/>
                    <a:pt x="143" y="148"/>
                  </a:cubicBezTo>
                  <a:cubicBezTo>
                    <a:pt x="143" y="144"/>
                    <a:pt x="143" y="143"/>
                    <a:pt x="141" y="140"/>
                  </a:cubicBezTo>
                  <a:cubicBezTo>
                    <a:pt x="139" y="138"/>
                    <a:pt x="138" y="136"/>
                    <a:pt x="137" y="133"/>
                  </a:cubicBezTo>
                  <a:cubicBezTo>
                    <a:pt x="136" y="132"/>
                    <a:pt x="135" y="131"/>
                    <a:pt x="134" y="129"/>
                  </a:cubicBezTo>
                  <a:cubicBezTo>
                    <a:pt x="131" y="126"/>
                    <a:pt x="131" y="120"/>
                    <a:pt x="132" y="116"/>
                  </a:cubicBezTo>
                  <a:cubicBezTo>
                    <a:pt x="132" y="113"/>
                    <a:pt x="135" y="111"/>
                    <a:pt x="135" y="109"/>
                  </a:cubicBezTo>
                  <a:cubicBezTo>
                    <a:pt x="135" y="107"/>
                    <a:pt x="135" y="105"/>
                    <a:pt x="135" y="104"/>
                  </a:cubicBezTo>
                  <a:cubicBezTo>
                    <a:pt x="135" y="102"/>
                    <a:pt x="136" y="97"/>
                    <a:pt x="133" y="97"/>
                  </a:cubicBezTo>
                  <a:cubicBezTo>
                    <a:pt x="135" y="91"/>
                    <a:pt x="138" y="86"/>
                    <a:pt x="144" y="83"/>
                  </a:cubicBezTo>
                  <a:cubicBezTo>
                    <a:pt x="147" y="82"/>
                    <a:pt x="155" y="79"/>
                    <a:pt x="157" y="84"/>
                  </a:cubicBezTo>
                  <a:cubicBezTo>
                    <a:pt x="157" y="86"/>
                    <a:pt x="157" y="88"/>
                    <a:pt x="157" y="90"/>
                  </a:cubicBezTo>
                  <a:cubicBezTo>
                    <a:pt x="157" y="92"/>
                    <a:pt x="158" y="93"/>
                    <a:pt x="157" y="95"/>
                  </a:cubicBezTo>
                  <a:cubicBezTo>
                    <a:pt x="157" y="95"/>
                    <a:pt x="157" y="95"/>
                    <a:pt x="156" y="96"/>
                  </a:cubicBezTo>
                  <a:cubicBezTo>
                    <a:pt x="156" y="96"/>
                    <a:pt x="155" y="96"/>
                    <a:pt x="155" y="96"/>
                  </a:cubicBezTo>
                  <a:cubicBezTo>
                    <a:pt x="153" y="101"/>
                    <a:pt x="158" y="105"/>
                    <a:pt x="162" y="106"/>
                  </a:cubicBezTo>
                  <a:cubicBezTo>
                    <a:pt x="164" y="108"/>
                    <a:pt x="166" y="108"/>
                    <a:pt x="168" y="110"/>
                  </a:cubicBezTo>
                  <a:cubicBezTo>
                    <a:pt x="170" y="112"/>
                    <a:pt x="172" y="113"/>
                    <a:pt x="173" y="115"/>
                  </a:cubicBezTo>
                  <a:cubicBezTo>
                    <a:pt x="176" y="116"/>
                    <a:pt x="177" y="116"/>
                    <a:pt x="177" y="119"/>
                  </a:cubicBezTo>
                  <a:cubicBezTo>
                    <a:pt x="177" y="123"/>
                    <a:pt x="176" y="127"/>
                    <a:pt x="175" y="131"/>
                  </a:cubicBezTo>
                  <a:cubicBezTo>
                    <a:pt x="175" y="132"/>
                    <a:pt x="175" y="135"/>
                    <a:pt x="175" y="137"/>
                  </a:cubicBezTo>
                  <a:cubicBezTo>
                    <a:pt x="176" y="138"/>
                    <a:pt x="177" y="138"/>
                    <a:pt x="178" y="138"/>
                  </a:cubicBezTo>
                  <a:cubicBezTo>
                    <a:pt x="183" y="139"/>
                    <a:pt x="189" y="140"/>
                    <a:pt x="194" y="140"/>
                  </a:cubicBezTo>
                  <a:cubicBezTo>
                    <a:pt x="194" y="136"/>
                    <a:pt x="194" y="134"/>
                    <a:pt x="190" y="133"/>
                  </a:cubicBezTo>
                  <a:cubicBezTo>
                    <a:pt x="187" y="132"/>
                    <a:pt x="186" y="132"/>
                    <a:pt x="184" y="128"/>
                  </a:cubicBezTo>
                  <a:cubicBezTo>
                    <a:pt x="183" y="125"/>
                    <a:pt x="180" y="121"/>
                    <a:pt x="180" y="118"/>
                  </a:cubicBezTo>
                  <a:cubicBezTo>
                    <a:pt x="181" y="114"/>
                    <a:pt x="183" y="116"/>
                    <a:pt x="186" y="116"/>
                  </a:cubicBezTo>
                  <a:cubicBezTo>
                    <a:pt x="187" y="117"/>
                    <a:pt x="188" y="116"/>
                    <a:pt x="190" y="117"/>
                  </a:cubicBezTo>
                  <a:cubicBezTo>
                    <a:pt x="191" y="117"/>
                    <a:pt x="192" y="119"/>
                    <a:pt x="193" y="119"/>
                  </a:cubicBezTo>
                  <a:cubicBezTo>
                    <a:pt x="195" y="121"/>
                    <a:pt x="195" y="123"/>
                    <a:pt x="196" y="124"/>
                  </a:cubicBezTo>
                  <a:cubicBezTo>
                    <a:pt x="196" y="125"/>
                    <a:pt x="197" y="126"/>
                    <a:pt x="198" y="127"/>
                  </a:cubicBezTo>
                  <a:cubicBezTo>
                    <a:pt x="200" y="130"/>
                    <a:pt x="201" y="136"/>
                    <a:pt x="204" y="137"/>
                  </a:cubicBezTo>
                  <a:cubicBezTo>
                    <a:pt x="206" y="138"/>
                    <a:pt x="212" y="137"/>
                    <a:pt x="214" y="137"/>
                  </a:cubicBezTo>
                  <a:cubicBezTo>
                    <a:pt x="215" y="136"/>
                    <a:pt x="215" y="135"/>
                    <a:pt x="214" y="134"/>
                  </a:cubicBezTo>
                  <a:cubicBezTo>
                    <a:pt x="214" y="131"/>
                    <a:pt x="214" y="132"/>
                    <a:pt x="212" y="130"/>
                  </a:cubicBezTo>
                  <a:cubicBezTo>
                    <a:pt x="210" y="128"/>
                    <a:pt x="208" y="126"/>
                    <a:pt x="205" y="123"/>
                  </a:cubicBezTo>
                  <a:cubicBezTo>
                    <a:pt x="202" y="121"/>
                    <a:pt x="194" y="118"/>
                    <a:pt x="196" y="113"/>
                  </a:cubicBezTo>
                  <a:cubicBezTo>
                    <a:pt x="199" y="107"/>
                    <a:pt x="203" y="108"/>
                    <a:pt x="208" y="110"/>
                  </a:cubicBezTo>
                  <a:cubicBezTo>
                    <a:pt x="211" y="111"/>
                    <a:pt x="214" y="111"/>
                    <a:pt x="217" y="112"/>
                  </a:cubicBezTo>
                  <a:cubicBezTo>
                    <a:pt x="219" y="112"/>
                    <a:pt x="220" y="113"/>
                    <a:pt x="221" y="114"/>
                  </a:cubicBezTo>
                  <a:cubicBezTo>
                    <a:pt x="222" y="114"/>
                    <a:pt x="222" y="115"/>
                    <a:pt x="223" y="116"/>
                  </a:cubicBezTo>
                  <a:cubicBezTo>
                    <a:pt x="225" y="117"/>
                    <a:pt x="227" y="119"/>
                    <a:pt x="228" y="121"/>
                  </a:cubicBezTo>
                  <a:cubicBezTo>
                    <a:pt x="229" y="122"/>
                    <a:pt x="230" y="125"/>
                    <a:pt x="232" y="125"/>
                  </a:cubicBezTo>
                  <a:cubicBezTo>
                    <a:pt x="232" y="126"/>
                    <a:pt x="238" y="126"/>
                    <a:pt x="238" y="125"/>
                  </a:cubicBezTo>
                  <a:cubicBezTo>
                    <a:pt x="239" y="124"/>
                    <a:pt x="239" y="123"/>
                    <a:pt x="239" y="122"/>
                  </a:cubicBezTo>
                  <a:cubicBezTo>
                    <a:pt x="238" y="122"/>
                    <a:pt x="238" y="121"/>
                    <a:pt x="238" y="121"/>
                  </a:cubicBezTo>
                  <a:cubicBezTo>
                    <a:pt x="237" y="120"/>
                    <a:pt x="237" y="119"/>
                    <a:pt x="237" y="119"/>
                  </a:cubicBezTo>
                  <a:cubicBezTo>
                    <a:pt x="235" y="116"/>
                    <a:pt x="231" y="115"/>
                    <a:pt x="229" y="113"/>
                  </a:cubicBezTo>
                  <a:cubicBezTo>
                    <a:pt x="226" y="109"/>
                    <a:pt x="223" y="107"/>
                    <a:pt x="218" y="106"/>
                  </a:cubicBezTo>
                  <a:cubicBezTo>
                    <a:pt x="215" y="105"/>
                    <a:pt x="212" y="105"/>
                    <a:pt x="210" y="104"/>
                  </a:cubicBezTo>
                  <a:cubicBezTo>
                    <a:pt x="208" y="104"/>
                    <a:pt x="208" y="103"/>
                    <a:pt x="206" y="103"/>
                  </a:cubicBezTo>
                  <a:cubicBezTo>
                    <a:pt x="205" y="101"/>
                    <a:pt x="206" y="100"/>
                    <a:pt x="207" y="98"/>
                  </a:cubicBezTo>
                  <a:cubicBezTo>
                    <a:pt x="207" y="97"/>
                    <a:pt x="207" y="96"/>
                    <a:pt x="207" y="96"/>
                  </a:cubicBezTo>
                  <a:cubicBezTo>
                    <a:pt x="207" y="94"/>
                    <a:pt x="208" y="93"/>
                    <a:pt x="210" y="92"/>
                  </a:cubicBezTo>
                  <a:cubicBezTo>
                    <a:pt x="207" y="91"/>
                    <a:pt x="208" y="88"/>
                    <a:pt x="207" y="86"/>
                  </a:cubicBezTo>
                  <a:cubicBezTo>
                    <a:pt x="205" y="84"/>
                    <a:pt x="204" y="84"/>
                    <a:pt x="202" y="83"/>
                  </a:cubicBezTo>
                  <a:cubicBezTo>
                    <a:pt x="198" y="80"/>
                    <a:pt x="203" y="75"/>
                    <a:pt x="204" y="72"/>
                  </a:cubicBezTo>
                  <a:cubicBezTo>
                    <a:pt x="205" y="70"/>
                    <a:pt x="207" y="67"/>
                    <a:pt x="209" y="68"/>
                  </a:cubicBezTo>
                  <a:cubicBezTo>
                    <a:pt x="212" y="68"/>
                    <a:pt x="212" y="70"/>
                    <a:pt x="212" y="72"/>
                  </a:cubicBezTo>
                  <a:cubicBezTo>
                    <a:pt x="213" y="75"/>
                    <a:pt x="213" y="75"/>
                    <a:pt x="217" y="76"/>
                  </a:cubicBezTo>
                  <a:cubicBezTo>
                    <a:pt x="219" y="76"/>
                    <a:pt x="220" y="76"/>
                    <a:pt x="223" y="76"/>
                  </a:cubicBezTo>
                  <a:cubicBezTo>
                    <a:pt x="225" y="75"/>
                    <a:pt x="226" y="73"/>
                    <a:pt x="228" y="72"/>
                  </a:cubicBezTo>
                  <a:cubicBezTo>
                    <a:pt x="230" y="71"/>
                    <a:pt x="232" y="70"/>
                    <a:pt x="234" y="70"/>
                  </a:cubicBezTo>
                  <a:cubicBezTo>
                    <a:pt x="237" y="68"/>
                    <a:pt x="237" y="65"/>
                    <a:pt x="239" y="62"/>
                  </a:cubicBezTo>
                  <a:cubicBezTo>
                    <a:pt x="240" y="60"/>
                    <a:pt x="241" y="59"/>
                    <a:pt x="243" y="59"/>
                  </a:cubicBezTo>
                  <a:cubicBezTo>
                    <a:pt x="245" y="59"/>
                    <a:pt x="247" y="60"/>
                    <a:pt x="249" y="61"/>
                  </a:cubicBezTo>
                  <a:cubicBezTo>
                    <a:pt x="250" y="61"/>
                    <a:pt x="251" y="61"/>
                    <a:pt x="252" y="61"/>
                  </a:cubicBezTo>
                  <a:cubicBezTo>
                    <a:pt x="255" y="61"/>
                    <a:pt x="257" y="63"/>
                    <a:pt x="259" y="63"/>
                  </a:cubicBezTo>
                  <a:cubicBezTo>
                    <a:pt x="262" y="64"/>
                    <a:pt x="267" y="63"/>
                    <a:pt x="269" y="61"/>
                  </a:cubicBezTo>
                  <a:cubicBezTo>
                    <a:pt x="271" y="59"/>
                    <a:pt x="272" y="54"/>
                    <a:pt x="275" y="53"/>
                  </a:cubicBezTo>
                  <a:cubicBezTo>
                    <a:pt x="280" y="52"/>
                    <a:pt x="279" y="56"/>
                    <a:pt x="279" y="59"/>
                  </a:cubicBezTo>
                  <a:cubicBezTo>
                    <a:pt x="278" y="62"/>
                    <a:pt x="279" y="62"/>
                    <a:pt x="282" y="63"/>
                  </a:cubicBezTo>
                  <a:cubicBezTo>
                    <a:pt x="283" y="63"/>
                    <a:pt x="284" y="65"/>
                    <a:pt x="285" y="66"/>
                  </a:cubicBezTo>
                  <a:cubicBezTo>
                    <a:pt x="288" y="68"/>
                    <a:pt x="293" y="70"/>
                    <a:pt x="297" y="70"/>
                  </a:cubicBezTo>
                  <a:cubicBezTo>
                    <a:pt x="303" y="70"/>
                    <a:pt x="309" y="70"/>
                    <a:pt x="315" y="70"/>
                  </a:cubicBezTo>
                  <a:cubicBezTo>
                    <a:pt x="317" y="70"/>
                    <a:pt x="318" y="70"/>
                    <a:pt x="320" y="71"/>
                  </a:cubicBezTo>
                  <a:cubicBezTo>
                    <a:pt x="323" y="72"/>
                    <a:pt x="326" y="73"/>
                    <a:pt x="328" y="74"/>
                  </a:cubicBezTo>
                  <a:cubicBezTo>
                    <a:pt x="329" y="75"/>
                    <a:pt x="333" y="79"/>
                    <a:pt x="333" y="79"/>
                  </a:cubicBezTo>
                  <a:cubicBezTo>
                    <a:pt x="335" y="79"/>
                    <a:pt x="335" y="77"/>
                    <a:pt x="336" y="75"/>
                  </a:cubicBezTo>
                  <a:cubicBezTo>
                    <a:pt x="338" y="72"/>
                    <a:pt x="339" y="69"/>
                    <a:pt x="342" y="67"/>
                  </a:cubicBezTo>
                  <a:cubicBezTo>
                    <a:pt x="344" y="65"/>
                    <a:pt x="348" y="63"/>
                    <a:pt x="349" y="61"/>
                  </a:cubicBezTo>
                  <a:cubicBezTo>
                    <a:pt x="350" y="59"/>
                    <a:pt x="350" y="59"/>
                    <a:pt x="350" y="57"/>
                  </a:cubicBezTo>
                  <a:cubicBezTo>
                    <a:pt x="350" y="53"/>
                    <a:pt x="351" y="50"/>
                    <a:pt x="351" y="46"/>
                  </a:cubicBezTo>
                  <a:cubicBezTo>
                    <a:pt x="351" y="42"/>
                    <a:pt x="351" y="37"/>
                    <a:pt x="355" y="35"/>
                  </a:cubicBezTo>
                  <a:cubicBezTo>
                    <a:pt x="357" y="33"/>
                    <a:pt x="362" y="35"/>
                    <a:pt x="364" y="33"/>
                  </a:cubicBezTo>
                  <a:cubicBezTo>
                    <a:pt x="368" y="31"/>
                    <a:pt x="366" y="26"/>
                    <a:pt x="366" y="22"/>
                  </a:cubicBezTo>
                  <a:cubicBezTo>
                    <a:pt x="365" y="18"/>
                    <a:pt x="365" y="15"/>
                    <a:pt x="365" y="10"/>
                  </a:cubicBezTo>
                  <a:cubicBezTo>
                    <a:pt x="365" y="6"/>
                    <a:pt x="362" y="7"/>
                    <a:pt x="359" y="6"/>
                  </a:cubicBezTo>
                  <a:cubicBezTo>
                    <a:pt x="357" y="5"/>
                    <a:pt x="356" y="3"/>
                    <a:pt x="354" y="2"/>
                  </a:cubicBezTo>
                  <a:cubicBezTo>
                    <a:pt x="354" y="3"/>
                    <a:pt x="354" y="4"/>
                    <a:pt x="354" y="5"/>
                  </a:cubicBezTo>
                  <a:cubicBezTo>
                    <a:pt x="351" y="5"/>
                    <a:pt x="348" y="3"/>
                    <a:pt x="346" y="3"/>
                  </a:cubicBezTo>
                  <a:cubicBezTo>
                    <a:pt x="344" y="2"/>
                    <a:pt x="342" y="0"/>
                    <a:pt x="340" y="0"/>
                  </a:cubicBezTo>
                  <a:cubicBezTo>
                    <a:pt x="336" y="0"/>
                    <a:pt x="333" y="2"/>
                    <a:pt x="334" y="6"/>
                  </a:cubicBezTo>
                  <a:cubicBezTo>
                    <a:pt x="335" y="9"/>
                    <a:pt x="338" y="10"/>
                    <a:pt x="338" y="13"/>
                  </a:cubicBezTo>
                  <a:cubicBezTo>
                    <a:pt x="338" y="15"/>
                    <a:pt x="339" y="16"/>
                    <a:pt x="338" y="18"/>
                  </a:cubicBezTo>
                  <a:cubicBezTo>
                    <a:pt x="338" y="19"/>
                    <a:pt x="337" y="19"/>
                    <a:pt x="337" y="21"/>
                  </a:cubicBezTo>
                  <a:cubicBezTo>
                    <a:pt x="337" y="21"/>
                    <a:pt x="337" y="22"/>
                    <a:pt x="337" y="22"/>
                  </a:cubicBezTo>
                  <a:cubicBezTo>
                    <a:pt x="337" y="25"/>
                    <a:pt x="338" y="28"/>
                    <a:pt x="336" y="30"/>
                  </a:cubicBezTo>
                  <a:cubicBezTo>
                    <a:pt x="335" y="30"/>
                    <a:pt x="334" y="30"/>
                    <a:pt x="333" y="31"/>
                  </a:cubicBezTo>
                  <a:cubicBezTo>
                    <a:pt x="332" y="31"/>
                    <a:pt x="331" y="32"/>
                    <a:pt x="330" y="33"/>
                  </a:cubicBezTo>
                  <a:cubicBezTo>
                    <a:pt x="329" y="33"/>
                    <a:pt x="327" y="34"/>
                    <a:pt x="326" y="34"/>
                  </a:cubicBezTo>
                  <a:cubicBezTo>
                    <a:pt x="323" y="35"/>
                    <a:pt x="322" y="34"/>
                    <a:pt x="320" y="33"/>
                  </a:cubicBezTo>
                  <a:cubicBezTo>
                    <a:pt x="319" y="33"/>
                    <a:pt x="318" y="32"/>
                    <a:pt x="317" y="32"/>
                  </a:cubicBezTo>
                  <a:cubicBezTo>
                    <a:pt x="316" y="32"/>
                    <a:pt x="316" y="32"/>
                    <a:pt x="315" y="33"/>
                  </a:cubicBezTo>
                  <a:cubicBezTo>
                    <a:pt x="312" y="34"/>
                    <a:pt x="310" y="30"/>
                    <a:pt x="307" y="31"/>
                  </a:cubicBezTo>
                  <a:cubicBezTo>
                    <a:pt x="309" y="32"/>
                    <a:pt x="309" y="34"/>
                    <a:pt x="309" y="36"/>
                  </a:cubicBezTo>
                  <a:cubicBezTo>
                    <a:pt x="304" y="36"/>
                    <a:pt x="298" y="37"/>
                    <a:pt x="293" y="37"/>
                  </a:cubicBezTo>
                  <a:cubicBezTo>
                    <a:pt x="291" y="37"/>
                    <a:pt x="289" y="37"/>
                    <a:pt x="287" y="37"/>
                  </a:cubicBezTo>
                  <a:cubicBezTo>
                    <a:pt x="287" y="37"/>
                    <a:pt x="286" y="37"/>
                    <a:pt x="286" y="36"/>
                  </a:cubicBezTo>
                  <a:cubicBezTo>
                    <a:pt x="285" y="36"/>
                    <a:pt x="284" y="37"/>
                    <a:pt x="283" y="36"/>
                  </a:cubicBezTo>
                  <a:cubicBezTo>
                    <a:pt x="282" y="36"/>
                    <a:pt x="281" y="34"/>
                    <a:pt x="279" y="33"/>
                  </a:cubicBezTo>
                  <a:cubicBezTo>
                    <a:pt x="279" y="33"/>
                    <a:pt x="278" y="32"/>
                    <a:pt x="277" y="32"/>
                  </a:cubicBezTo>
                  <a:cubicBezTo>
                    <a:pt x="275" y="32"/>
                    <a:pt x="274" y="33"/>
                    <a:pt x="273" y="31"/>
                  </a:cubicBezTo>
                  <a:cubicBezTo>
                    <a:pt x="272" y="31"/>
                    <a:pt x="271" y="31"/>
                    <a:pt x="270" y="30"/>
                  </a:cubicBezTo>
                  <a:cubicBezTo>
                    <a:pt x="269" y="30"/>
                    <a:pt x="269" y="29"/>
                    <a:pt x="268" y="28"/>
                  </a:cubicBezTo>
                  <a:cubicBezTo>
                    <a:pt x="266" y="28"/>
                    <a:pt x="264" y="29"/>
                    <a:pt x="262" y="29"/>
                  </a:cubicBezTo>
                  <a:cubicBezTo>
                    <a:pt x="261" y="30"/>
                    <a:pt x="261" y="31"/>
                    <a:pt x="260" y="30"/>
                  </a:cubicBezTo>
                  <a:cubicBezTo>
                    <a:pt x="259" y="29"/>
                    <a:pt x="259" y="27"/>
                    <a:pt x="258" y="27"/>
                  </a:cubicBezTo>
                  <a:cubicBezTo>
                    <a:pt x="257" y="26"/>
                    <a:pt x="257" y="26"/>
                    <a:pt x="257" y="26"/>
                  </a:cubicBezTo>
                  <a:cubicBezTo>
                    <a:pt x="256" y="25"/>
                    <a:pt x="255" y="24"/>
                    <a:pt x="255" y="23"/>
                  </a:cubicBezTo>
                  <a:cubicBezTo>
                    <a:pt x="253" y="21"/>
                    <a:pt x="251" y="21"/>
                    <a:pt x="249" y="20"/>
                  </a:cubicBezTo>
                  <a:cubicBezTo>
                    <a:pt x="248" y="20"/>
                    <a:pt x="247" y="19"/>
                    <a:pt x="247" y="18"/>
                  </a:cubicBezTo>
                  <a:cubicBezTo>
                    <a:pt x="247" y="18"/>
                    <a:pt x="246" y="17"/>
                    <a:pt x="246" y="17"/>
                  </a:cubicBezTo>
                  <a:cubicBezTo>
                    <a:pt x="245" y="16"/>
                    <a:pt x="246" y="13"/>
                    <a:pt x="245" y="12"/>
                  </a:cubicBezTo>
                  <a:cubicBezTo>
                    <a:pt x="244" y="11"/>
                    <a:pt x="242" y="12"/>
                    <a:pt x="241" y="13"/>
                  </a:cubicBezTo>
                  <a:cubicBezTo>
                    <a:pt x="241" y="11"/>
                    <a:pt x="240" y="13"/>
                    <a:pt x="239" y="13"/>
                  </a:cubicBezTo>
                  <a:cubicBezTo>
                    <a:pt x="237" y="13"/>
                    <a:pt x="238" y="11"/>
                    <a:pt x="236" y="11"/>
                  </a:cubicBezTo>
                  <a:cubicBezTo>
                    <a:pt x="236" y="12"/>
                    <a:pt x="235" y="11"/>
                    <a:pt x="235" y="12"/>
                  </a:cubicBezTo>
                  <a:cubicBezTo>
                    <a:pt x="234" y="12"/>
                    <a:pt x="234" y="13"/>
                    <a:pt x="234" y="13"/>
                  </a:cubicBezTo>
                  <a:cubicBezTo>
                    <a:pt x="232" y="14"/>
                    <a:pt x="231" y="13"/>
                    <a:pt x="229" y="13"/>
                  </a:cubicBezTo>
                  <a:cubicBezTo>
                    <a:pt x="228" y="13"/>
                    <a:pt x="226" y="13"/>
                    <a:pt x="225" y="13"/>
                  </a:cubicBezTo>
                  <a:cubicBezTo>
                    <a:pt x="224" y="13"/>
                    <a:pt x="223" y="12"/>
                    <a:pt x="222" y="11"/>
                  </a:cubicBezTo>
                  <a:cubicBezTo>
                    <a:pt x="219" y="10"/>
                    <a:pt x="220" y="14"/>
                    <a:pt x="220" y="15"/>
                  </a:cubicBezTo>
                  <a:cubicBezTo>
                    <a:pt x="219" y="18"/>
                    <a:pt x="216" y="19"/>
                    <a:pt x="214" y="17"/>
                  </a:cubicBezTo>
                  <a:cubicBezTo>
                    <a:pt x="213" y="18"/>
                    <a:pt x="212" y="19"/>
                    <a:pt x="211" y="19"/>
                  </a:cubicBezTo>
                  <a:cubicBezTo>
                    <a:pt x="211" y="19"/>
                    <a:pt x="210" y="19"/>
                    <a:pt x="209" y="19"/>
                  </a:cubicBezTo>
                  <a:cubicBezTo>
                    <a:pt x="208" y="19"/>
                    <a:pt x="208" y="20"/>
                    <a:pt x="207" y="21"/>
                  </a:cubicBezTo>
                  <a:cubicBezTo>
                    <a:pt x="206" y="22"/>
                    <a:pt x="203" y="23"/>
                    <a:pt x="201" y="23"/>
                  </a:cubicBezTo>
                  <a:cubicBezTo>
                    <a:pt x="199" y="24"/>
                    <a:pt x="197" y="23"/>
                    <a:pt x="195" y="24"/>
                  </a:cubicBezTo>
                  <a:cubicBezTo>
                    <a:pt x="194" y="24"/>
                    <a:pt x="193" y="24"/>
                    <a:pt x="191" y="24"/>
                  </a:cubicBezTo>
                  <a:cubicBezTo>
                    <a:pt x="190" y="24"/>
                    <a:pt x="189" y="23"/>
                    <a:pt x="188" y="23"/>
                  </a:cubicBezTo>
                  <a:cubicBezTo>
                    <a:pt x="186" y="22"/>
                    <a:pt x="182" y="24"/>
                    <a:pt x="180" y="25"/>
                  </a:cubicBezTo>
                  <a:cubicBezTo>
                    <a:pt x="177" y="26"/>
                    <a:pt x="175" y="26"/>
                    <a:pt x="172" y="26"/>
                  </a:cubicBezTo>
                  <a:cubicBezTo>
                    <a:pt x="170" y="26"/>
                    <a:pt x="168" y="26"/>
                    <a:pt x="167" y="26"/>
                  </a:cubicBezTo>
                  <a:cubicBezTo>
                    <a:pt x="165" y="26"/>
                    <a:pt x="164" y="27"/>
                    <a:pt x="163" y="26"/>
                  </a:cubicBezTo>
                  <a:cubicBezTo>
                    <a:pt x="162" y="25"/>
                    <a:pt x="162" y="24"/>
                    <a:pt x="161" y="24"/>
                  </a:cubicBezTo>
                  <a:cubicBezTo>
                    <a:pt x="160" y="23"/>
                    <a:pt x="159" y="22"/>
                    <a:pt x="158" y="21"/>
                  </a:cubicBezTo>
                  <a:cubicBezTo>
                    <a:pt x="158" y="21"/>
                    <a:pt x="158" y="21"/>
                    <a:pt x="158" y="21"/>
                  </a:cubicBezTo>
                  <a:cubicBezTo>
                    <a:pt x="158" y="21"/>
                    <a:pt x="157" y="21"/>
                    <a:pt x="157" y="21"/>
                  </a:cubicBezTo>
                  <a:cubicBezTo>
                    <a:pt x="157" y="22"/>
                    <a:pt x="156" y="22"/>
                    <a:pt x="155" y="22"/>
                  </a:cubicBezTo>
                  <a:cubicBezTo>
                    <a:pt x="154" y="23"/>
                    <a:pt x="154" y="23"/>
                    <a:pt x="153" y="24"/>
                  </a:cubicBezTo>
                  <a:cubicBezTo>
                    <a:pt x="152" y="24"/>
                    <a:pt x="151" y="26"/>
                    <a:pt x="150" y="26"/>
                  </a:cubicBezTo>
                  <a:cubicBezTo>
                    <a:pt x="149" y="26"/>
                    <a:pt x="147" y="25"/>
                    <a:pt x="147" y="27"/>
                  </a:cubicBezTo>
                  <a:cubicBezTo>
                    <a:pt x="146" y="27"/>
                    <a:pt x="147" y="29"/>
                    <a:pt x="147" y="29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1"/>
                    <a:pt x="146" y="31"/>
                    <a:pt x="146" y="32"/>
                  </a:cubicBezTo>
                  <a:cubicBezTo>
                    <a:pt x="145" y="34"/>
                    <a:pt x="145" y="35"/>
                    <a:pt x="145" y="37"/>
                  </a:cubicBezTo>
                  <a:cubicBezTo>
                    <a:pt x="145" y="38"/>
                    <a:pt x="145" y="39"/>
                    <a:pt x="144" y="40"/>
                  </a:cubicBezTo>
                  <a:cubicBezTo>
                    <a:pt x="143" y="40"/>
                    <a:pt x="143" y="38"/>
                    <a:pt x="142" y="37"/>
                  </a:cubicBezTo>
                  <a:cubicBezTo>
                    <a:pt x="141" y="37"/>
                    <a:pt x="138" y="39"/>
                    <a:pt x="138" y="40"/>
                  </a:cubicBezTo>
                  <a:cubicBezTo>
                    <a:pt x="137" y="40"/>
                    <a:pt x="136" y="40"/>
                    <a:pt x="135" y="40"/>
                  </a:cubicBezTo>
                  <a:cubicBezTo>
                    <a:pt x="133" y="40"/>
                    <a:pt x="132" y="39"/>
                    <a:pt x="131" y="39"/>
                  </a:cubicBezTo>
                  <a:cubicBezTo>
                    <a:pt x="129" y="39"/>
                    <a:pt x="127" y="39"/>
                    <a:pt x="125" y="39"/>
                  </a:cubicBezTo>
                  <a:cubicBezTo>
                    <a:pt x="125" y="39"/>
                    <a:pt x="124" y="39"/>
                    <a:pt x="124" y="39"/>
                  </a:cubicBezTo>
                  <a:cubicBezTo>
                    <a:pt x="123" y="39"/>
                    <a:pt x="123" y="39"/>
                    <a:pt x="122" y="39"/>
                  </a:cubicBezTo>
                  <a:cubicBezTo>
                    <a:pt x="121" y="38"/>
                    <a:pt x="119" y="38"/>
                    <a:pt x="118" y="37"/>
                  </a:cubicBezTo>
                  <a:cubicBezTo>
                    <a:pt x="117" y="37"/>
                    <a:pt x="116" y="37"/>
                    <a:pt x="115" y="38"/>
                  </a:cubicBezTo>
                  <a:cubicBezTo>
                    <a:pt x="115" y="38"/>
                    <a:pt x="114" y="39"/>
                    <a:pt x="113" y="39"/>
                  </a:cubicBezTo>
                  <a:cubicBezTo>
                    <a:pt x="112" y="39"/>
                    <a:pt x="110" y="38"/>
                    <a:pt x="109" y="38"/>
                  </a:cubicBezTo>
                  <a:cubicBezTo>
                    <a:pt x="108" y="37"/>
                    <a:pt x="107" y="37"/>
                    <a:pt x="107" y="37"/>
                  </a:cubicBezTo>
                  <a:cubicBezTo>
                    <a:pt x="105" y="37"/>
                    <a:pt x="103" y="39"/>
                    <a:pt x="102" y="41"/>
                  </a:cubicBezTo>
                  <a:cubicBezTo>
                    <a:pt x="101" y="42"/>
                    <a:pt x="100" y="43"/>
                    <a:pt x="99" y="44"/>
                  </a:cubicBezTo>
                  <a:cubicBezTo>
                    <a:pt x="98" y="46"/>
                    <a:pt x="95" y="47"/>
                    <a:pt x="94" y="49"/>
                  </a:cubicBezTo>
                  <a:cubicBezTo>
                    <a:pt x="93" y="50"/>
                    <a:pt x="93" y="51"/>
                    <a:pt x="93" y="52"/>
                  </a:cubicBezTo>
                  <a:cubicBezTo>
                    <a:pt x="92" y="52"/>
                    <a:pt x="91" y="54"/>
                    <a:pt x="90" y="54"/>
                  </a:cubicBezTo>
                  <a:cubicBezTo>
                    <a:pt x="89" y="55"/>
                    <a:pt x="87" y="56"/>
                    <a:pt x="86" y="56"/>
                  </a:cubicBezTo>
                  <a:cubicBezTo>
                    <a:pt x="85" y="56"/>
                    <a:pt x="83" y="56"/>
                    <a:pt x="82" y="56"/>
                  </a:cubicBezTo>
                  <a:cubicBezTo>
                    <a:pt x="81" y="57"/>
                    <a:pt x="80" y="56"/>
                    <a:pt x="79" y="56"/>
                  </a:cubicBezTo>
                  <a:cubicBezTo>
                    <a:pt x="79" y="56"/>
                    <a:pt x="78" y="56"/>
                    <a:pt x="78" y="56"/>
                  </a:cubicBezTo>
                  <a:cubicBezTo>
                    <a:pt x="77" y="57"/>
                    <a:pt x="78" y="57"/>
                    <a:pt x="77" y="58"/>
                  </a:cubicBezTo>
                  <a:cubicBezTo>
                    <a:pt x="77" y="58"/>
                    <a:pt x="76" y="58"/>
                    <a:pt x="75" y="58"/>
                  </a:cubicBezTo>
                  <a:cubicBezTo>
                    <a:pt x="73" y="58"/>
                    <a:pt x="72" y="57"/>
                    <a:pt x="70" y="57"/>
                  </a:cubicBezTo>
                  <a:cubicBezTo>
                    <a:pt x="68" y="57"/>
                    <a:pt x="67" y="57"/>
                    <a:pt x="65" y="57"/>
                  </a:cubicBezTo>
                  <a:cubicBezTo>
                    <a:pt x="64" y="57"/>
                    <a:pt x="62" y="57"/>
                    <a:pt x="60" y="57"/>
                  </a:cubicBezTo>
                  <a:cubicBezTo>
                    <a:pt x="59" y="58"/>
                    <a:pt x="57" y="59"/>
                    <a:pt x="56" y="60"/>
                  </a:cubicBezTo>
                  <a:cubicBezTo>
                    <a:pt x="54" y="60"/>
                    <a:pt x="52" y="61"/>
                    <a:pt x="51" y="62"/>
                  </a:cubicBezTo>
                  <a:cubicBezTo>
                    <a:pt x="49" y="64"/>
                    <a:pt x="47" y="66"/>
                    <a:pt x="45" y="67"/>
                  </a:cubicBezTo>
                  <a:cubicBezTo>
                    <a:pt x="46" y="69"/>
                    <a:pt x="49" y="71"/>
                    <a:pt x="50" y="73"/>
                  </a:cubicBezTo>
                  <a:cubicBezTo>
                    <a:pt x="51" y="74"/>
                    <a:pt x="53" y="79"/>
                    <a:pt x="52" y="81"/>
                  </a:cubicBezTo>
                  <a:cubicBezTo>
                    <a:pt x="51" y="81"/>
                    <a:pt x="50" y="82"/>
                    <a:pt x="50" y="82"/>
                  </a:cubicBezTo>
                  <a:cubicBezTo>
                    <a:pt x="48" y="83"/>
                    <a:pt x="48" y="83"/>
                    <a:pt x="48" y="85"/>
                  </a:cubicBezTo>
                  <a:cubicBezTo>
                    <a:pt x="47" y="87"/>
                    <a:pt x="48" y="89"/>
                    <a:pt x="46" y="90"/>
                  </a:cubicBezTo>
                  <a:cubicBezTo>
                    <a:pt x="45" y="90"/>
                    <a:pt x="43" y="90"/>
                    <a:pt x="42" y="90"/>
                  </a:cubicBezTo>
                  <a:cubicBezTo>
                    <a:pt x="42" y="90"/>
                    <a:pt x="41" y="90"/>
                    <a:pt x="41" y="90"/>
                  </a:cubicBezTo>
                  <a:cubicBezTo>
                    <a:pt x="41" y="91"/>
                    <a:pt x="40" y="91"/>
                    <a:pt x="40" y="91"/>
                  </a:cubicBezTo>
                  <a:cubicBezTo>
                    <a:pt x="39" y="92"/>
                    <a:pt x="38" y="91"/>
                    <a:pt x="37" y="91"/>
                  </a:cubicBezTo>
                  <a:cubicBezTo>
                    <a:pt x="36" y="92"/>
                    <a:pt x="36" y="93"/>
                    <a:pt x="35" y="94"/>
                  </a:cubicBezTo>
                  <a:cubicBezTo>
                    <a:pt x="34" y="96"/>
                    <a:pt x="33" y="98"/>
                    <a:pt x="33" y="100"/>
                  </a:cubicBezTo>
                  <a:cubicBezTo>
                    <a:pt x="33" y="102"/>
                    <a:pt x="33" y="103"/>
                    <a:pt x="32" y="105"/>
                  </a:cubicBezTo>
                  <a:cubicBezTo>
                    <a:pt x="31" y="106"/>
                    <a:pt x="31" y="107"/>
                    <a:pt x="31" y="108"/>
                  </a:cubicBezTo>
                  <a:cubicBezTo>
                    <a:pt x="30" y="109"/>
                    <a:pt x="29" y="110"/>
                    <a:pt x="29" y="112"/>
                  </a:cubicBezTo>
                  <a:cubicBezTo>
                    <a:pt x="28" y="112"/>
                    <a:pt x="29" y="113"/>
                    <a:pt x="29" y="113"/>
                  </a:cubicBezTo>
                  <a:cubicBezTo>
                    <a:pt x="29" y="115"/>
                    <a:pt x="28" y="115"/>
                    <a:pt x="28" y="116"/>
                  </a:cubicBezTo>
                  <a:cubicBezTo>
                    <a:pt x="27" y="117"/>
                    <a:pt x="27" y="118"/>
                    <a:pt x="27" y="119"/>
                  </a:cubicBezTo>
                  <a:cubicBezTo>
                    <a:pt x="27" y="119"/>
                    <a:pt x="26" y="121"/>
                    <a:pt x="26" y="121"/>
                  </a:cubicBezTo>
                  <a:cubicBezTo>
                    <a:pt x="25" y="121"/>
                    <a:pt x="23" y="120"/>
                    <a:pt x="22" y="120"/>
                  </a:cubicBezTo>
                  <a:cubicBezTo>
                    <a:pt x="20" y="120"/>
                    <a:pt x="19" y="120"/>
                    <a:pt x="18" y="121"/>
                  </a:cubicBezTo>
                  <a:cubicBezTo>
                    <a:pt x="16" y="122"/>
                    <a:pt x="14" y="123"/>
                    <a:pt x="13" y="125"/>
                  </a:cubicBezTo>
                  <a:cubicBezTo>
                    <a:pt x="12" y="126"/>
                    <a:pt x="12" y="126"/>
                    <a:pt x="11" y="127"/>
                  </a:cubicBezTo>
                  <a:cubicBezTo>
                    <a:pt x="11" y="128"/>
                    <a:pt x="11" y="128"/>
                    <a:pt x="10" y="129"/>
                  </a:cubicBezTo>
                  <a:cubicBezTo>
                    <a:pt x="10" y="129"/>
                    <a:pt x="9" y="131"/>
                    <a:pt x="9" y="132"/>
                  </a:cubicBezTo>
                  <a:cubicBezTo>
                    <a:pt x="9" y="133"/>
                    <a:pt x="10" y="133"/>
                    <a:pt x="10" y="134"/>
                  </a:cubicBezTo>
                  <a:cubicBezTo>
                    <a:pt x="11" y="135"/>
                    <a:pt x="11" y="136"/>
                    <a:pt x="11" y="137"/>
                  </a:cubicBezTo>
                  <a:cubicBezTo>
                    <a:pt x="12" y="138"/>
                    <a:pt x="13" y="139"/>
                    <a:pt x="12" y="140"/>
                  </a:cubicBezTo>
                  <a:cubicBezTo>
                    <a:pt x="12" y="141"/>
                    <a:pt x="11" y="141"/>
                    <a:pt x="11" y="142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9" y="143"/>
                    <a:pt x="9" y="143"/>
                    <a:pt x="9" y="143"/>
                  </a:cubicBezTo>
                  <a:cubicBezTo>
                    <a:pt x="8" y="143"/>
                    <a:pt x="8" y="143"/>
                    <a:pt x="8" y="143"/>
                  </a:cubicBezTo>
                  <a:cubicBezTo>
                    <a:pt x="7" y="144"/>
                    <a:pt x="7" y="145"/>
                    <a:pt x="7" y="147"/>
                  </a:cubicBezTo>
                  <a:cubicBezTo>
                    <a:pt x="6" y="148"/>
                    <a:pt x="5" y="150"/>
                    <a:pt x="4" y="150"/>
                  </a:cubicBezTo>
                  <a:cubicBezTo>
                    <a:pt x="4" y="151"/>
                    <a:pt x="3" y="151"/>
                    <a:pt x="3" y="151"/>
                  </a:cubicBezTo>
                  <a:cubicBezTo>
                    <a:pt x="2" y="152"/>
                    <a:pt x="2" y="152"/>
                    <a:pt x="2" y="153"/>
                  </a:cubicBezTo>
                  <a:cubicBezTo>
                    <a:pt x="1" y="153"/>
                    <a:pt x="0" y="153"/>
                    <a:pt x="0" y="153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4" name="Freeform 44"/>
            <p:cNvSpPr>
              <a:spLocks/>
            </p:cNvSpPr>
            <p:nvPr/>
          </p:nvSpPr>
          <p:spPr bwMode="auto">
            <a:xfrm>
              <a:off x="5437188" y="6280150"/>
              <a:ext cx="52388" cy="61913"/>
            </a:xfrm>
            <a:custGeom>
              <a:avLst/>
              <a:gdLst/>
              <a:ahLst/>
              <a:cxnLst>
                <a:cxn ang="0">
                  <a:pos x="23" y="23"/>
                </a:cxn>
                <a:cxn ang="0">
                  <a:pos x="17" y="16"/>
                </a:cxn>
                <a:cxn ang="0">
                  <a:pos x="17" y="8"/>
                </a:cxn>
                <a:cxn ang="0">
                  <a:pos x="12" y="3"/>
                </a:cxn>
                <a:cxn ang="0">
                  <a:pos x="12" y="12"/>
                </a:cxn>
                <a:cxn ang="0">
                  <a:pos x="7" y="14"/>
                </a:cxn>
                <a:cxn ang="0">
                  <a:pos x="2" y="20"/>
                </a:cxn>
                <a:cxn ang="0">
                  <a:pos x="2" y="27"/>
                </a:cxn>
                <a:cxn ang="0">
                  <a:pos x="6" y="22"/>
                </a:cxn>
                <a:cxn ang="0">
                  <a:pos x="8" y="28"/>
                </a:cxn>
                <a:cxn ang="0">
                  <a:pos x="13" y="31"/>
                </a:cxn>
                <a:cxn ang="0">
                  <a:pos x="26" y="32"/>
                </a:cxn>
                <a:cxn ang="0">
                  <a:pos x="25" y="23"/>
                </a:cxn>
                <a:cxn ang="0">
                  <a:pos x="23" y="23"/>
                </a:cxn>
              </a:cxnLst>
              <a:rect l="0" t="0" r="r" b="b"/>
              <a:pathLst>
                <a:path w="28" h="33">
                  <a:moveTo>
                    <a:pt x="23" y="23"/>
                  </a:moveTo>
                  <a:cubicBezTo>
                    <a:pt x="20" y="23"/>
                    <a:pt x="18" y="18"/>
                    <a:pt x="17" y="16"/>
                  </a:cubicBezTo>
                  <a:cubicBezTo>
                    <a:pt x="17" y="13"/>
                    <a:pt x="17" y="10"/>
                    <a:pt x="17" y="8"/>
                  </a:cubicBezTo>
                  <a:cubicBezTo>
                    <a:pt x="17" y="6"/>
                    <a:pt x="15" y="0"/>
                    <a:pt x="12" y="3"/>
                  </a:cubicBezTo>
                  <a:cubicBezTo>
                    <a:pt x="10" y="5"/>
                    <a:pt x="13" y="9"/>
                    <a:pt x="12" y="12"/>
                  </a:cubicBezTo>
                  <a:cubicBezTo>
                    <a:pt x="11" y="13"/>
                    <a:pt x="9" y="14"/>
                    <a:pt x="7" y="14"/>
                  </a:cubicBezTo>
                  <a:cubicBezTo>
                    <a:pt x="4" y="15"/>
                    <a:pt x="3" y="16"/>
                    <a:pt x="2" y="20"/>
                  </a:cubicBezTo>
                  <a:cubicBezTo>
                    <a:pt x="1" y="22"/>
                    <a:pt x="0" y="27"/>
                    <a:pt x="2" y="27"/>
                  </a:cubicBezTo>
                  <a:cubicBezTo>
                    <a:pt x="5" y="27"/>
                    <a:pt x="6" y="24"/>
                    <a:pt x="6" y="22"/>
                  </a:cubicBezTo>
                  <a:cubicBezTo>
                    <a:pt x="7" y="24"/>
                    <a:pt x="7" y="27"/>
                    <a:pt x="8" y="28"/>
                  </a:cubicBezTo>
                  <a:cubicBezTo>
                    <a:pt x="9" y="30"/>
                    <a:pt x="11" y="30"/>
                    <a:pt x="13" y="31"/>
                  </a:cubicBezTo>
                  <a:cubicBezTo>
                    <a:pt x="17" y="32"/>
                    <a:pt x="22" y="33"/>
                    <a:pt x="26" y="32"/>
                  </a:cubicBezTo>
                  <a:cubicBezTo>
                    <a:pt x="27" y="30"/>
                    <a:pt x="28" y="24"/>
                    <a:pt x="25" y="23"/>
                  </a:cubicBezTo>
                  <a:lnTo>
                    <a:pt x="23" y="2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5" name="Freeform 45"/>
            <p:cNvSpPr>
              <a:spLocks/>
            </p:cNvSpPr>
            <p:nvPr/>
          </p:nvSpPr>
          <p:spPr bwMode="auto">
            <a:xfrm>
              <a:off x="5465763" y="6359525"/>
              <a:ext cx="38100" cy="42863"/>
            </a:xfrm>
            <a:custGeom>
              <a:avLst/>
              <a:gdLst/>
              <a:ahLst/>
              <a:cxnLst>
                <a:cxn ang="0">
                  <a:pos x="10" y="7"/>
                </a:cxn>
                <a:cxn ang="0">
                  <a:pos x="3" y="2"/>
                </a:cxn>
                <a:cxn ang="0">
                  <a:pos x="1" y="11"/>
                </a:cxn>
                <a:cxn ang="0">
                  <a:pos x="4" y="18"/>
                </a:cxn>
                <a:cxn ang="0">
                  <a:pos x="8" y="22"/>
                </a:cxn>
                <a:cxn ang="0">
                  <a:pos x="13" y="23"/>
                </a:cxn>
                <a:cxn ang="0">
                  <a:pos x="14" y="20"/>
                </a:cxn>
                <a:cxn ang="0">
                  <a:pos x="19" y="20"/>
                </a:cxn>
                <a:cxn ang="0">
                  <a:pos x="12" y="8"/>
                </a:cxn>
                <a:cxn ang="0">
                  <a:pos x="10" y="7"/>
                </a:cxn>
              </a:cxnLst>
              <a:rect l="0" t="0" r="r" b="b"/>
              <a:pathLst>
                <a:path w="21" h="23">
                  <a:moveTo>
                    <a:pt x="10" y="7"/>
                  </a:moveTo>
                  <a:cubicBezTo>
                    <a:pt x="8" y="5"/>
                    <a:pt x="6" y="0"/>
                    <a:pt x="3" y="2"/>
                  </a:cubicBezTo>
                  <a:cubicBezTo>
                    <a:pt x="0" y="3"/>
                    <a:pt x="1" y="9"/>
                    <a:pt x="1" y="11"/>
                  </a:cubicBezTo>
                  <a:cubicBezTo>
                    <a:pt x="2" y="13"/>
                    <a:pt x="3" y="16"/>
                    <a:pt x="4" y="18"/>
                  </a:cubicBezTo>
                  <a:cubicBezTo>
                    <a:pt x="5" y="21"/>
                    <a:pt x="5" y="21"/>
                    <a:pt x="8" y="22"/>
                  </a:cubicBezTo>
                  <a:cubicBezTo>
                    <a:pt x="9" y="22"/>
                    <a:pt x="12" y="23"/>
                    <a:pt x="13" y="23"/>
                  </a:cubicBezTo>
                  <a:cubicBezTo>
                    <a:pt x="13" y="22"/>
                    <a:pt x="13" y="21"/>
                    <a:pt x="14" y="20"/>
                  </a:cubicBezTo>
                  <a:cubicBezTo>
                    <a:pt x="16" y="20"/>
                    <a:pt x="17" y="23"/>
                    <a:pt x="19" y="20"/>
                  </a:cubicBezTo>
                  <a:cubicBezTo>
                    <a:pt x="21" y="16"/>
                    <a:pt x="15" y="10"/>
                    <a:pt x="12" y="8"/>
                  </a:cubicBezTo>
                  <a:lnTo>
                    <a:pt x="10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6" name="Freeform 46"/>
            <p:cNvSpPr>
              <a:spLocks/>
            </p:cNvSpPr>
            <p:nvPr/>
          </p:nvSpPr>
          <p:spPr bwMode="auto">
            <a:xfrm>
              <a:off x="5902325" y="6384925"/>
              <a:ext cx="31750" cy="39688"/>
            </a:xfrm>
            <a:custGeom>
              <a:avLst/>
              <a:gdLst/>
              <a:ahLst/>
              <a:cxnLst>
                <a:cxn ang="0">
                  <a:pos x="10" y="6"/>
                </a:cxn>
                <a:cxn ang="0">
                  <a:pos x="1" y="1"/>
                </a:cxn>
                <a:cxn ang="0">
                  <a:pos x="7" y="12"/>
                </a:cxn>
                <a:cxn ang="0">
                  <a:pos x="16" y="21"/>
                </a:cxn>
                <a:cxn ang="0">
                  <a:pos x="15" y="14"/>
                </a:cxn>
                <a:cxn ang="0">
                  <a:pos x="10" y="7"/>
                </a:cxn>
                <a:cxn ang="0">
                  <a:pos x="10" y="6"/>
                </a:cxn>
              </a:cxnLst>
              <a:rect l="0" t="0" r="r" b="b"/>
              <a:pathLst>
                <a:path w="17" h="21">
                  <a:moveTo>
                    <a:pt x="10" y="6"/>
                  </a:moveTo>
                  <a:cubicBezTo>
                    <a:pt x="11" y="3"/>
                    <a:pt x="5" y="0"/>
                    <a:pt x="1" y="1"/>
                  </a:cubicBezTo>
                  <a:cubicBezTo>
                    <a:pt x="0" y="5"/>
                    <a:pt x="4" y="9"/>
                    <a:pt x="7" y="12"/>
                  </a:cubicBezTo>
                  <a:cubicBezTo>
                    <a:pt x="9" y="15"/>
                    <a:pt x="13" y="20"/>
                    <a:pt x="16" y="21"/>
                  </a:cubicBezTo>
                  <a:cubicBezTo>
                    <a:pt x="17" y="19"/>
                    <a:pt x="16" y="16"/>
                    <a:pt x="15" y="14"/>
                  </a:cubicBezTo>
                  <a:cubicBezTo>
                    <a:pt x="14" y="13"/>
                    <a:pt x="12" y="8"/>
                    <a:pt x="10" y="7"/>
                  </a:cubicBezTo>
                  <a:lnTo>
                    <a:pt x="10" y="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7" name="Freeform 47"/>
            <p:cNvSpPr>
              <a:spLocks/>
            </p:cNvSpPr>
            <p:nvPr/>
          </p:nvSpPr>
          <p:spPr bwMode="auto">
            <a:xfrm>
              <a:off x="5940425" y="6432550"/>
              <a:ext cx="31750" cy="15875"/>
            </a:xfrm>
            <a:custGeom>
              <a:avLst/>
              <a:gdLst/>
              <a:ahLst/>
              <a:cxnLst>
                <a:cxn ang="0">
                  <a:pos x="10" y="3"/>
                </a:cxn>
                <a:cxn ang="0">
                  <a:pos x="1" y="1"/>
                </a:cxn>
                <a:cxn ang="0">
                  <a:pos x="11" y="8"/>
                </a:cxn>
                <a:cxn ang="0">
                  <a:pos x="7" y="1"/>
                </a:cxn>
                <a:cxn ang="0">
                  <a:pos x="10" y="3"/>
                </a:cxn>
              </a:cxnLst>
              <a:rect l="0" t="0" r="r" b="b"/>
              <a:pathLst>
                <a:path w="17" h="9">
                  <a:moveTo>
                    <a:pt x="10" y="3"/>
                  </a:moveTo>
                  <a:cubicBezTo>
                    <a:pt x="7" y="2"/>
                    <a:pt x="4" y="0"/>
                    <a:pt x="1" y="1"/>
                  </a:cubicBezTo>
                  <a:cubicBezTo>
                    <a:pt x="0" y="6"/>
                    <a:pt x="6" y="9"/>
                    <a:pt x="11" y="8"/>
                  </a:cubicBezTo>
                  <a:cubicBezTo>
                    <a:pt x="17" y="8"/>
                    <a:pt x="11" y="1"/>
                    <a:pt x="7" y="1"/>
                  </a:cubicBezTo>
                  <a:lnTo>
                    <a:pt x="10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8" name="Freeform 48"/>
            <p:cNvSpPr>
              <a:spLocks/>
            </p:cNvSpPr>
            <p:nvPr/>
          </p:nvSpPr>
          <p:spPr bwMode="auto">
            <a:xfrm>
              <a:off x="5964238" y="6497638"/>
              <a:ext cx="22225" cy="36513"/>
            </a:xfrm>
            <a:custGeom>
              <a:avLst/>
              <a:gdLst/>
              <a:ahLst/>
              <a:cxnLst>
                <a:cxn ang="0">
                  <a:pos x="12" y="1"/>
                </a:cxn>
                <a:cxn ang="0">
                  <a:pos x="1" y="3"/>
                </a:cxn>
                <a:cxn ang="0">
                  <a:pos x="1" y="10"/>
                </a:cxn>
                <a:cxn ang="0">
                  <a:pos x="11" y="19"/>
                </a:cxn>
                <a:cxn ang="0">
                  <a:pos x="12" y="5"/>
                </a:cxn>
                <a:cxn ang="0">
                  <a:pos x="12" y="1"/>
                </a:cxn>
              </a:cxnLst>
              <a:rect l="0" t="0" r="r" b="b"/>
              <a:pathLst>
                <a:path w="12" h="20">
                  <a:moveTo>
                    <a:pt x="12" y="1"/>
                  </a:moveTo>
                  <a:cubicBezTo>
                    <a:pt x="8" y="1"/>
                    <a:pt x="3" y="0"/>
                    <a:pt x="1" y="3"/>
                  </a:cubicBezTo>
                  <a:cubicBezTo>
                    <a:pt x="0" y="5"/>
                    <a:pt x="0" y="8"/>
                    <a:pt x="1" y="10"/>
                  </a:cubicBezTo>
                  <a:cubicBezTo>
                    <a:pt x="2" y="13"/>
                    <a:pt x="7" y="20"/>
                    <a:pt x="11" y="19"/>
                  </a:cubicBezTo>
                  <a:cubicBezTo>
                    <a:pt x="12" y="14"/>
                    <a:pt x="12" y="10"/>
                    <a:pt x="12" y="5"/>
                  </a:cubicBezTo>
                  <a:lnTo>
                    <a:pt x="12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9" name="Freeform 49"/>
            <p:cNvSpPr>
              <a:spLocks/>
            </p:cNvSpPr>
            <p:nvPr/>
          </p:nvSpPr>
          <p:spPr bwMode="auto">
            <a:xfrm>
              <a:off x="5929313" y="6503988"/>
              <a:ext cx="17463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0" y="11"/>
                </a:cxn>
                <a:cxn ang="0">
                  <a:pos x="8" y="14"/>
                </a:cxn>
                <a:cxn ang="0">
                  <a:pos x="9" y="4"/>
                </a:cxn>
                <a:cxn ang="0">
                  <a:pos x="10" y="0"/>
                </a:cxn>
              </a:cxnLst>
              <a:rect l="0" t="0" r="r" b="b"/>
              <a:pathLst>
                <a:path w="10" h="15">
                  <a:moveTo>
                    <a:pt x="10" y="0"/>
                  </a:moveTo>
                  <a:cubicBezTo>
                    <a:pt x="7" y="0"/>
                    <a:pt x="0" y="8"/>
                    <a:pt x="0" y="11"/>
                  </a:cubicBezTo>
                  <a:cubicBezTo>
                    <a:pt x="0" y="15"/>
                    <a:pt x="5" y="14"/>
                    <a:pt x="8" y="14"/>
                  </a:cubicBezTo>
                  <a:cubicBezTo>
                    <a:pt x="8" y="11"/>
                    <a:pt x="9" y="7"/>
                    <a:pt x="9" y="4"/>
                  </a:cubicBez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0" name="Freeform 50"/>
            <p:cNvSpPr>
              <a:spLocks/>
            </p:cNvSpPr>
            <p:nvPr/>
          </p:nvSpPr>
          <p:spPr bwMode="auto">
            <a:xfrm>
              <a:off x="5730875" y="6650038"/>
              <a:ext cx="273050" cy="58738"/>
            </a:xfrm>
            <a:custGeom>
              <a:avLst/>
              <a:gdLst/>
              <a:ahLst/>
              <a:cxnLst>
                <a:cxn ang="0">
                  <a:pos x="116" y="7"/>
                </a:cxn>
                <a:cxn ang="0">
                  <a:pos x="95" y="5"/>
                </a:cxn>
                <a:cxn ang="0">
                  <a:pos x="67" y="4"/>
                </a:cxn>
                <a:cxn ang="0">
                  <a:pos x="57" y="3"/>
                </a:cxn>
                <a:cxn ang="0">
                  <a:pos x="37" y="1"/>
                </a:cxn>
                <a:cxn ang="0">
                  <a:pos x="22" y="0"/>
                </a:cxn>
                <a:cxn ang="0">
                  <a:pos x="5" y="3"/>
                </a:cxn>
                <a:cxn ang="0">
                  <a:pos x="1" y="8"/>
                </a:cxn>
                <a:cxn ang="0">
                  <a:pos x="13" y="13"/>
                </a:cxn>
                <a:cxn ang="0">
                  <a:pos x="41" y="15"/>
                </a:cxn>
                <a:cxn ang="0">
                  <a:pos x="57" y="16"/>
                </a:cxn>
                <a:cxn ang="0">
                  <a:pos x="65" y="19"/>
                </a:cxn>
                <a:cxn ang="0">
                  <a:pos x="68" y="25"/>
                </a:cxn>
                <a:cxn ang="0">
                  <a:pos x="71" y="30"/>
                </a:cxn>
                <a:cxn ang="0">
                  <a:pos x="76" y="31"/>
                </a:cxn>
                <a:cxn ang="0">
                  <a:pos x="93" y="28"/>
                </a:cxn>
                <a:cxn ang="0">
                  <a:pos x="127" y="27"/>
                </a:cxn>
                <a:cxn ang="0">
                  <a:pos x="142" y="25"/>
                </a:cxn>
                <a:cxn ang="0">
                  <a:pos x="146" y="22"/>
                </a:cxn>
                <a:cxn ang="0">
                  <a:pos x="139" y="15"/>
                </a:cxn>
                <a:cxn ang="0">
                  <a:pos x="123" y="8"/>
                </a:cxn>
                <a:cxn ang="0">
                  <a:pos x="116" y="7"/>
                </a:cxn>
              </a:cxnLst>
              <a:rect l="0" t="0" r="r" b="b"/>
              <a:pathLst>
                <a:path w="146" h="31">
                  <a:moveTo>
                    <a:pt x="116" y="7"/>
                  </a:moveTo>
                  <a:cubicBezTo>
                    <a:pt x="109" y="5"/>
                    <a:pt x="102" y="5"/>
                    <a:pt x="95" y="5"/>
                  </a:cubicBezTo>
                  <a:cubicBezTo>
                    <a:pt x="86" y="5"/>
                    <a:pt x="77" y="4"/>
                    <a:pt x="67" y="4"/>
                  </a:cubicBezTo>
                  <a:cubicBezTo>
                    <a:pt x="64" y="3"/>
                    <a:pt x="60" y="3"/>
                    <a:pt x="57" y="3"/>
                  </a:cubicBezTo>
                  <a:cubicBezTo>
                    <a:pt x="50" y="3"/>
                    <a:pt x="44" y="1"/>
                    <a:pt x="37" y="1"/>
                  </a:cubicBezTo>
                  <a:cubicBezTo>
                    <a:pt x="32" y="0"/>
                    <a:pt x="27" y="1"/>
                    <a:pt x="22" y="0"/>
                  </a:cubicBezTo>
                  <a:cubicBezTo>
                    <a:pt x="16" y="0"/>
                    <a:pt x="10" y="0"/>
                    <a:pt x="5" y="3"/>
                  </a:cubicBezTo>
                  <a:cubicBezTo>
                    <a:pt x="3" y="4"/>
                    <a:pt x="0" y="5"/>
                    <a:pt x="1" y="8"/>
                  </a:cubicBezTo>
                  <a:cubicBezTo>
                    <a:pt x="3" y="11"/>
                    <a:pt x="11" y="12"/>
                    <a:pt x="13" y="13"/>
                  </a:cubicBezTo>
                  <a:cubicBezTo>
                    <a:pt x="22" y="14"/>
                    <a:pt x="31" y="14"/>
                    <a:pt x="41" y="15"/>
                  </a:cubicBezTo>
                  <a:cubicBezTo>
                    <a:pt x="46" y="15"/>
                    <a:pt x="52" y="15"/>
                    <a:pt x="57" y="16"/>
                  </a:cubicBezTo>
                  <a:cubicBezTo>
                    <a:pt x="59" y="17"/>
                    <a:pt x="64" y="18"/>
                    <a:pt x="65" y="19"/>
                  </a:cubicBezTo>
                  <a:cubicBezTo>
                    <a:pt x="67" y="21"/>
                    <a:pt x="67" y="23"/>
                    <a:pt x="68" y="25"/>
                  </a:cubicBezTo>
                  <a:cubicBezTo>
                    <a:pt x="68" y="27"/>
                    <a:pt x="69" y="30"/>
                    <a:pt x="71" y="30"/>
                  </a:cubicBezTo>
                  <a:cubicBezTo>
                    <a:pt x="72" y="31"/>
                    <a:pt x="75" y="31"/>
                    <a:pt x="76" y="31"/>
                  </a:cubicBezTo>
                  <a:cubicBezTo>
                    <a:pt x="82" y="30"/>
                    <a:pt x="88" y="28"/>
                    <a:pt x="93" y="28"/>
                  </a:cubicBezTo>
                  <a:cubicBezTo>
                    <a:pt x="104" y="27"/>
                    <a:pt x="116" y="27"/>
                    <a:pt x="127" y="27"/>
                  </a:cubicBezTo>
                  <a:cubicBezTo>
                    <a:pt x="132" y="27"/>
                    <a:pt x="137" y="27"/>
                    <a:pt x="142" y="25"/>
                  </a:cubicBezTo>
                  <a:cubicBezTo>
                    <a:pt x="143" y="25"/>
                    <a:pt x="145" y="23"/>
                    <a:pt x="146" y="22"/>
                  </a:cubicBezTo>
                  <a:cubicBezTo>
                    <a:pt x="146" y="19"/>
                    <a:pt x="140" y="16"/>
                    <a:pt x="139" y="15"/>
                  </a:cubicBezTo>
                  <a:cubicBezTo>
                    <a:pt x="134" y="12"/>
                    <a:pt x="129" y="10"/>
                    <a:pt x="123" y="8"/>
                  </a:cubicBezTo>
                  <a:lnTo>
                    <a:pt x="116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1" name="Freeform 51"/>
            <p:cNvSpPr>
              <a:spLocks/>
            </p:cNvSpPr>
            <p:nvPr/>
          </p:nvSpPr>
          <p:spPr bwMode="auto">
            <a:xfrm>
              <a:off x="6022975" y="6275388"/>
              <a:ext cx="39688" cy="76200"/>
            </a:xfrm>
            <a:custGeom>
              <a:avLst/>
              <a:gdLst/>
              <a:ahLst/>
              <a:cxnLst>
                <a:cxn ang="0">
                  <a:pos x="17" y="12"/>
                </a:cxn>
                <a:cxn ang="0">
                  <a:pos x="1" y="5"/>
                </a:cxn>
                <a:cxn ang="0">
                  <a:pos x="0" y="10"/>
                </a:cxn>
                <a:cxn ang="0">
                  <a:pos x="2" y="17"/>
                </a:cxn>
                <a:cxn ang="0">
                  <a:pos x="7" y="22"/>
                </a:cxn>
                <a:cxn ang="0">
                  <a:pos x="4" y="25"/>
                </a:cxn>
                <a:cxn ang="0">
                  <a:pos x="1" y="31"/>
                </a:cxn>
                <a:cxn ang="0">
                  <a:pos x="8" y="36"/>
                </a:cxn>
                <a:cxn ang="0">
                  <a:pos x="13" y="41"/>
                </a:cxn>
                <a:cxn ang="0">
                  <a:pos x="15" y="34"/>
                </a:cxn>
                <a:cxn ang="0">
                  <a:pos x="19" y="25"/>
                </a:cxn>
                <a:cxn ang="0">
                  <a:pos x="16" y="13"/>
                </a:cxn>
                <a:cxn ang="0">
                  <a:pos x="17" y="12"/>
                </a:cxn>
              </a:cxnLst>
              <a:rect l="0" t="0" r="r" b="b"/>
              <a:pathLst>
                <a:path w="22" h="41">
                  <a:moveTo>
                    <a:pt x="17" y="12"/>
                  </a:moveTo>
                  <a:cubicBezTo>
                    <a:pt x="14" y="9"/>
                    <a:pt x="6" y="0"/>
                    <a:pt x="1" y="5"/>
                  </a:cubicBezTo>
                  <a:cubicBezTo>
                    <a:pt x="0" y="7"/>
                    <a:pt x="0" y="9"/>
                    <a:pt x="0" y="10"/>
                  </a:cubicBezTo>
                  <a:cubicBezTo>
                    <a:pt x="0" y="13"/>
                    <a:pt x="1" y="15"/>
                    <a:pt x="2" y="17"/>
                  </a:cubicBezTo>
                  <a:cubicBezTo>
                    <a:pt x="3" y="18"/>
                    <a:pt x="6" y="20"/>
                    <a:pt x="7" y="22"/>
                  </a:cubicBezTo>
                  <a:cubicBezTo>
                    <a:pt x="8" y="25"/>
                    <a:pt x="6" y="24"/>
                    <a:pt x="4" y="25"/>
                  </a:cubicBezTo>
                  <a:cubicBezTo>
                    <a:pt x="1" y="26"/>
                    <a:pt x="1" y="28"/>
                    <a:pt x="1" y="31"/>
                  </a:cubicBezTo>
                  <a:cubicBezTo>
                    <a:pt x="2" y="35"/>
                    <a:pt x="5" y="34"/>
                    <a:pt x="8" y="36"/>
                  </a:cubicBezTo>
                  <a:cubicBezTo>
                    <a:pt x="10" y="38"/>
                    <a:pt x="10" y="41"/>
                    <a:pt x="13" y="41"/>
                  </a:cubicBezTo>
                  <a:cubicBezTo>
                    <a:pt x="15" y="40"/>
                    <a:pt x="15" y="36"/>
                    <a:pt x="15" y="34"/>
                  </a:cubicBezTo>
                  <a:cubicBezTo>
                    <a:pt x="15" y="29"/>
                    <a:pt x="17" y="28"/>
                    <a:pt x="19" y="25"/>
                  </a:cubicBezTo>
                  <a:cubicBezTo>
                    <a:pt x="22" y="21"/>
                    <a:pt x="22" y="14"/>
                    <a:pt x="16" y="13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2" name="Freeform 52"/>
            <p:cNvSpPr>
              <a:spLocks/>
            </p:cNvSpPr>
            <p:nvPr/>
          </p:nvSpPr>
          <p:spPr bwMode="auto">
            <a:xfrm>
              <a:off x="6022975" y="6175375"/>
              <a:ext cx="87313" cy="68263"/>
            </a:xfrm>
            <a:custGeom>
              <a:avLst/>
              <a:gdLst/>
              <a:ahLst/>
              <a:cxnLst>
                <a:cxn ang="0">
                  <a:pos x="39" y="6"/>
                </a:cxn>
                <a:cxn ang="0">
                  <a:pos x="35" y="5"/>
                </a:cxn>
                <a:cxn ang="0">
                  <a:pos x="25" y="0"/>
                </a:cxn>
                <a:cxn ang="0">
                  <a:pos x="19" y="3"/>
                </a:cxn>
                <a:cxn ang="0">
                  <a:pos x="16" y="5"/>
                </a:cxn>
                <a:cxn ang="0">
                  <a:pos x="5" y="9"/>
                </a:cxn>
                <a:cxn ang="0">
                  <a:pos x="0" y="14"/>
                </a:cxn>
                <a:cxn ang="0">
                  <a:pos x="6" y="20"/>
                </a:cxn>
                <a:cxn ang="0">
                  <a:pos x="10" y="23"/>
                </a:cxn>
                <a:cxn ang="0">
                  <a:pos x="12" y="22"/>
                </a:cxn>
                <a:cxn ang="0">
                  <a:pos x="31" y="22"/>
                </a:cxn>
                <a:cxn ang="0">
                  <a:pos x="20" y="30"/>
                </a:cxn>
                <a:cxn ang="0">
                  <a:pos x="33" y="33"/>
                </a:cxn>
                <a:cxn ang="0">
                  <a:pos x="39" y="34"/>
                </a:cxn>
                <a:cxn ang="0">
                  <a:pos x="43" y="35"/>
                </a:cxn>
                <a:cxn ang="0">
                  <a:pos x="45" y="27"/>
                </a:cxn>
                <a:cxn ang="0">
                  <a:pos x="40" y="25"/>
                </a:cxn>
                <a:cxn ang="0">
                  <a:pos x="39" y="21"/>
                </a:cxn>
                <a:cxn ang="0">
                  <a:pos x="37" y="16"/>
                </a:cxn>
                <a:cxn ang="0">
                  <a:pos x="34" y="11"/>
                </a:cxn>
                <a:cxn ang="0">
                  <a:pos x="34" y="5"/>
                </a:cxn>
                <a:cxn ang="0">
                  <a:pos x="39" y="6"/>
                </a:cxn>
              </a:cxnLst>
              <a:rect l="0" t="0" r="r" b="b"/>
              <a:pathLst>
                <a:path w="47" h="36">
                  <a:moveTo>
                    <a:pt x="39" y="6"/>
                  </a:moveTo>
                  <a:cubicBezTo>
                    <a:pt x="38" y="6"/>
                    <a:pt x="37" y="6"/>
                    <a:pt x="35" y="5"/>
                  </a:cubicBezTo>
                  <a:cubicBezTo>
                    <a:pt x="32" y="2"/>
                    <a:pt x="29" y="1"/>
                    <a:pt x="25" y="0"/>
                  </a:cubicBezTo>
                  <a:cubicBezTo>
                    <a:pt x="22" y="0"/>
                    <a:pt x="21" y="1"/>
                    <a:pt x="19" y="3"/>
                  </a:cubicBezTo>
                  <a:cubicBezTo>
                    <a:pt x="18" y="4"/>
                    <a:pt x="17" y="5"/>
                    <a:pt x="16" y="5"/>
                  </a:cubicBezTo>
                  <a:cubicBezTo>
                    <a:pt x="13" y="8"/>
                    <a:pt x="8" y="9"/>
                    <a:pt x="5" y="9"/>
                  </a:cubicBezTo>
                  <a:cubicBezTo>
                    <a:pt x="1" y="10"/>
                    <a:pt x="0" y="10"/>
                    <a:pt x="0" y="14"/>
                  </a:cubicBezTo>
                  <a:cubicBezTo>
                    <a:pt x="0" y="18"/>
                    <a:pt x="2" y="19"/>
                    <a:pt x="6" y="20"/>
                  </a:cubicBezTo>
                  <a:cubicBezTo>
                    <a:pt x="7" y="21"/>
                    <a:pt x="8" y="23"/>
                    <a:pt x="10" y="23"/>
                  </a:cubicBezTo>
                  <a:cubicBezTo>
                    <a:pt x="11" y="23"/>
                    <a:pt x="11" y="23"/>
                    <a:pt x="12" y="22"/>
                  </a:cubicBezTo>
                  <a:cubicBezTo>
                    <a:pt x="17" y="19"/>
                    <a:pt x="27" y="16"/>
                    <a:pt x="31" y="22"/>
                  </a:cubicBezTo>
                  <a:cubicBezTo>
                    <a:pt x="26" y="24"/>
                    <a:pt x="20" y="23"/>
                    <a:pt x="20" y="30"/>
                  </a:cubicBezTo>
                  <a:cubicBezTo>
                    <a:pt x="25" y="32"/>
                    <a:pt x="28" y="33"/>
                    <a:pt x="33" y="33"/>
                  </a:cubicBezTo>
                  <a:cubicBezTo>
                    <a:pt x="35" y="33"/>
                    <a:pt x="37" y="33"/>
                    <a:pt x="39" y="34"/>
                  </a:cubicBezTo>
                  <a:cubicBezTo>
                    <a:pt x="40" y="35"/>
                    <a:pt x="40" y="36"/>
                    <a:pt x="43" y="35"/>
                  </a:cubicBezTo>
                  <a:cubicBezTo>
                    <a:pt x="46" y="34"/>
                    <a:pt x="47" y="29"/>
                    <a:pt x="45" y="27"/>
                  </a:cubicBezTo>
                  <a:cubicBezTo>
                    <a:pt x="43" y="25"/>
                    <a:pt x="41" y="26"/>
                    <a:pt x="40" y="25"/>
                  </a:cubicBezTo>
                  <a:cubicBezTo>
                    <a:pt x="39" y="24"/>
                    <a:pt x="39" y="22"/>
                    <a:pt x="39" y="21"/>
                  </a:cubicBezTo>
                  <a:cubicBezTo>
                    <a:pt x="39" y="19"/>
                    <a:pt x="37" y="18"/>
                    <a:pt x="37" y="16"/>
                  </a:cubicBezTo>
                  <a:cubicBezTo>
                    <a:pt x="36" y="14"/>
                    <a:pt x="35" y="13"/>
                    <a:pt x="34" y="11"/>
                  </a:cubicBezTo>
                  <a:cubicBezTo>
                    <a:pt x="33" y="9"/>
                    <a:pt x="34" y="7"/>
                    <a:pt x="34" y="5"/>
                  </a:cubicBezTo>
                  <a:lnTo>
                    <a:pt x="39" y="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3" name="Freeform 53"/>
            <p:cNvSpPr>
              <a:spLocks/>
            </p:cNvSpPr>
            <p:nvPr/>
          </p:nvSpPr>
          <p:spPr bwMode="auto">
            <a:xfrm>
              <a:off x="6213475" y="6632575"/>
              <a:ext cx="69850" cy="68263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15" y="7"/>
                </a:cxn>
                <a:cxn ang="0">
                  <a:pos x="12" y="11"/>
                </a:cxn>
                <a:cxn ang="0">
                  <a:pos x="12" y="13"/>
                </a:cxn>
                <a:cxn ang="0">
                  <a:pos x="3" y="21"/>
                </a:cxn>
                <a:cxn ang="0">
                  <a:pos x="7" y="24"/>
                </a:cxn>
                <a:cxn ang="0">
                  <a:pos x="11" y="28"/>
                </a:cxn>
                <a:cxn ang="0">
                  <a:pos x="12" y="31"/>
                </a:cxn>
                <a:cxn ang="0">
                  <a:pos x="14" y="31"/>
                </a:cxn>
                <a:cxn ang="0">
                  <a:pos x="17" y="35"/>
                </a:cxn>
                <a:cxn ang="0">
                  <a:pos x="22" y="23"/>
                </a:cxn>
                <a:cxn ang="0">
                  <a:pos x="33" y="11"/>
                </a:cxn>
                <a:cxn ang="0">
                  <a:pos x="33" y="3"/>
                </a:cxn>
                <a:cxn ang="0">
                  <a:pos x="23" y="6"/>
                </a:cxn>
                <a:cxn ang="0">
                  <a:pos x="27" y="0"/>
                </a:cxn>
              </a:cxnLst>
              <a:rect l="0" t="0" r="r" b="b"/>
              <a:pathLst>
                <a:path w="38" h="37">
                  <a:moveTo>
                    <a:pt x="27" y="0"/>
                  </a:moveTo>
                  <a:cubicBezTo>
                    <a:pt x="23" y="2"/>
                    <a:pt x="18" y="4"/>
                    <a:pt x="15" y="7"/>
                  </a:cubicBezTo>
                  <a:cubicBezTo>
                    <a:pt x="14" y="8"/>
                    <a:pt x="13" y="9"/>
                    <a:pt x="12" y="11"/>
                  </a:cubicBezTo>
                  <a:cubicBezTo>
                    <a:pt x="12" y="12"/>
                    <a:pt x="13" y="12"/>
                    <a:pt x="12" y="13"/>
                  </a:cubicBezTo>
                  <a:cubicBezTo>
                    <a:pt x="11" y="16"/>
                    <a:pt x="0" y="17"/>
                    <a:pt x="3" y="21"/>
                  </a:cubicBezTo>
                  <a:cubicBezTo>
                    <a:pt x="4" y="22"/>
                    <a:pt x="6" y="23"/>
                    <a:pt x="7" y="24"/>
                  </a:cubicBezTo>
                  <a:cubicBezTo>
                    <a:pt x="9" y="25"/>
                    <a:pt x="9" y="25"/>
                    <a:pt x="11" y="28"/>
                  </a:cubicBezTo>
                  <a:cubicBezTo>
                    <a:pt x="11" y="29"/>
                    <a:pt x="12" y="30"/>
                    <a:pt x="12" y="31"/>
                  </a:cubicBezTo>
                  <a:cubicBezTo>
                    <a:pt x="13" y="31"/>
                    <a:pt x="14" y="31"/>
                    <a:pt x="14" y="31"/>
                  </a:cubicBezTo>
                  <a:cubicBezTo>
                    <a:pt x="15" y="33"/>
                    <a:pt x="15" y="35"/>
                    <a:pt x="17" y="35"/>
                  </a:cubicBezTo>
                  <a:cubicBezTo>
                    <a:pt x="20" y="37"/>
                    <a:pt x="22" y="25"/>
                    <a:pt x="22" y="23"/>
                  </a:cubicBezTo>
                  <a:cubicBezTo>
                    <a:pt x="24" y="18"/>
                    <a:pt x="30" y="15"/>
                    <a:pt x="33" y="11"/>
                  </a:cubicBezTo>
                  <a:cubicBezTo>
                    <a:pt x="35" y="8"/>
                    <a:pt x="38" y="4"/>
                    <a:pt x="33" y="3"/>
                  </a:cubicBezTo>
                  <a:cubicBezTo>
                    <a:pt x="31" y="2"/>
                    <a:pt x="22" y="1"/>
                    <a:pt x="23" y="6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4" name="Freeform 54"/>
            <p:cNvSpPr>
              <a:spLocks/>
            </p:cNvSpPr>
            <p:nvPr/>
          </p:nvSpPr>
          <p:spPr bwMode="auto">
            <a:xfrm>
              <a:off x="6135688" y="6553200"/>
              <a:ext cx="42863" cy="31750"/>
            </a:xfrm>
            <a:custGeom>
              <a:avLst/>
              <a:gdLst/>
              <a:ahLst/>
              <a:cxnLst>
                <a:cxn ang="0">
                  <a:pos x="21" y="2"/>
                </a:cxn>
                <a:cxn ang="0">
                  <a:pos x="5" y="7"/>
                </a:cxn>
                <a:cxn ang="0">
                  <a:pos x="3" y="15"/>
                </a:cxn>
                <a:cxn ang="0">
                  <a:pos x="18" y="5"/>
                </a:cxn>
                <a:cxn ang="0">
                  <a:pos x="22" y="3"/>
                </a:cxn>
                <a:cxn ang="0">
                  <a:pos x="23" y="0"/>
                </a:cxn>
                <a:cxn ang="0">
                  <a:pos x="21" y="2"/>
                </a:cxn>
              </a:cxnLst>
              <a:rect l="0" t="0" r="r" b="b"/>
              <a:pathLst>
                <a:path w="23" h="17">
                  <a:moveTo>
                    <a:pt x="21" y="2"/>
                  </a:moveTo>
                  <a:cubicBezTo>
                    <a:pt x="16" y="1"/>
                    <a:pt x="8" y="4"/>
                    <a:pt x="5" y="7"/>
                  </a:cubicBezTo>
                  <a:cubicBezTo>
                    <a:pt x="3" y="9"/>
                    <a:pt x="0" y="13"/>
                    <a:pt x="3" y="15"/>
                  </a:cubicBezTo>
                  <a:cubicBezTo>
                    <a:pt x="8" y="17"/>
                    <a:pt x="16" y="8"/>
                    <a:pt x="18" y="5"/>
                  </a:cubicBezTo>
                  <a:cubicBezTo>
                    <a:pt x="19" y="4"/>
                    <a:pt x="22" y="4"/>
                    <a:pt x="22" y="3"/>
                  </a:cubicBezTo>
                  <a:cubicBezTo>
                    <a:pt x="23" y="2"/>
                    <a:pt x="23" y="1"/>
                    <a:pt x="23" y="0"/>
                  </a:cubicBezTo>
                  <a:lnTo>
                    <a:pt x="21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5" name="Freeform 55"/>
            <p:cNvSpPr>
              <a:spLocks/>
            </p:cNvSpPr>
            <p:nvPr/>
          </p:nvSpPr>
          <p:spPr bwMode="auto">
            <a:xfrm>
              <a:off x="6037263" y="6432550"/>
              <a:ext cx="42863" cy="22225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4" y="7"/>
                </a:cxn>
                <a:cxn ang="0">
                  <a:pos x="2" y="11"/>
                </a:cxn>
                <a:cxn ang="0">
                  <a:pos x="9" y="11"/>
                </a:cxn>
                <a:cxn ang="0">
                  <a:pos x="19" y="9"/>
                </a:cxn>
                <a:cxn ang="0">
                  <a:pos x="23" y="0"/>
                </a:cxn>
                <a:cxn ang="0">
                  <a:pos x="17" y="0"/>
                </a:cxn>
              </a:cxnLst>
              <a:rect l="0" t="0" r="r" b="b"/>
              <a:pathLst>
                <a:path w="23" h="12">
                  <a:moveTo>
                    <a:pt x="17" y="0"/>
                  </a:moveTo>
                  <a:cubicBezTo>
                    <a:pt x="11" y="0"/>
                    <a:pt x="8" y="4"/>
                    <a:pt x="4" y="7"/>
                  </a:cubicBezTo>
                  <a:cubicBezTo>
                    <a:pt x="3" y="8"/>
                    <a:pt x="0" y="9"/>
                    <a:pt x="2" y="11"/>
                  </a:cubicBezTo>
                  <a:cubicBezTo>
                    <a:pt x="3" y="12"/>
                    <a:pt x="7" y="11"/>
                    <a:pt x="9" y="11"/>
                  </a:cubicBezTo>
                  <a:cubicBezTo>
                    <a:pt x="13" y="11"/>
                    <a:pt x="16" y="12"/>
                    <a:pt x="19" y="9"/>
                  </a:cubicBezTo>
                  <a:cubicBezTo>
                    <a:pt x="23" y="7"/>
                    <a:pt x="23" y="4"/>
                    <a:pt x="23" y="0"/>
                  </a:cubicBezTo>
                  <a:lnTo>
                    <a:pt x="1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6" name="Freeform 56"/>
            <p:cNvSpPr>
              <a:spLocks/>
            </p:cNvSpPr>
            <p:nvPr/>
          </p:nvSpPr>
          <p:spPr bwMode="auto">
            <a:xfrm>
              <a:off x="5934075" y="6078538"/>
              <a:ext cx="42863" cy="39688"/>
            </a:xfrm>
            <a:custGeom>
              <a:avLst/>
              <a:gdLst/>
              <a:ahLst/>
              <a:cxnLst>
                <a:cxn ang="0">
                  <a:pos x="19" y="5"/>
                </a:cxn>
                <a:cxn ang="0">
                  <a:pos x="20" y="3"/>
                </a:cxn>
                <a:cxn ang="0">
                  <a:pos x="17" y="1"/>
                </a:cxn>
                <a:cxn ang="0">
                  <a:pos x="14" y="1"/>
                </a:cxn>
                <a:cxn ang="0">
                  <a:pos x="13" y="3"/>
                </a:cxn>
                <a:cxn ang="0">
                  <a:pos x="6" y="1"/>
                </a:cxn>
                <a:cxn ang="0">
                  <a:pos x="3" y="3"/>
                </a:cxn>
                <a:cxn ang="0">
                  <a:pos x="2" y="13"/>
                </a:cxn>
                <a:cxn ang="0">
                  <a:pos x="14" y="11"/>
                </a:cxn>
                <a:cxn ang="0">
                  <a:pos x="21" y="17"/>
                </a:cxn>
                <a:cxn ang="0">
                  <a:pos x="22" y="9"/>
                </a:cxn>
                <a:cxn ang="0">
                  <a:pos x="18" y="5"/>
                </a:cxn>
                <a:cxn ang="0">
                  <a:pos x="19" y="5"/>
                </a:cxn>
              </a:cxnLst>
              <a:rect l="0" t="0" r="r" b="b"/>
              <a:pathLst>
                <a:path w="23" h="21">
                  <a:moveTo>
                    <a:pt x="19" y="5"/>
                  </a:moveTo>
                  <a:cubicBezTo>
                    <a:pt x="20" y="5"/>
                    <a:pt x="20" y="4"/>
                    <a:pt x="20" y="3"/>
                  </a:cubicBezTo>
                  <a:cubicBezTo>
                    <a:pt x="20" y="1"/>
                    <a:pt x="19" y="1"/>
                    <a:pt x="17" y="1"/>
                  </a:cubicBezTo>
                  <a:cubicBezTo>
                    <a:pt x="16" y="1"/>
                    <a:pt x="15" y="1"/>
                    <a:pt x="14" y="1"/>
                  </a:cubicBezTo>
                  <a:cubicBezTo>
                    <a:pt x="13" y="1"/>
                    <a:pt x="14" y="2"/>
                    <a:pt x="13" y="3"/>
                  </a:cubicBezTo>
                  <a:cubicBezTo>
                    <a:pt x="10" y="4"/>
                    <a:pt x="8" y="0"/>
                    <a:pt x="6" y="1"/>
                  </a:cubicBezTo>
                  <a:cubicBezTo>
                    <a:pt x="4" y="1"/>
                    <a:pt x="4" y="1"/>
                    <a:pt x="3" y="3"/>
                  </a:cubicBezTo>
                  <a:cubicBezTo>
                    <a:pt x="2" y="6"/>
                    <a:pt x="0" y="11"/>
                    <a:pt x="2" y="13"/>
                  </a:cubicBezTo>
                  <a:cubicBezTo>
                    <a:pt x="5" y="16"/>
                    <a:pt x="11" y="13"/>
                    <a:pt x="14" y="11"/>
                  </a:cubicBezTo>
                  <a:cubicBezTo>
                    <a:pt x="15" y="15"/>
                    <a:pt x="16" y="21"/>
                    <a:pt x="21" y="17"/>
                  </a:cubicBezTo>
                  <a:cubicBezTo>
                    <a:pt x="23" y="15"/>
                    <a:pt x="22" y="12"/>
                    <a:pt x="22" y="9"/>
                  </a:cubicBezTo>
                  <a:cubicBezTo>
                    <a:pt x="22" y="5"/>
                    <a:pt x="21" y="4"/>
                    <a:pt x="18" y="5"/>
                  </a:cubicBezTo>
                  <a:lnTo>
                    <a:pt x="19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7" name="Freeform 57"/>
            <p:cNvSpPr>
              <a:spLocks/>
            </p:cNvSpPr>
            <p:nvPr/>
          </p:nvSpPr>
          <p:spPr bwMode="auto">
            <a:xfrm>
              <a:off x="5883275" y="5954713"/>
              <a:ext cx="38100" cy="39688"/>
            </a:xfrm>
            <a:custGeom>
              <a:avLst/>
              <a:gdLst/>
              <a:ahLst/>
              <a:cxnLst>
                <a:cxn ang="0">
                  <a:pos x="16" y="2"/>
                </a:cxn>
                <a:cxn ang="0">
                  <a:pos x="5" y="1"/>
                </a:cxn>
                <a:cxn ang="0">
                  <a:pos x="1" y="12"/>
                </a:cxn>
                <a:cxn ang="0">
                  <a:pos x="15" y="17"/>
                </a:cxn>
                <a:cxn ang="0">
                  <a:pos x="14" y="4"/>
                </a:cxn>
                <a:cxn ang="0">
                  <a:pos x="16" y="2"/>
                </a:cxn>
              </a:cxnLst>
              <a:rect l="0" t="0" r="r" b="b"/>
              <a:pathLst>
                <a:path w="20" h="21">
                  <a:moveTo>
                    <a:pt x="16" y="2"/>
                  </a:moveTo>
                  <a:cubicBezTo>
                    <a:pt x="12" y="3"/>
                    <a:pt x="9" y="0"/>
                    <a:pt x="5" y="1"/>
                  </a:cubicBezTo>
                  <a:cubicBezTo>
                    <a:pt x="1" y="2"/>
                    <a:pt x="0" y="8"/>
                    <a:pt x="1" y="12"/>
                  </a:cubicBezTo>
                  <a:cubicBezTo>
                    <a:pt x="4" y="17"/>
                    <a:pt x="10" y="21"/>
                    <a:pt x="15" y="17"/>
                  </a:cubicBezTo>
                  <a:cubicBezTo>
                    <a:pt x="20" y="14"/>
                    <a:pt x="16" y="8"/>
                    <a:pt x="14" y="4"/>
                  </a:cubicBezTo>
                  <a:lnTo>
                    <a:pt x="16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8" name="Freeform 58"/>
            <p:cNvSpPr>
              <a:spLocks/>
            </p:cNvSpPr>
            <p:nvPr/>
          </p:nvSpPr>
          <p:spPr bwMode="auto">
            <a:xfrm>
              <a:off x="5981700" y="5995988"/>
              <a:ext cx="34925" cy="20638"/>
            </a:xfrm>
            <a:custGeom>
              <a:avLst/>
              <a:gdLst/>
              <a:ahLst/>
              <a:cxnLst>
                <a:cxn ang="0">
                  <a:pos x="17" y="7"/>
                </a:cxn>
                <a:cxn ang="0">
                  <a:pos x="5" y="2"/>
                </a:cxn>
                <a:cxn ang="0">
                  <a:pos x="0" y="8"/>
                </a:cxn>
                <a:cxn ang="0">
                  <a:pos x="8" y="11"/>
                </a:cxn>
                <a:cxn ang="0">
                  <a:pos x="19" y="11"/>
                </a:cxn>
                <a:cxn ang="0">
                  <a:pos x="16" y="9"/>
                </a:cxn>
                <a:cxn ang="0">
                  <a:pos x="17" y="7"/>
                </a:cxn>
              </a:cxnLst>
              <a:rect l="0" t="0" r="r" b="b"/>
              <a:pathLst>
                <a:path w="19" h="11">
                  <a:moveTo>
                    <a:pt x="17" y="7"/>
                  </a:moveTo>
                  <a:cubicBezTo>
                    <a:pt x="14" y="4"/>
                    <a:pt x="9" y="0"/>
                    <a:pt x="5" y="2"/>
                  </a:cubicBezTo>
                  <a:cubicBezTo>
                    <a:pt x="3" y="2"/>
                    <a:pt x="0" y="5"/>
                    <a:pt x="0" y="8"/>
                  </a:cubicBezTo>
                  <a:cubicBezTo>
                    <a:pt x="1" y="11"/>
                    <a:pt x="6" y="11"/>
                    <a:pt x="8" y="11"/>
                  </a:cubicBezTo>
                  <a:cubicBezTo>
                    <a:pt x="12" y="11"/>
                    <a:pt x="15" y="11"/>
                    <a:pt x="19" y="11"/>
                  </a:cubicBezTo>
                  <a:cubicBezTo>
                    <a:pt x="18" y="10"/>
                    <a:pt x="18" y="9"/>
                    <a:pt x="16" y="9"/>
                  </a:cubicBezTo>
                  <a:lnTo>
                    <a:pt x="17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9" name="Freeform 59"/>
            <p:cNvSpPr>
              <a:spLocks noEditPoints="1"/>
            </p:cNvSpPr>
            <p:nvPr/>
          </p:nvSpPr>
          <p:spPr bwMode="auto">
            <a:xfrm>
              <a:off x="6011863" y="5770563"/>
              <a:ext cx="2187575" cy="968375"/>
            </a:xfrm>
            <a:custGeom>
              <a:avLst/>
              <a:gdLst/>
              <a:ahLst/>
              <a:cxnLst>
                <a:cxn ang="0">
                  <a:pos x="135" y="37"/>
                </a:cxn>
                <a:cxn ang="0">
                  <a:pos x="102" y="10"/>
                </a:cxn>
                <a:cxn ang="0">
                  <a:pos x="53" y="16"/>
                </a:cxn>
                <a:cxn ang="0">
                  <a:pos x="54" y="38"/>
                </a:cxn>
                <a:cxn ang="0">
                  <a:pos x="19" y="104"/>
                </a:cxn>
                <a:cxn ang="0">
                  <a:pos x="59" y="122"/>
                </a:cxn>
                <a:cxn ang="0">
                  <a:pos x="74" y="124"/>
                </a:cxn>
                <a:cxn ang="0">
                  <a:pos x="113" y="111"/>
                </a:cxn>
                <a:cxn ang="0">
                  <a:pos x="104" y="96"/>
                </a:cxn>
                <a:cxn ang="0">
                  <a:pos x="141" y="88"/>
                </a:cxn>
                <a:cxn ang="0">
                  <a:pos x="187" y="95"/>
                </a:cxn>
                <a:cxn ang="0">
                  <a:pos x="311" y="435"/>
                </a:cxn>
                <a:cxn ang="0">
                  <a:pos x="1149" y="410"/>
                </a:cxn>
                <a:cxn ang="0">
                  <a:pos x="1131" y="343"/>
                </a:cxn>
                <a:cxn ang="0">
                  <a:pos x="1139" y="238"/>
                </a:cxn>
                <a:cxn ang="0">
                  <a:pos x="1079" y="167"/>
                </a:cxn>
                <a:cxn ang="0">
                  <a:pos x="1047" y="94"/>
                </a:cxn>
                <a:cxn ang="0">
                  <a:pos x="986" y="83"/>
                </a:cxn>
                <a:cxn ang="0">
                  <a:pos x="925" y="97"/>
                </a:cxn>
                <a:cxn ang="0">
                  <a:pos x="812" y="112"/>
                </a:cxn>
                <a:cxn ang="0">
                  <a:pos x="739" y="118"/>
                </a:cxn>
                <a:cxn ang="0">
                  <a:pos x="663" y="97"/>
                </a:cxn>
                <a:cxn ang="0">
                  <a:pos x="612" y="65"/>
                </a:cxn>
                <a:cxn ang="0">
                  <a:pos x="550" y="27"/>
                </a:cxn>
                <a:cxn ang="0">
                  <a:pos x="477" y="22"/>
                </a:cxn>
                <a:cxn ang="0">
                  <a:pos x="367" y="43"/>
                </a:cxn>
                <a:cxn ang="0">
                  <a:pos x="321" y="86"/>
                </a:cxn>
                <a:cxn ang="0">
                  <a:pos x="208" y="75"/>
                </a:cxn>
                <a:cxn ang="0">
                  <a:pos x="194" y="88"/>
                </a:cxn>
                <a:cxn ang="0">
                  <a:pos x="199" y="100"/>
                </a:cxn>
                <a:cxn ang="0">
                  <a:pos x="242" y="115"/>
                </a:cxn>
                <a:cxn ang="0">
                  <a:pos x="208" y="119"/>
                </a:cxn>
                <a:cxn ang="0">
                  <a:pos x="178" y="135"/>
                </a:cxn>
                <a:cxn ang="0">
                  <a:pos x="141" y="140"/>
                </a:cxn>
                <a:cxn ang="0">
                  <a:pos x="119" y="137"/>
                </a:cxn>
                <a:cxn ang="0">
                  <a:pos x="86" y="135"/>
                </a:cxn>
                <a:cxn ang="0">
                  <a:pos x="59" y="130"/>
                </a:cxn>
                <a:cxn ang="0">
                  <a:pos x="1" y="158"/>
                </a:cxn>
                <a:cxn ang="0">
                  <a:pos x="29" y="171"/>
                </a:cxn>
                <a:cxn ang="0">
                  <a:pos x="60" y="208"/>
                </a:cxn>
                <a:cxn ang="0">
                  <a:pos x="67" y="265"/>
                </a:cxn>
                <a:cxn ang="0">
                  <a:pos x="41" y="277"/>
                </a:cxn>
                <a:cxn ang="0">
                  <a:pos x="86" y="340"/>
                </a:cxn>
                <a:cxn ang="0">
                  <a:pos x="65" y="361"/>
                </a:cxn>
                <a:cxn ang="0">
                  <a:pos x="98" y="400"/>
                </a:cxn>
                <a:cxn ang="0">
                  <a:pos x="146" y="416"/>
                </a:cxn>
                <a:cxn ang="0">
                  <a:pos x="125" y="439"/>
                </a:cxn>
                <a:cxn ang="0">
                  <a:pos x="187" y="443"/>
                </a:cxn>
                <a:cxn ang="0">
                  <a:pos x="272" y="477"/>
                </a:cxn>
                <a:cxn ang="0">
                  <a:pos x="345" y="445"/>
                </a:cxn>
                <a:cxn ang="0">
                  <a:pos x="381" y="481"/>
                </a:cxn>
                <a:cxn ang="0">
                  <a:pos x="492" y="491"/>
                </a:cxn>
                <a:cxn ang="0">
                  <a:pos x="542" y="456"/>
                </a:cxn>
                <a:cxn ang="0">
                  <a:pos x="595" y="462"/>
                </a:cxn>
                <a:cxn ang="0">
                  <a:pos x="617" y="517"/>
                </a:cxn>
                <a:cxn ang="0">
                  <a:pos x="669" y="462"/>
                </a:cxn>
                <a:cxn ang="0">
                  <a:pos x="764" y="454"/>
                </a:cxn>
                <a:cxn ang="0">
                  <a:pos x="882" y="455"/>
                </a:cxn>
                <a:cxn ang="0">
                  <a:pos x="983" y="447"/>
                </a:cxn>
                <a:cxn ang="0">
                  <a:pos x="1079" y="436"/>
                </a:cxn>
              </a:cxnLst>
              <a:rect l="0" t="0" r="r" b="b"/>
              <a:pathLst>
                <a:path w="1171" h="518">
                  <a:moveTo>
                    <a:pt x="197" y="70"/>
                  </a:moveTo>
                  <a:cubicBezTo>
                    <a:pt x="193" y="69"/>
                    <a:pt x="188" y="67"/>
                    <a:pt x="184" y="66"/>
                  </a:cubicBezTo>
                  <a:cubicBezTo>
                    <a:pt x="181" y="65"/>
                    <a:pt x="178" y="66"/>
                    <a:pt x="175" y="65"/>
                  </a:cubicBezTo>
                  <a:cubicBezTo>
                    <a:pt x="172" y="65"/>
                    <a:pt x="171" y="64"/>
                    <a:pt x="168" y="63"/>
                  </a:cubicBezTo>
                  <a:cubicBezTo>
                    <a:pt x="165" y="61"/>
                    <a:pt x="164" y="62"/>
                    <a:pt x="162" y="59"/>
                  </a:cubicBezTo>
                  <a:cubicBezTo>
                    <a:pt x="161" y="58"/>
                    <a:pt x="160" y="56"/>
                    <a:pt x="159" y="55"/>
                  </a:cubicBezTo>
                  <a:cubicBezTo>
                    <a:pt x="158" y="53"/>
                    <a:pt x="156" y="54"/>
                    <a:pt x="154" y="54"/>
                  </a:cubicBezTo>
                  <a:cubicBezTo>
                    <a:pt x="152" y="53"/>
                    <a:pt x="150" y="51"/>
                    <a:pt x="148" y="49"/>
                  </a:cubicBezTo>
                  <a:cubicBezTo>
                    <a:pt x="145" y="47"/>
                    <a:pt x="142" y="48"/>
                    <a:pt x="140" y="47"/>
                  </a:cubicBezTo>
                  <a:cubicBezTo>
                    <a:pt x="135" y="45"/>
                    <a:pt x="137" y="41"/>
                    <a:pt x="135" y="37"/>
                  </a:cubicBezTo>
                  <a:cubicBezTo>
                    <a:pt x="135" y="36"/>
                    <a:pt x="134" y="35"/>
                    <a:pt x="134" y="34"/>
                  </a:cubicBezTo>
                  <a:cubicBezTo>
                    <a:pt x="134" y="32"/>
                    <a:pt x="134" y="30"/>
                    <a:pt x="134" y="28"/>
                  </a:cubicBezTo>
                  <a:cubicBezTo>
                    <a:pt x="133" y="24"/>
                    <a:pt x="131" y="23"/>
                    <a:pt x="131" y="19"/>
                  </a:cubicBezTo>
                  <a:cubicBezTo>
                    <a:pt x="131" y="16"/>
                    <a:pt x="130" y="14"/>
                    <a:pt x="128" y="11"/>
                  </a:cubicBezTo>
                  <a:cubicBezTo>
                    <a:pt x="128" y="11"/>
                    <a:pt x="127" y="11"/>
                    <a:pt x="126" y="11"/>
                  </a:cubicBezTo>
                  <a:cubicBezTo>
                    <a:pt x="123" y="12"/>
                    <a:pt x="121" y="13"/>
                    <a:pt x="118" y="13"/>
                  </a:cubicBezTo>
                  <a:cubicBezTo>
                    <a:pt x="116" y="13"/>
                    <a:pt x="114" y="14"/>
                    <a:pt x="112" y="15"/>
                  </a:cubicBezTo>
                  <a:cubicBezTo>
                    <a:pt x="111" y="15"/>
                    <a:pt x="110" y="16"/>
                    <a:pt x="108" y="16"/>
                  </a:cubicBezTo>
                  <a:cubicBezTo>
                    <a:pt x="106" y="16"/>
                    <a:pt x="107" y="16"/>
                    <a:pt x="106" y="14"/>
                  </a:cubicBezTo>
                  <a:cubicBezTo>
                    <a:pt x="105" y="13"/>
                    <a:pt x="103" y="11"/>
                    <a:pt x="102" y="10"/>
                  </a:cubicBezTo>
                  <a:cubicBezTo>
                    <a:pt x="101" y="8"/>
                    <a:pt x="101" y="8"/>
                    <a:pt x="99" y="8"/>
                  </a:cubicBezTo>
                  <a:cubicBezTo>
                    <a:pt x="98" y="7"/>
                    <a:pt x="98" y="6"/>
                    <a:pt x="97" y="6"/>
                  </a:cubicBezTo>
                  <a:cubicBezTo>
                    <a:pt x="96" y="5"/>
                    <a:pt x="95" y="6"/>
                    <a:pt x="93" y="6"/>
                  </a:cubicBezTo>
                  <a:cubicBezTo>
                    <a:pt x="90" y="6"/>
                    <a:pt x="88" y="3"/>
                    <a:pt x="86" y="2"/>
                  </a:cubicBezTo>
                  <a:cubicBezTo>
                    <a:pt x="83" y="0"/>
                    <a:pt x="82" y="3"/>
                    <a:pt x="80" y="4"/>
                  </a:cubicBezTo>
                  <a:cubicBezTo>
                    <a:pt x="76" y="6"/>
                    <a:pt x="74" y="8"/>
                    <a:pt x="71" y="10"/>
                  </a:cubicBezTo>
                  <a:cubicBezTo>
                    <a:pt x="69" y="11"/>
                    <a:pt x="69" y="11"/>
                    <a:pt x="67" y="10"/>
                  </a:cubicBezTo>
                  <a:cubicBezTo>
                    <a:pt x="66" y="10"/>
                    <a:pt x="65" y="11"/>
                    <a:pt x="64" y="11"/>
                  </a:cubicBezTo>
                  <a:cubicBezTo>
                    <a:pt x="62" y="12"/>
                    <a:pt x="60" y="12"/>
                    <a:pt x="58" y="12"/>
                  </a:cubicBezTo>
                  <a:cubicBezTo>
                    <a:pt x="57" y="13"/>
                    <a:pt x="55" y="14"/>
                    <a:pt x="53" y="16"/>
                  </a:cubicBezTo>
                  <a:cubicBezTo>
                    <a:pt x="53" y="16"/>
                    <a:pt x="53" y="17"/>
                    <a:pt x="53" y="17"/>
                  </a:cubicBezTo>
                  <a:cubicBezTo>
                    <a:pt x="52" y="18"/>
                    <a:pt x="52" y="18"/>
                    <a:pt x="51" y="19"/>
                  </a:cubicBezTo>
                  <a:cubicBezTo>
                    <a:pt x="51" y="19"/>
                    <a:pt x="50" y="19"/>
                    <a:pt x="50" y="20"/>
                  </a:cubicBezTo>
                  <a:cubicBezTo>
                    <a:pt x="50" y="20"/>
                    <a:pt x="49" y="20"/>
                    <a:pt x="50" y="21"/>
                  </a:cubicBezTo>
                  <a:cubicBezTo>
                    <a:pt x="47" y="21"/>
                    <a:pt x="47" y="21"/>
                    <a:pt x="45" y="23"/>
                  </a:cubicBezTo>
                  <a:cubicBezTo>
                    <a:pt x="44" y="24"/>
                    <a:pt x="44" y="25"/>
                    <a:pt x="43" y="27"/>
                  </a:cubicBezTo>
                  <a:cubicBezTo>
                    <a:pt x="43" y="29"/>
                    <a:pt x="43" y="31"/>
                    <a:pt x="43" y="33"/>
                  </a:cubicBezTo>
                  <a:cubicBezTo>
                    <a:pt x="43" y="32"/>
                    <a:pt x="43" y="31"/>
                    <a:pt x="43" y="30"/>
                  </a:cubicBezTo>
                  <a:cubicBezTo>
                    <a:pt x="45" y="31"/>
                    <a:pt x="46" y="33"/>
                    <a:pt x="48" y="34"/>
                  </a:cubicBezTo>
                  <a:cubicBezTo>
                    <a:pt x="51" y="35"/>
                    <a:pt x="54" y="34"/>
                    <a:pt x="54" y="38"/>
                  </a:cubicBezTo>
                  <a:cubicBezTo>
                    <a:pt x="54" y="43"/>
                    <a:pt x="54" y="46"/>
                    <a:pt x="55" y="50"/>
                  </a:cubicBezTo>
                  <a:cubicBezTo>
                    <a:pt x="55" y="54"/>
                    <a:pt x="57" y="59"/>
                    <a:pt x="53" y="61"/>
                  </a:cubicBezTo>
                  <a:cubicBezTo>
                    <a:pt x="51" y="63"/>
                    <a:pt x="46" y="61"/>
                    <a:pt x="44" y="63"/>
                  </a:cubicBezTo>
                  <a:cubicBezTo>
                    <a:pt x="40" y="65"/>
                    <a:pt x="40" y="70"/>
                    <a:pt x="40" y="74"/>
                  </a:cubicBezTo>
                  <a:cubicBezTo>
                    <a:pt x="40" y="78"/>
                    <a:pt x="39" y="81"/>
                    <a:pt x="39" y="85"/>
                  </a:cubicBezTo>
                  <a:cubicBezTo>
                    <a:pt x="39" y="87"/>
                    <a:pt x="39" y="87"/>
                    <a:pt x="38" y="89"/>
                  </a:cubicBezTo>
                  <a:cubicBezTo>
                    <a:pt x="37" y="91"/>
                    <a:pt x="33" y="93"/>
                    <a:pt x="31" y="95"/>
                  </a:cubicBezTo>
                  <a:cubicBezTo>
                    <a:pt x="28" y="97"/>
                    <a:pt x="27" y="100"/>
                    <a:pt x="25" y="103"/>
                  </a:cubicBezTo>
                  <a:cubicBezTo>
                    <a:pt x="24" y="105"/>
                    <a:pt x="24" y="107"/>
                    <a:pt x="22" y="107"/>
                  </a:cubicBezTo>
                  <a:cubicBezTo>
                    <a:pt x="22" y="107"/>
                    <a:pt x="21" y="106"/>
                    <a:pt x="19" y="104"/>
                  </a:cubicBezTo>
                  <a:cubicBezTo>
                    <a:pt x="19" y="105"/>
                    <a:pt x="19" y="106"/>
                    <a:pt x="19" y="107"/>
                  </a:cubicBezTo>
                  <a:cubicBezTo>
                    <a:pt x="20" y="108"/>
                    <a:pt x="21" y="109"/>
                    <a:pt x="21" y="111"/>
                  </a:cubicBezTo>
                  <a:cubicBezTo>
                    <a:pt x="22" y="116"/>
                    <a:pt x="22" y="120"/>
                    <a:pt x="29" y="121"/>
                  </a:cubicBezTo>
                  <a:cubicBezTo>
                    <a:pt x="35" y="122"/>
                    <a:pt x="42" y="121"/>
                    <a:pt x="48" y="121"/>
                  </a:cubicBezTo>
                  <a:cubicBezTo>
                    <a:pt x="50" y="121"/>
                    <a:pt x="51" y="121"/>
                    <a:pt x="52" y="122"/>
                  </a:cubicBezTo>
                  <a:cubicBezTo>
                    <a:pt x="51" y="121"/>
                    <a:pt x="56" y="124"/>
                    <a:pt x="56" y="123"/>
                  </a:cubicBezTo>
                  <a:cubicBezTo>
                    <a:pt x="57" y="124"/>
                    <a:pt x="57" y="126"/>
                    <a:pt x="58" y="126"/>
                  </a:cubicBezTo>
                  <a:cubicBezTo>
                    <a:pt x="58" y="126"/>
                    <a:pt x="59" y="126"/>
                    <a:pt x="59" y="126"/>
                  </a:cubicBezTo>
                  <a:cubicBezTo>
                    <a:pt x="59" y="126"/>
                    <a:pt x="59" y="126"/>
                    <a:pt x="59" y="125"/>
                  </a:cubicBezTo>
                  <a:cubicBezTo>
                    <a:pt x="59" y="124"/>
                    <a:pt x="58" y="123"/>
                    <a:pt x="59" y="122"/>
                  </a:cubicBezTo>
                  <a:cubicBezTo>
                    <a:pt x="59" y="121"/>
                    <a:pt x="59" y="121"/>
                    <a:pt x="59" y="121"/>
                  </a:cubicBezTo>
                  <a:cubicBezTo>
                    <a:pt x="60" y="122"/>
                    <a:pt x="60" y="123"/>
                    <a:pt x="61" y="123"/>
                  </a:cubicBezTo>
                  <a:cubicBezTo>
                    <a:pt x="61" y="124"/>
                    <a:pt x="61" y="125"/>
                    <a:pt x="61" y="126"/>
                  </a:cubicBezTo>
                  <a:cubicBezTo>
                    <a:pt x="62" y="126"/>
                    <a:pt x="62" y="126"/>
                    <a:pt x="62" y="126"/>
                  </a:cubicBezTo>
                  <a:cubicBezTo>
                    <a:pt x="62" y="127"/>
                    <a:pt x="62" y="127"/>
                    <a:pt x="62" y="128"/>
                  </a:cubicBezTo>
                  <a:cubicBezTo>
                    <a:pt x="62" y="128"/>
                    <a:pt x="63" y="128"/>
                    <a:pt x="63" y="128"/>
                  </a:cubicBezTo>
                  <a:cubicBezTo>
                    <a:pt x="64" y="128"/>
                    <a:pt x="64" y="128"/>
                    <a:pt x="65" y="128"/>
                  </a:cubicBezTo>
                  <a:cubicBezTo>
                    <a:pt x="66" y="128"/>
                    <a:pt x="67" y="128"/>
                    <a:pt x="68" y="128"/>
                  </a:cubicBezTo>
                  <a:cubicBezTo>
                    <a:pt x="69" y="127"/>
                    <a:pt x="70" y="126"/>
                    <a:pt x="71" y="126"/>
                  </a:cubicBezTo>
                  <a:cubicBezTo>
                    <a:pt x="72" y="125"/>
                    <a:pt x="73" y="124"/>
                    <a:pt x="74" y="124"/>
                  </a:cubicBezTo>
                  <a:cubicBezTo>
                    <a:pt x="75" y="124"/>
                    <a:pt x="76" y="124"/>
                    <a:pt x="76" y="124"/>
                  </a:cubicBezTo>
                  <a:cubicBezTo>
                    <a:pt x="77" y="123"/>
                    <a:pt x="78" y="122"/>
                    <a:pt x="79" y="121"/>
                  </a:cubicBezTo>
                  <a:cubicBezTo>
                    <a:pt x="81" y="120"/>
                    <a:pt x="84" y="119"/>
                    <a:pt x="85" y="117"/>
                  </a:cubicBezTo>
                  <a:cubicBezTo>
                    <a:pt x="85" y="116"/>
                    <a:pt x="85" y="115"/>
                    <a:pt x="86" y="114"/>
                  </a:cubicBezTo>
                  <a:cubicBezTo>
                    <a:pt x="87" y="113"/>
                    <a:pt x="90" y="112"/>
                    <a:pt x="92" y="112"/>
                  </a:cubicBezTo>
                  <a:cubicBezTo>
                    <a:pt x="93" y="112"/>
                    <a:pt x="94" y="112"/>
                    <a:pt x="95" y="112"/>
                  </a:cubicBezTo>
                  <a:cubicBezTo>
                    <a:pt x="97" y="112"/>
                    <a:pt x="100" y="112"/>
                    <a:pt x="103" y="112"/>
                  </a:cubicBezTo>
                  <a:cubicBezTo>
                    <a:pt x="104" y="112"/>
                    <a:pt x="105" y="112"/>
                    <a:pt x="106" y="112"/>
                  </a:cubicBezTo>
                  <a:cubicBezTo>
                    <a:pt x="107" y="111"/>
                    <a:pt x="107" y="111"/>
                    <a:pt x="108" y="111"/>
                  </a:cubicBezTo>
                  <a:cubicBezTo>
                    <a:pt x="109" y="110"/>
                    <a:pt x="111" y="111"/>
                    <a:pt x="113" y="111"/>
                  </a:cubicBezTo>
                  <a:cubicBezTo>
                    <a:pt x="113" y="111"/>
                    <a:pt x="114" y="111"/>
                    <a:pt x="115" y="111"/>
                  </a:cubicBezTo>
                  <a:cubicBezTo>
                    <a:pt x="117" y="113"/>
                    <a:pt x="119" y="114"/>
                    <a:pt x="121" y="115"/>
                  </a:cubicBezTo>
                  <a:cubicBezTo>
                    <a:pt x="124" y="116"/>
                    <a:pt x="127" y="117"/>
                    <a:pt x="129" y="114"/>
                  </a:cubicBezTo>
                  <a:cubicBezTo>
                    <a:pt x="130" y="112"/>
                    <a:pt x="132" y="109"/>
                    <a:pt x="132" y="107"/>
                  </a:cubicBezTo>
                  <a:cubicBezTo>
                    <a:pt x="131" y="106"/>
                    <a:pt x="130" y="105"/>
                    <a:pt x="129" y="104"/>
                  </a:cubicBezTo>
                  <a:cubicBezTo>
                    <a:pt x="128" y="104"/>
                    <a:pt x="128" y="103"/>
                    <a:pt x="127" y="102"/>
                  </a:cubicBezTo>
                  <a:cubicBezTo>
                    <a:pt x="126" y="101"/>
                    <a:pt x="125" y="101"/>
                    <a:pt x="124" y="101"/>
                  </a:cubicBezTo>
                  <a:cubicBezTo>
                    <a:pt x="121" y="101"/>
                    <a:pt x="119" y="101"/>
                    <a:pt x="117" y="100"/>
                  </a:cubicBezTo>
                  <a:cubicBezTo>
                    <a:pt x="115" y="100"/>
                    <a:pt x="113" y="99"/>
                    <a:pt x="111" y="98"/>
                  </a:cubicBezTo>
                  <a:cubicBezTo>
                    <a:pt x="109" y="98"/>
                    <a:pt x="105" y="98"/>
                    <a:pt x="104" y="96"/>
                  </a:cubicBezTo>
                  <a:cubicBezTo>
                    <a:pt x="103" y="95"/>
                    <a:pt x="104" y="94"/>
                    <a:pt x="104" y="93"/>
                  </a:cubicBezTo>
                  <a:cubicBezTo>
                    <a:pt x="105" y="92"/>
                    <a:pt x="107" y="92"/>
                    <a:pt x="108" y="92"/>
                  </a:cubicBezTo>
                  <a:cubicBezTo>
                    <a:pt x="110" y="91"/>
                    <a:pt x="112" y="91"/>
                    <a:pt x="114" y="91"/>
                  </a:cubicBezTo>
                  <a:cubicBezTo>
                    <a:pt x="116" y="91"/>
                    <a:pt x="118" y="91"/>
                    <a:pt x="120" y="91"/>
                  </a:cubicBezTo>
                  <a:cubicBezTo>
                    <a:pt x="123" y="91"/>
                    <a:pt x="125" y="92"/>
                    <a:pt x="128" y="92"/>
                  </a:cubicBezTo>
                  <a:cubicBezTo>
                    <a:pt x="129" y="92"/>
                    <a:pt x="129" y="92"/>
                    <a:pt x="130" y="91"/>
                  </a:cubicBezTo>
                  <a:cubicBezTo>
                    <a:pt x="131" y="91"/>
                    <a:pt x="132" y="90"/>
                    <a:pt x="132" y="89"/>
                  </a:cubicBezTo>
                  <a:cubicBezTo>
                    <a:pt x="132" y="88"/>
                    <a:pt x="131" y="87"/>
                    <a:pt x="132" y="87"/>
                  </a:cubicBezTo>
                  <a:cubicBezTo>
                    <a:pt x="133" y="86"/>
                    <a:pt x="135" y="87"/>
                    <a:pt x="136" y="87"/>
                  </a:cubicBezTo>
                  <a:cubicBezTo>
                    <a:pt x="138" y="87"/>
                    <a:pt x="140" y="87"/>
                    <a:pt x="141" y="88"/>
                  </a:cubicBezTo>
                  <a:cubicBezTo>
                    <a:pt x="143" y="88"/>
                    <a:pt x="145" y="88"/>
                    <a:pt x="146" y="88"/>
                  </a:cubicBezTo>
                  <a:cubicBezTo>
                    <a:pt x="150" y="87"/>
                    <a:pt x="153" y="87"/>
                    <a:pt x="156" y="88"/>
                  </a:cubicBezTo>
                  <a:cubicBezTo>
                    <a:pt x="157" y="89"/>
                    <a:pt x="158" y="90"/>
                    <a:pt x="159" y="90"/>
                  </a:cubicBezTo>
                  <a:cubicBezTo>
                    <a:pt x="160" y="91"/>
                    <a:pt x="161" y="91"/>
                    <a:pt x="162" y="92"/>
                  </a:cubicBezTo>
                  <a:cubicBezTo>
                    <a:pt x="164" y="92"/>
                    <a:pt x="166" y="93"/>
                    <a:pt x="168" y="94"/>
                  </a:cubicBezTo>
                  <a:cubicBezTo>
                    <a:pt x="171" y="95"/>
                    <a:pt x="173" y="95"/>
                    <a:pt x="175" y="96"/>
                  </a:cubicBezTo>
                  <a:cubicBezTo>
                    <a:pt x="177" y="97"/>
                    <a:pt x="178" y="96"/>
                    <a:pt x="179" y="95"/>
                  </a:cubicBezTo>
                  <a:cubicBezTo>
                    <a:pt x="180" y="95"/>
                    <a:pt x="181" y="94"/>
                    <a:pt x="183" y="94"/>
                  </a:cubicBezTo>
                  <a:cubicBezTo>
                    <a:pt x="183" y="94"/>
                    <a:pt x="184" y="95"/>
                    <a:pt x="185" y="95"/>
                  </a:cubicBezTo>
                  <a:cubicBezTo>
                    <a:pt x="185" y="95"/>
                    <a:pt x="187" y="95"/>
                    <a:pt x="187" y="95"/>
                  </a:cubicBezTo>
                  <a:cubicBezTo>
                    <a:pt x="188" y="95"/>
                    <a:pt x="188" y="94"/>
                    <a:pt x="189" y="94"/>
                  </a:cubicBezTo>
                  <a:cubicBezTo>
                    <a:pt x="189" y="93"/>
                    <a:pt x="190" y="92"/>
                    <a:pt x="191" y="92"/>
                  </a:cubicBezTo>
                  <a:cubicBezTo>
                    <a:pt x="191" y="91"/>
                    <a:pt x="191" y="91"/>
                    <a:pt x="191" y="91"/>
                  </a:cubicBezTo>
                  <a:cubicBezTo>
                    <a:pt x="192" y="90"/>
                    <a:pt x="191" y="88"/>
                    <a:pt x="191" y="87"/>
                  </a:cubicBezTo>
                  <a:cubicBezTo>
                    <a:pt x="191" y="85"/>
                    <a:pt x="192" y="84"/>
                    <a:pt x="193" y="82"/>
                  </a:cubicBezTo>
                  <a:cubicBezTo>
                    <a:pt x="194" y="80"/>
                    <a:pt x="195" y="77"/>
                    <a:pt x="195" y="75"/>
                  </a:cubicBezTo>
                  <a:cubicBezTo>
                    <a:pt x="195" y="74"/>
                    <a:pt x="196" y="72"/>
                    <a:pt x="197" y="71"/>
                  </a:cubicBezTo>
                  <a:cubicBezTo>
                    <a:pt x="197" y="71"/>
                    <a:pt x="197" y="70"/>
                    <a:pt x="197" y="70"/>
                  </a:cubicBezTo>
                  <a:moveTo>
                    <a:pt x="312" y="435"/>
                  </a:moveTo>
                  <a:cubicBezTo>
                    <a:pt x="312" y="435"/>
                    <a:pt x="311" y="435"/>
                    <a:pt x="311" y="435"/>
                  </a:cubicBezTo>
                  <a:cubicBezTo>
                    <a:pt x="311" y="435"/>
                    <a:pt x="312" y="435"/>
                    <a:pt x="312" y="435"/>
                  </a:cubicBezTo>
                  <a:moveTo>
                    <a:pt x="668" y="97"/>
                  </a:moveTo>
                  <a:cubicBezTo>
                    <a:pt x="669" y="97"/>
                    <a:pt x="670" y="97"/>
                    <a:pt x="671" y="97"/>
                  </a:cubicBezTo>
                  <a:cubicBezTo>
                    <a:pt x="670" y="97"/>
                    <a:pt x="669" y="97"/>
                    <a:pt x="668" y="97"/>
                  </a:cubicBezTo>
                  <a:cubicBezTo>
                    <a:pt x="668" y="97"/>
                    <a:pt x="668" y="97"/>
                    <a:pt x="668" y="97"/>
                  </a:cubicBezTo>
                  <a:moveTo>
                    <a:pt x="1170" y="445"/>
                  </a:moveTo>
                  <a:cubicBezTo>
                    <a:pt x="1169" y="442"/>
                    <a:pt x="1168" y="441"/>
                    <a:pt x="1165" y="439"/>
                  </a:cubicBezTo>
                  <a:cubicBezTo>
                    <a:pt x="1161" y="437"/>
                    <a:pt x="1159" y="436"/>
                    <a:pt x="1156" y="432"/>
                  </a:cubicBezTo>
                  <a:cubicBezTo>
                    <a:pt x="1151" y="428"/>
                    <a:pt x="1148" y="425"/>
                    <a:pt x="1149" y="419"/>
                  </a:cubicBezTo>
                  <a:cubicBezTo>
                    <a:pt x="1149" y="416"/>
                    <a:pt x="1149" y="413"/>
                    <a:pt x="1149" y="410"/>
                  </a:cubicBezTo>
                  <a:cubicBezTo>
                    <a:pt x="1149" y="407"/>
                    <a:pt x="1151" y="399"/>
                    <a:pt x="1149" y="396"/>
                  </a:cubicBezTo>
                  <a:cubicBezTo>
                    <a:pt x="1149" y="396"/>
                    <a:pt x="1145" y="394"/>
                    <a:pt x="1144" y="394"/>
                  </a:cubicBezTo>
                  <a:cubicBezTo>
                    <a:pt x="1142" y="393"/>
                    <a:pt x="1139" y="391"/>
                    <a:pt x="1137" y="390"/>
                  </a:cubicBezTo>
                  <a:cubicBezTo>
                    <a:pt x="1133" y="389"/>
                    <a:pt x="1131" y="391"/>
                    <a:pt x="1130" y="387"/>
                  </a:cubicBezTo>
                  <a:cubicBezTo>
                    <a:pt x="1129" y="384"/>
                    <a:pt x="1130" y="382"/>
                    <a:pt x="1132" y="380"/>
                  </a:cubicBezTo>
                  <a:cubicBezTo>
                    <a:pt x="1134" y="378"/>
                    <a:pt x="1134" y="380"/>
                    <a:pt x="1136" y="376"/>
                  </a:cubicBezTo>
                  <a:cubicBezTo>
                    <a:pt x="1138" y="372"/>
                    <a:pt x="1141" y="368"/>
                    <a:pt x="1142" y="363"/>
                  </a:cubicBezTo>
                  <a:cubicBezTo>
                    <a:pt x="1142" y="361"/>
                    <a:pt x="1143" y="354"/>
                    <a:pt x="1141" y="352"/>
                  </a:cubicBezTo>
                  <a:cubicBezTo>
                    <a:pt x="1140" y="350"/>
                    <a:pt x="1136" y="351"/>
                    <a:pt x="1134" y="351"/>
                  </a:cubicBezTo>
                  <a:cubicBezTo>
                    <a:pt x="1130" y="350"/>
                    <a:pt x="1131" y="347"/>
                    <a:pt x="1131" y="343"/>
                  </a:cubicBezTo>
                  <a:cubicBezTo>
                    <a:pt x="1131" y="339"/>
                    <a:pt x="1131" y="335"/>
                    <a:pt x="1131" y="331"/>
                  </a:cubicBezTo>
                  <a:cubicBezTo>
                    <a:pt x="1131" y="322"/>
                    <a:pt x="1128" y="312"/>
                    <a:pt x="1124" y="302"/>
                  </a:cubicBezTo>
                  <a:cubicBezTo>
                    <a:pt x="1123" y="299"/>
                    <a:pt x="1120" y="295"/>
                    <a:pt x="1119" y="291"/>
                  </a:cubicBezTo>
                  <a:cubicBezTo>
                    <a:pt x="1116" y="283"/>
                    <a:pt x="1122" y="275"/>
                    <a:pt x="1120" y="268"/>
                  </a:cubicBezTo>
                  <a:cubicBezTo>
                    <a:pt x="1118" y="267"/>
                    <a:pt x="1114" y="268"/>
                    <a:pt x="1111" y="266"/>
                  </a:cubicBezTo>
                  <a:cubicBezTo>
                    <a:pt x="1106" y="263"/>
                    <a:pt x="1111" y="262"/>
                    <a:pt x="1115" y="261"/>
                  </a:cubicBezTo>
                  <a:cubicBezTo>
                    <a:pt x="1119" y="261"/>
                    <a:pt x="1126" y="261"/>
                    <a:pt x="1128" y="257"/>
                  </a:cubicBezTo>
                  <a:cubicBezTo>
                    <a:pt x="1129" y="256"/>
                    <a:pt x="1129" y="255"/>
                    <a:pt x="1129" y="253"/>
                  </a:cubicBezTo>
                  <a:cubicBezTo>
                    <a:pt x="1130" y="252"/>
                    <a:pt x="1132" y="250"/>
                    <a:pt x="1133" y="248"/>
                  </a:cubicBezTo>
                  <a:cubicBezTo>
                    <a:pt x="1135" y="245"/>
                    <a:pt x="1136" y="241"/>
                    <a:pt x="1139" y="238"/>
                  </a:cubicBezTo>
                  <a:cubicBezTo>
                    <a:pt x="1140" y="237"/>
                    <a:pt x="1142" y="236"/>
                    <a:pt x="1144" y="235"/>
                  </a:cubicBezTo>
                  <a:cubicBezTo>
                    <a:pt x="1146" y="234"/>
                    <a:pt x="1149" y="232"/>
                    <a:pt x="1151" y="230"/>
                  </a:cubicBezTo>
                  <a:cubicBezTo>
                    <a:pt x="1147" y="228"/>
                    <a:pt x="1144" y="226"/>
                    <a:pt x="1140" y="224"/>
                  </a:cubicBezTo>
                  <a:cubicBezTo>
                    <a:pt x="1140" y="224"/>
                    <a:pt x="1133" y="222"/>
                    <a:pt x="1133" y="221"/>
                  </a:cubicBezTo>
                  <a:cubicBezTo>
                    <a:pt x="1131" y="220"/>
                    <a:pt x="1131" y="218"/>
                    <a:pt x="1130" y="216"/>
                  </a:cubicBezTo>
                  <a:cubicBezTo>
                    <a:pt x="1125" y="213"/>
                    <a:pt x="1119" y="214"/>
                    <a:pt x="1113" y="214"/>
                  </a:cubicBezTo>
                  <a:cubicBezTo>
                    <a:pt x="1104" y="213"/>
                    <a:pt x="1096" y="206"/>
                    <a:pt x="1090" y="201"/>
                  </a:cubicBezTo>
                  <a:cubicBezTo>
                    <a:pt x="1084" y="195"/>
                    <a:pt x="1083" y="190"/>
                    <a:pt x="1081" y="181"/>
                  </a:cubicBezTo>
                  <a:cubicBezTo>
                    <a:pt x="1080" y="178"/>
                    <a:pt x="1079" y="177"/>
                    <a:pt x="1078" y="175"/>
                  </a:cubicBezTo>
                  <a:cubicBezTo>
                    <a:pt x="1077" y="172"/>
                    <a:pt x="1078" y="169"/>
                    <a:pt x="1079" y="167"/>
                  </a:cubicBezTo>
                  <a:cubicBezTo>
                    <a:pt x="1081" y="161"/>
                    <a:pt x="1085" y="154"/>
                    <a:pt x="1084" y="148"/>
                  </a:cubicBezTo>
                  <a:cubicBezTo>
                    <a:pt x="1084" y="146"/>
                    <a:pt x="1083" y="144"/>
                    <a:pt x="1082" y="142"/>
                  </a:cubicBezTo>
                  <a:cubicBezTo>
                    <a:pt x="1082" y="141"/>
                    <a:pt x="1079" y="138"/>
                    <a:pt x="1078" y="136"/>
                  </a:cubicBezTo>
                  <a:cubicBezTo>
                    <a:pt x="1077" y="134"/>
                    <a:pt x="1072" y="133"/>
                    <a:pt x="1072" y="131"/>
                  </a:cubicBezTo>
                  <a:cubicBezTo>
                    <a:pt x="1068" y="125"/>
                    <a:pt x="1082" y="122"/>
                    <a:pt x="1080" y="116"/>
                  </a:cubicBezTo>
                  <a:cubicBezTo>
                    <a:pt x="1072" y="114"/>
                    <a:pt x="1065" y="111"/>
                    <a:pt x="1057" y="108"/>
                  </a:cubicBezTo>
                  <a:cubicBezTo>
                    <a:pt x="1056" y="107"/>
                    <a:pt x="1054" y="107"/>
                    <a:pt x="1052" y="107"/>
                  </a:cubicBezTo>
                  <a:cubicBezTo>
                    <a:pt x="1051" y="106"/>
                    <a:pt x="1051" y="106"/>
                    <a:pt x="1049" y="105"/>
                  </a:cubicBezTo>
                  <a:cubicBezTo>
                    <a:pt x="1047" y="104"/>
                    <a:pt x="1045" y="104"/>
                    <a:pt x="1045" y="101"/>
                  </a:cubicBezTo>
                  <a:cubicBezTo>
                    <a:pt x="1045" y="98"/>
                    <a:pt x="1047" y="96"/>
                    <a:pt x="1047" y="94"/>
                  </a:cubicBezTo>
                  <a:cubicBezTo>
                    <a:pt x="1044" y="93"/>
                    <a:pt x="1039" y="96"/>
                    <a:pt x="1037" y="94"/>
                  </a:cubicBezTo>
                  <a:cubicBezTo>
                    <a:pt x="1036" y="93"/>
                    <a:pt x="1035" y="90"/>
                    <a:pt x="1034" y="89"/>
                  </a:cubicBezTo>
                  <a:cubicBezTo>
                    <a:pt x="1032" y="87"/>
                    <a:pt x="1028" y="87"/>
                    <a:pt x="1027" y="85"/>
                  </a:cubicBezTo>
                  <a:cubicBezTo>
                    <a:pt x="1025" y="84"/>
                    <a:pt x="1026" y="82"/>
                    <a:pt x="1025" y="80"/>
                  </a:cubicBezTo>
                  <a:cubicBezTo>
                    <a:pt x="1023" y="77"/>
                    <a:pt x="1017" y="76"/>
                    <a:pt x="1014" y="75"/>
                  </a:cubicBezTo>
                  <a:cubicBezTo>
                    <a:pt x="1012" y="74"/>
                    <a:pt x="1008" y="72"/>
                    <a:pt x="1006" y="73"/>
                  </a:cubicBezTo>
                  <a:cubicBezTo>
                    <a:pt x="1005" y="75"/>
                    <a:pt x="1006" y="80"/>
                    <a:pt x="1006" y="81"/>
                  </a:cubicBezTo>
                  <a:cubicBezTo>
                    <a:pt x="1003" y="82"/>
                    <a:pt x="1000" y="81"/>
                    <a:pt x="996" y="81"/>
                  </a:cubicBezTo>
                  <a:cubicBezTo>
                    <a:pt x="995" y="81"/>
                    <a:pt x="992" y="81"/>
                    <a:pt x="990" y="81"/>
                  </a:cubicBezTo>
                  <a:cubicBezTo>
                    <a:pt x="988" y="82"/>
                    <a:pt x="988" y="83"/>
                    <a:pt x="986" y="83"/>
                  </a:cubicBezTo>
                  <a:cubicBezTo>
                    <a:pt x="985" y="82"/>
                    <a:pt x="983" y="82"/>
                    <a:pt x="982" y="81"/>
                  </a:cubicBezTo>
                  <a:cubicBezTo>
                    <a:pt x="981" y="81"/>
                    <a:pt x="979" y="79"/>
                    <a:pt x="978" y="79"/>
                  </a:cubicBezTo>
                  <a:cubicBezTo>
                    <a:pt x="976" y="78"/>
                    <a:pt x="973" y="79"/>
                    <a:pt x="970" y="79"/>
                  </a:cubicBezTo>
                  <a:cubicBezTo>
                    <a:pt x="969" y="79"/>
                    <a:pt x="968" y="79"/>
                    <a:pt x="967" y="79"/>
                  </a:cubicBezTo>
                  <a:cubicBezTo>
                    <a:pt x="965" y="79"/>
                    <a:pt x="966" y="80"/>
                    <a:pt x="964" y="80"/>
                  </a:cubicBezTo>
                  <a:cubicBezTo>
                    <a:pt x="962" y="82"/>
                    <a:pt x="959" y="83"/>
                    <a:pt x="955" y="83"/>
                  </a:cubicBezTo>
                  <a:cubicBezTo>
                    <a:pt x="953" y="82"/>
                    <a:pt x="951" y="81"/>
                    <a:pt x="949" y="81"/>
                  </a:cubicBezTo>
                  <a:cubicBezTo>
                    <a:pt x="945" y="80"/>
                    <a:pt x="942" y="81"/>
                    <a:pt x="938" y="81"/>
                  </a:cubicBezTo>
                  <a:cubicBezTo>
                    <a:pt x="939" y="86"/>
                    <a:pt x="930" y="93"/>
                    <a:pt x="926" y="96"/>
                  </a:cubicBezTo>
                  <a:cubicBezTo>
                    <a:pt x="926" y="97"/>
                    <a:pt x="926" y="97"/>
                    <a:pt x="925" y="97"/>
                  </a:cubicBezTo>
                  <a:cubicBezTo>
                    <a:pt x="923" y="98"/>
                    <a:pt x="921" y="98"/>
                    <a:pt x="920" y="99"/>
                  </a:cubicBezTo>
                  <a:cubicBezTo>
                    <a:pt x="919" y="99"/>
                    <a:pt x="918" y="101"/>
                    <a:pt x="917" y="102"/>
                  </a:cubicBezTo>
                  <a:cubicBezTo>
                    <a:pt x="916" y="102"/>
                    <a:pt x="914" y="103"/>
                    <a:pt x="913" y="104"/>
                  </a:cubicBezTo>
                  <a:cubicBezTo>
                    <a:pt x="910" y="105"/>
                    <a:pt x="907" y="106"/>
                    <a:pt x="904" y="107"/>
                  </a:cubicBezTo>
                  <a:cubicBezTo>
                    <a:pt x="901" y="109"/>
                    <a:pt x="897" y="110"/>
                    <a:pt x="893" y="110"/>
                  </a:cubicBezTo>
                  <a:cubicBezTo>
                    <a:pt x="886" y="110"/>
                    <a:pt x="879" y="110"/>
                    <a:pt x="874" y="115"/>
                  </a:cubicBezTo>
                  <a:cubicBezTo>
                    <a:pt x="870" y="119"/>
                    <a:pt x="866" y="120"/>
                    <a:pt x="862" y="122"/>
                  </a:cubicBezTo>
                  <a:cubicBezTo>
                    <a:pt x="854" y="125"/>
                    <a:pt x="848" y="121"/>
                    <a:pt x="841" y="118"/>
                  </a:cubicBezTo>
                  <a:cubicBezTo>
                    <a:pt x="833" y="115"/>
                    <a:pt x="824" y="117"/>
                    <a:pt x="816" y="115"/>
                  </a:cubicBezTo>
                  <a:cubicBezTo>
                    <a:pt x="814" y="114"/>
                    <a:pt x="813" y="113"/>
                    <a:pt x="812" y="112"/>
                  </a:cubicBezTo>
                  <a:cubicBezTo>
                    <a:pt x="810" y="112"/>
                    <a:pt x="809" y="113"/>
                    <a:pt x="808" y="113"/>
                  </a:cubicBezTo>
                  <a:cubicBezTo>
                    <a:pt x="806" y="112"/>
                    <a:pt x="804" y="111"/>
                    <a:pt x="802" y="111"/>
                  </a:cubicBezTo>
                  <a:cubicBezTo>
                    <a:pt x="801" y="111"/>
                    <a:pt x="800" y="111"/>
                    <a:pt x="799" y="111"/>
                  </a:cubicBezTo>
                  <a:cubicBezTo>
                    <a:pt x="798" y="111"/>
                    <a:pt x="798" y="113"/>
                    <a:pt x="796" y="113"/>
                  </a:cubicBezTo>
                  <a:cubicBezTo>
                    <a:pt x="794" y="114"/>
                    <a:pt x="789" y="113"/>
                    <a:pt x="786" y="113"/>
                  </a:cubicBezTo>
                  <a:cubicBezTo>
                    <a:pt x="780" y="113"/>
                    <a:pt x="777" y="114"/>
                    <a:pt x="771" y="116"/>
                  </a:cubicBezTo>
                  <a:cubicBezTo>
                    <a:pt x="768" y="118"/>
                    <a:pt x="765" y="117"/>
                    <a:pt x="762" y="118"/>
                  </a:cubicBezTo>
                  <a:cubicBezTo>
                    <a:pt x="759" y="118"/>
                    <a:pt x="757" y="121"/>
                    <a:pt x="754" y="121"/>
                  </a:cubicBezTo>
                  <a:cubicBezTo>
                    <a:pt x="753" y="121"/>
                    <a:pt x="752" y="121"/>
                    <a:pt x="752" y="121"/>
                  </a:cubicBezTo>
                  <a:cubicBezTo>
                    <a:pt x="748" y="120"/>
                    <a:pt x="743" y="119"/>
                    <a:pt x="739" y="118"/>
                  </a:cubicBezTo>
                  <a:cubicBezTo>
                    <a:pt x="736" y="116"/>
                    <a:pt x="735" y="114"/>
                    <a:pt x="731" y="113"/>
                  </a:cubicBezTo>
                  <a:cubicBezTo>
                    <a:pt x="729" y="112"/>
                    <a:pt x="726" y="113"/>
                    <a:pt x="723" y="112"/>
                  </a:cubicBezTo>
                  <a:cubicBezTo>
                    <a:pt x="720" y="112"/>
                    <a:pt x="719" y="111"/>
                    <a:pt x="717" y="108"/>
                  </a:cubicBezTo>
                  <a:cubicBezTo>
                    <a:pt x="714" y="105"/>
                    <a:pt x="710" y="100"/>
                    <a:pt x="706" y="99"/>
                  </a:cubicBezTo>
                  <a:cubicBezTo>
                    <a:pt x="704" y="98"/>
                    <a:pt x="701" y="99"/>
                    <a:pt x="698" y="99"/>
                  </a:cubicBezTo>
                  <a:cubicBezTo>
                    <a:pt x="695" y="98"/>
                    <a:pt x="692" y="97"/>
                    <a:pt x="689" y="97"/>
                  </a:cubicBezTo>
                  <a:cubicBezTo>
                    <a:pt x="683" y="97"/>
                    <a:pt x="677" y="97"/>
                    <a:pt x="671" y="97"/>
                  </a:cubicBezTo>
                  <a:cubicBezTo>
                    <a:pt x="672" y="98"/>
                    <a:pt x="673" y="98"/>
                    <a:pt x="674" y="99"/>
                  </a:cubicBezTo>
                  <a:cubicBezTo>
                    <a:pt x="672" y="99"/>
                    <a:pt x="670" y="98"/>
                    <a:pt x="668" y="97"/>
                  </a:cubicBezTo>
                  <a:cubicBezTo>
                    <a:pt x="666" y="97"/>
                    <a:pt x="665" y="97"/>
                    <a:pt x="663" y="97"/>
                  </a:cubicBezTo>
                  <a:cubicBezTo>
                    <a:pt x="665" y="97"/>
                    <a:pt x="666" y="97"/>
                    <a:pt x="668" y="97"/>
                  </a:cubicBezTo>
                  <a:cubicBezTo>
                    <a:pt x="665" y="96"/>
                    <a:pt x="662" y="94"/>
                    <a:pt x="659" y="92"/>
                  </a:cubicBezTo>
                  <a:cubicBezTo>
                    <a:pt x="655" y="90"/>
                    <a:pt x="653" y="89"/>
                    <a:pt x="653" y="84"/>
                  </a:cubicBezTo>
                  <a:cubicBezTo>
                    <a:pt x="652" y="80"/>
                    <a:pt x="652" y="80"/>
                    <a:pt x="648" y="81"/>
                  </a:cubicBezTo>
                  <a:cubicBezTo>
                    <a:pt x="646" y="81"/>
                    <a:pt x="640" y="81"/>
                    <a:pt x="640" y="84"/>
                  </a:cubicBezTo>
                  <a:cubicBezTo>
                    <a:pt x="638" y="84"/>
                    <a:pt x="634" y="84"/>
                    <a:pt x="632" y="84"/>
                  </a:cubicBezTo>
                  <a:cubicBezTo>
                    <a:pt x="629" y="83"/>
                    <a:pt x="625" y="81"/>
                    <a:pt x="623" y="80"/>
                  </a:cubicBezTo>
                  <a:cubicBezTo>
                    <a:pt x="618" y="79"/>
                    <a:pt x="620" y="80"/>
                    <a:pt x="619" y="78"/>
                  </a:cubicBezTo>
                  <a:cubicBezTo>
                    <a:pt x="617" y="76"/>
                    <a:pt x="618" y="71"/>
                    <a:pt x="616" y="69"/>
                  </a:cubicBezTo>
                  <a:cubicBezTo>
                    <a:pt x="615" y="67"/>
                    <a:pt x="613" y="68"/>
                    <a:pt x="612" y="65"/>
                  </a:cubicBezTo>
                  <a:cubicBezTo>
                    <a:pt x="611" y="64"/>
                    <a:pt x="610" y="62"/>
                    <a:pt x="610" y="60"/>
                  </a:cubicBezTo>
                  <a:cubicBezTo>
                    <a:pt x="610" y="55"/>
                    <a:pt x="612" y="46"/>
                    <a:pt x="609" y="41"/>
                  </a:cubicBezTo>
                  <a:cubicBezTo>
                    <a:pt x="606" y="38"/>
                    <a:pt x="602" y="38"/>
                    <a:pt x="598" y="38"/>
                  </a:cubicBezTo>
                  <a:cubicBezTo>
                    <a:pt x="596" y="39"/>
                    <a:pt x="596" y="39"/>
                    <a:pt x="594" y="40"/>
                  </a:cubicBezTo>
                  <a:cubicBezTo>
                    <a:pt x="592" y="41"/>
                    <a:pt x="591" y="42"/>
                    <a:pt x="589" y="43"/>
                  </a:cubicBezTo>
                  <a:cubicBezTo>
                    <a:pt x="588" y="44"/>
                    <a:pt x="587" y="45"/>
                    <a:pt x="586" y="46"/>
                  </a:cubicBezTo>
                  <a:cubicBezTo>
                    <a:pt x="582" y="49"/>
                    <a:pt x="571" y="46"/>
                    <a:pt x="566" y="46"/>
                  </a:cubicBezTo>
                  <a:cubicBezTo>
                    <a:pt x="564" y="46"/>
                    <a:pt x="563" y="46"/>
                    <a:pt x="561" y="46"/>
                  </a:cubicBezTo>
                  <a:cubicBezTo>
                    <a:pt x="559" y="44"/>
                    <a:pt x="557" y="38"/>
                    <a:pt x="555" y="36"/>
                  </a:cubicBezTo>
                  <a:cubicBezTo>
                    <a:pt x="552" y="33"/>
                    <a:pt x="549" y="32"/>
                    <a:pt x="550" y="27"/>
                  </a:cubicBezTo>
                  <a:cubicBezTo>
                    <a:pt x="550" y="24"/>
                    <a:pt x="552" y="22"/>
                    <a:pt x="550" y="20"/>
                  </a:cubicBezTo>
                  <a:cubicBezTo>
                    <a:pt x="548" y="19"/>
                    <a:pt x="543" y="19"/>
                    <a:pt x="541" y="19"/>
                  </a:cubicBezTo>
                  <a:cubicBezTo>
                    <a:pt x="539" y="20"/>
                    <a:pt x="538" y="23"/>
                    <a:pt x="536" y="24"/>
                  </a:cubicBezTo>
                  <a:cubicBezTo>
                    <a:pt x="533" y="25"/>
                    <a:pt x="527" y="27"/>
                    <a:pt x="523" y="27"/>
                  </a:cubicBezTo>
                  <a:cubicBezTo>
                    <a:pt x="520" y="27"/>
                    <a:pt x="519" y="26"/>
                    <a:pt x="516" y="25"/>
                  </a:cubicBezTo>
                  <a:cubicBezTo>
                    <a:pt x="513" y="25"/>
                    <a:pt x="510" y="25"/>
                    <a:pt x="508" y="24"/>
                  </a:cubicBezTo>
                  <a:cubicBezTo>
                    <a:pt x="505" y="24"/>
                    <a:pt x="502" y="22"/>
                    <a:pt x="499" y="23"/>
                  </a:cubicBezTo>
                  <a:cubicBezTo>
                    <a:pt x="496" y="23"/>
                    <a:pt x="495" y="24"/>
                    <a:pt x="491" y="25"/>
                  </a:cubicBezTo>
                  <a:cubicBezTo>
                    <a:pt x="490" y="25"/>
                    <a:pt x="487" y="25"/>
                    <a:pt x="486" y="25"/>
                  </a:cubicBezTo>
                  <a:cubicBezTo>
                    <a:pt x="482" y="25"/>
                    <a:pt x="480" y="23"/>
                    <a:pt x="477" y="22"/>
                  </a:cubicBezTo>
                  <a:cubicBezTo>
                    <a:pt x="469" y="21"/>
                    <a:pt x="462" y="20"/>
                    <a:pt x="454" y="20"/>
                  </a:cubicBezTo>
                  <a:cubicBezTo>
                    <a:pt x="447" y="20"/>
                    <a:pt x="437" y="19"/>
                    <a:pt x="430" y="21"/>
                  </a:cubicBezTo>
                  <a:cubicBezTo>
                    <a:pt x="426" y="22"/>
                    <a:pt x="422" y="23"/>
                    <a:pt x="418" y="25"/>
                  </a:cubicBezTo>
                  <a:cubicBezTo>
                    <a:pt x="416" y="27"/>
                    <a:pt x="413" y="27"/>
                    <a:pt x="411" y="28"/>
                  </a:cubicBezTo>
                  <a:cubicBezTo>
                    <a:pt x="411" y="28"/>
                    <a:pt x="408" y="29"/>
                    <a:pt x="408" y="29"/>
                  </a:cubicBezTo>
                  <a:cubicBezTo>
                    <a:pt x="406" y="30"/>
                    <a:pt x="403" y="30"/>
                    <a:pt x="400" y="30"/>
                  </a:cubicBezTo>
                  <a:cubicBezTo>
                    <a:pt x="398" y="31"/>
                    <a:pt x="395" y="30"/>
                    <a:pt x="393" y="31"/>
                  </a:cubicBezTo>
                  <a:cubicBezTo>
                    <a:pt x="389" y="32"/>
                    <a:pt x="386" y="34"/>
                    <a:pt x="383" y="35"/>
                  </a:cubicBezTo>
                  <a:cubicBezTo>
                    <a:pt x="380" y="36"/>
                    <a:pt x="378" y="37"/>
                    <a:pt x="375" y="39"/>
                  </a:cubicBezTo>
                  <a:cubicBezTo>
                    <a:pt x="373" y="41"/>
                    <a:pt x="370" y="41"/>
                    <a:pt x="367" y="43"/>
                  </a:cubicBezTo>
                  <a:cubicBezTo>
                    <a:pt x="365" y="45"/>
                    <a:pt x="365" y="45"/>
                    <a:pt x="362" y="46"/>
                  </a:cubicBezTo>
                  <a:cubicBezTo>
                    <a:pt x="361" y="46"/>
                    <a:pt x="360" y="46"/>
                    <a:pt x="358" y="46"/>
                  </a:cubicBezTo>
                  <a:cubicBezTo>
                    <a:pt x="355" y="47"/>
                    <a:pt x="356" y="47"/>
                    <a:pt x="354" y="49"/>
                  </a:cubicBezTo>
                  <a:cubicBezTo>
                    <a:pt x="353" y="51"/>
                    <a:pt x="351" y="52"/>
                    <a:pt x="350" y="55"/>
                  </a:cubicBezTo>
                  <a:cubicBezTo>
                    <a:pt x="348" y="59"/>
                    <a:pt x="351" y="63"/>
                    <a:pt x="347" y="66"/>
                  </a:cubicBezTo>
                  <a:cubicBezTo>
                    <a:pt x="346" y="67"/>
                    <a:pt x="343" y="67"/>
                    <a:pt x="341" y="68"/>
                  </a:cubicBezTo>
                  <a:cubicBezTo>
                    <a:pt x="340" y="69"/>
                    <a:pt x="340" y="71"/>
                    <a:pt x="339" y="72"/>
                  </a:cubicBezTo>
                  <a:cubicBezTo>
                    <a:pt x="338" y="74"/>
                    <a:pt x="336" y="74"/>
                    <a:pt x="335" y="76"/>
                  </a:cubicBezTo>
                  <a:cubicBezTo>
                    <a:pt x="333" y="78"/>
                    <a:pt x="335" y="81"/>
                    <a:pt x="334" y="84"/>
                  </a:cubicBezTo>
                  <a:cubicBezTo>
                    <a:pt x="332" y="88"/>
                    <a:pt x="324" y="86"/>
                    <a:pt x="321" y="86"/>
                  </a:cubicBezTo>
                  <a:cubicBezTo>
                    <a:pt x="319" y="86"/>
                    <a:pt x="314" y="85"/>
                    <a:pt x="312" y="86"/>
                  </a:cubicBezTo>
                  <a:cubicBezTo>
                    <a:pt x="310" y="87"/>
                    <a:pt x="309" y="89"/>
                    <a:pt x="307" y="89"/>
                  </a:cubicBezTo>
                  <a:cubicBezTo>
                    <a:pt x="304" y="91"/>
                    <a:pt x="302" y="91"/>
                    <a:pt x="299" y="90"/>
                  </a:cubicBezTo>
                  <a:cubicBezTo>
                    <a:pt x="295" y="88"/>
                    <a:pt x="292" y="86"/>
                    <a:pt x="288" y="85"/>
                  </a:cubicBezTo>
                  <a:cubicBezTo>
                    <a:pt x="282" y="83"/>
                    <a:pt x="274" y="85"/>
                    <a:pt x="269" y="81"/>
                  </a:cubicBezTo>
                  <a:cubicBezTo>
                    <a:pt x="266" y="79"/>
                    <a:pt x="266" y="78"/>
                    <a:pt x="262" y="80"/>
                  </a:cubicBezTo>
                  <a:cubicBezTo>
                    <a:pt x="259" y="82"/>
                    <a:pt x="255" y="81"/>
                    <a:pt x="251" y="81"/>
                  </a:cubicBezTo>
                  <a:cubicBezTo>
                    <a:pt x="243" y="81"/>
                    <a:pt x="234" y="83"/>
                    <a:pt x="226" y="81"/>
                  </a:cubicBezTo>
                  <a:cubicBezTo>
                    <a:pt x="223" y="81"/>
                    <a:pt x="221" y="79"/>
                    <a:pt x="218" y="77"/>
                  </a:cubicBezTo>
                  <a:cubicBezTo>
                    <a:pt x="214" y="76"/>
                    <a:pt x="211" y="76"/>
                    <a:pt x="208" y="75"/>
                  </a:cubicBezTo>
                  <a:cubicBezTo>
                    <a:pt x="205" y="74"/>
                    <a:pt x="202" y="72"/>
                    <a:pt x="200" y="71"/>
                  </a:cubicBezTo>
                  <a:cubicBezTo>
                    <a:pt x="200" y="71"/>
                    <a:pt x="200" y="71"/>
                    <a:pt x="200" y="72"/>
                  </a:cubicBezTo>
                  <a:cubicBezTo>
                    <a:pt x="200" y="72"/>
                    <a:pt x="199" y="73"/>
                    <a:pt x="199" y="74"/>
                  </a:cubicBezTo>
                  <a:cubicBezTo>
                    <a:pt x="198" y="74"/>
                    <a:pt x="198" y="75"/>
                    <a:pt x="198" y="76"/>
                  </a:cubicBezTo>
                  <a:cubicBezTo>
                    <a:pt x="197" y="78"/>
                    <a:pt x="197" y="80"/>
                    <a:pt x="195" y="82"/>
                  </a:cubicBezTo>
                  <a:cubicBezTo>
                    <a:pt x="195" y="82"/>
                    <a:pt x="195" y="82"/>
                    <a:pt x="194" y="83"/>
                  </a:cubicBezTo>
                  <a:cubicBezTo>
                    <a:pt x="194" y="83"/>
                    <a:pt x="195" y="83"/>
                    <a:pt x="195" y="83"/>
                  </a:cubicBezTo>
                  <a:cubicBezTo>
                    <a:pt x="194" y="84"/>
                    <a:pt x="194" y="84"/>
                    <a:pt x="194" y="84"/>
                  </a:cubicBezTo>
                  <a:cubicBezTo>
                    <a:pt x="194" y="85"/>
                    <a:pt x="194" y="85"/>
                    <a:pt x="194" y="86"/>
                  </a:cubicBezTo>
                  <a:cubicBezTo>
                    <a:pt x="194" y="87"/>
                    <a:pt x="194" y="87"/>
                    <a:pt x="194" y="88"/>
                  </a:cubicBezTo>
                  <a:cubicBezTo>
                    <a:pt x="194" y="90"/>
                    <a:pt x="194" y="92"/>
                    <a:pt x="194" y="94"/>
                  </a:cubicBezTo>
                  <a:cubicBezTo>
                    <a:pt x="194" y="95"/>
                    <a:pt x="194" y="96"/>
                    <a:pt x="194" y="96"/>
                  </a:cubicBezTo>
                  <a:cubicBezTo>
                    <a:pt x="195" y="98"/>
                    <a:pt x="198" y="99"/>
                    <a:pt x="199" y="100"/>
                  </a:cubicBezTo>
                  <a:cubicBezTo>
                    <a:pt x="199" y="100"/>
                    <a:pt x="200" y="100"/>
                    <a:pt x="201" y="101"/>
                  </a:cubicBezTo>
                  <a:cubicBezTo>
                    <a:pt x="199" y="100"/>
                    <a:pt x="199" y="100"/>
                    <a:pt x="199" y="100"/>
                  </a:cubicBezTo>
                  <a:cubicBezTo>
                    <a:pt x="199" y="99"/>
                    <a:pt x="199" y="99"/>
                    <a:pt x="198" y="99"/>
                  </a:cubicBezTo>
                  <a:cubicBezTo>
                    <a:pt x="198" y="99"/>
                    <a:pt x="198" y="99"/>
                    <a:pt x="197" y="98"/>
                  </a:cubicBezTo>
                  <a:cubicBezTo>
                    <a:pt x="197" y="98"/>
                    <a:pt x="196" y="98"/>
                    <a:pt x="196" y="97"/>
                  </a:cubicBezTo>
                  <a:cubicBezTo>
                    <a:pt x="196" y="97"/>
                    <a:pt x="196" y="97"/>
                    <a:pt x="195" y="97"/>
                  </a:cubicBezTo>
                  <a:cubicBezTo>
                    <a:pt x="199" y="100"/>
                    <a:pt x="199" y="100"/>
                    <a:pt x="199" y="100"/>
                  </a:cubicBezTo>
                  <a:cubicBezTo>
                    <a:pt x="200" y="100"/>
                    <a:pt x="200" y="100"/>
                    <a:pt x="201" y="100"/>
                  </a:cubicBezTo>
                  <a:cubicBezTo>
                    <a:pt x="204" y="100"/>
                    <a:pt x="206" y="103"/>
                    <a:pt x="209" y="105"/>
                  </a:cubicBezTo>
                  <a:cubicBezTo>
                    <a:pt x="209" y="106"/>
                    <a:pt x="210" y="106"/>
                    <a:pt x="211" y="106"/>
                  </a:cubicBezTo>
                  <a:cubicBezTo>
                    <a:pt x="212" y="106"/>
                    <a:pt x="213" y="106"/>
                    <a:pt x="215" y="107"/>
                  </a:cubicBezTo>
                  <a:cubicBezTo>
                    <a:pt x="216" y="107"/>
                    <a:pt x="218" y="108"/>
                    <a:pt x="219" y="108"/>
                  </a:cubicBezTo>
                  <a:cubicBezTo>
                    <a:pt x="222" y="110"/>
                    <a:pt x="225" y="112"/>
                    <a:pt x="228" y="113"/>
                  </a:cubicBezTo>
                  <a:cubicBezTo>
                    <a:pt x="230" y="114"/>
                    <a:pt x="231" y="114"/>
                    <a:pt x="233" y="114"/>
                  </a:cubicBezTo>
                  <a:cubicBezTo>
                    <a:pt x="237" y="114"/>
                    <a:pt x="241" y="113"/>
                    <a:pt x="245" y="113"/>
                  </a:cubicBezTo>
                  <a:cubicBezTo>
                    <a:pt x="246" y="114"/>
                    <a:pt x="247" y="114"/>
                    <a:pt x="248" y="115"/>
                  </a:cubicBezTo>
                  <a:cubicBezTo>
                    <a:pt x="246" y="115"/>
                    <a:pt x="244" y="115"/>
                    <a:pt x="242" y="115"/>
                  </a:cubicBezTo>
                  <a:cubicBezTo>
                    <a:pt x="241" y="115"/>
                    <a:pt x="240" y="115"/>
                    <a:pt x="239" y="115"/>
                  </a:cubicBezTo>
                  <a:cubicBezTo>
                    <a:pt x="237" y="115"/>
                    <a:pt x="235" y="115"/>
                    <a:pt x="233" y="116"/>
                  </a:cubicBezTo>
                  <a:cubicBezTo>
                    <a:pt x="232" y="117"/>
                    <a:pt x="232" y="118"/>
                    <a:pt x="232" y="119"/>
                  </a:cubicBezTo>
                  <a:cubicBezTo>
                    <a:pt x="231" y="122"/>
                    <a:pt x="227" y="119"/>
                    <a:pt x="225" y="118"/>
                  </a:cubicBezTo>
                  <a:cubicBezTo>
                    <a:pt x="225" y="118"/>
                    <a:pt x="224" y="117"/>
                    <a:pt x="224" y="117"/>
                  </a:cubicBezTo>
                  <a:cubicBezTo>
                    <a:pt x="223" y="118"/>
                    <a:pt x="222" y="118"/>
                    <a:pt x="222" y="118"/>
                  </a:cubicBezTo>
                  <a:cubicBezTo>
                    <a:pt x="221" y="118"/>
                    <a:pt x="220" y="119"/>
                    <a:pt x="219" y="118"/>
                  </a:cubicBezTo>
                  <a:cubicBezTo>
                    <a:pt x="217" y="118"/>
                    <a:pt x="216" y="118"/>
                    <a:pt x="214" y="118"/>
                  </a:cubicBezTo>
                  <a:cubicBezTo>
                    <a:pt x="212" y="117"/>
                    <a:pt x="212" y="116"/>
                    <a:pt x="210" y="117"/>
                  </a:cubicBezTo>
                  <a:cubicBezTo>
                    <a:pt x="210" y="117"/>
                    <a:pt x="208" y="118"/>
                    <a:pt x="208" y="119"/>
                  </a:cubicBezTo>
                  <a:cubicBezTo>
                    <a:pt x="208" y="119"/>
                    <a:pt x="208" y="120"/>
                    <a:pt x="208" y="120"/>
                  </a:cubicBezTo>
                  <a:cubicBezTo>
                    <a:pt x="207" y="121"/>
                    <a:pt x="208" y="121"/>
                    <a:pt x="207" y="121"/>
                  </a:cubicBezTo>
                  <a:cubicBezTo>
                    <a:pt x="206" y="121"/>
                    <a:pt x="206" y="121"/>
                    <a:pt x="205" y="121"/>
                  </a:cubicBezTo>
                  <a:cubicBezTo>
                    <a:pt x="201" y="120"/>
                    <a:pt x="195" y="119"/>
                    <a:pt x="191" y="122"/>
                  </a:cubicBezTo>
                  <a:cubicBezTo>
                    <a:pt x="191" y="122"/>
                    <a:pt x="191" y="122"/>
                    <a:pt x="191" y="122"/>
                  </a:cubicBezTo>
                  <a:cubicBezTo>
                    <a:pt x="192" y="123"/>
                    <a:pt x="191" y="124"/>
                    <a:pt x="191" y="125"/>
                  </a:cubicBezTo>
                  <a:cubicBezTo>
                    <a:pt x="191" y="126"/>
                    <a:pt x="189" y="126"/>
                    <a:pt x="188" y="126"/>
                  </a:cubicBezTo>
                  <a:cubicBezTo>
                    <a:pt x="186" y="127"/>
                    <a:pt x="183" y="126"/>
                    <a:pt x="181" y="127"/>
                  </a:cubicBezTo>
                  <a:cubicBezTo>
                    <a:pt x="178" y="128"/>
                    <a:pt x="182" y="131"/>
                    <a:pt x="183" y="132"/>
                  </a:cubicBezTo>
                  <a:cubicBezTo>
                    <a:pt x="183" y="134"/>
                    <a:pt x="179" y="135"/>
                    <a:pt x="178" y="135"/>
                  </a:cubicBezTo>
                  <a:cubicBezTo>
                    <a:pt x="176" y="135"/>
                    <a:pt x="176" y="134"/>
                    <a:pt x="175" y="134"/>
                  </a:cubicBezTo>
                  <a:cubicBezTo>
                    <a:pt x="173" y="133"/>
                    <a:pt x="170" y="134"/>
                    <a:pt x="168" y="133"/>
                  </a:cubicBezTo>
                  <a:cubicBezTo>
                    <a:pt x="167" y="132"/>
                    <a:pt x="166" y="131"/>
                    <a:pt x="166" y="130"/>
                  </a:cubicBezTo>
                  <a:cubicBezTo>
                    <a:pt x="166" y="130"/>
                    <a:pt x="164" y="127"/>
                    <a:pt x="163" y="127"/>
                  </a:cubicBezTo>
                  <a:cubicBezTo>
                    <a:pt x="163" y="127"/>
                    <a:pt x="161" y="128"/>
                    <a:pt x="161" y="129"/>
                  </a:cubicBezTo>
                  <a:cubicBezTo>
                    <a:pt x="159" y="130"/>
                    <a:pt x="157" y="131"/>
                    <a:pt x="156" y="133"/>
                  </a:cubicBezTo>
                  <a:cubicBezTo>
                    <a:pt x="153" y="134"/>
                    <a:pt x="152" y="136"/>
                    <a:pt x="150" y="137"/>
                  </a:cubicBezTo>
                  <a:cubicBezTo>
                    <a:pt x="149" y="138"/>
                    <a:pt x="148" y="138"/>
                    <a:pt x="148" y="138"/>
                  </a:cubicBezTo>
                  <a:cubicBezTo>
                    <a:pt x="147" y="139"/>
                    <a:pt x="146" y="139"/>
                    <a:pt x="145" y="140"/>
                  </a:cubicBezTo>
                  <a:cubicBezTo>
                    <a:pt x="143" y="140"/>
                    <a:pt x="143" y="140"/>
                    <a:pt x="141" y="140"/>
                  </a:cubicBezTo>
                  <a:cubicBezTo>
                    <a:pt x="140" y="139"/>
                    <a:pt x="140" y="139"/>
                    <a:pt x="138" y="140"/>
                  </a:cubicBezTo>
                  <a:cubicBezTo>
                    <a:pt x="137" y="140"/>
                    <a:pt x="136" y="140"/>
                    <a:pt x="134" y="140"/>
                  </a:cubicBezTo>
                  <a:cubicBezTo>
                    <a:pt x="134" y="140"/>
                    <a:pt x="133" y="140"/>
                    <a:pt x="133" y="140"/>
                  </a:cubicBezTo>
                  <a:cubicBezTo>
                    <a:pt x="132" y="140"/>
                    <a:pt x="132" y="138"/>
                    <a:pt x="132" y="138"/>
                  </a:cubicBezTo>
                  <a:cubicBezTo>
                    <a:pt x="133" y="136"/>
                    <a:pt x="134" y="134"/>
                    <a:pt x="133" y="132"/>
                  </a:cubicBezTo>
                  <a:cubicBezTo>
                    <a:pt x="133" y="130"/>
                    <a:pt x="131" y="129"/>
                    <a:pt x="129" y="129"/>
                  </a:cubicBezTo>
                  <a:cubicBezTo>
                    <a:pt x="127" y="129"/>
                    <a:pt x="126" y="129"/>
                    <a:pt x="125" y="129"/>
                  </a:cubicBezTo>
                  <a:cubicBezTo>
                    <a:pt x="122" y="129"/>
                    <a:pt x="118" y="127"/>
                    <a:pt x="115" y="128"/>
                  </a:cubicBezTo>
                  <a:cubicBezTo>
                    <a:pt x="113" y="129"/>
                    <a:pt x="113" y="132"/>
                    <a:pt x="114" y="134"/>
                  </a:cubicBezTo>
                  <a:cubicBezTo>
                    <a:pt x="115" y="136"/>
                    <a:pt x="116" y="136"/>
                    <a:pt x="119" y="137"/>
                  </a:cubicBezTo>
                  <a:cubicBezTo>
                    <a:pt x="121" y="137"/>
                    <a:pt x="125" y="140"/>
                    <a:pt x="126" y="143"/>
                  </a:cubicBezTo>
                  <a:cubicBezTo>
                    <a:pt x="126" y="145"/>
                    <a:pt x="123" y="146"/>
                    <a:pt x="121" y="147"/>
                  </a:cubicBezTo>
                  <a:cubicBezTo>
                    <a:pt x="118" y="147"/>
                    <a:pt x="114" y="145"/>
                    <a:pt x="111" y="144"/>
                  </a:cubicBezTo>
                  <a:cubicBezTo>
                    <a:pt x="110" y="144"/>
                    <a:pt x="109" y="143"/>
                    <a:pt x="107" y="143"/>
                  </a:cubicBezTo>
                  <a:cubicBezTo>
                    <a:pt x="105" y="143"/>
                    <a:pt x="102" y="144"/>
                    <a:pt x="100" y="143"/>
                  </a:cubicBezTo>
                  <a:cubicBezTo>
                    <a:pt x="98" y="143"/>
                    <a:pt x="95" y="141"/>
                    <a:pt x="93" y="140"/>
                  </a:cubicBezTo>
                  <a:cubicBezTo>
                    <a:pt x="93" y="139"/>
                    <a:pt x="92" y="138"/>
                    <a:pt x="92" y="137"/>
                  </a:cubicBezTo>
                  <a:cubicBezTo>
                    <a:pt x="91" y="136"/>
                    <a:pt x="92" y="136"/>
                    <a:pt x="91" y="135"/>
                  </a:cubicBezTo>
                  <a:cubicBezTo>
                    <a:pt x="91" y="135"/>
                    <a:pt x="90" y="133"/>
                    <a:pt x="89" y="132"/>
                  </a:cubicBezTo>
                  <a:cubicBezTo>
                    <a:pt x="88" y="132"/>
                    <a:pt x="87" y="134"/>
                    <a:pt x="86" y="135"/>
                  </a:cubicBezTo>
                  <a:cubicBezTo>
                    <a:pt x="86" y="135"/>
                    <a:pt x="85" y="135"/>
                    <a:pt x="85" y="135"/>
                  </a:cubicBezTo>
                  <a:cubicBezTo>
                    <a:pt x="84" y="135"/>
                    <a:pt x="84" y="135"/>
                    <a:pt x="83" y="135"/>
                  </a:cubicBezTo>
                  <a:cubicBezTo>
                    <a:pt x="81" y="136"/>
                    <a:pt x="78" y="136"/>
                    <a:pt x="76" y="136"/>
                  </a:cubicBezTo>
                  <a:cubicBezTo>
                    <a:pt x="74" y="135"/>
                    <a:pt x="72" y="135"/>
                    <a:pt x="71" y="135"/>
                  </a:cubicBezTo>
                  <a:cubicBezTo>
                    <a:pt x="69" y="135"/>
                    <a:pt x="68" y="136"/>
                    <a:pt x="66" y="136"/>
                  </a:cubicBezTo>
                  <a:cubicBezTo>
                    <a:pt x="64" y="137"/>
                    <a:pt x="63" y="138"/>
                    <a:pt x="60" y="137"/>
                  </a:cubicBezTo>
                  <a:cubicBezTo>
                    <a:pt x="59" y="137"/>
                    <a:pt x="58" y="138"/>
                    <a:pt x="58" y="136"/>
                  </a:cubicBezTo>
                  <a:cubicBezTo>
                    <a:pt x="58" y="136"/>
                    <a:pt x="58" y="135"/>
                    <a:pt x="58" y="134"/>
                  </a:cubicBezTo>
                  <a:cubicBezTo>
                    <a:pt x="58" y="134"/>
                    <a:pt x="59" y="133"/>
                    <a:pt x="59" y="132"/>
                  </a:cubicBezTo>
                  <a:cubicBezTo>
                    <a:pt x="59" y="132"/>
                    <a:pt x="59" y="131"/>
                    <a:pt x="59" y="130"/>
                  </a:cubicBezTo>
                  <a:cubicBezTo>
                    <a:pt x="59" y="130"/>
                    <a:pt x="59" y="130"/>
                    <a:pt x="59" y="129"/>
                  </a:cubicBezTo>
                  <a:cubicBezTo>
                    <a:pt x="57" y="130"/>
                    <a:pt x="55" y="130"/>
                    <a:pt x="54" y="131"/>
                  </a:cubicBezTo>
                  <a:cubicBezTo>
                    <a:pt x="52" y="132"/>
                    <a:pt x="51" y="132"/>
                    <a:pt x="49" y="133"/>
                  </a:cubicBezTo>
                  <a:cubicBezTo>
                    <a:pt x="48" y="134"/>
                    <a:pt x="47" y="136"/>
                    <a:pt x="46" y="136"/>
                  </a:cubicBezTo>
                  <a:cubicBezTo>
                    <a:pt x="42" y="138"/>
                    <a:pt x="34" y="136"/>
                    <a:pt x="30" y="136"/>
                  </a:cubicBezTo>
                  <a:cubicBezTo>
                    <a:pt x="27" y="136"/>
                    <a:pt x="20" y="135"/>
                    <a:pt x="17" y="137"/>
                  </a:cubicBezTo>
                  <a:cubicBezTo>
                    <a:pt x="15" y="138"/>
                    <a:pt x="16" y="139"/>
                    <a:pt x="16" y="140"/>
                  </a:cubicBezTo>
                  <a:cubicBezTo>
                    <a:pt x="15" y="142"/>
                    <a:pt x="15" y="145"/>
                    <a:pt x="14" y="147"/>
                  </a:cubicBezTo>
                  <a:cubicBezTo>
                    <a:pt x="11" y="150"/>
                    <a:pt x="8" y="150"/>
                    <a:pt x="5" y="151"/>
                  </a:cubicBezTo>
                  <a:cubicBezTo>
                    <a:pt x="2" y="152"/>
                    <a:pt x="0" y="155"/>
                    <a:pt x="1" y="158"/>
                  </a:cubicBezTo>
                  <a:cubicBezTo>
                    <a:pt x="4" y="164"/>
                    <a:pt x="6" y="158"/>
                    <a:pt x="8" y="156"/>
                  </a:cubicBezTo>
                  <a:cubicBezTo>
                    <a:pt x="9" y="155"/>
                    <a:pt x="11" y="154"/>
                    <a:pt x="12" y="154"/>
                  </a:cubicBezTo>
                  <a:cubicBezTo>
                    <a:pt x="14" y="153"/>
                    <a:pt x="19" y="150"/>
                    <a:pt x="21" y="150"/>
                  </a:cubicBezTo>
                  <a:cubicBezTo>
                    <a:pt x="21" y="151"/>
                    <a:pt x="23" y="152"/>
                    <a:pt x="25" y="153"/>
                  </a:cubicBezTo>
                  <a:cubicBezTo>
                    <a:pt x="26" y="153"/>
                    <a:pt x="29" y="153"/>
                    <a:pt x="30" y="154"/>
                  </a:cubicBezTo>
                  <a:cubicBezTo>
                    <a:pt x="32" y="156"/>
                    <a:pt x="28" y="161"/>
                    <a:pt x="29" y="163"/>
                  </a:cubicBezTo>
                  <a:cubicBezTo>
                    <a:pt x="32" y="165"/>
                    <a:pt x="39" y="157"/>
                    <a:pt x="38" y="166"/>
                  </a:cubicBezTo>
                  <a:cubicBezTo>
                    <a:pt x="37" y="169"/>
                    <a:pt x="37" y="167"/>
                    <a:pt x="34" y="168"/>
                  </a:cubicBezTo>
                  <a:cubicBezTo>
                    <a:pt x="33" y="169"/>
                    <a:pt x="32" y="169"/>
                    <a:pt x="32" y="170"/>
                  </a:cubicBezTo>
                  <a:cubicBezTo>
                    <a:pt x="31" y="171"/>
                    <a:pt x="30" y="171"/>
                    <a:pt x="29" y="171"/>
                  </a:cubicBezTo>
                  <a:cubicBezTo>
                    <a:pt x="27" y="172"/>
                    <a:pt x="27" y="170"/>
                    <a:pt x="26" y="173"/>
                  </a:cubicBezTo>
                  <a:cubicBezTo>
                    <a:pt x="26" y="175"/>
                    <a:pt x="26" y="180"/>
                    <a:pt x="27" y="182"/>
                  </a:cubicBezTo>
                  <a:cubicBezTo>
                    <a:pt x="27" y="187"/>
                    <a:pt x="29" y="194"/>
                    <a:pt x="26" y="198"/>
                  </a:cubicBezTo>
                  <a:cubicBezTo>
                    <a:pt x="25" y="201"/>
                    <a:pt x="25" y="201"/>
                    <a:pt x="24" y="204"/>
                  </a:cubicBezTo>
                  <a:cubicBezTo>
                    <a:pt x="24" y="205"/>
                    <a:pt x="25" y="207"/>
                    <a:pt x="24" y="208"/>
                  </a:cubicBezTo>
                  <a:cubicBezTo>
                    <a:pt x="26" y="209"/>
                    <a:pt x="29" y="209"/>
                    <a:pt x="31" y="209"/>
                  </a:cubicBezTo>
                  <a:cubicBezTo>
                    <a:pt x="34" y="210"/>
                    <a:pt x="35" y="211"/>
                    <a:pt x="38" y="211"/>
                  </a:cubicBezTo>
                  <a:cubicBezTo>
                    <a:pt x="41" y="211"/>
                    <a:pt x="46" y="212"/>
                    <a:pt x="48" y="211"/>
                  </a:cubicBezTo>
                  <a:cubicBezTo>
                    <a:pt x="51" y="210"/>
                    <a:pt x="51" y="209"/>
                    <a:pt x="53" y="208"/>
                  </a:cubicBezTo>
                  <a:cubicBezTo>
                    <a:pt x="55" y="208"/>
                    <a:pt x="58" y="208"/>
                    <a:pt x="60" y="208"/>
                  </a:cubicBezTo>
                  <a:cubicBezTo>
                    <a:pt x="64" y="208"/>
                    <a:pt x="68" y="208"/>
                    <a:pt x="73" y="208"/>
                  </a:cubicBezTo>
                  <a:cubicBezTo>
                    <a:pt x="74" y="213"/>
                    <a:pt x="61" y="217"/>
                    <a:pt x="58" y="220"/>
                  </a:cubicBezTo>
                  <a:cubicBezTo>
                    <a:pt x="55" y="222"/>
                    <a:pt x="52" y="226"/>
                    <a:pt x="54" y="229"/>
                  </a:cubicBezTo>
                  <a:cubicBezTo>
                    <a:pt x="55" y="232"/>
                    <a:pt x="60" y="233"/>
                    <a:pt x="61" y="235"/>
                  </a:cubicBezTo>
                  <a:cubicBezTo>
                    <a:pt x="62" y="237"/>
                    <a:pt x="63" y="239"/>
                    <a:pt x="63" y="241"/>
                  </a:cubicBezTo>
                  <a:cubicBezTo>
                    <a:pt x="65" y="244"/>
                    <a:pt x="63" y="248"/>
                    <a:pt x="64" y="252"/>
                  </a:cubicBezTo>
                  <a:cubicBezTo>
                    <a:pt x="65" y="253"/>
                    <a:pt x="66" y="256"/>
                    <a:pt x="66" y="256"/>
                  </a:cubicBezTo>
                  <a:cubicBezTo>
                    <a:pt x="68" y="257"/>
                    <a:pt x="69" y="256"/>
                    <a:pt x="70" y="257"/>
                  </a:cubicBezTo>
                  <a:cubicBezTo>
                    <a:pt x="71" y="258"/>
                    <a:pt x="72" y="259"/>
                    <a:pt x="72" y="261"/>
                  </a:cubicBezTo>
                  <a:cubicBezTo>
                    <a:pt x="72" y="265"/>
                    <a:pt x="70" y="264"/>
                    <a:pt x="67" y="265"/>
                  </a:cubicBezTo>
                  <a:cubicBezTo>
                    <a:pt x="66" y="266"/>
                    <a:pt x="65" y="268"/>
                    <a:pt x="64" y="269"/>
                  </a:cubicBezTo>
                  <a:cubicBezTo>
                    <a:pt x="62" y="270"/>
                    <a:pt x="60" y="270"/>
                    <a:pt x="59" y="273"/>
                  </a:cubicBezTo>
                  <a:cubicBezTo>
                    <a:pt x="58" y="277"/>
                    <a:pt x="64" y="286"/>
                    <a:pt x="66" y="288"/>
                  </a:cubicBezTo>
                  <a:cubicBezTo>
                    <a:pt x="68" y="290"/>
                    <a:pt x="69" y="290"/>
                    <a:pt x="70" y="291"/>
                  </a:cubicBezTo>
                  <a:cubicBezTo>
                    <a:pt x="70" y="292"/>
                    <a:pt x="72" y="296"/>
                    <a:pt x="72" y="297"/>
                  </a:cubicBezTo>
                  <a:cubicBezTo>
                    <a:pt x="72" y="303"/>
                    <a:pt x="60" y="299"/>
                    <a:pt x="57" y="299"/>
                  </a:cubicBezTo>
                  <a:cubicBezTo>
                    <a:pt x="52" y="299"/>
                    <a:pt x="50" y="298"/>
                    <a:pt x="49" y="293"/>
                  </a:cubicBezTo>
                  <a:cubicBezTo>
                    <a:pt x="48" y="291"/>
                    <a:pt x="49" y="289"/>
                    <a:pt x="49" y="287"/>
                  </a:cubicBezTo>
                  <a:cubicBezTo>
                    <a:pt x="48" y="285"/>
                    <a:pt x="47" y="284"/>
                    <a:pt x="46" y="283"/>
                  </a:cubicBezTo>
                  <a:cubicBezTo>
                    <a:pt x="45" y="280"/>
                    <a:pt x="46" y="275"/>
                    <a:pt x="41" y="277"/>
                  </a:cubicBezTo>
                  <a:cubicBezTo>
                    <a:pt x="35" y="280"/>
                    <a:pt x="37" y="289"/>
                    <a:pt x="39" y="293"/>
                  </a:cubicBezTo>
                  <a:cubicBezTo>
                    <a:pt x="40" y="295"/>
                    <a:pt x="41" y="297"/>
                    <a:pt x="40" y="299"/>
                  </a:cubicBezTo>
                  <a:cubicBezTo>
                    <a:pt x="40" y="302"/>
                    <a:pt x="36" y="301"/>
                    <a:pt x="35" y="302"/>
                  </a:cubicBezTo>
                  <a:cubicBezTo>
                    <a:pt x="34" y="305"/>
                    <a:pt x="37" y="310"/>
                    <a:pt x="40" y="310"/>
                  </a:cubicBezTo>
                  <a:cubicBezTo>
                    <a:pt x="40" y="314"/>
                    <a:pt x="48" y="315"/>
                    <a:pt x="51" y="315"/>
                  </a:cubicBezTo>
                  <a:cubicBezTo>
                    <a:pt x="54" y="315"/>
                    <a:pt x="56" y="315"/>
                    <a:pt x="58" y="316"/>
                  </a:cubicBezTo>
                  <a:cubicBezTo>
                    <a:pt x="60" y="317"/>
                    <a:pt x="60" y="320"/>
                    <a:pt x="62" y="320"/>
                  </a:cubicBezTo>
                  <a:cubicBezTo>
                    <a:pt x="67" y="322"/>
                    <a:pt x="71" y="321"/>
                    <a:pt x="75" y="326"/>
                  </a:cubicBezTo>
                  <a:cubicBezTo>
                    <a:pt x="78" y="329"/>
                    <a:pt x="81" y="332"/>
                    <a:pt x="82" y="336"/>
                  </a:cubicBezTo>
                  <a:cubicBezTo>
                    <a:pt x="85" y="336"/>
                    <a:pt x="85" y="337"/>
                    <a:pt x="86" y="340"/>
                  </a:cubicBezTo>
                  <a:cubicBezTo>
                    <a:pt x="87" y="343"/>
                    <a:pt x="90" y="347"/>
                    <a:pt x="89" y="350"/>
                  </a:cubicBezTo>
                  <a:cubicBezTo>
                    <a:pt x="86" y="357"/>
                    <a:pt x="73" y="350"/>
                    <a:pt x="70" y="348"/>
                  </a:cubicBezTo>
                  <a:cubicBezTo>
                    <a:pt x="67" y="346"/>
                    <a:pt x="68" y="344"/>
                    <a:pt x="63" y="344"/>
                  </a:cubicBezTo>
                  <a:cubicBezTo>
                    <a:pt x="62" y="344"/>
                    <a:pt x="59" y="344"/>
                    <a:pt x="57" y="344"/>
                  </a:cubicBezTo>
                  <a:cubicBezTo>
                    <a:pt x="57" y="345"/>
                    <a:pt x="56" y="346"/>
                    <a:pt x="55" y="347"/>
                  </a:cubicBezTo>
                  <a:cubicBezTo>
                    <a:pt x="55" y="347"/>
                    <a:pt x="53" y="348"/>
                    <a:pt x="52" y="348"/>
                  </a:cubicBezTo>
                  <a:cubicBezTo>
                    <a:pt x="51" y="349"/>
                    <a:pt x="47" y="351"/>
                    <a:pt x="48" y="353"/>
                  </a:cubicBezTo>
                  <a:cubicBezTo>
                    <a:pt x="50" y="356"/>
                    <a:pt x="52" y="354"/>
                    <a:pt x="54" y="355"/>
                  </a:cubicBezTo>
                  <a:cubicBezTo>
                    <a:pt x="56" y="355"/>
                    <a:pt x="57" y="358"/>
                    <a:pt x="59" y="359"/>
                  </a:cubicBezTo>
                  <a:cubicBezTo>
                    <a:pt x="61" y="360"/>
                    <a:pt x="62" y="361"/>
                    <a:pt x="65" y="361"/>
                  </a:cubicBezTo>
                  <a:cubicBezTo>
                    <a:pt x="68" y="362"/>
                    <a:pt x="69" y="362"/>
                    <a:pt x="71" y="364"/>
                  </a:cubicBezTo>
                  <a:cubicBezTo>
                    <a:pt x="73" y="365"/>
                    <a:pt x="74" y="366"/>
                    <a:pt x="75" y="367"/>
                  </a:cubicBezTo>
                  <a:cubicBezTo>
                    <a:pt x="77" y="368"/>
                    <a:pt x="78" y="370"/>
                    <a:pt x="79" y="371"/>
                  </a:cubicBezTo>
                  <a:cubicBezTo>
                    <a:pt x="80" y="371"/>
                    <a:pt x="81" y="371"/>
                    <a:pt x="82" y="371"/>
                  </a:cubicBezTo>
                  <a:cubicBezTo>
                    <a:pt x="83" y="371"/>
                    <a:pt x="84" y="374"/>
                    <a:pt x="84" y="375"/>
                  </a:cubicBezTo>
                  <a:cubicBezTo>
                    <a:pt x="86" y="380"/>
                    <a:pt x="82" y="386"/>
                    <a:pt x="89" y="387"/>
                  </a:cubicBezTo>
                  <a:cubicBezTo>
                    <a:pt x="94" y="388"/>
                    <a:pt x="96" y="382"/>
                    <a:pt x="101" y="384"/>
                  </a:cubicBezTo>
                  <a:cubicBezTo>
                    <a:pt x="104" y="385"/>
                    <a:pt x="108" y="392"/>
                    <a:pt x="108" y="396"/>
                  </a:cubicBezTo>
                  <a:cubicBezTo>
                    <a:pt x="107" y="400"/>
                    <a:pt x="102" y="405"/>
                    <a:pt x="98" y="402"/>
                  </a:cubicBezTo>
                  <a:cubicBezTo>
                    <a:pt x="98" y="402"/>
                    <a:pt x="98" y="401"/>
                    <a:pt x="98" y="400"/>
                  </a:cubicBezTo>
                  <a:cubicBezTo>
                    <a:pt x="97" y="399"/>
                    <a:pt x="95" y="401"/>
                    <a:pt x="94" y="400"/>
                  </a:cubicBezTo>
                  <a:cubicBezTo>
                    <a:pt x="93" y="400"/>
                    <a:pt x="93" y="399"/>
                    <a:pt x="93" y="398"/>
                  </a:cubicBezTo>
                  <a:cubicBezTo>
                    <a:pt x="91" y="397"/>
                    <a:pt x="90" y="397"/>
                    <a:pt x="88" y="398"/>
                  </a:cubicBezTo>
                  <a:cubicBezTo>
                    <a:pt x="85" y="399"/>
                    <a:pt x="86" y="401"/>
                    <a:pt x="85" y="403"/>
                  </a:cubicBezTo>
                  <a:cubicBezTo>
                    <a:pt x="84" y="406"/>
                    <a:pt x="82" y="404"/>
                    <a:pt x="85" y="407"/>
                  </a:cubicBezTo>
                  <a:cubicBezTo>
                    <a:pt x="88" y="410"/>
                    <a:pt x="92" y="412"/>
                    <a:pt x="96" y="412"/>
                  </a:cubicBezTo>
                  <a:cubicBezTo>
                    <a:pt x="105" y="412"/>
                    <a:pt x="114" y="411"/>
                    <a:pt x="123" y="412"/>
                  </a:cubicBezTo>
                  <a:cubicBezTo>
                    <a:pt x="125" y="412"/>
                    <a:pt x="128" y="412"/>
                    <a:pt x="130" y="413"/>
                  </a:cubicBezTo>
                  <a:cubicBezTo>
                    <a:pt x="133" y="413"/>
                    <a:pt x="137" y="412"/>
                    <a:pt x="140" y="413"/>
                  </a:cubicBezTo>
                  <a:cubicBezTo>
                    <a:pt x="142" y="414"/>
                    <a:pt x="144" y="416"/>
                    <a:pt x="146" y="416"/>
                  </a:cubicBezTo>
                  <a:cubicBezTo>
                    <a:pt x="147" y="417"/>
                    <a:pt x="149" y="416"/>
                    <a:pt x="150" y="416"/>
                  </a:cubicBezTo>
                  <a:cubicBezTo>
                    <a:pt x="149" y="422"/>
                    <a:pt x="139" y="415"/>
                    <a:pt x="139" y="423"/>
                  </a:cubicBezTo>
                  <a:cubicBezTo>
                    <a:pt x="138" y="423"/>
                    <a:pt x="138" y="424"/>
                    <a:pt x="137" y="424"/>
                  </a:cubicBezTo>
                  <a:cubicBezTo>
                    <a:pt x="135" y="425"/>
                    <a:pt x="134" y="425"/>
                    <a:pt x="132" y="425"/>
                  </a:cubicBezTo>
                  <a:cubicBezTo>
                    <a:pt x="129" y="426"/>
                    <a:pt x="126" y="425"/>
                    <a:pt x="124" y="425"/>
                  </a:cubicBezTo>
                  <a:cubicBezTo>
                    <a:pt x="121" y="426"/>
                    <a:pt x="121" y="428"/>
                    <a:pt x="118" y="429"/>
                  </a:cubicBezTo>
                  <a:cubicBezTo>
                    <a:pt x="112" y="432"/>
                    <a:pt x="106" y="425"/>
                    <a:pt x="101" y="427"/>
                  </a:cubicBezTo>
                  <a:cubicBezTo>
                    <a:pt x="98" y="428"/>
                    <a:pt x="96" y="431"/>
                    <a:pt x="96" y="433"/>
                  </a:cubicBezTo>
                  <a:cubicBezTo>
                    <a:pt x="97" y="439"/>
                    <a:pt x="102" y="438"/>
                    <a:pt x="106" y="438"/>
                  </a:cubicBezTo>
                  <a:cubicBezTo>
                    <a:pt x="113" y="438"/>
                    <a:pt x="119" y="440"/>
                    <a:pt x="125" y="439"/>
                  </a:cubicBezTo>
                  <a:cubicBezTo>
                    <a:pt x="127" y="438"/>
                    <a:pt x="134" y="436"/>
                    <a:pt x="134" y="440"/>
                  </a:cubicBezTo>
                  <a:cubicBezTo>
                    <a:pt x="133" y="442"/>
                    <a:pt x="130" y="442"/>
                    <a:pt x="128" y="444"/>
                  </a:cubicBezTo>
                  <a:cubicBezTo>
                    <a:pt x="130" y="448"/>
                    <a:pt x="143" y="452"/>
                    <a:pt x="147" y="448"/>
                  </a:cubicBezTo>
                  <a:cubicBezTo>
                    <a:pt x="150" y="444"/>
                    <a:pt x="144" y="435"/>
                    <a:pt x="149" y="433"/>
                  </a:cubicBezTo>
                  <a:cubicBezTo>
                    <a:pt x="150" y="432"/>
                    <a:pt x="156" y="433"/>
                    <a:pt x="157" y="434"/>
                  </a:cubicBezTo>
                  <a:cubicBezTo>
                    <a:pt x="159" y="434"/>
                    <a:pt x="160" y="436"/>
                    <a:pt x="162" y="436"/>
                  </a:cubicBezTo>
                  <a:cubicBezTo>
                    <a:pt x="164" y="436"/>
                    <a:pt x="165" y="435"/>
                    <a:pt x="166" y="436"/>
                  </a:cubicBezTo>
                  <a:cubicBezTo>
                    <a:pt x="170" y="438"/>
                    <a:pt x="169" y="443"/>
                    <a:pt x="174" y="443"/>
                  </a:cubicBezTo>
                  <a:cubicBezTo>
                    <a:pt x="176" y="443"/>
                    <a:pt x="180" y="441"/>
                    <a:pt x="181" y="439"/>
                  </a:cubicBezTo>
                  <a:cubicBezTo>
                    <a:pt x="183" y="439"/>
                    <a:pt x="186" y="441"/>
                    <a:pt x="187" y="443"/>
                  </a:cubicBezTo>
                  <a:cubicBezTo>
                    <a:pt x="190" y="445"/>
                    <a:pt x="189" y="446"/>
                    <a:pt x="190" y="449"/>
                  </a:cubicBezTo>
                  <a:cubicBezTo>
                    <a:pt x="191" y="456"/>
                    <a:pt x="195" y="458"/>
                    <a:pt x="200" y="462"/>
                  </a:cubicBezTo>
                  <a:cubicBezTo>
                    <a:pt x="202" y="463"/>
                    <a:pt x="204" y="464"/>
                    <a:pt x="206" y="466"/>
                  </a:cubicBezTo>
                  <a:cubicBezTo>
                    <a:pt x="207" y="467"/>
                    <a:pt x="207" y="468"/>
                    <a:pt x="208" y="470"/>
                  </a:cubicBezTo>
                  <a:cubicBezTo>
                    <a:pt x="211" y="475"/>
                    <a:pt x="213" y="481"/>
                    <a:pt x="217" y="486"/>
                  </a:cubicBezTo>
                  <a:cubicBezTo>
                    <a:pt x="221" y="492"/>
                    <a:pt x="225" y="494"/>
                    <a:pt x="232" y="495"/>
                  </a:cubicBezTo>
                  <a:cubicBezTo>
                    <a:pt x="236" y="495"/>
                    <a:pt x="240" y="495"/>
                    <a:pt x="243" y="495"/>
                  </a:cubicBezTo>
                  <a:cubicBezTo>
                    <a:pt x="248" y="494"/>
                    <a:pt x="250" y="491"/>
                    <a:pt x="254" y="489"/>
                  </a:cubicBezTo>
                  <a:cubicBezTo>
                    <a:pt x="257" y="487"/>
                    <a:pt x="259" y="485"/>
                    <a:pt x="262" y="483"/>
                  </a:cubicBezTo>
                  <a:cubicBezTo>
                    <a:pt x="265" y="481"/>
                    <a:pt x="269" y="479"/>
                    <a:pt x="272" y="477"/>
                  </a:cubicBezTo>
                  <a:cubicBezTo>
                    <a:pt x="274" y="476"/>
                    <a:pt x="272" y="474"/>
                    <a:pt x="275" y="475"/>
                  </a:cubicBezTo>
                  <a:cubicBezTo>
                    <a:pt x="277" y="475"/>
                    <a:pt x="279" y="480"/>
                    <a:pt x="282" y="477"/>
                  </a:cubicBezTo>
                  <a:cubicBezTo>
                    <a:pt x="286" y="475"/>
                    <a:pt x="283" y="463"/>
                    <a:pt x="283" y="459"/>
                  </a:cubicBezTo>
                  <a:cubicBezTo>
                    <a:pt x="284" y="452"/>
                    <a:pt x="288" y="444"/>
                    <a:pt x="291" y="438"/>
                  </a:cubicBezTo>
                  <a:cubicBezTo>
                    <a:pt x="293" y="433"/>
                    <a:pt x="295" y="431"/>
                    <a:pt x="300" y="433"/>
                  </a:cubicBezTo>
                  <a:cubicBezTo>
                    <a:pt x="304" y="435"/>
                    <a:pt x="307" y="435"/>
                    <a:pt x="311" y="435"/>
                  </a:cubicBezTo>
                  <a:cubicBezTo>
                    <a:pt x="309" y="435"/>
                    <a:pt x="307" y="434"/>
                    <a:pt x="307" y="432"/>
                  </a:cubicBezTo>
                  <a:cubicBezTo>
                    <a:pt x="312" y="431"/>
                    <a:pt x="313" y="433"/>
                    <a:pt x="316" y="436"/>
                  </a:cubicBezTo>
                  <a:cubicBezTo>
                    <a:pt x="319" y="438"/>
                    <a:pt x="323" y="439"/>
                    <a:pt x="327" y="440"/>
                  </a:cubicBezTo>
                  <a:cubicBezTo>
                    <a:pt x="333" y="441"/>
                    <a:pt x="339" y="444"/>
                    <a:pt x="345" y="445"/>
                  </a:cubicBezTo>
                  <a:cubicBezTo>
                    <a:pt x="349" y="447"/>
                    <a:pt x="351" y="449"/>
                    <a:pt x="355" y="451"/>
                  </a:cubicBezTo>
                  <a:cubicBezTo>
                    <a:pt x="359" y="453"/>
                    <a:pt x="362" y="454"/>
                    <a:pt x="365" y="457"/>
                  </a:cubicBezTo>
                  <a:cubicBezTo>
                    <a:pt x="368" y="459"/>
                    <a:pt x="368" y="461"/>
                    <a:pt x="369" y="464"/>
                  </a:cubicBezTo>
                  <a:cubicBezTo>
                    <a:pt x="369" y="464"/>
                    <a:pt x="371" y="466"/>
                    <a:pt x="371" y="467"/>
                  </a:cubicBezTo>
                  <a:cubicBezTo>
                    <a:pt x="371" y="467"/>
                    <a:pt x="371" y="468"/>
                    <a:pt x="371" y="468"/>
                  </a:cubicBezTo>
                  <a:cubicBezTo>
                    <a:pt x="371" y="470"/>
                    <a:pt x="372" y="470"/>
                    <a:pt x="373" y="471"/>
                  </a:cubicBezTo>
                  <a:cubicBezTo>
                    <a:pt x="372" y="470"/>
                    <a:pt x="375" y="474"/>
                    <a:pt x="374" y="473"/>
                  </a:cubicBezTo>
                  <a:cubicBezTo>
                    <a:pt x="375" y="475"/>
                    <a:pt x="377" y="474"/>
                    <a:pt x="378" y="476"/>
                  </a:cubicBezTo>
                  <a:cubicBezTo>
                    <a:pt x="378" y="476"/>
                    <a:pt x="378" y="477"/>
                    <a:pt x="379" y="478"/>
                  </a:cubicBezTo>
                  <a:cubicBezTo>
                    <a:pt x="379" y="479"/>
                    <a:pt x="380" y="480"/>
                    <a:pt x="381" y="481"/>
                  </a:cubicBezTo>
                  <a:cubicBezTo>
                    <a:pt x="383" y="483"/>
                    <a:pt x="384" y="484"/>
                    <a:pt x="385" y="486"/>
                  </a:cubicBezTo>
                  <a:cubicBezTo>
                    <a:pt x="387" y="487"/>
                    <a:pt x="390" y="489"/>
                    <a:pt x="392" y="491"/>
                  </a:cubicBezTo>
                  <a:cubicBezTo>
                    <a:pt x="394" y="493"/>
                    <a:pt x="394" y="496"/>
                    <a:pt x="398" y="497"/>
                  </a:cubicBezTo>
                  <a:cubicBezTo>
                    <a:pt x="403" y="499"/>
                    <a:pt x="408" y="501"/>
                    <a:pt x="413" y="502"/>
                  </a:cubicBezTo>
                  <a:cubicBezTo>
                    <a:pt x="417" y="504"/>
                    <a:pt x="419" y="504"/>
                    <a:pt x="424" y="503"/>
                  </a:cubicBezTo>
                  <a:cubicBezTo>
                    <a:pt x="429" y="502"/>
                    <a:pt x="433" y="500"/>
                    <a:pt x="438" y="500"/>
                  </a:cubicBezTo>
                  <a:cubicBezTo>
                    <a:pt x="447" y="500"/>
                    <a:pt x="456" y="500"/>
                    <a:pt x="465" y="500"/>
                  </a:cubicBezTo>
                  <a:cubicBezTo>
                    <a:pt x="472" y="500"/>
                    <a:pt x="479" y="501"/>
                    <a:pt x="486" y="500"/>
                  </a:cubicBezTo>
                  <a:cubicBezTo>
                    <a:pt x="490" y="500"/>
                    <a:pt x="490" y="498"/>
                    <a:pt x="491" y="495"/>
                  </a:cubicBezTo>
                  <a:cubicBezTo>
                    <a:pt x="492" y="493"/>
                    <a:pt x="491" y="493"/>
                    <a:pt x="492" y="491"/>
                  </a:cubicBezTo>
                  <a:cubicBezTo>
                    <a:pt x="492" y="490"/>
                    <a:pt x="495" y="489"/>
                    <a:pt x="496" y="488"/>
                  </a:cubicBezTo>
                  <a:cubicBezTo>
                    <a:pt x="498" y="485"/>
                    <a:pt x="500" y="483"/>
                    <a:pt x="501" y="480"/>
                  </a:cubicBezTo>
                  <a:cubicBezTo>
                    <a:pt x="503" y="478"/>
                    <a:pt x="502" y="479"/>
                    <a:pt x="504" y="477"/>
                  </a:cubicBezTo>
                  <a:cubicBezTo>
                    <a:pt x="505" y="476"/>
                    <a:pt x="507" y="474"/>
                    <a:pt x="508" y="473"/>
                  </a:cubicBezTo>
                  <a:cubicBezTo>
                    <a:pt x="512" y="470"/>
                    <a:pt x="519" y="473"/>
                    <a:pt x="520" y="465"/>
                  </a:cubicBezTo>
                  <a:cubicBezTo>
                    <a:pt x="520" y="463"/>
                    <a:pt x="519" y="459"/>
                    <a:pt x="521" y="457"/>
                  </a:cubicBezTo>
                  <a:cubicBezTo>
                    <a:pt x="522" y="455"/>
                    <a:pt x="523" y="455"/>
                    <a:pt x="525" y="454"/>
                  </a:cubicBezTo>
                  <a:cubicBezTo>
                    <a:pt x="527" y="453"/>
                    <a:pt x="526" y="452"/>
                    <a:pt x="528" y="451"/>
                  </a:cubicBezTo>
                  <a:cubicBezTo>
                    <a:pt x="531" y="450"/>
                    <a:pt x="535" y="452"/>
                    <a:pt x="537" y="454"/>
                  </a:cubicBezTo>
                  <a:cubicBezTo>
                    <a:pt x="539" y="455"/>
                    <a:pt x="540" y="456"/>
                    <a:pt x="542" y="456"/>
                  </a:cubicBezTo>
                  <a:cubicBezTo>
                    <a:pt x="544" y="457"/>
                    <a:pt x="546" y="456"/>
                    <a:pt x="547" y="456"/>
                  </a:cubicBezTo>
                  <a:cubicBezTo>
                    <a:pt x="550" y="457"/>
                    <a:pt x="551" y="459"/>
                    <a:pt x="554" y="461"/>
                  </a:cubicBezTo>
                  <a:cubicBezTo>
                    <a:pt x="558" y="464"/>
                    <a:pt x="561" y="464"/>
                    <a:pt x="565" y="466"/>
                  </a:cubicBezTo>
                  <a:cubicBezTo>
                    <a:pt x="565" y="466"/>
                    <a:pt x="568" y="467"/>
                    <a:pt x="568" y="467"/>
                  </a:cubicBezTo>
                  <a:cubicBezTo>
                    <a:pt x="570" y="468"/>
                    <a:pt x="571" y="468"/>
                    <a:pt x="573" y="469"/>
                  </a:cubicBezTo>
                  <a:cubicBezTo>
                    <a:pt x="574" y="469"/>
                    <a:pt x="575" y="470"/>
                    <a:pt x="576" y="470"/>
                  </a:cubicBezTo>
                  <a:cubicBezTo>
                    <a:pt x="579" y="471"/>
                    <a:pt x="582" y="470"/>
                    <a:pt x="585" y="470"/>
                  </a:cubicBezTo>
                  <a:cubicBezTo>
                    <a:pt x="588" y="470"/>
                    <a:pt x="589" y="470"/>
                    <a:pt x="591" y="468"/>
                  </a:cubicBezTo>
                  <a:cubicBezTo>
                    <a:pt x="592" y="467"/>
                    <a:pt x="591" y="465"/>
                    <a:pt x="592" y="464"/>
                  </a:cubicBezTo>
                  <a:cubicBezTo>
                    <a:pt x="593" y="462"/>
                    <a:pt x="594" y="463"/>
                    <a:pt x="595" y="462"/>
                  </a:cubicBezTo>
                  <a:cubicBezTo>
                    <a:pt x="598" y="462"/>
                    <a:pt x="600" y="461"/>
                    <a:pt x="602" y="459"/>
                  </a:cubicBezTo>
                  <a:cubicBezTo>
                    <a:pt x="605" y="458"/>
                    <a:pt x="607" y="457"/>
                    <a:pt x="610" y="456"/>
                  </a:cubicBezTo>
                  <a:cubicBezTo>
                    <a:pt x="614" y="455"/>
                    <a:pt x="621" y="451"/>
                    <a:pt x="624" y="457"/>
                  </a:cubicBezTo>
                  <a:cubicBezTo>
                    <a:pt x="625" y="460"/>
                    <a:pt x="623" y="462"/>
                    <a:pt x="621" y="464"/>
                  </a:cubicBezTo>
                  <a:cubicBezTo>
                    <a:pt x="619" y="467"/>
                    <a:pt x="619" y="470"/>
                    <a:pt x="616" y="472"/>
                  </a:cubicBezTo>
                  <a:cubicBezTo>
                    <a:pt x="612" y="474"/>
                    <a:pt x="608" y="475"/>
                    <a:pt x="605" y="477"/>
                  </a:cubicBezTo>
                  <a:cubicBezTo>
                    <a:pt x="601" y="479"/>
                    <a:pt x="601" y="480"/>
                    <a:pt x="601" y="484"/>
                  </a:cubicBezTo>
                  <a:cubicBezTo>
                    <a:pt x="601" y="491"/>
                    <a:pt x="605" y="495"/>
                    <a:pt x="608" y="500"/>
                  </a:cubicBezTo>
                  <a:cubicBezTo>
                    <a:pt x="609" y="503"/>
                    <a:pt x="611" y="507"/>
                    <a:pt x="613" y="510"/>
                  </a:cubicBezTo>
                  <a:cubicBezTo>
                    <a:pt x="614" y="512"/>
                    <a:pt x="614" y="515"/>
                    <a:pt x="617" y="517"/>
                  </a:cubicBezTo>
                  <a:cubicBezTo>
                    <a:pt x="619" y="518"/>
                    <a:pt x="624" y="518"/>
                    <a:pt x="627" y="518"/>
                  </a:cubicBezTo>
                  <a:cubicBezTo>
                    <a:pt x="631" y="518"/>
                    <a:pt x="632" y="514"/>
                    <a:pt x="634" y="511"/>
                  </a:cubicBezTo>
                  <a:cubicBezTo>
                    <a:pt x="636" y="508"/>
                    <a:pt x="637" y="504"/>
                    <a:pt x="640" y="503"/>
                  </a:cubicBezTo>
                  <a:cubicBezTo>
                    <a:pt x="643" y="502"/>
                    <a:pt x="646" y="503"/>
                    <a:pt x="648" y="503"/>
                  </a:cubicBezTo>
                  <a:cubicBezTo>
                    <a:pt x="650" y="502"/>
                    <a:pt x="654" y="502"/>
                    <a:pt x="655" y="500"/>
                  </a:cubicBezTo>
                  <a:cubicBezTo>
                    <a:pt x="657" y="497"/>
                    <a:pt x="652" y="493"/>
                    <a:pt x="651" y="490"/>
                  </a:cubicBezTo>
                  <a:cubicBezTo>
                    <a:pt x="650" y="488"/>
                    <a:pt x="650" y="483"/>
                    <a:pt x="651" y="481"/>
                  </a:cubicBezTo>
                  <a:cubicBezTo>
                    <a:pt x="651" y="477"/>
                    <a:pt x="654" y="475"/>
                    <a:pt x="655" y="472"/>
                  </a:cubicBezTo>
                  <a:cubicBezTo>
                    <a:pt x="657" y="469"/>
                    <a:pt x="657" y="466"/>
                    <a:pt x="661" y="464"/>
                  </a:cubicBezTo>
                  <a:cubicBezTo>
                    <a:pt x="663" y="463"/>
                    <a:pt x="666" y="462"/>
                    <a:pt x="669" y="462"/>
                  </a:cubicBezTo>
                  <a:cubicBezTo>
                    <a:pt x="672" y="462"/>
                    <a:pt x="675" y="462"/>
                    <a:pt x="678" y="462"/>
                  </a:cubicBezTo>
                  <a:cubicBezTo>
                    <a:pt x="679" y="463"/>
                    <a:pt x="680" y="464"/>
                    <a:pt x="682" y="464"/>
                  </a:cubicBezTo>
                  <a:cubicBezTo>
                    <a:pt x="683" y="465"/>
                    <a:pt x="685" y="464"/>
                    <a:pt x="686" y="464"/>
                  </a:cubicBezTo>
                  <a:cubicBezTo>
                    <a:pt x="689" y="465"/>
                    <a:pt x="691" y="465"/>
                    <a:pt x="694" y="466"/>
                  </a:cubicBezTo>
                  <a:cubicBezTo>
                    <a:pt x="696" y="466"/>
                    <a:pt x="698" y="467"/>
                    <a:pt x="701" y="467"/>
                  </a:cubicBezTo>
                  <a:cubicBezTo>
                    <a:pt x="703" y="467"/>
                    <a:pt x="706" y="467"/>
                    <a:pt x="708" y="467"/>
                  </a:cubicBezTo>
                  <a:cubicBezTo>
                    <a:pt x="714" y="467"/>
                    <a:pt x="719" y="465"/>
                    <a:pt x="724" y="464"/>
                  </a:cubicBezTo>
                  <a:cubicBezTo>
                    <a:pt x="730" y="464"/>
                    <a:pt x="735" y="460"/>
                    <a:pt x="741" y="459"/>
                  </a:cubicBezTo>
                  <a:cubicBezTo>
                    <a:pt x="744" y="457"/>
                    <a:pt x="749" y="457"/>
                    <a:pt x="752" y="456"/>
                  </a:cubicBezTo>
                  <a:cubicBezTo>
                    <a:pt x="756" y="455"/>
                    <a:pt x="759" y="453"/>
                    <a:pt x="764" y="454"/>
                  </a:cubicBezTo>
                  <a:cubicBezTo>
                    <a:pt x="767" y="454"/>
                    <a:pt x="771" y="457"/>
                    <a:pt x="774" y="459"/>
                  </a:cubicBezTo>
                  <a:cubicBezTo>
                    <a:pt x="780" y="462"/>
                    <a:pt x="786" y="466"/>
                    <a:pt x="793" y="467"/>
                  </a:cubicBezTo>
                  <a:cubicBezTo>
                    <a:pt x="799" y="468"/>
                    <a:pt x="806" y="468"/>
                    <a:pt x="813" y="468"/>
                  </a:cubicBezTo>
                  <a:cubicBezTo>
                    <a:pt x="824" y="468"/>
                    <a:pt x="834" y="467"/>
                    <a:pt x="845" y="467"/>
                  </a:cubicBezTo>
                  <a:cubicBezTo>
                    <a:pt x="850" y="467"/>
                    <a:pt x="852" y="466"/>
                    <a:pt x="857" y="465"/>
                  </a:cubicBezTo>
                  <a:cubicBezTo>
                    <a:pt x="859" y="464"/>
                    <a:pt x="861" y="463"/>
                    <a:pt x="863" y="462"/>
                  </a:cubicBezTo>
                  <a:cubicBezTo>
                    <a:pt x="865" y="462"/>
                    <a:pt x="866" y="462"/>
                    <a:pt x="868" y="462"/>
                  </a:cubicBezTo>
                  <a:cubicBezTo>
                    <a:pt x="869" y="462"/>
                    <a:pt x="871" y="461"/>
                    <a:pt x="872" y="460"/>
                  </a:cubicBezTo>
                  <a:cubicBezTo>
                    <a:pt x="873" y="459"/>
                    <a:pt x="874" y="459"/>
                    <a:pt x="875" y="459"/>
                  </a:cubicBezTo>
                  <a:cubicBezTo>
                    <a:pt x="878" y="458"/>
                    <a:pt x="880" y="456"/>
                    <a:pt x="882" y="455"/>
                  </a:cubicBezTo>
                  <a:cubicBezTo>
                    <a:pt x="886" y="452"/>
                    <a:pt x="888" y="449"/>
                    <a:pt x="893" y="449"/>
                  </a:cubicBezTo>
                  <a:cubicBezTo>
                    <a:pt x="901" y="449"/>
                    <a:pt x="909" y="449"/>
                    <a:pt x="917" y="448"/>
                  </a:cubicBezTo>
                  <a:cubicBezTo>
                    <a:pt x="925" y="448"/>
                    <a:pt x="937" y="447"/>
                    <a:pt x="945" y="448"/>
                  </a:cubicBezTo>
                  <a:cubicBezTo>
                    <a:pt x="947" y="449"/>
                    <a:pt x="948" y="450"/>
                    <a:pt x="950" y="451"/>
                  </a:cubicBezTo>
                  <a:cubicBezTo>
                    <a:pt x="952" y="452"/>
                    <a:pt x="954" y="451"/>
                    <a:pt x="957" y="451"/>
                  </a:cubicBezTo>
                  <a:cubicBezTo>
                    <a:pt x="959" y="451"/>
                    <a:pt x="961" y="451"/>
                    <a:pt x="962" y="451"/>
                  </a:cubicBezTo>
                  <a:cubicBezTo>
                    <a:pt x="963" y="449"/>
                    <a:pt x="964" y="449"/>
                    <a:pt x="965" y="449"/>
                  </a:cubicBezTo>
                  <a:cubicBezTo>
                    <a:pt x="964" y="450"/>
                    <a:pt x="963" y="450"/>
                    <a:pt x="962" y="451"/>
                  </a:cubicBezTo>
                  <a:cubicBezTo>
                    <a:pt x="962" y="452"/>
                    <a:pt x="962" y="455"/>
                    <a:pt x="963" y="456"/>
                  </a:cubicBezTo>
                  <a:cubicBezTo>
                    <a:pt x="970" y="455"/>
                    <a:pt x="976" y="450"/>
                    <a:pt x="983" y="447"/>
                  </a:cubicBezTo>
                  <a:cubicBezTo>
                    <a:pt x="985" y="446"/>
                    <a:pt x="988" y="445"/>
                    <a:pt x="990" y="444"/>
                  </a:cubicBezTo>
                  <a:cubicBezTo>
                    <a:pt x="992" y="443"/>
                    <a:pt x="994" y="441"/>
                    <a:pt x="996" y="441"/>
                  </a:cubicBezTo>
                  <a:cubicBezTo>
                    <a:pt x="1001" y="440"/>
                    <a:pt x="999" y="442"/>
                    <a:pt x="1001" y="445"/>
                  </a:cubicBezTo>
                  <a:cubicBezTo>
                    <a:pt x="1003" y="448"/>
                    <a:pt x="1008" y="448"/>
                    <a:pt x="1011" y="449"/>
                  </a:cubicBezTo>
                  <a:cubicBezTo>
                    <a:pt x="1013" y="449"/>
                    <a:pt x="1016" y="450"/>
                    <a:pt x="1018" y="449"/>
                  </a:cubicBezTo>
                  <a:cubicBezTo>
                    <a:pt x="1021" y="448"/>
                    <a:pt x="1026" y="444"/>
                    <a:pt x="1026" y="441"/>
                  </a:cubicBezTo>
                  <a:cubicBezTo>
                    <a:pt x="1029" y="441"/>
                    <a:pt x="1032" y="439"/>
                    <a:pt x="1035" y="437"/>
                  </a:cubicBezTo>
                  <a:cubicBezTo>
                    <a:pt x="1038" y="436"/>
                    <a:pt x="1039" y="435"/>
                    <a:pt x="1043" y="435"/>
                  </a:cubicBezTo>
                  <a:cubicBezTo>
                    <a:pt x="1050" y="435"/>
                    <a:pt x="1057" y="435"/>
                    <a:pt x="1064" y="435"/>
                  </a:cubicBezTo>
                  <a:cubicBezTo>
                    <a:pt x="1068" y="435"/>
                    <a:pt x="1074" y="435"/>
                    <a:pt x="1079" y="436"/>
                  </a:cubicBezTo>
                  <a:cubicBezTo>
                    <a:pt x="1081" y="436"/>
                    <a:pt x="1082" y="438"/>
                    <a:pt x="1084" y="439"/>
                  </a:cubicBezTo>
                  <a:cubicBezTo>
                    <a:pt x="1087" y="441"/>
                    <a:pt x="1089" y="441"/>
                    <a:pt x="1092" y="441"/>
                  </a:cubicBezTo>
                  <a:cubicBezTo>
                    <a:pt x="1098" y="440"/>
                    <a:pt x="1103" y="441"/>
                    <a:pt x="1109" y="441"/>
                  </a:cubicBezTo>
                  <a:cubicBezTo>
                    <a:pt x="1113" y="441"/>
                    <a:pt x="1118" y="440"/>
                    <a:pt x="1122" y="441"/>
                  </a:cubicBezTo>
                  <a:cubicBezTo>
                    <a:pt x="1128" y="442"/>
                    <a:pt x="1130" y="447"/>
                    <a:pt x="1132" y="452"/>
                  </a:cubicBezTo>
                  <a:cubicBezTo>
                    <a:pt x="1135" y="457"/>
                    <a:pt x="1137" y="469"/>
                    <a:pt x="1144" y="468"/>
                  </a:cubicBezTo>
                  <a:cubicBezTo>
                    <a:pt x="1149" y="467"/>
                    <a:pt x="1151" y="462"/>
                    <a:pt x="1154" y="459"/>
                  </a:cubicBezTo>
                  <a:cubicBezTo>
                    <a:pt x="1157" y="457"/>
                    <a:pt x="1159" y="455"/>
                    <a:pt x="1162" y="453"/>
                  </a:cubicBezTo>
                  <a:cubicBezTo>
                    <a:pt x="1167" y="451"/>
                    <a:pt x="1171" y="453"/>
                    <a:pt x="1170" y="44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0" name="Freeform 60"/>
            <p:cNvSpPr>
              <a:spLocks/>
            </p:cNvSpPr>
            <p:nvPr/>
          </p:nvSpPr>
          <p:spPr bwMode="auto">
            <a:xfrm>
              <a:off x="4605338" y="623888"/>
              <a:ext cx="1301750" cy="3043238"/>
            </a:xfrm>
            <a:custGeom>
              <a:avLst/>
              <a:gdLst/>
              <a:ahLst/>
              <a:cxnLst>
                <a:cxn ang="0">
                  <a:pos x="16" y="1348"/>
                </a:cxn>
                <a:cxn ang="0">
                  <a:pos x="39" y="1406"/>
                </a:cxn>
                <a:cxn ang="0">
                  <a:pos x="65" y="1460"/>
                </a:cxn>
                <a:cxn ang="0">
                  <a:pos x="92" y="1509"/>
                </a:cxn>
                <a:cxn ang="0">
                  <a:pos x="77" y="1543"/>
                </a:cxn>
                <a:cxn ang="0">
                  <a:pos x="98" y="1574"/>
                </a:cxn>
                <a:cxn ang="0">
                  <a:pos x="94" y="1619"/>
                </a:cxn>
                <a:cxn ang="0">
                  <a:pos x="174" y="1598"/>
                </a:cxn>
                <a:cxn ang="0">
                  <a:pos x="197" y="1550"/>
                </a:cxn>
                <a:cxn ang="0">
                  <a:pos x="256" y="1552"/>
                </a:cxn>
                <a:cxn ang="0">
                  <a:pos x="290" y="1530"/>
                </a:cxn>
                <a:cxn ang="0">
                  <a:pos x="323" y="1440"/>
                </a:cxn>
                <a:cxn ang="0">
                  <a:pos x="291" y="1465"/>
                </a:cxn>
                <a:cxn ang="0">
                  <a:pos x="306" y="1384"/>
                </a:cxn>
                <a:cxn ang="0">
                  <a:pos x="313" y="1309"/>
                </a:cxn>
                <a:cxn ang="0">
                  <a:pos x="368" y="1274"/>
                </a:cxn>
                <a:cxn ang="0">
                  <a:pos x="405" y="1223"/>
                </a:cxn>
                <a:cxn ang="0">
                  <a:pos x="423" y="1177"/>
                </a:cxn>
                <a:cxn ang="0">
                  <a:pos x="411" y="1135"/>
                </a:cxn>
                <a:cxn ang="0">
                  <a:pos x="374" y="1103"/>
                </a:cxn>
                <a:cxn ang="0">
                  <a:pos x="335" y="1060"/>
                </a:cxn>
                <a:cxn ang="0">
                  <a:pos x="330" y="993"/>
                </a:cxn>
                <a:cxn ang="0">
                  <a:pos x="343" y="889"/>
                </a:cxn>
                <a:cxn ang="0">
                  <a:pos x="385" y="832"/>
                </a:cxn>
                <a:cxn ang="0">
                  <a:pos x="390" y="802"/>
                </a:cxn>
                <a:cxn ang="0">
                  <a:pos x="466" y="744"/>
                </a:cxn>
                <a:cxn ang="0">
                  <a:pos x="529" y="678"/>
                </a:cxn>
                <a:cxn ang="0">
                  <a:pos x="535" y="588"/>
                </a:cxn>
                <a:cxn ang="0">
                  <a:pos x="570" y="518"/>
                </a:cxn>
                <a:cxn ang="0">
                  <a:pos x="603" y="480"/>
                </a:cxn>
                <a:cxn ang="0">
                  <a:pos x="665" y="465"/>
                </a:cxn>
                <a:cxn ang="0">
                  <a:pos x="684" y="410"/>
                </a:cxn>
                <a:cxn ang="0">
                  <a:pos x="669" y="276"/>
                </a:cxn>
                <a:cxn ang="0">
                  <a:pos x="664" y="221"/>
                </a:cxn>
                <a:cxn ang="0">
                  <a:pos x="642" y="140"/>
                </a:cxn>
                <a:cxn ang="0">
                  <a:pos x="591" y="84"/>
                </a:cxn>
                <a:cxn ang="0">
                  <a:pos x="525" y="28"/>
                </a:cxn>
                <a:cxn ang="0">
                  <a:pos x="485" y="12"/>
                </a:cxn>
                <a:cxn ang="0">
                  <a:pos x="478" y="95"/>
                </a:cxn>
                <a:cxn ang="0">
                  <a:pos x="379" y="78"/>
                </a:cxn>
                <a:cxn ang="0">
                  <a:pos x="349" y="151"/>
                </a:cxn>
                <a:cxn ang="0">
                  <a:pos x="288" y="188"/>
                </a:cxn>
                <a:cxn ang="0">
                  <a:pos x="267" y="249"/>
                </a:cxn>
                <a:cxn ang="0">
                  <a:pos x="250" y="327"/>
                </a:cxn>
                <a:cxn ang="0">
                  <a:pos x="178" y="415"/>
                </a:cxn>
                <a:cxn ang="0">
                  <a:pos x="174" y="490"/>
                </a:cxn>
                <a:cxn ang="0">
                  <a:pos x="151" y="582"/>
                </a:cxn>
                <a:cxn ang="0">
                  <a:pos x="155" y="665"/>
                </a:cxn>
                <a:cxn ang="0">
                  <a:pos x="76" y="696"/>
                </a:cxn>
                <a:cxn ang="0">
                  <a:pos x="46" y="775"/>
                </a:cxn>
                <a:cxn ang="0">
                  <a:pos x="45" y="822"/>
                </a:cxn>
                <a:cxn ang="0">
                  <a:pos x="54" y="944"/>
                </a:cxn>
                <a:cxn ang="0">
                  <a:pos x="90" y="1011"/>
                </a:cxn>
                <a:cxn ang="0">
                  <a:pos x="61" y="1039"/>
                </a:cxn>
                <a:cxn ang="0">
                  <a:pos x="70" y="1128"/>
                </a:cxn>
                <a:cxn ang="0">
                  <a:pos x="36" y="1187"/>
                </a:cxn>
                <a:cxn ang="0">
                  <a:pos x="16" y="1270"/>
                </a:cxn>
              </a:cxnLst>
              <a:rect l="0" t="0" r="r" b="b"/>
              <a:pathLst>
                <a:path w="696" h="1628">
                  <a:moveTo>
                    <a:pt x="2" y="1255"/>
                  </a:moveTo>
                  <a:cubicBezTo>
                    <a:pt x="1" y="1264"/>
                    <a:pt x="0" y="1275"/>
                    <a:pt x="2" y="1284"/>
                  </a:cubicBezTo>
                  <a:cubicBezTo>
                    <a:pt x="3" y="1292"/>
                    <a:pt x="5" y="1298"/>
                    <a:pt x="4" y="1306"/>
                  </a:cubicBezTo>
                  <a:cubicBezTo>
                    <a:pt x="4" y="1308"/>
                    <a:pt x="4" y="1310"/>
                    <a:pt x="5" y="1312"/>
                  </a:cubicBezTo>
                  <a:cubicBezTo>
                    <a:pt x="6" y="1314"/>
                    <a:pt x="8" y="1315"/>
                    <a:pt x="9" y="1317"/>
                  </a:cubicBezTo>
                  <a:cubicBezTo>
                    <a:pt x="10" y="1319"/>
                    <a:pt x="9" y="1321"/>
                    <a:pt x="8" y="1324"/>
                  </a:cubicBezTo>
                  <a:cubicBezTo>
                    <a:pt x="8" y="1327"/>
                    <a:pt x="8" y="1330"/>
                    <a:pt x="8" y="1333"/>
                  </a:cubicBezTo>
                  <a:cubicBezTo>
                    <a:pt x="9" y="1339"/>
                    <a:pt x="14" y="1342"/>
                    <a:pt x="16" y="1348"/>
                  </a:cubicBezTo>
                  <a:cubicBezTo>
                    <a:pt x="18" y="1350"/>
                    <a:pt x="19" y="1357"/>
                    <a:pt x="20" y="1359"/>
                  </a:cubicBezTo>
                  <a:cubicBezTo>
                    <a:pt x="20" y="1357"/>
                    <a:pt x="20" y="1356"/>
                    <a:pt x="21" y="1354"/>
                  </a:cubicBezTo>
                  <a:cubicBezTo>
                    <a:pt x="23" y="1353"/>
                    <a:pt x="30" y="1355"/>
                    <a:pt x="32" y="1356"/>
                  </a:cubicBezTo>
                  <a:cubicBezTo>
                    <a:pt x="36" y="1358"/>
                    <a:pt x="33" y="1360"/>
                    <a:pt x="30" y="1361"/>
                  </a:cubicBezTo>
                  <a:cubicBezTo>
                    <a:pt x="28" y="1362"/>
                    <a:pt x="27" y="1362"/>
                    <a:pt x="27" y="1365"/>
                  </a:cubicBezTo>
                  <a:cubicBezTo>
                    <a:pt x="25" y="1372"/>
                    <a:pt x="27" y="1379"/>
                    <a:pt x="31" y="1384"/>
                  </a:cubicBezTo>
                  <a:cubicBezTo>
                    <a:pt x="34" y="1388"/>
                    <a:pt x="34" y="1394"/>
                    <a:pt x="35" y="1398"/>
                  </a:cubicBezTo>
                  <a:cubicBezTo>
                    <a:pt x="36" y="1401"/>
                    <a:pt x="37" y="1404"/>
                    <a:pt x="39" y="1406"/>
                  </a:cubicBezTo>
                  <a:cubicBezTo>
                    <a:pt x="40" y="1407"/>
                    <a:pt x="40" y="1407"/>
                    <a:pt x="41" y="1407"/>
                  </a:cubicBezTo>
                  <a:cubicBezTo>
                    <a:pt x="43" y="1408"/>
                    <a:pt x="44" y="1410"/>
                    <a:pt x="47" y="1410"/>
                  </a:cubicBezTo>
                  <a:cubicBezTo>
                    <a:pt x="48" y="1415"/>
                    <a:pt x="49" y="1420"/>
                    <a:pt x="49" y="1425"/>
                  </a:cubicBezTo>
                  <a:cubicBezTo>
                    <a:pt x="51" y="1426"/>
                    <a:pt x="54" y="1426"/>
                    <a:pt x="55" y="1427"/>
                  </a:cubicBezTo>
                  <a:cubicBezTo>
                    <a:pt x="57" y="1429"/>
                    <a:pt x="56" y="1432"/>
                    <a:pt x="57" y="1434"/>
                  </a:cubicBezTo>
                  <a:cubicBezTo>
                    <a:pt x="57" y="1438"/>
                    <a:pt x="59" y="1441"/>
                    <a:pt x="60" y="1445"/>
                  </a:cubicBezTo>
                  <a:cubicBezTo>
                    <a:pt x="61" y="1448"/>
                    <a:pt x="60" y="1452"/>
                    <a:pt x="62" y="1455"/>
                  </a:cubicBezTo>
                  <a:cubicBezTo>
                    <a:pt x="63" y="1457"/>
                    <a:pt x="64" y="1459"/>
                    <a:pt x="65" y="1460"/>
                  </a:cubicBezTo>
                  <a:cubicBezTo>
                    <a:pt x="67" y="1462"/>
                    <a:pt x="67" y="1464"/>
                    <a:pt x="68" y="1466"/>
                  </a:cubicBezTo>
                  <a:cubicBezTo>
                    <a:pt x="70" y="1470"/>
                    <a:pt x="73" y="1474"/>
                    <a:pt x="75" y="1479"/>
                  </a:cubicBezTo>
                  <a:cubicBezTo>
                    <a:pt x="75" y="1474"/>
                    <a:pt x="79" y="1474"/>
                    <a:pt x="81" y="1478"/>
                  </a:cubicBezTo>
                  <a:cubicBezTo>
                    <a:pt x="82" y="1479"/>
                    <a:pt x="82" y="1483"/>
                    <a:pt x="83" y="1484"/>
                  </a:cubicBezTo>
                  <a:cubicBezTo>
                    <a:pt x="83" y="1487"/>
                    <a:pt x="83" y="1490"/>
                    <a:pt x="85" y="1493"/>
                  </a:cubicBezTo>
                  <a:cubicBezTo>
                    <a:pt x="86" y="1495"/>
                    <a:pt x="88" y="1497"/>
                    <a:pt x="89" y="1498"/>
                  </a:cubicBezTo>
                  <a:cubicBezTo>
                    <a:pt x="91" y="1501"/>
                    <a:pt x="89" y="1500"/>
                    <a:pt x="91" y="1500"/>
                  </a:cubicBezTo>
                  <a:cubicBezTo>
                    <a:pt x="91" y="1503"/>
                    <a:pt x="90" y="1507"/>
                    <a:pt x="92" y="1509"/>
                  </a:cubicBezTo>
                  <a:cubicBezTo>
                    <a:pt x="93" y="1510"/>
                    <a:pt x="101" y="1514"/>
                    <a:pt x="97" y="1517"/>
                  </a:cubicBezTo>
                  <a:cubicBezTo>
                    <a:pt x="93" y="1512"/>
                    <a:pt x="87" y="1515"/>
                    <a:pt x="85" y="1521"/>
                  </a:cubicBezTo>
                  <a:cubicBezTo>
                    <a:pt x="84" y="1523"/>
                    <a:pt x="84" y="1525"/>
                    <a:pt x="85" y="1527"/>
                  </a:cubicBezTo>
                  <a:cubicBezTo>
                    <a:pt x="86" y="1531"/>
                    <a:pt x="95" y="1535"/>
                    <a:pt x="92" y="1540"/>
                  </a:cubicBezTo>
                  <a:cubicBezTo>
                    <a:pt x="90" y="1540"/>
                    <a:pt x="87" y="1541"/>
                    <a:pt x="85" y="1540"/>
                  </a:cubicBezTo>
                  <a:cubicBezTo>
                    <a:pt x="82" y="1539"/>
                    <a:pt x="83" y="1537"/>
                    <a:pt x="82" y="1534"/>
                  </a:cubicBezTo>
                  <a:cubicBezTo>
                    <a:pt x="81" y="1533"/>
                    <a:pt x="76" y="1535"/>
                    <a:pt x="75" y="1537"/>
                  </a:cubicBezTo>
                  <a:cubicBezTo>
                    <a:pt x="74" y="1539"/>
                    <a:pt x="76" y="1541"/>
                    <a:pt x="77" y="1543"/>
                  </a:cubicBezTo>
                  <a:cubicBezTo>
                    <a:pt x="78" y="1545"/>
                    <a:pt x="79" y="1547"/>
                    <a:pt x="81" y="1549"/>
                  </a:cubicBezTo>
                  <a:cubicBezTo>
                    <a:pt x="82" y="1550"/>
                    <a:pt x="83" y="1551"/>
                    <a:pt x="83" y="1551"/>
                  </a:cubicBezTo>
                  <a:cubicBezTo>
                    <a:pt x="84" y="1553"/>
                    <a:pt x="85" y="1554"/>
                    <a:pt x="86" y="1555"/>
                  </a:cubicBezTo>
                  <a:cubicBezTo>
                    <a:pt x="88" y="1556"/>
                    <a:pt x="92" y="1554"/>
                    <a:pt x="91" y="1558"/>
                  </a:cubicBezTo>
                  <a:cubicBezTo>
                    <a:pt x="90" y="1560"/>
                    <a:pt x="88" y="1559"/>
                    <a:pt x="88" y="1562"/>
                  </a:cubicBezTo>
                  <a:cubicBezTo>
                    <a:pt x="87" y="1563"/>
                    <a:pt x="88" y="1566"/>
                    <a:pt x="89" y="1568"/>
                  </a:cubicBezTo>
                  <a:cubicBezTo>
                    <a:pt x="90" y="1570"/>
                    <a:pt x="88" y="1569"/>
                    <a:pt x="91" y="1571"/>
                  </a:cubicBezTo>
                  <a:cubicBezTo>
                    <a:pt x="93" y="1572"/>
                    <a:pt x="96" y="1573"/>
                    <a:pt x="98" y="1574"/>
                  </a:cubicBezTo>
                  <a:cubicBezTo>
                    <a:pt x="104" y="1578"/>
                    <a:pt x="99" y="1583"/>
                    <a:pt x="98" y="1589"/>
                  </a:cubicBezTo>
                  <a:cubicBezTo>
                    <a:pt x="98" y="1591"/>
                    <a:pt x="98" y="1594"/>
                    <a:pt x="99" y="1596"/>
                  </a:cubicBezTo>
                  <a:cubicBezTo>
                    <a:pt x="100" y="1598"/>
                    <a:pt x="101" y="1598"/>
                    <a:pt x="102" y="1601"/>
                  </a:cubicBezTo>
                  <a:cubicBezTo>
                    <a:pt x="103" y="1606"/>
                    <a:pt x="98" y="1606"/>
                    <a:pt x="94" y="1606"/>
                  </a:cubicBezTo>
                  <a:cubicBezTo>
                    <a:pt x="91" y="1606"/>
                    <a:pt x="89" y="1605"/>
                    <a:pt x="88" y="1609"/>
                  </a:cubicBezTo>
                  <a:cubicBezTo>
                    <a:pt x="87" y="1611"/>
                    <a:pt x="87" y="1615"/>
                    <a:pt x="89" y="1617"/>
                  </a:cubicBezTo>
                  <a:cubicBezTo>
                    <a:pt x="90" y="1617"/>
                    <a:pt x="91" y="1617"/>
                    <a:pt x="92" y="1617"/>
                  </a:cubicBezTo>
                  <a:cubicBezTo>
                    <a:pt x="93" y="1617"/>
                    <a:pt x="93" y="1618"/>
                    <a:pt x="94" y="1619"/>
                  </a:cubicBezTo>
                  <a:cubicBezTo>
                    <a:pt x="95" y="1620"/>
                    <a:pt x="99" y="1620"/>
                    <a:pt x="100" y="1621"/>
                  </a:cubicBezTo>
                  <a:cubicBezTo>
                    <a:pt x="107" y="1623"/>
                    <a:pt x="114" y="1624"/>
                    <a:pt x="121" y="1626"/>
                  </a:cubicBezTo>
                  <a:cubicBezTo>
                    <a:pt x="123" y="1627"/>
                    <a:pt x="125" y="1628"/>
                    <a:pt x="127" y="1627"/>
                  </a:cubicBezTo>
                  <a:cubicBezTo>
                    <a:pt x="131" y="1626"/>
                    <a:pt x="133" y="1624"/>
                    <a:pt x="138" y="1624"/>
                  </a:cubicBezTo>
                  <a:cubicBezTo>
                    <a:pt x="143" y="1624"/>
                    <a:pt x="148" y="1625"/>
                    <a:pt x="153" y="1624"/>
                  </a:cubicBezTo>
                  <a:cubicBezTo>
                    <a:pt x="157" y="1624"/>
                    <a:pt x="160" y="1622"/>
                    <a:pt x="163" y="1619"/>
                  </a:cubicBezTo>
                  <a:cubicBezTo>
                    <a:pt x="167" y="1616"/>
                    <a:pt x="172" y="1611"/>
                    <a:pt x="173" y="1606"/>
                  </a:cubicBezTo>
                  <a:cubicBezTo>
                    <a:pt x="174" y="1605"/>
                    <a:pt x="174" y="1599"/>
                    <a:pt x="174" y="1598"/>
                  </a:cubicBezTo>
                  <a:cubicBezTo>
                    <a:pt x="173" y="1595"/>
                    <a:pt x="172" y="1595"/>
                    <a:pt x="170" y="1594"/>
                  </a:cubicBezTo>
                  <a:cubicBezTo>
                    <a:pt x="166" y="1592"/>
                    <a:pt x="162" y="1591"/>
                    <a:pt x="164" y="1585"/>
                  </a:cubicBezTo>
                  <a:cubicBezTo>
                    <a:pt x="165" y="1581"/>
                    <a:pt x="168" y="1577"/>
                    <a:pt x="171" y="1575"/>
                  </a:cubicBezTo>
                  <a:cubicBezTo>
                    <a:pt x="174" y="1572"/>
                    <a:pt x="179" y="1572"/>
                    <a:pt x="180" y="1568"/>
                  </a:cubicBezTo>
                  <a:cubicBezTo>
                    <a:pt x="181" y="1566"/>
                    <a:pt x="180" y="1564"/>
                    <a:pt x="180" y="1562"/>
                  </a:cubicBezTo>
                  <a:cubicBezTo>
                    <a:pt x="180" y="1560"/>
                    <a:pt x="183" y="1553"/>
                    <a:pt x="185" y="1553"/>
                  </a:cubicBezTo>
                  <a:cubicBezTo>
                    <a:pt x="185" y="1556"/>
                    <a:pt x="196" y="1562"/>
                    <a:pt x="198" y="1559"/>
                  </a:cubicBezTo>
                  <a:cubicBezTo>
                    <a:pt x="200" y="1556"/>
                    <a:pt x="195" y="1553"/>
                    <a:pt x="197" y="1550"/>
                  </a:cubicBezTo>
                  <a:cubicBezTo>
                    <a:pt x="199" y="1547"/>
                    <a:pt x="203" y="1547"/>
                    <a:pt x="206" y="1546"/>
                  </a:cubicBezTo>
                  <a:cubicBezTo>
                    <a:pt x="206" y="1545"/>
                    <a:pt x="206" y="1545"/>
                    <a:pt x="207" y="1545"/>
                  </a:cubicBezTo>
                  <a:cubicBezTo>
                    <a:pt x="208" y="1545"/>
                    <a:pt x="209" y="1545"/>
                    <a:pt x="209" y="1545"/>
                  </a:cubicBezTo>
                  <a:cubicBezTo>
                    <a:pt x="212" y="1545"/>
                    <a:pt x="213" y="1545"/>
                    <a:pt x="216" y="1544"/>
                  </a:cubicBezTo>
                  <a:cubicBezTo>
                    <a:pt x="220" y="1543"/>
                    <a:pt x="224" y="1543"/>
                    <a:pt x="228" y="1542"/>
                  </a:cubicBezTo>
                  <a:cubicBezTo>
                    <a:pt x="233" y="1540"/>
                    <a:pt x="236" y="1539"/>
                    <a:pt x="240" y="1544"/>
                  </a:cubicBezTo>
                  <a:cubicBezTo>
                    <a:pt x="243" y="1549"/>
                    <a:pt x="243" y="1556"/>
                    <a:pt x="250" y="1554"/>
                  </a:cubicBezTo>
                  <a:cubicBezTo>
                    <a:pt x="252" y="1554"/>
                    <a:pt x="254" y="1553"/>
                    <a:pt x="256" y="1552"/>
                  </a:cubicBezTo>
                  <a:cubicBezTo>
                    <a:pt x="257" y="1552"/>
                    <a:pt x="259" y="1553"/>
                    <a:pt x="261" y="1552"/>
                  </a:cubicBezTo>
                  <a:cubicBezTo>
                    <a:pt x="261" y="1550"/>
                    <a:pt x="263" y="1548"/>
                    <a:pt x="264" y="1546"/>
                  </a:cubicBezTo>
                  <a:cubicBezTo>
                    <a:pt x="265" y="1545"/>
                    <a:pt x="267" y="1543"/>
                    <a:pt x="268" y="1540"/>
                  </a:cubicBezTo>
                  <a:cubicBezTo>
                    <a:pt x="270" y="1536"/>
                    <a:pt x="272" y="1533"/>
                    <a:pt x="274" y="1529"/>
                  </a:cubicBezTo>
                  <a:cubicBezTo>
                    <a:pt x="276" y="1524"/>
                    <a:pt x="277" y="1519"/>
                    <a:pt x="278" y="1515"/>
                  </a:cubicBezTo>
                  <a:cubicBezTo>
                    <a:pt x="279" y="1512"/>
                    <a:pt x="282" y="1502"/>
                    <a:pt x="286" y="1502"/>
                  </a:cubicBezTo>
                  <a:cubicBezTo>
                    <a:pt x="289" y="1503"/>
                    <a:pt x="289" y="1512"/>
                    <a:pt x="290" y="1515"/>
                  </a:cubicBezTo>
                  <a:cubicBezTo>
                    <a:pt x="291" y="1520"/>
                    <a:pt x="291" y="1524"/>
                    <a:pt x="290" y="1530"/>
                  </a:cubicBezTo>
                  <a:cubicBezTo>
                    <a:pt x="290" y="1533"/>
                    <a:pt x="288" y="1543"/>
                    <a:pt x="290" y="1545"/>
                  </a:cubicBezTo>
                  <a:cubicBezTo>
                    <a:pt x="292" y="1543"/>
                    <a:pt x="294" y="1541"/>
                    <a:pt x="295" y="1539"/>
                  </a:cubicBezTo>
                  <a:cubicBezTo>
                    <a:pt x="296" y="1536"/>
                    <a:pt x="296" y="1533"/>
                    <a:pt x="297" y="1530"/>
                  </a:cubicBezTo>
                  <a:cubicBezTo>
                    <a:pt x="298" y="1524"/>
                    <a:pt x="300" y="1520"/>
                    <a:pt x="301" y="1514"/>
                  </a:cubicBezTo>
                  <a:cubicBezTo>
                    <a:pt x="303" y="1507"/>
                    <a:pt x="306" y="1500"/>
                    <a:pt x="309" y="1493"/>
                  </a:cubicBezTo>
                  <a:cubicBezTo>
                    <a:pt x="313" y="1485"/>
                    <a:pt x="317" y="1476"/>
                    <a:pt x="320" y="1467"/>
                  </a:cubicBezTo>
                  <a:cubicBezTo>
                    <a:pt x="321" y="1462"/>
                    <a:pt x="322" y="1456"/>
                    <a:pt x="323" y="1451"/>
                  </a:cubicBezTo>
                  <a:cubicBezTo>
                    <a:pt x="323" y="1448"/>
                    <a:pt x="323" y="1444"/>
                    <a:pt x="323" y="1440"/>
                  </a:cubicBezTo>
                  <a:cubicBezTo>
                    <a:pt x="323" y="1438"/>
                    <a:pt x="324" y="1430"/>
                    <a:pt x="320" y="1433"/>
                  </a:cubicBezTo>
                  <a:cubicBezTo>
                    <a:pt x="318" y="1434"/>
                    <a:pt x="317" y="1439"/>
                    <a:pt x="316" y="1441"/>
                  </a:cubicBezTo>
                  <a:cubicBezTo>
                    <a:pt x="315" y="1444"/>
                    <a:pt x="314" y="1446"/>
                    <a:pt x="312" y="1449"/>
                  </a:cubicBezTo>
                  <a:cubicBezTo>
                    <a:pt x="310" y="1454"/>
                    <a:pt x="308" y="1458"/>
                    <a:pt x="306" y="1462"/>
                  </a:cubicBezTo>
                  <a:cubicBezTo>
                    <a:pt x="304" y="1465"/>
                    <a:pt x="303" y="1469"/>
                    <a:pt x="303" y="1473"/>
                  </a:cubicBezTo>
                  <a:cubicBezTo>
                    <a:pt x="302" y="1475"/>
                    <a:pt x="302" y="1480"/>
                    <a:pt x="300" y="1482"/>
                  </a:cubicBezTo>
                  <a:cubicBezTo>
                    <a:pt x="299" y="1483"/>
                    <a:pt x="294" y="1486"/>
                    <a:pt x="293" y="1485"/>
                  </a:cubicBezTo>
                  <a:cubicBezTo>
                    <a:pt x="289" y="1484"/>
                    <a:pt x="290" y="1469"/>
                    <a:pt x="291" y="1465"/>
                  </a:cubicBezTo>
                  <a:cubicBezTo>
                    <a:pt x="292" y="1460"/>
                    <a:pt x="293" y="1456"/>
                    <a:pt x="293" y="1451"/>
                  </a:cubicBezTo>
                  <a:cubicBezTo>
                    <a:pt x="292" y="1450"/>
                    <a:pt x="292" y="1449"/>
                    <a:pt x="292" y="1447"/>
                  </a:cubicBezTo>
                  <a:cubicBezTo>
                    <a:pt x="292" y="1444"/>
                    <a:pt x="293" y="1440"/>
                    <a:pt x="295" y="1437"/>
                  </a:cubicBezTo>
                  <a:cubicBezTo>
                    <a:pt x="297" y="1435"/>
                    <a:pt x="299" y="1436"/>
                    <a:pt x="300" y="1433"/>
                  </a:cubicBezTo>
                  <a:cubicBezTo>
                    <a:pt x="301" y="1430"/>
                    <a:pt x="301" y="1426"/>
                    <a:pt x="302" y="1423"/>
                  </a:cubicBezTo>
                  <a:cubicBezTo>
                    <a:pt x="302" y="1414"/>
                    <a:pt x="301" y="1406"/>
                    <a:pt x="302" y="1397"/>
                  </a:cubicBezTo>
                  <a:cubicBezTo>
                    <a:pt x="303" y="1394"/>
                    <a:pt x="303" y="1391"/>
                    <a:pt x="304" y="1388"/>
                  </a:cubicBezTo>
                  <a:cubicBezTo>
                    <a:pt x="304" y="1387"/>
                    <a:pt x="305" y="1386"/>
                    <a:pt x="306" y="1384"/>
                  </a:cubicBezTo>
                  <a:cubicBezTo>
                    <a:pt x="306" y="1382"/>
                    <a:pt x="306" y="1379"/>
                    <a:pt x="307" y="1376"/>
                  </a:cubicBezTo>
                  <a:cubicBezTo>
                    <a:pt x="308" y="1369"/>
                    <a:pt x="310" y="1363"/>
                    <a:pt x="309" y="1356"/>
                  </a:cubicBezTo>
                  <a:cubicBezTo>
                    <a:pt x="309" y="1353"/>
                    <a:pt x="308" y="1349"/>
                    <a:pt x="309" y="1345"/>
                  </a:cubicBezTo>
                  <a:cubicBezTo>
                    <a:pt x="310" y="1341"/>
                    <a:pt x="317" y="1337"/>
                    <a:pt x="312" y="1332"/>
                  </a:cubicBezTo>
                  <a:cubicBezTo>
                    <a:pt x="310" y="1329"/>
                    <a:pt x="308" y="1330"/>
                    <a:pt x="309" y="1326"/>
                  </a:cubicBezTo>
                  <a:cubicBezTo>
                    <a:pt x="309" y="1325"/>
                    <a:pt x="310" y="1322"/>
                    <a:pt x="311" y="1321"/>
                  </a:cubicBezTo>
                  <a:cubicBezTo>
                    <a:pt x="313" y="1318"/>
                    <a:pt x="318" y="1317"/>
                    <a:pt x="316" y="1313"/>
                  </a:cubicBezTo>
                  <a:cubicBezTo>
                    <a:pt x="315" y="1311"/>
                    <a:pt x="313" y="1310"/>
                    <a:pt x="313" y="1309"/>
                  </a:cubicBezTo>
                  <a:cubicBezTo>
                    <a:pt x="312" y="1307"/>
                    <a:pt x="314" y="1306"/>
                    <a:pt x="314" y="1304"/>
                  </a:cubicBezTo>
                  <a:cubicBezTo>
                    <a:pt x="316" y="1300"/>
                    <a:pt x="315" y="1298"/>
                    <a:pt x="319" y="1298"/>
                  </a:cubicBezTo>
                  <a:cubicBezTo>
                    <a:pt x="322" y="1297"/>
                    <a:pt x="323" y="1297"/>
                    <a:pt x="325" y="1296"/>
                  </a:cubicBezTo>
                  <a:cubicBezTo>
                    <a:pt x="328" y="1294"/>
                    <a:pt x="330" y="1290"/>
                    <a:pt x="333" y="1288"/>
                  </a:cubicBezTo>
                  <a:cubicBezTo>
                    <a:pt x="336" y="1285"/>
                    <a:pt x="342" y="1286"/>
                    <a:pt x="346" y="1283"/>
                  </a:cubicBezTo>
                  <a:cubicBezTo>
                    <a:pt x="351" y="1280"/>
                    <a:pt x="352" y="1271"/>
                    <a:pt x="357" y="1268"/>
                  </a:cubicBezTo>
                  <a:cubicBezTo>
                    <a:pt x="357" y="1271"/>
                    <a:pt x="357" y="1277"/>
                    <a:pt x="361" y="1278"/>
                  </a:cubicBezTo>
                  <a:cubicBezTo>
                    <a:pt x="363" y="1278"/>
                    <a:pt x="367" y="1275"/>
                    <a:pt x="368" y="1274"/>
                  </a:cubicBezTo>
                  <a:cubicBezTo>
                    <a:pt x="369" y="1271"/>
                    <a:pt x="367" y="1267"/>
                    <a:pt x="368" y="1264"/>
                  </a:cubicBezTo>
                  <a:cubicBezTo>
                    <a:pt x="376" y="1264"/>
                    <a:pt x="387" y="1267"/>
                    <a:pt x="393" y="1262"/>
                  </a:cubicBezTo>
                  <a:cubicBezTo>
                    <a:pt x="394" y="1262"/>
                    <a:pt x="394" y="1260"/>
                    <a:pt x="395" y="1260"/>
                  </a:cubicBezTo>
                  <a:cubicBezTo>
                    <a:pt x="397" y="1259"/>
                    <a:pt x="399" y="1258"/>
                    <a:pt x="401" y="1257"/>
                  </a:cubicBezTo>
                  <a:cubicBezTo>
                    <a:pt x="403" y="1256"/>
                    <a:pt x="409" y="1254"/>
                    <a:pt x="407" y="1250"/>
                  </a:cubicBezTo>
                  <a:cubicBezTo>
                    <a:pt x="403" y="1249"/>
                    <a:pt x="399" y="1250"/>
                    <a:pt x="395" y="1248"/>
                  </a:cubicBezTo>
                  <a:cubicBezTo>
                    <a:pt x="395" y="1240"/>
                    <a:pt x="386" y="1235"/>
                    <a:pt x="388" y="1226"/>
                  </a:cubicBezTo>
                  <a:cubicBezTo>
                    <a:pt x="392" y="1225"/>
                    <a:pt x="407" y="1233"/>
                    <a:pt x="405" y="1223"/>
                  </a:cubicBezTo>
                  <a:cubicBezTo>
                    <a:pt x="398" y="1220"/>
                    <a:pt x="389" y="1218"/>
                    <a:pt x="392" y="1208"/>
                  </a:cubicBezTo>
                  <a:cubicBezTo>
                    <a:pt x="393" y="1204"/>
                    <a:pt x="401" y="1205"/>
                    <a:pt x="405" y="1206"/>
                  </a:cubicBezTo>
                  <a:cubicBezTo>
                    <a:pt x="412" y="1207"/>
                    <a:pt x="408" y="1204"/>
                    <a:pt x="410" y="1199"/>
                  </a:cubicBezTo>
                  <a:cubicBezTo>
                    <a:pt x="411" y="1196"/>
                    <a:pt x="411" y="1196"/>
                    <a:pt x="414" y="1195"/>
                  </a:cubicBezTo>
                  <a:cubicBezTo>
                    <a:pt x="416" y="1194"/>
                    <a:pt x="420" y="1194"/>
                    <a:pt x="423" y="1192"/>
                  </a:cubicBezTo>
                  <a:cubicBezTo>
                    <a:pt x="425" y="1190"/>
                    <a:pt x="426" y="1190"/>
                    <a:pt x="424" y="1187"/>
                  </a:cubicBezTo>
                  <a:cubicBezTo>
                    <a:pt x="424" y="1186"/>
                    <a:pt x="422" y="1185"/>
                    <a:pt x="421" y="1185"/>
                  </a:cubicBezTo>
                  <a:cubicBezTo>
                    <a:pt x="421" y="1183"/>
                    <a:pt x="422" y="1178"/>
                    <a:pt x="423" y="1177"/>
                  </a:cubicBezTo>
                  <a:cubicBezTo>
                    <a:pt x="425" y="1176"/>
                    <a:pt x="428" y="1178"/>
                    <a:pt x="430" y="1176"/>
                  </a:cubicBezTo>
                  <a:cubicBezTo>
                    <a:pt x="434" y="1174"/>
                    <a:pt x="433" y="1169"/>
                    <a:pt x="432" y="1166"/>
                  </a:cubicBezTo>
                  <a:cubicBezTo>
                    <a:pt x="431" y="1163"/>
                    <a:pt x="430" y="1161"/>
                    <a:pt x="428" y="1159"/>
                  </a:cubicBezTo>
                  <a:cubicBezTo>
                    <a:pt x="427" y="1159"/>
                    <a:pt x="426" y="1158"/>
                    <a:pt x="426" y="1157"/>
                  </a:cubicBezTo>
                  <a:cubicBezTo>
                    <a:pt x="422" y="1155"/>
                    <a:pt x="419" y="1155"/>
                    <a:pt x="417" y="1151"/>
                  </a:cubicBezTo>
                  <a:cubicBezTo>
                    <a:pt x="416" y="1148"/>
                    <a:pt x="417" y="1145"/>
                    <a:pt x="416" y="1143"/>
                  </a:cubicBezTo>
                  <a:cubicBezTo>
                    <a:pt x="416" y="1142"/>
                    <a:pt x="414" y="1141"/>
                    <a:pt x="413" y="1140"/>
                  </a:cubicBezTo>
                  <a:cubicBezTo>
                    <a:pt x="412" y="1139"/>
                    <a:pt x="412" y="1137"/>
                    <a:pt x="411" y="1135"/>
                  </a:cubicBezTo>
                  <a:cubicBezTo>
                    <a:pt x="410" y="1134"/>
                    <a:pt x="408" y="1134"/>
                    <a:pt x="408" y="1133"/>
                  </a:cubicBezTo>
                  <a:cubicBezTo>
                    <a:pt x="407" y="1131"/>
                    <a:pt x="408" y="1127"/>
                    <a:pt x="407" y="1125"/>
                  </a:cubicBezTo>
                  <a:cubicBezTo>
                    <a:pt x="407" y="1122"/>
                    <a:pt x="406" y="1122"/>
                    <a:pt x="404" y="1120"/>
                  </a:cubicBezTo>
                  <a:cubicBezTo>
                    <a:pt x="403" y="1119"/>
                    <a:pt x="400" y="1118"/>
                    <a:pt x="399" y="1117"/>
                  </a:cubicBezTo>
                  <a:cubicBezTo>
                    <a:pt x="399" y="1116"/>
                    <a:pt x="399" y="1114"/>
                    <a:pt x="399" y="1113"/>
                  </a:cubicBezTo>
                  <a:cubicBezTo>
                    <a:pt x="398" y="1108"/>
                    <a:pt x="394" y="1099"/>
                    <a:pt x="389" y="1098"/>
                  </a:cubicBezTo>
                  <a:cubicBezTo>
                    <a:pt x="389" y="1102"/>
                    <a:pt x="390" y="1109"/>
                    <a:pt x="385" y="1110"/>
                  </a:cubicBezTo>
                  <a:cubicBezTo>
                    <a:pt x="381" y="1111"/>
                    <a:pt x="377" y="1106"/>
                    <a:pt x="374" y="1103"/>
                  </a:cubicBezTo>
                  <a:cubicBezTo>
                    <a:pt x="371" y="1099"/>
                    <a:pt x="368" y="1096"/>
                    <a:pt x="366" y="1091"/>
                  </a:cubicBezTo>
                  <a:cubicBezTo>
                    <a:pt x="365" y="1089"/>
                    <a:pt x="364" y="1087"/>
                    <a:pt x="361" y="1088"/>
                  </a:cubicBezTo>
                  <a:cubicBezTo>
                    <a:pt x="361" y="1089"/>
                    <a:pt x="361" y="1093"/>
                    <a:pt x="360" y="1094"/>
                  </a:cubicBezTo>
                  <a:cubicBezTo>
                    <a:pt x="357" y="1095"/>
                    <a:pt x="354" y="1089"/>
                    <a:pt x="353" y="1088"/>
                  </a:cubicBezTo>
                  <a:cubicBezTo>
                    <a:pt x="351" y="1084"/>
                    <a:pt x="353" y="1083"/>
                    <a:pt x="348" y="1083"/>
                  </a:cubicBezTo>
                  <a:cubicBezTo>
                    <a:pt x="344" y="1083"/>
                    <a:pt x="338" y="1081"/>
                    <a:pt x="336" y="1076"/>
                  </a:cubicBezTo>
                  <a:cubicBezTo>
                    <a:pt x="334" y="1070"/>
                    <a:pt x="341" y="1072"/>
                    <a:pt x="341" y="1068"/>
                  </a:cubicBezTo>
                  <a:cubicBezTo>
                    <a:pt x="341" y="1064"/>
                    <a:pt x="336" y="1063"/>
                    <a:pt x="335" y="1060"/>
                  </a:cubicBezTo>
                  <a:cubicBezTo>
                    <a:pt x="334" y="1057"/>
                    <a:pt x="334" y="1054"/>
                    <a:pt x="334" y="1051"/>
                  </a:cubicBezTo>
                  <a:cubicBezTo>
                    <a:pt x="334" y="1047"/>
                    <a:pt x="333" y="1044"/>
                    <a:pt x="332" y="1041"/>
                  </a:cubicBezTo>
                  <a:cubicBezTo>
                    <a:pt x="331" y="1040"/>
                    <a:pt x="331" y="1040"/>
                    <a:pt x="330" y="1039"/>
                  </a:cubicBezTo>
                  <a:cubicBezTo>
                    <a:pt x="330" y="1038"/>
                    <a:pt x="330" y="1037"/>
                    <a:pt x="330" y="1036"/>
                  </a:cubicBezTo>
                  <a:cubicBezTo>
                    <a:pt x="330" y="1034"/>
                    <a:pt x="330" y="1032"/>
                    <a:pt x="330" y="1029"/>
                  </a:cubicBezTo>
                  <a:cubicBezTo>
                    <a:pt x="330" y="1024"/>
                    <a:pt x="330" y="1018"/>
                    <a:pt x="330" y="1013"/>
                  </a:cubicBezTo>
                  <a:cubicBezTo>
                    <a:pt x="330" y="1009"/>
                    <a:pt x="330" y="1006"/>
                    <a:pt x="329" y="1003"/>
                  </a:cubicBezTo>
                  <a:cubicBezTo>
                    <a:pt x="329" y="1000"/>
                    <a:pt x="330" y="996"/>
                    <a:pt x="330" y="993"/>
                  </a:cubicBezTo>
                  <a:cubicBezTo>
                    <a:pt x="331" y="988"/>
                    <a:pt x="330" y="983"/>
                    <a:pt x="330" y="979"/>
                  </a:cubicBezTo>
                  <a:cubicBezTo>
                    <a:pt x="330" y="977"/>
                    <a:pt x="330" y="974"/>
                    <a:pt x="330" y="973"/>
                  </a:cubicBezTo>
                  <a:cubicBezTo>
                    <a:pt x="331" y="969"/>
                    <a:pt x="336" y="969"/>
                    <a:pt x="338" y="966"/>
                  </a:cubicBezTo>
                  <a:cubicBezTo>
                    <a:pt x="343" y="960"/>
                    <a:pt x="342" y="946"/>
                    <a:pt x="342" y="938"/>
                  </a:cubicBezTo>
                  <a:cubicBezTo>
                    <a:pt x="342" y="930"/>
                    <a:pt x="340" y="920"/>
                    <a:pt x="342" y="912"/>
                  </a:cubicBezTo>
                  <a:cubicBezTo>
                    <a:pt x="343" y="909"/>
                    <a:pt x="344" y="907"/>
                    <a:pt x="344" y="903"/>
                  </a:cubicBezTo>
                  <a:cubicBezTo>
                    <a:pt x="344" y="901"/>
                    <a:pt x="343" y="899"/>
                    <a:pt x="342" y="897"/>
                  </a:cubicBezTo>
                  <a:cubicBezTo>
                    <a:pt x="342" y="895"/>
                    <a:pt x="342" y="890"/>
                    <a:pt x="343" y="889"/>
                  </a:cubicBezTo>
                  <a:cubicBezTo>
                    <a:pt x="345" y="887"/>
                    <a:pt x="350" y="888"/>
                    <a:pt x="352" y="888"/>
                  </a:cubicBezTo>
                  <a:cubicBezTo>
                    <a:pt x="356" y="887"/>
                    <a:pt x="356" y="886"/>
                    <a:pt x="358" y="882"/>
                  </a:cubicBezTo>
                  <a:cubicBezTo>
                    <a:pt x="360" y="877"/>
                    <a:pt x="362" y="872"/>
                    <a:pt x="365" y="867"/>
                  </a:cubicBezTo>
                  <a:cubicBezTo>
                    <a:pt x="365" y="865"/>
                    <a:pt x="366" y="861"/>
                    <a:pt x="368" y="860"/>
                  </a:cubicBezTo>
                  <a:cubicBezTo>
                    <a:pt x="368" y="859"/>
                    <a:pt x="369" y="859"/>
                    <a:pt x="370" y="858"/>
                  </a:cubicBezTo>
                  <a:cubicBezTo>
                    <a:pt x="372" y="857"/>
                    <a:pt x="374" y="853"/>
                    <a:pt x="374" y="851"/>
                  </a:cubicBezTo>
                  <a:cubicBezTo>
                    <a:pt x="375" y="848"/>
                    <a:pt x="375" y="845"/>
                    <a:pt x="377" y="841"/>
                  </a:cubicBezTo>
                  <a:cubicBezTo>
                    <a:pt x="378" y="839"/>
                    <a:pt x="382" y="834"/>
                    <a:pt x="385" y="832"/>
                  </a:cubicBezTo>
                  <a:cubicBezTo>
                    <a:pt x="387" y="832"/>
                    <a:pt x="388" y="833"/>
                    <a:pt x="389" y="832"/>
                  </a:cubicBezTo>
                  <a:cubicBezTo>
                    <a:pt x="389" y="831"/>
                    <a:pt x="391" y="828"/>
                    <a:pt x="391" y="827"/>
                  </a:cubicBezTo>
                  <a:cubicBezTo>
                    <a:pt x="392" y="825"/>
                    <a:pt x="393" y="822"/>
                    <a:pt x="393" y="819"/>
                  </a:cubicBezTo>
                  <a:cubicBezTo>
                    <a:pt x="393" y="817"/>
                    <a:pt x="391" y="815"/>
                    <a:pt x="392" y="812"/>
                  </a:cubicBezTo>
                  <a:cubicBezTo>
                    <a:pt x="392" y="811"/>
                    <a:pt x="393" y="812"/>
                    <a:pt x="393" y="811"/>
                  </a:cubicBezTo>
                  <a:cubicBezTo>
                    <a:pt x="393" y="809"/>
                    <a:pt x="393" y="809"/>
                    <a:pt x="393" y="808"/>
                  </a:cubicBezTo>
                  <a:cubicBezTo>
                    <a:pt x="392" y="806"/>
                    <a:pt x="392" y="804"/>
                    <a:pt x="391" y="803"/>
                  </a:cubicBezTo>
                  <a:cubicBezTo>
                    <a:pt x="391" y="802"/>
                    <a:pt x="390" y="802"/>
                    <a:pt x="390" y="802"/>
                  </a:cubicBezTo>
                  <a:cubicBezTo>
                    <a:pt x="395" y="801"/>
                    <a:pt x="400" y="800"/>
                    <a:pt x="404" y="798"/>
                  </a:cubicBezTo>
                  <a:cubicBezTo>
                    <a:pt x="407" y="796"/>
                    <a:pt x="407" y="795"/>
                    <a:pt x="409" y="793"/>
                  </a:cubicBezTo>
                  <a:cubicBezTo>
                    <a:pt x="415" y="783"/>
                    <a:pt x="422" y="775"/>
                    <a:pt x="431" y="768"/>
                  </a:cubicBezTo>
                  <a:cubicBezTo>
                    <a:pt x="434" y="766"/>
                    <a:pt x="437" y="764"/>
                    <a:pt x="440" y="761"/>
                  </a:cubicBezTo>
                  <a:cubicBezTo>
                    <a:pt x="443" y="759"/>
                    <a:pt x="445" y="756"/>
                    <a:pt x="448" y="753"/>
                  </a:cubicBezTo>
                  <a:cubicBezTo>
                    <a:pt x="451" y="750"/>
                    <a:pt x="452" y="750"/>
                    <a:pt x="456" y="752"/>
                  </a:cubicBezTo>
                  <a:cubicBezTo>
                    <a:pt x="458" y="752"/>
                    <a:pt x="459" y="753"/>
                    <a:pt x="461" y="753"/>
                  </a:cubicBezTo>
                  <a:cubicBezTo>
                    <a:pt x="464" y="752"/>
                    <a:pt x="464" y="746"/>
                    <a:pt x="466" y="744"/>
                  </a:cubicBezTo>
                  <a:cubicBezTo>
                    <a:pt x="471" y="740"/>
                    <a:pt x="476" y="739"/>
                    <a:pt x="481" y="736"/>
                  </a:cubicBezTo>
                  <a:cubicBezTo>
                    <a:pt x="484" y="735"/>
                    <a:pt x="487" y="731"/>
                    <a:pt x="490" y="730"/>
                  </a:cubicBezTo>
                  <a:cubicBezTo>
                    <a:pt x="493" y="729"/>
                    <a:pt x="497" y="731"/>
                    <a:pt x="500" y="732"/>
                  </a:cubicBezTo>
                  <a:cubicBezTo>
                    <a:pt x="503" y="732"/>
                    <a:pt x="507" y="732"/>
                    <a:pt x="510" y="732"/>
                  </a:cubicBezTo>
                  <a:cubicBezTo>
                    <a:pt x="513" y="732"/>
                    <a:pt x="514" y="733"/>
                    <a:pt x="515" y="729"/>
                  </a:cubicBezTo>
                  <a:cubicBezTo>
                    <a:pt x="517" y="725"/>
                    <a:pt x="518" y="719"/>
                    <a:pt x="518" y="715"/>
                  </a:cubicBezTo>
                  <a:cubicBezTo>
                    <a:pt x="519" y="706"/>
                    <a:pt x="520" y="697"/>
                    <a:pt x="523" y="689"/>
                  </a:cubicBezTo>
                  <a:cubicBezTo>
                    <a:pt x="525" y="685"/>
                    <a:pt x="527" y="681"/>
                    <a:pt x="529" y="678"/>
                  </a:cubicBezTo>
                  <a:cubicBezTo>
                    <a:pt x="530" y="675"/>
                    <a:pt x="530" y="672"/>
                    <a:pt x="532" y="670"/>
                  </a:cubicBezTo>
                  <a:cubicBezTo>
                    <a:pt x="533" y="668"/>
                    <a:pt x="535" y="667"/>
                    <a:pt x="536" y="665"/>
                  </a:cubicBezTo>
                  <a:cubicBezTo>
                    <a:pt x="538" y="663"/>
                    <a:pt x="538" y="661"/>
                    <a:pt x="540" y="659"/>
                  </a:cubicBezTo>
                  <a:cubicBezTo>
                    <a:pt x="544" y="655"/>
                    <a:pt x="548" y="651"/>
                    <a:pt x="552" y="647"/>
                  </a:cubicBezTo>
                  <a:cubicBezTo>
                    <a:pt x="557" y="641"/>
                    <a:pt x="556" y="634"/>
                    <a:pt x="554" y="627"/>
                  </a:cubicBezTo>
                  <a:cubicBezTo>
                    <a:pt x="553" y="624"/>
                    <a:pt x="551" y="618"/>
                    <a:pt x="547" y="619"/>
                  </a:cubicBezTo>
                  <a:cubicBezTo>
                    <a:pt x="546" y="612"/>
                    <a:pt x="540" y="605"/>
                    <a:pt x="537" y="599"/>
                  </a:cubicBezTo>
                  <a:cubicBezTo>
                    <a:pt x="536" y="595"/>
                    <a:pt x="535" y="592"/>
                    <a:pt x="535" y="588"/>
                  </a:cubicBezTo>
                  <a:cubicBezTo>
                    <a:pt x="536" y="581"/>
                    <a:pt x="541" y="575"/>
                    <a:pt x="544" y="569"/>
                  </a:cubicBezTo>
                  <a:cubicBezTo>
                    <a:pt x="546" y="566"/>
                    <a:pt x="551" y="563"/>
                    <a:pt x="551" y="559"/>
                  </a:cubicBezTo>
                  <a:cubicBezTo>
                    <a:pt x="552" y="558"/>
                    <a:pt x="551" y="556"/>
                    <a:pt x="552" y="555"/>
                  </a:cubicBezTo>
                  <a:cubicBezTo>
                    <a:pt x="552" y="551"/>
                    <a:pt x="553" y="547"/>
                    <a:pt x="554" y="543"/>
                  </a:cubicBezTo>
                  <a:cubicBezTo>
                    <a:pt x="556" y="540"/>
                    <a:pt x="558" y="537"/>
                    <a:pt x="558" y="533"/>
                  </a:cubicBezTo>
                  <a:cubicBezTo>
                    <a:pt x="558" y="531"/>
                    <a:pt x="558" y="529"/>
                    <a:pt x="559" y="527"/>
                  </a:cubicBezTo>
                  <a:cubicBezTo>
                    <a:pt x="559" y="526"/>
                    <a:pt x="562" y="524"/>
                    <a:pt x="563" y="523"/>
                  </a:cubicBezTo>
                  <a:cubicBezTo>
                    <a:pt x="565" y="521"/>
                    <a:pt x="566" y="518"/>
                    <a:pt x="570" y="518"/>
                  </a:cubicBezTo>
                  <a:cubicBezTo>
                    <a:pt x="571" y="518"/>
                    <a:pt x="572" y="518"/>
                    <a:pt x="573" y="518"/>
                  </a:cubicBezTo>
                  <a:cubicBezTo>
                    <a:pt x="576" y="517"/>
                    <a:pt x="582" y="517"/>
                    <a:pt x="584" y="516"/>
                  </a:cubicBezTo>
                  <a:cubicBezTo>
                    <a:pt x="586" y="514"/>
                    <a:pt x="584" y="509"/>
                    <a:pt x="587" y="507"/>
                  </a:cubicBezTo>
                  <a:cubicBezTo>
                    <a:pt x="588" y="506"/>
                    <a:pt x="589" y="507"/>
                    <a:pt x="590" y="507"/>
                  </a:cubicBezTo>
                  <a:cubicBezTo>
                    <a:pt x="592" y="507"/>
                    <a:pt x="592" y="506"/>
                    <a:pt x="593" y="505"/>
                  </a:cubicBezTo>
                  <a:cubicBezTo>
                    <a:pt x="596" y="503"/>
                    <a:pt x="598" y="502"/>
                    <a:pt x="599" y="499"/>
                  </a:cubicBezTo>
                  <a:cubicBezTo>
                    <a:pt x="599" y="498"/>
                    <a:pt x="599" y="495"/>
                    <a:pt x="600" y="494"/>
                  </a:cubicBezTo>
                  <a:cubicBezTo>
                    <a:pt x="601" y="489"/>
                    <a:pt x="603" y="485"/>
                    <a:pt x="603" y="480"/>
                  </a:cubicBezTo>
                  <a:cubicBezTo>
                    <a:pt x="604" y="474"/>
                    <a:pt x="602" y="468"/>
                    <a:pt x="603" y="462"/>
                  </a:cubicBezTo>
                  <a:cubicBezTo>
                    <a:pt x="606" y="461"/>
                    <a:pt x="607" y="465"/>
                    <a:pt x="610" y="465"/>
                  </a:cubicBezTo>
                  <a:cubicBezTo>
                    <a:pt x="615" y="465"/>
                    <a:pt x="612" y="460"/>
                    <a:pt x="615" y="460"/>
                  </a:cubicBezTo>
                  <a:cubicBezTo>
                    <a:pt x="621" y="469"/>
                    <a:pt x="632" y="472"/>
                    <a:pt x="642" y="467"/>
                  </a:cubicBezTo>
                  <a:cubicBezTo>
                    <a:pt x="643" y="467"/>
                    <a:pt x="643" y="467"/>
                    <a:pt x="644" y="467"/>
                  </a:cubicBezTo>
                  <a:cubicBezTo>
                    <a:pt x="645" y="466"/>
                    <a:pt x="645" y="465"/>
                    <a:pt x="646" y="464"/>
                  </a:cubicBezTo>
                  <a:cubicBezTo>
                    <a:pt x="648" y="462"/>
                    <a:pt x="651" y="463"/>
                    <a:pt x="653" y="463"/>
                  </a:cubicBezTo>
                  <a:cubicBezTo>
                    <a:pt x="657" y="463"/>
                    <a:pt x="661" y="464"/>
                    <a:pt x="665" y="465"/>
                  </a:cubicBezTo>
                  <a:cubicBezTo>
                    <a:pt x="668" y="466"/>
                    <a:pt x="670" y="467"/>
                    <a:pt x="672" y="468"/>
                  </a:cubicBezTo>
                  <a:cubicBezTo>
                    <a:pt x="676" y="468"/>
                    <a:pt x="675" y="467"/>
                    <a:pt x="677" y="465"/>
                  </a:cubicBezTo>
                  <a:cubicBezTo>
                    <a:pt x="676" y="465"/>
                    <a:pt x="680" y="463"/>
                    <a:pt x="680" y="463"/>
                  </a:cubicBezTo>
                  <a:cubicBezTo>
                    <a:pt x="682" y="462"/>
                    <a:pt x="685" y="460"/>
                    <a:pt x="687" y="460"/>
                  </a:cubicBezTo>
                  <a:cubicBezTo>
                    <a:pt x="690" y="459"/>
                    <a:pt x="692" y="460"/>
                    <a:pt x="694" y="459"/>
                  </a:cubicBezTo>
                  <a:cubicBezTo>
                    <a:pt x="694" y="458"/>
                    <a:pt x="695" y="456"/>
                    <a:pt x="695" y="455"/>
                  </a:cubicBezTo>
                  <a:cubicBezTo>
                    <a:pt x="696" y="450"/>
                    <a:pt x="695" y="444"/>
                    <a:pt x="694" y="439"/>
                  </a:cubicBezTo>
                  <a:cubicBezTo>
                    <a:pt x="691" y="429"/>
                    <a:pt x="690" y="419"/>
                    <a:pt x="684" y="410"/>
                  </a:cubicBezTo>
                  <a:cubicBezTo>
                    <a:pt x="682" y="406"/>
                    <a:pt x="679" y="405"/>
                    <a:pt x="677" y="401"/>
                  </a:cubicBezTo>
                  <a:cubicBezTo>
                    <a:pt x="676" y="398"/>
                    <a:pt x="677" y="394"/>
                    <a:pt x="677" y="391"/>
                  </a:cubicBezTo>
                  <a:cubicBezTo>
                    <a:pt x="677" y="387"/>
                    <a:pt x="676" y="384"/>
                    <a:pt x="677" y="380"/>
                  </a:cubicBezTo>
                  <a:cubicBezTo>
                    <a:pt x="677" y="376"/>
                    <a:pt x="679" y="374"/>
                    <a:pt x="681" y="371"/>
                  </a:cubicBezTo>
                  <a:cubicBezTo>
                    <a:pt x="684" y="365"/>
                    <a:pt x="683" y="359"/>
                    <a:pt x="684" y="353"/>
                  </a:cubicBezTo>
                  <a:cubicBezTo>
                    <a:pt x="686" y="345"/>
                    <a:pt x="689" y="337"/>
                    <a:pt x="687" y="328"/>
                  </a:cubicBezTo>
                  <a:cubicBezTo>
                    <a:pt x="686" y="320"/>
                    <a:pt x="682" y="312"/>
                    <a:pt x="677" y="305"/>
                  </a:cubicBezTo>
                  <a:cubicBezTo>
                    <a:pt x="672" y="296"/>
                    <a:pt x="669" y="286"/>
                    <a:pt x="669" y="276"/>
                  </a:cubicBezTo>
                  <a:cubicBezTo>
                    <a:pt x="669" y="273"/>
                    <a:pt x="668" y="267"/>
                    <a:pt x="670" y="265"/>
                  </a:cubicBezTo>
                  <a:cubicBezTo>
                    <a:pt x="671" y="263"/>
                    <a:pt x="673" y="264"/>
                    <a:pt x="673" y="262"/>
                  </a:cubicBezTo>
                  <a:cubicBezTo>
                    <a:pt x="674" y="259"/>
                    <a:pt x="673" y="255"/>
                    <a:pt x="672" y="253"/>
                  </a:cubicBezTo>
                  <a:cubicBezTo>
                    <a:pt x="672" y="249"/>
                    <a:pt x="671" y="246"/>
                    <a:pt x="670" y="243"/>
                  </a:cubicBezTo>
                  <a:cubicBezTo>
                    <a:pt x="670" y="241"/>
                    <a:pt x="670" y="240"/>
                    <a:pt x="669" y="239"/>
                  </a:cubicBezTo>
                  <a:cubicBezTo>
                    <a:pt x="667" y="238"/>
                    <a:pt x="663" y="239"/>
                    <a:pt x="661" y="237"/>
                  </a:cubicBezTo>
                  <a:cubicBezTo>
                    <a:pt x="659" y="236"/>
                    <a:pt x="658" y="233"/>
                    <a:pt x="657" y="230"/>
                  </a:cubicBezTo>
                  <a:cubicBezTo>
                    <a:pt x="656" y="225"/>
                    <a:pt x="661" y="224"/>
                    <a:pt x="664" y="221"/>
                  </a:cubicBezTo>
                  <a:cubicBezTo>
                    <a:pt x="666" y="218"/>
                    <a:pt x="666" y="214"/>
                    <a:pt x="666" y="211"/>
                  </a:cubicBezTo>
                  <a:cubicBezTo>
                    <a:pt x="665" y="204"/>
                    <a:pt x="662" y="199"/>
                    <a:pt x="662" y="192"/>
                  </a:cubicBezTo>
                  <a:cubicBezTo>
                    <a:pt x="662" y="188"/>
                    <a:pt x="662" y="184"/>
                    <a:pt x="662" y="180"/>
                  </a:cubicBezTo>
                  <a:cubicBezTo>
                    <a:pt x="662" y="178"/>
                    <a:pt x="663" y="176"/>
                    <a:pt x="663" y="174"/>
                  </a:cubicBezTo>
                  <a:cubicBezTo>
                    <a:pt x="665" y="169"/>
                    <a:pt x="668" y="167"/>
                    <a:pt x="667" y="162"/>
                  </a:cubicBezTo>
                  <a:cubicBezTo>
                    <a:pt x="660" y="161"/>
                    <a:pt x="659" y="153"/>
                    <a:pt x="656" y="148"/>
                  </a:cubicBezTo>
                  <a:cubicBezTo>
                    <a:pt x="654" y="145"/>
                    <a:pt x="653" y="143"/>
                    <a:pt x="649" y="142"/>
                  </a:cubicBezTo>
                  <a:cubicBezTo>
                    <a:pt x="647" y="141"/>
                    <a:pt x="645" y="140"/>
                    <a:pt x="642" y="140"/>
                  </a:cubicBezTo>
                  <a:cubicBezTo>
                    <a:pt x="641" y="137"/>
                    <a:pt x="642" y="133"/>
                    <a:pt x="641" y="129"/>
                  </a:cubicBezTo>
                  <a:cubicBezTo>
                    <a:pt x="641" y="128"/>
                    <a:pt x="642" y="125"/>
                    <a:pt x="641" y="123"/>
                  </a:cubicBezTo>
                  <a:cubicBezTo>
                    <a:pt x="639" y="122"/>
                    <a:pt x="634" y="121"/>
                    <a:pt x="632" y="120"/>
                  </a:cubicBezTo>
                  <a:cubicBezTo>
                    <a:pt x="629" y="119"/>
                    <a:pt x="628" y="120"/>
                    <a:pt x="627" y="117"/>
                  </a:cubicBezTo>
                  <a:cubicBezTo>
                    <a:pt x="626" y="115"/>
                    <a:pt x="625" y="114"/>
                    <a:pt x="624" y="112"/>
                  </a:cubicBezTo>
                  <a:cubicBezTo>
                    <a:pt x="621" y="106"/>
                    <a:pt x="616" y="100"/>
                    <a:pt x="613" y="95"/>
                  </a:cubicBezTo>
                  <a:cubicBezTo>
                    <a:pt x="609" y="90"/>
                    <a:pt x="607" y="89"/>
                    <a:pt x="602" y="86"/>
                  </a:cubicBezTo>
                  <a:cubicBezTo>
                    <a:pt x="598" y="85"/>
                    <a:pt x="595" y="84"/>
                    <a:pt x="591" y="84"/>
                  </a:cubicBezTo>
                  <a:cubicBezTo>
                    <a:pt x="589" y="84"/>
                    <a:pt x="588" y="84"/>
                    <a:pt x="587" y="83"/>
                  </a:cubicBezTo>
                  <a:cubicBezTo>
                    <a:pt x="585" y="82"/>
                    <a:pt x="583" y="80"/>
                    <a:pt x="582" y="78"/>
                  </a:cubicBezTo>
                  <a:cubicBezTo>
                    <a:pt x="579" y="76"/>
                    <a:pt x="577" y="74"/>
                    <a:pt x="574" y="72"/>
                  </a:cubicBezTo>
                  <a:cubicBezTo>
                    <a:pt x="570" y="69"/>
                    <a:pt x="568" y="69"/>
                    <a:pt x="563" y="68"/>
                  </a:cubicBezTo>
                  <a:cubicBezTo>
                    <a:pt x="559" y="67"/>
                    <a:pt x="555" y="62"/>
                    <a:pt x="552" y="59"/>
                  </a:cubicBezTo>
                  <a:cubicBezTo>
                    <a:pt x="549" y="54"/>
                    <a:pt x="547" y="50"/>
                    <a:pt x="542" y="47"/>
                  </a:cubicBezTo>
                  <a:cubicBezTo>
                    <a:pt x="538" y="44"/>
                    <a:pt x="537" y="39"/>
                    <a:pt x="534" y="35"/>
                  </a:cubicBezTo>
                  <a:cubicBezTo>
                    <a:pt x="531" y="32"/>
                    <a:pt x="528" y="30"/>
                    <a:pt x="525" y="28"/>
                  </a:cubicBezTo>
                  <a:cubicBezTo>
                    <a:pt x="523" y="26"/>
                    <a:pt x="522" y="24"/>
                    <a:pt x="519" y="22"/>
                  </a:cubicBezTo>
                  <a:cubicBezTo>
                    <a:pt x="516" y="19"/>
                    <a:pt x="513" y="17"/>
                    <a:pt x="510" y="14"/>
                  </a:cubicBezTo>
                  <a:cubicBezTo>
                    <a:pt x="508" y="11"/>
                    <a:pt x="505" y="8"/>
                    <a:pt x="504" y="5"/>
                  </a:cubicBezTo>
                  <a:cubicBezTo>
                    <a:pt x="503" y="4"/>
                    <a:pt x="503" y="2"/>
                    <a:pt x="502" y="1"/>
                  </a:cubicBezTo>
                  <a:cubicBezTo>
                    <a:pt x="502" y="1"/>
                    <a:pt x="502" y="0"/>
                    <a:pt x="502" y="0"/>
                  </a:cubicBezTo>
                  <a:cubicBezTo>
                    <a:pt x="500" y="0"/>
                    <a:pt x="498" y="0"/>
                    <a:pt x="497" y="1"/>
                  </a:cubicBezTo>
                  <a:cubicBezTo>
                    <a:pt x="494" y="1"/>
                    <a:pt x="481" y="1"/>
                    <a:pt x="480" y="4"/>
                  </a:cubicBezTo>
                  <a:cubicBezTo>
                    <a:pt x="482" y="6"/>
                    <a:pt x="483" y="10"/>
                    <a:pt x="485" y="12"/>
                  </a:cubicBezTo>
                  <a:cubicBezTo>
                    <a:pt x="487" y="17"/>
                    <a:pt x="490" y="22"/>
                    <a:pt x="493" y="26"/>
                  </a:cubicBezTo>
                  <a:cubicBezTo>
                    <a:pt x="498" y="33"/>
                    <a:pt x="500" y="39"/>
                    <a:pt x="500" y="47"/>
                  </a:cubicBezTo>
                  <a:cubicBezTo>
                    <a:pt x="500" y="54"/>
                    <a:pt x="497" y="56"/>
                    <a:pt x="492" y="60"/>
                  </a:cubicBezTo>
                  <a:cubicBezTo>
                    <a:pt x="487" y="64"/>
                    <a:pt x="483" y="67"/>
                    <a:pt x="478" y="70"/>
                  </a:cubicBezTo>
                  <a:cubicBezTo>
                    <a:pt x="475" y="72"/>
                    <a:pt x="470" y="73"/>
                    <a:pt x="468" y="76"/>
                  </a:cubicBezTo>
                  <a:cubicBezTo>
                    <a:pt x="471" y="78"/>
                    <a:pt x="484" y="81"/>
                    <a:pt x="484" y="85"/>
                  </a:cubicBezTo>
                  <a:cubicBezTo>
                    <a:pt x="484" y="86"/>
                    <a:pt x="481" y="88"/>
                    <a:pt x="481" y="89"/>
                  </a:cubicBezTo>
                  <a:cubicBezTo>
                    <a:pt x="480" y="91"/>
                    <a:pt x="480" y="92"/>
                    <a:pt x="478" y="95"/>
                  </a:cubicBezTo>
                  <a:cubicBezTo>
                    <a:pt x="478" y="96"/>
                    <a:pt x="475" y="100"/>
                    <a:pt x="474" y="101"/>
                  </a:cubicBezTo>
                  <a:cubicBezTo>
                    <a:pt x="472" y="102"/>
                    <a:pt x="471" y="101"/>
                    <a:pt x="469" y="101"/>
                  </a:cubicBezTo>
                  <a:cubicBezTo>
                    <a:pt x="462" y="100"/>
                    <a:pt x="456" y="98"/>
                    <a:pt x="449" y="94"/>
                  </a:cubicBezTo>
                  <a:cubicBezTo>
                    <a:pt x="444" y="91"/>
                    <a:pt x="438" y="92"/>
                    <a:pt x="432" y="91"/>
                  </a:cubicBezTo>
                  <a:cubicBezTo>
                    <a:pt x="423" y="89"/>
                    <a:pt x="414" y="87"/>
                    <a:pt x="405" y="84"/>
                  </a:cubicBezTo>
                  <a:cubicBezTo>
                    <a:pt x="403" y="83"/>
                    <a:pt x="399" y="83"/>
                    <a:pt x="397" y="82"/>
                  </a:cubicBezTo>
                  <a:cubicBezTo>
                    <a:pt x="394" y="81"/>
                    <a:pt x="393" y="80"/>
                    <a:pt x="391" y="80"/>
                  </a:cubicBezTo>
                  <a:cubicBezTo>
                    <a:pt x="387" y="80"/>
                    <a:pt x="382" y="81"/>
                    <a:pt x="379" y="78"/>
                  </a:cubicBezTo>
                  <a:cubicBezTo>
                    <a:pt x="380" y="83"/>
                    <a:pt x="380" y="89"/>
                    <a:pt x="380" y="94"/>
                  </a:cubicBezTo>
                  <a:cubicBezTo>
                    <a:pt x="380" y="117"/>
                    <a:pt x="380" y="117"/>
                    <a:pt x="380" y="117"/>
                  </a:cubicBezTo>
                  <a:cubicBezTo>
                    <a:pt x="380" y="119"/>
                    <a:pt x="380" y="123"/>
                    <a:pt x="380" y="124"/>
                  </a:cubicBezTo>
                  <a:cubicBezTo>
                    <a:pt x="379" y="126"/>
                    <a:pt x="378" y="128"/>
                    <a:pt x="378" y="129"/>
                  </a:cubicBezTo>
                  <a:cubicBezTo>
                    <a:pt x="377" y="132"/>
                    <a:pt x="375" y="134"/>
                    <a:pt x="373" y="137"/>
                  </a:cubicBezTo>
                  <a:cubicBezTo>
                    <a:pt x="371" y="142"/>
                    <a:pt x="368" y="147"/>
                    <a:pt x="366" y="151"/>
                  </a:cubicBezTo>
                  <a:cubicBezTo>
                    <a:pt x="365" y="153"/>
                    <a:pt x="365" y="155"/>
                    <a:pt x="364" y="157"/>
                  </a:cubicBezTo>
                  <a:cubicBezTo>
                    <a:pt x="359" y="155"/>
                    <a:pt x="354" y="152"/>
                    <a:pt x="349" y="151"/>
                  </a:cubicBezTo>
                  <a:cubicBezTo>
                    <a:pt x="345" y="149"/>
                    <a:pt x="343" y="147"/>
                    <a:pt x="340" y="146"/>
                  </a:cubicBezTo>
                  <a:cubicBezTo>
                    <a:pt x="336" y="144"/>
                    <a:pt x="329" y="144"/>
                    <a:pt x="325" y="145"/>
                  </a:cubicBezTo>
                  <a:cubicBezTo>
                    <a:pt x="322" y="146"/>
                    <a:pt x="319" y="149"/>
                    <a:pt x="317" y="151"/>
                  </a:cubicBezTo>
                  <a:cubicBezTo>
                    <a:pt x="313" y="153"/>
                    <a:pt x="311" y="155"/>
                    <a:pt x="308" y="159"/>
                  </a:cubicBezTo>
                  <a:cubicBezTo>
                    <a:pt x="305" y="163"/>
                    <a:pt x="302" y="168"/>
                    <a:pt x="299" y="172"/>
                  </a:cubicBezTo>
                  <a:cubicBezTo>
                    <a:pt x="298" y="173"/>
                    <a:pt x="295" y="175"/>
                    <a:pt x="295" y="177"/>
                  </a:cubicBezTo>
                  <a:cubicBezTo>
                    <a:pt x="292" y="178"/>
                    <a:pt x="292" y="181"/>
                    <a:pt x="291" y="183"/>
                  </a:cubicBezTo>
                  <a:cubicBezTo>
                    <a:pt x="290" y="185"/>
                    <a:pt x="289" y="186"/>
                    <a:pt x="288" y="188"/>
                  </a:cubicBezTo>
                  <a:cubicBezTo>
                    <a:pt x="289" y="187"/>
                    <a:pt x="290" y="187"/>
                    <a:pt x="290" y="187"/>
                  </a:cubicBezTo>
                  <a:cubicBezTo>
                    <a:pt x="289" y="188"/>
                    <a:pt x="289" y="190"/>
                    <a:pt x="288" y="192"/>
                  </a:cubicBezTo>
                  <a:cubicBezTo>
                    <a:pt x="287" y="195"/>
                    <a:pt x="285" y="199"/>
                    <a:pt x="284" y="202"/>
                  </a:cubicBezTo>
                  <a:cubicBezTo>
                    <a:pt x="282" y="207"/>
                    <a:pt x="280" y="211"/>
                    <a:pt x="279" y="216"/>
                  </a:cubicBezTo>
                  <a:cubicBezTo>
                    <a:pt x="279" y="220"/>
                    <a:pt x="278" y="223"/>
                    <a:pt x="274" y="224"/>
                  </a:cubicBezTo>
                  <a:cubicBezTo>
                    <a:pt x="269" y="227"/>
                    <a:pt x="268" y="229"/>
                    <a:pt x="267" y="234"/>
                  </a:cubicBezTo>
                  <a:cubicBezTo>
                    <a:pt x="266" y="237"/>
                    <a:pt x="266" y="239"/>
                    <a:pt x="266" y="243"/>
                  </a:cubicBezTo>
                  <a:cubicBezTo>
                    <a:pt x="266" y="245"/>
                    <a:pt x="266" y="247"/>
                    <a:pt x="267" y="249"/>
                  </a:cubicBezTo>
                  <a:cubicBezTo>
                    <a:pt x="268" y="253"/>
                    <a:pt x="268" y="256"/>
                    <a:pt x="269" y="259"/>
                  </a:cubicBezTo>
                  <a:cubicBezTo>
                    <a:pt x="269" y="261"/>
                    <a:pt x="271" y="263"/>
                    <a:pt x="272" y="265"/>
                  </a:cubicBezTo>
                  <a:cubicBezTo>
                    <a:pt x="272" y="266"/>
                    <a:pt x="272" y="268"/>
                    <a:pt x="272" y="270"/>
                  </a:cubicBezTo>
                  <a:cubicBezTo>
                    <a:pt x="272" y="272"/>
                    <a:pt x="274" y="275"/>
                    <a:pt x="275" y="278"/>
                  </a:cubicBezTo>
                  <a:cubicBezTo>
                    <a:pt x="276" y="282"/>
                    <a:pt x="277" y="294"/>
                    <a:pt x="273" y="297"/>
                  </a:cubicBezTo>
                  <a:cubicBezTo>
                    <a:pt x="269" y="299"/>
                    <a:pt x="265" y="300"/>
                    <a:pt x="261" y="303"/>
                  </a:cubicBezTo>
                  <a:cubicBezTo>
                    <a:pt x="258" y="306"/>
                    <a:pt x="256" y="310"/>
                    <a:pt x="256" y="314"/>
                  </a:cubicBezTo>
                  <a:cubicBezTo>
                    <a:pt x="255" y="319"/>
                    <a:pt x="252" y="323"/>
                    <a:pt x="250" y="327"/>
                  </a:cubicBezTo>
                  <a:cubicBezTo>
                    <a:pt x="247" y="335"/>
                    <a:pt x="243" y="344"/>
                    <a:pt x="239" y="352"/>
                  </a:cubicBezTo>
                  <a:cubicBezTo>
                    <a:pt x="237" y="357"/>
                    <a:pt x="236" y="360"/>
                    <a:pt x="231" y="363"/>
                  </a:cubicBezTo>
                  <a:cubicBezTo>
                    <a:pt x="227" y="366"/>
                    <a:pt x="224" y="368"/>
                    <a:pt x="225" y="374"/>
                  </a:cubicBezTo>
                  <a:cubicBezTo>
                    <a:pt x="225" y="379"/>
                    <a:pt x="233" y="388"/>
                    <a:pt x="230" y="394"/>
                  </a:cubicBezTo>
                  <a:cubicBezTo>
                    <a:pt x="228" y="397"/>
                    <a:pt x="223" y="396"/>
                    <a:pt x="220" y="398"/>
                  </a:cubicBezTo>
                  <a:cubicBezTo>
                    <a:pt x="215" y="401"/>
                    <a:pt x="215" y="408"/>
                    <a:pt x="209" y="410"/>
                  </a:cubicBezTo>
                  <a:cubicBezTo>
                    <a:pt x="206" y="412"/>
                    <a:pt x="201" y="413"/>
                    <a:pt x="197" y="414"/>
                  </a:cubicBezTo>
                  <a:cubicBezTo>
                    <a:pt x="193" y="415"/>
                    <a:pt x="181" y="412"/>
                    <a:pt x="178" y="415"/>
                  </a:cubicBezTo>
                  <a:cubicBezTo>
                    <a:pt x="178" y="415"/>
                    <a:pt x="178" y="416"/>
                    <a:pt x="178" y="416"/>
                  </a:cubicBezTo>
                  <a:cubicBezTo>
                    <a:pt x="178" y="418"/>
                    <a:pt x="178" y="422"/>
                    <a:pt x="178" y="422"/>
                  </a:cubicBezTo>
                  <a:cubicBezTo>
                    <a:pt x="179" y="428"/>
                    <a:pt x="180" y="435"/>
                    <a:pt x="181" y="441"/>
                  </a:cubicBezTo>
                  <a:cubicBezTo>
                    <a:pt x="182" y="449"/>
                    <a:pt x="186" y="456"/>
                    <a:pt x="184" y="463"/>
                  </a:cubicBezTo>
                  <a:cubicBezTo>
                    <a:pt x="184" y="466"/>
                    <a:pt x="184" y="467"/>
                    <a:pt x="183" y="469"/>
                  </a:cubicBezTo>
                  <a:cubicBezTo>
                    <a:pt x="182" y="470"/>
                    <a:pt x="181" y="471"/>
                    <a:pt x="180" y="471"/>
                  </a:cubicBezTo>
                  <a:cubicBezTo>
                    <a:pt x="179" y="473"/>
                    <a:pt x="179" y="475"/>
                    <a:pt x="178" y="477"/>
                  </a:cubicBezTo>
                  <a:cubicBezTo>
                    <a:pt x="177" y="481"/>
                    <a:pt x="174" y="485"/>
                    <a:pt x="174" y="490"/>
                  </a:cubicBezTo>
                  <a:cubicBezTo>
                    <a:pt x="173" y="496"/>
                    <a:pt x="174" y="502"/>
                    <a:pt x="175" y="508"/>
                  </a:cubicBezTo>
                  <a:cubicBezTo>
                    <a:pt x="175" y="513"/>
                    <a:pt x="175" y="518"/>
                    <a:pt x="175" y="524"/>
                  </a:cubicBezTo>
                  <a:cubicBezTo>
                    <a:pt x="175" y="530"/>
                    <a:pt x="175" y="531"/>
                    <a:pt x="171" y="534"/>
                  </a:cubicBezTo>
                  <a:cubicBezTo>
                    <a:pt x="168" y="536"/>
                    <a:pt x="166" y="540"/>
                    <a:pt x="165" y="543"/>
                  </a:cubicBezTo>
                  <a:cubicBezTo>
                    <a:pt x="163" y="547"/>
                    <a:pt x="162" y="552"/>
                    <a:pt x="160" y="556"/>
                  </a:cubicBezTo>
                  <a:cubicBezTo>
                    <a:pt x="157" y="561"/>
                    <a:pt x="157" y="567"/>
                    <a:pt x="154" y="570"/>
                  </a:cubicBezTo>
                  <a:cubicBezTo>
                    <a:pt x="153" y="572"/>
                    <a:pt x="153" y="574"/>
                    <a:pt x="152" y="576"/>
                  </a:cubicBezTo>
                  <a:cubicBezTo>
                    <a:pt x="151" y="578"/>
                    <a:pt x="151" y="580"/>
                    <a:pt x="151" y="582"/>
                  </a:cubicBezTo>
                  <a:cubicBezTo>
                    <a:pt x="150" y="586"/>
                    <a:pt x="149" y="590"/>
                    <a:pt x="147" y="593"/>
                  </a:cubicBezTo>
                  <a:cubicBezTo>
                    <a:pt x="145" y="598"/>
                    <a:pt x="142" y="602"/>
                    <a:pt x="139" y="606"/>
                  </a:cubicBezTo>
                  <a:cubicBezTo>
                    <a:pt x="137" y="609"/>
                    <a:pt x="135" y="612"/>
                    <a:pt x="134" y="615"/>
                  </a:cubicBezTo>
                  <a:cubicBezTo>
                    <a:pt x="137" y="616"/>
                    <a:pt x="138" y="618"/>
                    <a:pt x="140" y="620"/>
                  </a:cubicBezTo>
                  <a:cubicBezTo>
                    <a:pt x="143" y="621"/>
                    <a:pt x="145" y="622"/>
                    <a:pt x="148" y="624"/>
                  </a:cubicBezTo>
                  <a:cubicBezTo>
                    <a:pt x="153" y="628"/>
                    <a:pt x="151" y="636"/>
                    <a:pt x="151" y="642"/>
                  </a:cubicBezTo>
                  <a:cubicBezTo>
                    <a:pt x="151" y="646"/>
                    <a:pt x="151" y="650"/>
                    <a:pt x="151" y="653"/>
                  </a:cubicBezTo>
                  <a:cubicBezTo>
                    <a:pt x="152" y="657"/>
                    <a:pt x="154" y="661"/>
                    <a:pt x="155" y="665"/>
                  </a:cubicBezTo>
                  <a:cubicBezTo>
                    <a:pt x="155" y="669"/>
                    <a:pt x="154" y="672"/>
                    <a:pt x="152" y="676"/>
                  </a:cubicBezTo>
                  <a:cubicBezTo>
                    <a:pt x="151" y="679"/>
                    <a:pt x="150" y="684"/>
                    <a:pt x="148" y="687"/>
                  </a:cubicBezTo>
                  <a:cubicBezTo>
                    <a:pt x="144" y="685"/>
                    <a:pt x="138" y="685"/>
                    <a:pt x="134" y="684"/>
                  </a:cubicBezTo>
                  <a:cubicBezTo>
                    <a:pt x="128" y="684"/>
                    <a:pt x="123" y="683"/>
                    <a:pt x="117" y="682"/>
                  </a:cubicBezTo>
                  <a:cubicBezTo>
                    <a:pt x="112" y="682"/>
                    <a:pt x="108" y="683"/>
                    <a:pt x="103" y="683"/>
                  </a:cubicBezTo>
                  <a:cubicBezTo>
                    <a:pt x="98" y="683"/>
                    <a:pt x="94" y="684"/>
                    <a:pt x="89" y="686"/>
                  </a:cubicBezTo>
                  <a:cubicBezTo>
                    <a:pt x="85" y="688"/>
                    <a:pt x="84" y="692"/>
                    <a:pt x="81" y="694"/>
                  </a:cubicBezTo>
                  <a:cubicBezTo>
                    <a:pt x="80" y="695"/>
                    <a:pt x="78" y="695"/>
                    <a:pt x="76" y="696"/>
                  </a:cubicBezTo>
                  <a:cubicBezTo>
                    <a:pt x="74" y="697"/>
                    <a:pt x="73" y="699"/>
                    <a:pt x="71" y="700"/>
                  </a:cubicBezTo>
                  <a:cubicBezTo>
                    <a:pt x="70" y="702"/>
                    <a:pt x="70" y="703"/>
                    <a:pt x="68" y="705"/>
                  </a:cubicBezTo>
                  <a:cubicBezTo>
                    <a:pt x="67" y="706"/>
                    <a:pt x="67" y="708"/>
                    <a:pt x="67" y="710"/>
                  </a:cubicBezTo>
                  <a:cubicBezTo>
                    <a:pt x="66" y="712"/>
                    <a:pt x="65" y="715"/>
                    <a:pt x="64" y="718"/>
                  </a:cubicBezTo>
                  <a:cubicBezTo>
                    <a:pt x="63" y="722"/>
                    <a:pt x="60" y="727"/>
                    <a:pt x="57" y="731"/>
                  </a:cubicBezTo>
                  <a:cubicBezTo>
                    <a:pt x="54" y="736"/>
                    <a:pt x="49" y="738"/>
                    <a:pt x="48" y="745"/>
                  </a:cubicBezTo>
                  <a:cubicBezTo>
                    <a:pt x="48" y="749"/>
                    <a:pt x="48" y="753"/>
                    <a:pt x="48" y="757"/>
                  </a:cubicBezTo>
                  <a:cubicBezTo>
                    <a:pt x="48" y="762"/>
                    <a:pt x="49" y="770"/>
                    <a:pt x="46" y="775"/>
                  </a:cubicBezTo>
                  <a:cubicBezTo>
                    <a:pt x="45" y="777"/>
                    <a:pt x="44" y="778"/>
                    <a:pt x="44" y="780"/>
                  </a:cubicBezTo>
                  <a:cubicBezTo>
                    <a:pt x="44" y="782"/>
                    <a:pt x="45" y="784"/>
                    <a:pt x="45" y="786"/>
                  </a:cubicBezTo>
                  <a:cubicBezTo>
                    <a:pt x="47" y="789"/>
                    <a:pt x="48" y="792"/>
                    <a:pt x="49" y="795"/>
                  </a:cubicBezTo>
                  <a:cubicBezTo>
                    <a:pt x="50" y="799"/>
                    <a:pt x="50" y="803"/>
                    <a:pt x="52" y="807"/>
                  </a:cubicBezTo>
                  <a:cubicBezTo>
                    <a:pt x="53" y="809"/>
                    <a:pt x="54" y="810"/>
                    <a:pt x="53" y="812"/>
                  </a:cubicBezTo>
                  <a:cubicBezTo>
                    <a:pt x="53" y="814"/>
                    <a:pt x="50" y="816"/>
                    <a:pt x="49" y="817"/>
                  </a:cubicBezTo>
                  <a:cubicBezTo>
                    <a:pt x="48" y="818"/>
                    <a:pt x="48" y="820"/>
                    <a:pt x="47" y="821"/>
                  </a:cubicBezTo>
                  <a:cubicBezTo>
                    <a:pt x="47" y="822"/>
                    <a:pt x="45" y="821"/>
                    <a:pt x="45" y="822"/>
                  </a:cubicBezTo>
                  <a:cubicBezTo>
                    <a:pt x="44" y="824"/>
                    <a:pt x="45" y="828"/>
                    <a:pt x="45" y="830"/>
                  </a:cubicBezTo>
                  <a:cubicBezTo>
                    <a:pt x="45" y="836"/>
                    <a:pt x="45" y="841"/>
                    <a:pt x="45" y="847"/>
                  </a:cubicBezTo>
                  <a:cubicBezTo>
                    <a:pt x="45" y="851"/>
                    <a:pt x="44" y="855"/>
                    <a:pt x="43" y="860"/>
                  </a:cubicBezTo>
                  <a:cubicBezTo>
                    <a:pt x="43" y="863"/>
                    <a:pt x="44" y="863"/>
                    <a:pt x="45" y="866"/>
                  </a:cubicBezTo>
                  <a:cubicBezTo>
                    <a:pt x="49" y="872"/>
                    <a:pt x="52" y="879"/>
                    <a:pt x="55" y="886"/>
                  </a:cubicBezTo>
                  <a:cubicBezTo>
                    <a:pt x="56" y="888"/>
                    <a:pt x="57" y="890"/>
                    <a:pt x="57" y="892"/>
                  </a:cubicBezTo>
                  <a:cubicBezTo>
                    <a:pt x="58" y="896"/>
                    <a:pt x="57" y="900"/>
                    <a:pt x="57" y="904"/>
                  </a:cubicBezTo>
                  <a:cubicBezTo>
                    <a:pt x="57" y="918"/>
                    <a:pt x="57" y="931"/>
                    <a:pt x="54" y="944"/>
                  </a:cubicBezTo>
                  <a:cubicBezTo>
                    <a:pt x="53" y="950"/>
                    <a:pt x="48" y="958"/>
                    <a:pt x="51" y="964"/>
                  </a:cubicBezTo>
                  <a:cubicBezTo>
                    <a:pt x="53" y="968"/>
                    <a:pt x="58" y="969"/>
                    <a:pt x="61" y="971"/>
                  </a:cubicBezTo>
                  <a:cubicBezTo>
                    <a:pt x="64" y="973"/>
                    <a:pt x="65" y="976"/>
                    <a:pt x="68" y="979"/>
                  </a:cubicBezTo>
                  <a:cubicBezTo>
                    <a:pt x="72" y="983"/>
                    <a:pt x="80" y="979"/>
                    <a:pt x="84" y="985"/>
                  </a:cubicBezTo>
                  <a:cubicBezTo>
                    <a:pt x="85" y="985"/>
                    <a:pt x="84" y="987"/>
                    <a:pt x="85" y="987"/>
                  </a:cubicBezTo>
                  <a:cubicBezTo>
                    <a:pt x="86" y="989"/>
                    <a:pt x="87" y="989"/>
                    <a:pt x="88" y="990"/>
                  </a:cubicBezTo>
                  <a:cubicBezTo>
                    <a:pt x="90" y="992"/>
                    <a:pt x="93" y="998"/>
                    <a:pt x="96" y="999"/>
                  </a:cubicBezTo>
                  <a:cubicBezTo>
                    <a:pt x="97" y="1003"/>
                    <a:pt x="92" y="1008"/>
                    <a:pt x="90" y="1011"/>
                  </a:cubicBezTo>
                  <a:cubicBezTo>
                    <a:pt x="88" y="1016"/>
                    <a:pt x="86" y="1021"/>
                    <a:pt x="84" y="1026"/>
                  </a:cubicBezTo>
                  <a:cubicBezTo>
                    <a:pt x="82" y="1029"/>
                    <a:pt x="82" y="1028"/>
                    <a:pt x="82" y="1030"/>
                  </a:cubicBezTo>
                  <a:cubicBezTo>
                    <a:pt x="81" y="1032"/>
                    <a:pt x="82" y="1032"/>
                    <a:pt x="81" y="1034"/>
                  </a:cubicBezTo>
                  <a:cubicBezTo>
                    <a:pt x="80" y="1034"/>
                    <a:pt x="79" y="1035"/>
                    <a:pt x="77" y="1035"/>
                  </a:cubicBezTo>
                  <a:cubicBezTo>
                    <a:pt x="76" y="1035"/>
                    <a:pt x="76" y="1035"/>
                    <a:pt x="76" y="1036"/>
                  </a:cubicBezTo>
                  <a:cubicBezTo>
                    <a:pt x="75" y="1036"/>
                    <a:pt x="74" y="1036"/>
                    <a:pt x="73" y="1037"/>
                  </a:cubicBezTo>
                  <a:cubicBezTo>
                    <a:pt x="71" y="1038"/>
                    <a:pt x="69" y="1039"/>
                    <a:pt x="66" y="1039"/>
                  </a:cubicBezTo>
                  <a:cubicBezTo>
                    <a:pt x="64" y="1040"/>
                    <a:pt x="63" y="1039"/>
                    <a:pt x="61" y="1039"/>
                  </a:cubicBezTo>
                  <a:cubicBezTo>
                    <a:pt x="60" y="1042"/>
                    <a:pt x="62" y="1048"/>
                    <a:pt x="62" y="1051"/>
                  </a:cubicBezTo>
                  <a:cubicBezTo>
                    <a:pt x="63" y="1055"/>
                    <a:pt x="64" y="1059"/>
                    <a:pt x="65" y="1063"/>
                  </a:cubicBezTo>
                  <a:cubicBezTo>
                    <a:pt x="68" y="1075"/>
                    <a:pt x="76" y="1084"/>
                    <a:pt x="78" y="1096"/>
                  </a:cubicBezTo>
                  <a:cubicBezTo>
                    <a:pt x="78" y="1099"/>
                    <a:pt x="79" y="1102"/>
                    <a:pt x="78" y="1105"/>
                  </a:cubicBezTo>
                  <a:cubicBezTo>
                    <a:pt x="78" y="1107"/>
                    <a:pt x="77" y="1108"/>
                    <a:pt x="75" y="1111"/>
                  </a:cubicBezTo>
                  <a:cubicBezTo>
                    <a:pt x="72" y="1116"/>
                    <a:pt x="67" y="1122"/>
                    <a:pt x="65" y="1129"/>
                  </a:cubicBezTo>
                  <a:cubicBezTo>
                    <a:pt x="66" y="1128"/>
                    <a:pt x="67" y="1128"/>
                    <a:pt x="67" y="1128"/>
                  </a:cubicBezTo>
                  <a:cubicBezTo>
                    <a:pt x="68" y="1127"/>
                    <a:pt x="69" y="1126"/>
                    <a:pt x="70" y="1128"/>
                  </a:cubicBezTo>
                  <a:cubicBezTo>
                    <a:pt x="69" y="1128"/>
                    <a:pt x="68" y="1128"/>
                    <a:pt x="67" y="1128"/>
                  </a:cubicBezTo>
                  <a:cubicBezTo>
                    <a:pt x="67" y="1129"/>
                    <a:pt x="67" y="1131"/>
                    <a:pt x="67" y="1131"/>
                  </a:cubicBezTo>
                  <a:cubicBezTo>
                    <a:pt x="66" y="1134"/>
                    <a:pt x="64" y="1135"/>
                    <a:pt x="63" y="1138"/>
                  </a:cubicBezTo>
                  <a:cubicBezTo>
                    <a:pt x="61" y="1143"/>
                    <a:pt x="62" y="1150"/>
                    <a:pt x="60" y="1154"/>
                  </a:cubicBezTo>
                  <a:cubicBezTo>
                    <a:pt x="57" y="1158"/>
                    <a:pt x="52" y="1161"/>
                    <a:pt x="49" y="1162"/>
                  </a:cubicBezTo>
                  <a:cubicBezTo>
                    <a:pt x="44" y="1164"/>
                    <a:pt x="41" y="1169"/>
                    <a:pt x="35" y="1169"/>
                  </a:cubicBezTo>
                  <a:cubicBezTo>
                    <a:pt x="34" y="1173"/>
                    <a:pt x="39" y="1177"/>
                    <a:pt x="39" y="1181"/>
                  </a:cubicBezTo>
                  <a:cubicBezTo>
                    <a:pt x="38" y="1184"/>
                    <a:pt x="38" y="1185"/>
                    <a:pt x="36" y="1187"/>
                  </a:cubicBezTo>
                  <a:cubicBezTo>
                    <a:pt x="35" y="1189"/>
                    <a:pt x="31" y="1192"/>
                    <a:pt x="30" y="1195"/>
                  </a:cubicBezTo>
                  <a:cubicBezTo>
                    <a:pt x="30" y="1197"/>
                    <a:pt x="30" y="1200"/>
                    <a:pt x="30" y="1202"/>
                  </a:cubicBezTo>
                  <a:cubicBezTo>
                    <a:pt x="30" y="1210"/>
                    <a:pt x="33" y="1218"/>
                    <a:pt x="33" y="1226"/>
                  </a:cubicBezTo>
                  <a:cubicBezTo>
                    <a:pt x="33" y="1235"/>
                    <a:pt x="33" y="1244"/>
                    <a:pt x="30" y="1253"/>
                  </a:cubicBezTo>
                  <a:cubicBezTo>
                    <a:pt x="29" y="1258"/>
                    <a:pt x="30" y="1262"/>
                    <a:pt x="29" y="1266"/>
                  </a:cubicBezTo>
                  <a:cubicBezTo>
                    <a:pt x="28" y="1270"/>
                    <a:pt x="26" y="1274"/>
                    <a:pt x="21" y="1273"/>
                  </a:cubicBezTo>
                  <a:cubicBezTo>
                    <a:pt x="20" y="1273"/>
                    <a:pt x="21" y="1271"/>
                    <a:pt x="19" y="1271"/>
                  </a:cubicBezTo>
                  <a:cubicBezTo>
                    <a:pt x="18" y="1270"/>
                    <a:pt x="17" y="1270"/>
                    <a:pt x="16" y="1270"/>
                  </a:cubicBezTo>
                  <a:cubicBezTo>
                    <a:pt x="13" y="1268"/>
                    <a:pt x="13" y="1265"/>
                    <a:pt x="12" y="1262"/>
                  </a:cubicBezTo>
                  <a:cubicBezTo>
                    <a:pt x="11" y="1259"/>
                    <a:pt x="11" y="1253"/>
                    <a:pt x="8" y="1252"/>
                  </a:cubicBezTo>
                  <a:cubicBezTo>
                    <a:pt x="6" y="1251"/>
                    <a:pt x="3" y="1253"/>
                    <a:pt x="2" y="1254"/>
                  </a:cubicBezTo>
                  <a:cubicBezTo>
                    <a:pt x="2" y="1254"/>
                    <a:pt x="2" y="1255"/>
                    <a:pt x="2" y="125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1" name="Freeform 61"/>
            <p:cNvSpPr>
              <a:spLocks/>
            </p:cNvSpPr>
            <p:nvPr/>
          </p:nvSpPr>
          <p:spPr bwMode="auto">
            <a:xfrm>
              <a:off x="5310188" y="3175000"/>
              <a:ext cx="106363" cy="204788"/>
            </a:xfrm>
            <a:custGeom>
              <a:avLst/>
              <a:gdLst/>
              <a:ahLst/>
              <a:cxnLst>
                <a:cxn ang="0">
                  <a:pos x="55" y="10"/>
                </a:cxn>
                <a:cxn ang="0">
                  <a:pos x="55" y="23"/>
                </a:cxn>
                <a:cxn ang="0">
                  <a:pos x="49" y="25"/>
                </a:cxn>
                <a:cxn ang="0">
                  <a:pos x="46" y="27"/>
                </a:cxn>
                <a:cxn ang="0">
                  <a:pos x="43" y="28"/>
                </a:cxn>
                <a:cxn ang="0">
                  <a:pos x="42" y="39"/>
                </a:cxn>
                <a:cxn ang="0">
                  <a:pos x="42" y="51"/>
                </a:cxn>
                <a:cxn ang="0">
                  <a:pos x="46" y="54"/>
                </a:cxn>
                <a:cxn ang="0">
                  <a:pos x="44" y="61"/>
                </a:cxn>
                <a:cxn ang="0">
                  <a:pos x="39" y="64"/>
                </a:cxn>
                <a:cxn ang="0">
                  <a:pos x="39" y="68"/>
                </a:cxn>
                <a:cxn ang="0">
                  <a:pos x="38" y="72"/>
                </a:cxn>
                <a:cxn ang="0">
                  <a:pos x="35" y="79"/>
                </a:cxn>
                <a:cxn ang="0">
                  <a:pos x="29" y="84"/>
                </a:cxn>
                <a:cxn ang="0">
                  <a:pos x="24" y="87"/>
                </a:cxn>
                <a:cxn ang="0">
                  <a:pos x="18" y="92"/>
                </a:cxn>
                <a:cxn ang="0">
                  <a:pos x="15" y="98"/>
                </a:cxn>
                <a:cxn ang="0">
                  <a:pos x="6" y="107"/>
                </a:cxn>
                <a:cxn ang="0">
                  <a:pos x="4" y="105"/>
                </a:cxn>
                <a:cxn ang="0">
                  <a:pos x="5" y="101"/>
                </a:cxn>
                <a:cxn ang="0">
                  <a:pos x="7" y="94"/>
                </a:cxn>
                <a:cxn ang="0">
                  <a:pos x="4" y="86"/>
                </a:cxn>
                <a:cxn ang="0">
                  <a:pos x="1" y="77"/>
                </a:cxn>
                <a:cxn ang="0">
                  <a:pos x="1" y="67"/>
                </a:cxn>
                <a:cxn ang="0">
                  <a:pos x="3" y="59"/>
                </a:cxn>
                <a:cxn ang="0">
                  <a:pos x="2" y="45"/>
                </a:cxn>
                <a:cxn ang="0">
                  <a:pos x="7" y="41"/>
                </a:cxn>
                <a:cxn ang="0">
                  <a:pos x="13" y="35"/>
                </a:cxn>
                <a:cxn ang="0">
                  <a:pos x="13" y="22"/>
                </a:cxn>
                <a:cxn ang="0">
                  <a:pos x="37" y="5"/>
                </a:cxn>
                <a:cxn ang="0">
                  <a:pos x="42" y="6"/>
                </a:cxn>
                <a:cxn ang="0">
                  <a:pos x="47" y="3"/>
                </a:cxn>
                <a:cxn ang="0">
                  <a:pos x="55" y="6"/>
                </a:cxn>
                <a:cxn ang="0">
                  <a:pos x="55" y="10"/>
                </a:cxn>
              </a:cxnLst>
              <a:rect l="0" t="0" r="r" b="b"/>
              <a:pathLst>
                <a:path w="57" h="109">
                  <a:moveTo>
                    <a:pt x="55" y="10"/>
                  </a:moveTo>
                  <a:cubicBezTo>
                    <a:pt x="55" y="13"/>
                    <a:pt x="57" y="20"/>
                    <a:pt x="55" y="23"/>
                  </a:cubicBezTo>
                  <a:cubicBezTo>
                    <a:pt x="54" y="26"/>
                    <a:pt x="51" y="24"/>
                    <a:pt x="49" y="25"/>
                  </a:cubicBezTo>
                  <a:cubicBezTo>
                    <a:pt x="48" y="26"/>
                    <a:pt x="46" y="27"/>
                    <a:pt x="46" y="27"/>
                  </a:cubicBezTo>
                  <a:cubicBezTo>
                    <a:pt x="44" y="27"/>
                    <a:pt x="45" y="26"/>
                    <a:pt x="43" y="28"/>
                  </a:cubicBezTo>
                  <a:cubicBezTo>
                    <a:pt x="39" y="31"/>
                    <a:pt x="42" y="36"/>
                    <a:pt x="42" y="39"/>
                  </a:cubicBezTo>
                  <a:cubicBezTo>
                    <a:pt x="42" y="43"/>
                    <a:pt x="40" y="47"/>
                    <a:pt x="42" y="51"/>
                  </a:cubicBezTo>
                  <a:cubicBezTo>
                    <a:pt x="43" y="53"/>
                    <a:pt x="45" y="52"/>
                    <a:pt x="46" y="54"/>
                  </a:cubicBezTo>
                  <a:cubicBezTo>
                    <a:pt x="48" y="55"/>
                    <a:pt x="45" y="59"/>
                    <a:pt x="44" y="61"/>
                  </a:cubicBezTo>
                  <a:cubicBezTo>
                    <a:pt x="43" y="62"/>
                    <a:pt x="40" y="62"/>
                    <a:pt x="39" y="64"/>
                  </a:cubicBezTo>
                  <a:cubicBezTo>
                    <a:pt x="38" y="65"/>
                    <a:pt x="39" y="67"/>
                    <a:pt x="39" y="68"/>
                  </a:cubicBezTo>
                  <a:cubicBezTo>
                    <a:pt x="39" y="69"/>
                    <a:pt x="38" y="70"/>
                    <a:pt x="38" y="72"/>
                  </a:cubicBezTo>
                  <a:cubicBezTo>
                    <a:pt x="37" y="74"/>
                    <a:pt x="37" y="77"/>
                    <a:pt x="35" y="79"/>
                  </a:cubicBezTo>
                  <a:cubicBezTo>
                    <a:pt x="34" y="81"/>
                    <a:pt x="31" y="83"/>
                    <a:pt x="29" y="84"/>
                  </a:cubicBezTo>
                  <a:cubicBezTo>
                    <a:pt x="27" y="86"/>
                    <a:pt x="26" y="86"/>
                    <a:pt x="24" y="87"/>
                  </a:cubicBezTo>
                  <a:cubicBezTo>
                    <a:pt x="21" y="88"/>
                    <a:pt x="20" y="90"/>
                    <a:pt x="18" y="92"/>
                  </a:cubicBezTo>
                  <a:cubicBezTo>
                    <a:pt x="14" y="94"/>
                    <a:pt x="15" y="94"/>
                    <a:pt x="15" y="98"/>
                  </a:cubicBezTo>
                  <a:cubicBezTo>
                    <a:pt x="15" y="102"/>
                    <a:pt x="12" y="109"/>
                    <a:pt x="6" y="107"/>
                  </a:cubicBezTo>
                  <a:cubicBezTo>
                    <a:pt x="4" y="106"/>
                    <a:pt x="5" y="108"/>
                    <a:pt x="4" y="105"/>
                  </a:cubicBezTo>
                  <a:cubicBezTo>
                    <a:pt x="3" y="103"/>
                    <a:pt x="4" y="102"/>
                    <a:pt x="5" y="101"/>
                  </a:cubicBezTo>
                  <a:cubicBezTo>
                    <a:pt x="6" y="98"/>
                    <a:pt x="7" y="97"/>
                    <a:pt x="7" y="94"/>
                  </a:cubicBezTo>
                  <a:cubicBezTo>
                    <a:pt x="8" y="91"/>
                    <a:pt x="6" y="89"/>
                    <a:pt x="4" y="86"/>
                  </a:cubicBezTo>
                  <a:cubicBezTo>
                    <a:pt x="3" y="83"/>
                    <a:pt x="2" y="80"/>
                    <a:pt x="1" y="77"/>
                  </a:cubicBezTo>
                  <a:cubicBezTo>
                    <a:pt x="1" y="74"/>
                    <a:pt x="0" y="71"/>
                    <a:pt x="1" y="67"/>
                  </a:cubicBezTo>
                  <a:cubicBezTo>
                    <a:pt x="1" y="64"/>
                    <a:pt x="3" y="62"/>
                    <a:pt x="3" y="59"/>
                  </a:cubicBezTo>
                  <a:cubicBezTo>
                    <a:pt x="2" y="55"/>
                    <a:pt x="0" y="48"/>
                    <a:pt x="2" y="45"/>
                  </a:cubicBezTo>
                  <a:cubicBezTo>
                    <a:pt x="4" y="43"/>
                    <a:pt x="6" y="42"/>
                    <a:pt x="7" y="41"/>
                  </a:cubicBezTo>
                  <a:cubicBezTo>
                    <a:pt x="9" y="39"/>
                    <a:pt x="11" y="37"/>
                    <a:pt x="13" y="35"/>
                  </a:cubicBezTo>
                  <a:cubicBezTo>
                    <a:pt x="16" y="32"/>
                    <a:pt x="14" y="27"/>
                    <a:pt x="13" y="22"/>
                  </a:cubicBezTo>
                  <a:cubicBezTo>
                    <a:pt x="7" y="8"/>
                    <a:pt x="37" y="17"/>
                    <a:pt x="37" y="5"/>
                  </a:cubicBezTo>
                  <a:cubicBezTo>
                    <a:pt x="39" y="4"/>
                    <a:pt x="40" y="6"/>
                    <a:pt x="42" y="6"/>
                  </a:cubicBezTo>
                  <a:cubicBezTo>
                    <a:pt x="45" y="6"/>
                    <a:pt x="45" y="5"/>
                    <a:pt x="47" y="3"/>
                  </a:cubicBezTo>
                  <a:cubicBezTo>
                    <a:pt x="51" y="0"/>
                    <a:pt x="55" y="1"/>
                    <a:pt x="55" y="6"/>
                  </a:cubicBezTo>
                  <a:lnTo>
                    <a:pt x="55" y="1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2" name="Freeform 62"/>
            <p:cNvSpPr>
              <a:spLocks noEditPoints="1"/>
            </p:cNvSpPr>
            <p:nvPr/>
          </p:nvSpPr>
          <p:spPr bwMode="auto">
            <a:xfrm>
              <a:off x="5534025" y="330200"/>
              <a:ext cx="1131888" cy="2497138"/>
            </a:xfrm>
            <a:custGeom>
              <a:avLst/>
              <a:gdLst/>
              <a:ahLst/>
              <a:cxnLst>
                <a:cxn ang="0">
                  <a:pos x="479" y="128"/>
                </a:cxn>
                <a:cxn ang="0">
                  <a:pos x="589" y="963"/>
                </a:cxn>
                <a:cxn ang="0">
                  <a:pos x="528" y="880"/>
                </a:cxn>
                <a:cxn ang="0">
                  <a:pos x="530" y="815"/>
                </a:cxn>
                <a:cxn ang="0">
                  <a:pos x="520" y="761"/>
                </a:cxn>
                <a:cxn ang="0">
                  <a:pos x="501" y="712"/>
                </a:cxn>
                <a:cxn ang="0">
                  <a:pos x="502" y="654"/>
                </a:cxn>
                <a:cxn ang="0">
                  <a:pos x="513" y="378"/>
                </a:cxn>
                <a:cxn ang="0">
                  <a:pos x="491" y="323"/>
                </a:cxn>
                <a:cxn ang="0">
                  <a:pos x="441" y="261"/>
                </a:cxn>
                <a:cxn ang="0">
                  <a:pos x="437" y="185"/>
                </a:cxn>
                <a:cxn ang="0">
                  <a:pos x="458" y="162"/>
                </a:cxn>
                <a:cxn ang="0">
                  <a:pos x="452" y="133"/>
                </a:cxn>
                <a:cxn ang="0">
                  <a:pos x="471" y="84"/>
                </a:cxn>
                <a:cxn ang="0">
                  <a:pos x="434" y="45"/>
                </a:cxn>
                <a:cxn ang="0">
                  <a:pos x="414" y="17"/>
                </a:cxn>
                <a:cxn ang="0">
                  <a:pos x="393" y="3"/>
                </a:cxn>
                <a:cxn ang="0">
                  <a:pos x="374" y="14"/>
                </a:cxn>
                <a:cxn ang="0">
                  <a:pos x="339" y="26"/>
                </a:cxn>
                <a:cxn ang="0">
                  <a:pos x="306" y="64"/>
                </a:cxn>
                <a:cxn ang="0">
                  <a:pos x="292" y="86"/>
                </a:cxn>
                <a:cxn ang="0">
                  <a:pos x="287" y="167"/>
                </a:cxn>
                <a:cxn ang="0">
                  <a:pos x="271" y="186"/>
                </a:cxn>
                <a:cxn ang="0">
                  <a:pos x="256" y="203"/>
                </a:cxn>
                <a:cxn ang="0">
                  <a:pos x="248" y="210"/>
                </a:cxn>
                <a:cxn ang="0">
                  <a:pos x="232" y="220"/>
                </a:cxn>
                <a:cxn ang="0">
                  <a:pos x="200" y="203"/>
                </a:cxn>
                <a:cxn ang="0">
                  <a:pos x="172" y="215"/>
                </a:cxn>
                <a:cxn ang="0">
                  <a:pos x="142" y="217"/>
                </a:cxn>
                <a:cxn ang="0">
                  <a:pos x="105" y="211"/>
                </a:cxn>
                <a:cxn ang="0">
                  <a:pos x="93" y="174"/>
                </a:cxn>
                <a:cxn ang="0">
                  <a:pos x="67" y="135"/>
                </a:cxn>
                <a:cxn ang="0">
                  <a:pos x="34" y="151"/>
                </a:cxn>
                <a:cxn ang="0">
                  <a:pos x="0" y="158"/>
                </a:cxn>
                <a:cxn ang="0">
                  <a:pos x="22" y="179"/>
                </a:cxn>
                <a:cxn ang="0">
                  <a:pos x="66" y="225"/>
                </a:cxn>
                <a:cxn ang="0">
                  <a:pos x="105" y="243"/>
                </a:cxn>
                <a:cxn ang="0">
                  <a:pos x="144" y="280"/>
                </a:cxn>
                <a:cxn ang="0">
                  <a:pos x="170" y="319"/>
                </a:cxn>
                <a:cxn ang="0">
                  <a:pos x="167" y="378"/>
                </a:cxn>
                <a:cxn ang="0">
                  <a:pos x="175" y="410"/>
                </a:cxn>
                <a:cxn ang="0">
                  <a:pos x="190" y="485"/>
                </a:cxn>
                <a:cxn ang="0">
                  <a:pos x="180" y="558"/>
                </a:cxn>
                <a:cxn ang="0">
                  <a:pos x="196" y="616"/>
                </a:cxn>
                <a:cxn ang="0">
                  <a:pos x="262" y="666"/>
                </a:cxn>
                <a:cxn ang="0">
                  <a:pos x="261" y="726"/>
                </a:cxn>
                <a:cxn ang="0">
                  <a:pos x="222" y="758"/>
                </a:cxn>
                <a:cxn ang="0">
                  <a:pos x="164" y="841"/>
                </a:cxn>
                <a:cxn ang="0">
                  <a:pos x="124" y="871"/>
                </a:cxn>
                <a:cxn ang="0">
                  <a:pos x="96" y="932"/>
                </a:cxn>
                <a:cxn ang="0">
                  <a:pos x="50" y="969"/>
                </a:cxn>
                <a:cxn ang="0">
                  <a:pos x="43" y="1013"/>
                </a:cxn>
                <a:cxn ang="0">
                  <a:pos x="60" y="1098"/>
                </a:cxn>
                <a:cxn ang="0">
                  <a:pos x="61" y="1178"/>
                </a:cxn>
                <a:cxn ang="0">
                  <a:pos x="50" y="1251"/>
                </a:cxn>
                <a:cxn ang="0">
                  <a:pos x="87" y="1294"/>
                </a:cxn>
                <a:cxn ang="0">
                  <a:pos x="130" y="1311"/>
                </a:cxn>
                <a:cxn ang="0">
                  <a:pos x="167" y="1328"/>
                </a:cxn>
                <a:cxn ang="0">
                  <a:pos x="210" y="1302"/>
                </a:cxn>
                <a:cxn ang="0">
                  <a:pos x="282" y="1292"/>
                </a:cxn>
                <a:cxn ang="0">
                  <a:pos x="347" y="1265"/>
                </a:cxn>
                <a:cxn ang="0">
                  <a:pos x="401" y="1244"/>
                </a:cxn>
                <a:cxn ang="0">
                  <a:pos x="494" y="1162"/>
                </a:cxn>
              </a:cxnLst>
              <a:rect l="0" t="0" r="r" b="b"/>
              <a:pathLst>
                <a:path w="605" h="1336">
                  <a:moveTo>
                    <a:pt x="477" y="135"/>
                  </a:moveTo>
                  <a:cubicBezTo>
                    <a:pt x="480" y="130"/>
                    <a:pt x="483" y="125"/>
                    <a:pt x="486" y="120"/>
                  </a:cubicBezTo>
                  <a:cubicBezTo>
                    <a:pt x="484" y="120"/>
                    <a:pt x="483" y="120"/>
                    <a:pt x="481" y="121"/>
                  </a:cubicBezTo>
                  <a:cubicBezTo>
                    <a:pt x="480" y="122"/>
                    <a:pt x="479" y="123"/>
                    <a:pt x="478" y="124"/>
                  </a:cubicBezTo>
                  <a:cubicBezTo>
                    <a:pt x="478" y="125"/>
                    <a:pt x="479" y="127"/>
                    <a:pt x="479" y="128"/>
                  </a:cubicBezTo>
                  <a:cubicBezTo>
                    <a:pt x="478" y="130"/>
                    <a:pt x="478" y="133"/>
                    <a:pt x="477" y="135"/>
                  </a:cubicBezTo>
                  <a:moveTo>
                    <a:pt x="603" y="991"/>
                  </a:moveTo>
                  <a:cubicBezTo>
                    <a:pt x="603" y="988"/>
                    <a:pt x="602" y="986"/>
                    <a:pt x="600" y="983"/>
                  </a:cubicBezTo>
                  <a:cubicBezTo>
                    <a:pt x="598" y="979"/>
                    <a:pt x="595" y="976"/>
                    <a:pt x="594" y="972"/>
                  </a:cubicBezTo>
                  <a:cubicBezTo>
                    <a:pt x="592" y="968"/>
                    <a:pt x="592" y="967"/>
                    <a:pt x="589" y="963"/>
                  </a:cubicBezTo>
                  <a:cubicBezTo>
                    <a:pt x="586" y="959"/>
                    <a:pt x="584" y="953"/>
                    <a:pt x="583" y="949"/>
                  </a:cubicBezTo>
                  <a:cubicBezTo>
                    <a:pt x="580" y="942"/>
                    <a:pt x="576" y="936"/>
                    <a:pt x="573" y="929"/>
                  </a:cubicBezTo>
                  <a:cubicBezTo>
                    <a:pt x="566" y="917"/>
                    <a:pt x="553" y="908"/>
                    <a:pt x="544" y="898"/>
                  </a:cubicBezTo>
                  <a:cubicBezTo>
                    <a:pt x="541" y="893"/>
                    <a:pt x="537" y="891"/>
                    <a:pt x="533" y="887"/>
                  </a:cubicBezTo>
                  <a:cubicBezTo>
                    <a:pt x="530" y="885"/>
                    <a:pt x="528" y="884"/>
                    <a:pt x="528" y="880"/>
                  </a:cubicBezTo>
                  <a:cubicBezTo>
                    <a:pt x="527" y="878"/>
                    <a:pt x="529" y="874"/>
                    <a:pt x="529" y="872"/>
                  </a:cubicBezTo>
                  <a:cubicBezTo>
                    <a:pt x="529" y="868"/>
                    <a:pt x="529" y="865"/>
                    <a:pt x="530" y="862"/>
                  </a:cubicBezTo>
                  <a:cubicBezTo>
                    <a:pt x="533" y="852"/>
                    <a:pt x="530" y="841"/>
                    <a:pt x="535" y="832"/>
                  </a:cubicBezTo>
                  <a:cubicBezTo>
                    <a:pt x="540" y="821"/>
                    <a:pt x="535" y="834"/>
                    <a:pt x="532" y="823"/>
                  </a:cubicBezTo>
                  <a:cubicBezTo>
                    <a:pt x="531" y="821"/>
                    <a:pt x="531" y="818"/>
                    <a:pt x="530" y="815"/>
                  </a:cubicBezTo>
                  <a:cubicBezTo>
                    <a:pt x="526" y="806"/>
                    <a:pt x="519" y="800"/>
                    <a:pt x="514" y="792"/>
                  </a:cubicBezTo>
                  <a:cubicBezTo>
                    <a:pt x="513" y="791"/>
                    <a:pt x="513" y="789"/>
                    <a:pt x="512" y="788"/>
                  </a:cubicBezTo>
                  <a:cubicBezTo>
                    <a:pt x="511" y="786"/>
                    <a:pt x="510" y="789"/>
                    <a:pt x="510" y="786"/>
                  </a:cubicBezTo>
                  <a:cubicBezTo>
                    <a:pt x="509" y="783"/>
                    <a:pt x="513" y="780"/>
                    <a:pt x="514" y="778"/>
                  </a:cubicBezTo>
                  <a:cubicBezTo>
                    <a:pt x="517" y="772"/>
                    <a:pt x="518" y="766"/>
                    <a:pt x="520" y="761"/>
                  </a:cubicBezTo>
                  <a:cubicBezTo>
                    <a:pt x="521" y="759"/>
                    <a:pt x="524" y="758"/>
                    <a:pt x="522" y="755"/>
                  </a:cubicBezTo>
                  <a:cubicBezTo>
                    <a:pt x="519" y="750"/>
                    <a:pt x="509" y="749"/>
                    <a:pt x="504" y="746"/>
                  </a:cubicBezTo>
                  <a:cubicBezTo>
                    <a:pt x="500" y="742"/>
                    <a:pt x="497" y="738"/>
                    <a:pt x="495" y="733"/>
                  </a:cubicBezTo>
                  <a:cubicBezTo>
                    <a:pt x="493" y="729"/>
                    <a:pt x="492" y="719"/>
                    <a:pt x="494" y="714"/>
                  </a:cubicBezTo>
                  <a:cubicBezTo>
                    <a:pt x="495" y="710"/>
                    <a:pt x="497" y="713"/>
                    <a:pt x="501" y="712"/>
                  </a:cubicBezTo>
                  <a:cubicBezTo>
                    <a:pt x="505" y="711"/>
                    <a:pt x="503" y="710"/>
                    <a:pt x="505" y="708"/>
                  </a:cubicBezTo>
                  <a:cubicBezTo>
                    <a:pt x="509" y="703"/>
                    <a:pt x="510" y="699"/>
                    <a:pt x="505" y="693"/>
                  </a:cubicBezTo>
                  <a:cubicBezTo>
                    <a:pt x="502" y="691"/>
                    <a:pt x="500" y="691"/>
                    <a:pt x="499" y="688"/>
                  </a:cubicBezTo>
                  <a:cubicBezTo>
                    <a:pt x="497" y="685"/>
                    <a:pt x="499" y="679"/>
                    <a:pt x="499" y="676"/>
                  </a:cubicBezTo>
                  <a:cubicBezTo>
                    <a:pt x="499" y="668"/>
                    <a:pt x="498" y="661"/>
                    <a:pt x="502" y="654"/>
                  </a:cubicBezTo>
                  <a:cubicBezTo>
                    <a:pt x="504" y="651"/>
                    <a:pt x="504" y="652"/>
                    <a:pt x="505" y="649"/>
                  </a:cubicBezTo>
                  <a:cubicBezTo>
                    <a:pt x="505" y="646"/>
                    <a:pt x="504" y="643"/>
                    <a:pt x="506" y="640"/>
                  </a:cubicBezTo>
                  <a:cubicBezTo>
                    <a:pt x="512" y="633"/>
                    <a:pt x="530" y="647"/>
                    <a:pt x="516" y="607"/>
                  </a:cubicBezTo>
                  <a:cubicBezTo>
                    <a:pt x="514" y="599"/>
                    <a:pt x="460" y="469"/>
                    <a:pt x="462" y="461"/>
                  </a:cubicBezTo>
                  <a:cubicBezTo>
                    <a:pt x="464" y="455"/>
                    <a:pt x="508" y="393"/>
                    <a:pt x="513" y="378"/>
                  </a:cubicBezTo>
                  <a:cubicBezTo>
                    <a:pt x="515" y="372"/>
                    <a:pt x="519" y="366"/>
                    <a:pt x="515" y="359"/>
                  </a:cubicBezTo>
                  <a:cubicBezTo>
                    <a:pt x="514" y="357"/>
                    <a:pt x="511" y="355"/>
                    <a:pt x="509" y="353"/>
                  </a:cubicBezTo>
                  <a:cubicBezTo>
                    <a:pt x="507" y="351"/>
                    <a:pt x="506" y="349"/>
                    <a:pt x="504" y="346"/>
                  </a:cubicBezTo>
                  <a:cubicBezTo>
                    <a:pt x="503" y="343"/>
                    <a:pt x="500" y="340"/>
                    <a:pt x="498" y="337"/>
                  </a:cubicBezTo>
                  <a:cubicBezTo>
                    <a:pt x="496" y="332"/>
                    <a:pt x="493" y="327"/>
                    <a:pt x="491" y="323"/>
                  </a:cubicBezTo>
                  <a:cubicBezTo>
                    <a:pt x="488" y="316"/>
                    <a:pt x="484" y="312"/>
                    <a:pt x="479" y="307"/>
                  </a:cubicBezTo>
                  <a:cubicBezTo>
                    <a:pt x="476" y="304"/>
                    <a:pt x="477" y="304"/>
                    <a:pt x="472" y="302"/>
                  </a:cubicBezTo>
                  <a:cubicBezTo>
                    <a:pt x="470" y="301"/>
                    <a:pt x="468" y="299"/>
                    <a:pt x="466" y="297"/>
                  </a:cubicBezTo>
                  <a:cubicBezTo>
                    <a:pt x="458" y="292"/>
                    <a:pt x="449" y="293"/>
                    <a:pt x="444" y="284"/>
                  </a:cubicBezTo>
                  <a:cubicBezTo>
                    <a:pt x="440" y="277"/>
                    <a:pt x="441" y="269"/>
                    <a:pt x="441" y="261"/>
                  </a:cubicBezTo>
                  <a:cubicBezTo>
                    <a:pt x="441" y="252"/>
                    <a:pt x="441" y="243"/>
                    <a:pt x="441" y="235"/>
                  </a:cubicBezTo>
                  <a:cubicBezTo>
                    <a:pt x="441" y="226"/>
                    <a:pt x="443" y="219"/>
                    <a:pt x="444" y="211"/>
                  </a:cubicBezTo>
                  <a:cubicBezTo>
                    <a:pt x="446" y="203"/>
                    <a:pt x="445" y="194"/>
                    <a:pt x="449" y="188"/>
                  </a:cubicBezTo>
                  <a:cubicBezTo>
                    <a:pt x="447" y="188"/>
                    <a:pt x="447" y="188"/>
                    <a:pt x="447" y="188"/>
                  </a:cubicBezTo>
                  <a:cubicBezTo>
                    <a:pt x="443" y="188"/>
                    <a:pt x="434" y="189"/>
                    <a:pt x="437" y="185"/>
                  </a:cubicBezTo>
                  <a:cubicBezTo>
                    <a:pt x="436" y="185"/>
                    <a:pt x="442" y="181"/>
                    <a:pt x="442" y="181"/>
                  </a:cubicBezTo>
                  <a:cubicBezTo>
                    <a:pt x="446" y="180"/>
                    <a:pt x="445" y="182"/>
                    <a:pt x="448" y="178"/>
                  </a:cubicBezTo>
                  <a:cubicBezTo>
                    <a:pt x="452" y="174"/>
                    <a:pt x="457" y="171"/>
                    <a:pt x="460" y="166"/>
                  </a:cubicBezTo>
                  <a:cubicBezTo>
                    <a:pt x="461" y="165"/>
                    <a:pt x="462" y="164"/>
                    <a:pt x="462" y="163"/>
                  </a:cubicBezTo>
                  <a:cubicBezTo>
                    <a:pt x="461" y="163"/>
                    <a:pt x="459" y="164"/>
                    <a:pt x="458" y="162"/>
                  </a:cubicBezTo>
                  <a:cubicBezTo>
                    <a:pt x="456" y="161"/>
                    <a:pt x="455" y="159"/>
                    <a:pt x="454" y="158"/>
                  </a:cubicBezTo>
                  <a:cubicBezTo>
                    <a:pt x="453" y="156"/>
                    <a:pt x="452" y="154"/>
                    <a:pt x="451" y="152"/>
                  </a:cubicBezTo>
                  <a:cubicBezTo>
                    <a:pt x="450" y="150"/>
                    <a:pt x="450" y="148"/>
                    <a:pt x="449" y="147"/>
                  </a:cubicBezTo>
                  <a:cubicBezTo>
                    <a:pt x="447" y="143"/>
                    <a:pt x="448" y="140"/>
                    <a:pt x="450" y="136"/>
                  </a:cubicBezTo>
                  <a:cubicBezTo>
                    <a:pt x="450" y="135"/>
                    <a:pt x="451" y="134"/>
                    <a:pt x="452" y="133"/>
                  </a:cubicBezTo>
                  <a:cubicBezTo>
                    <a:pt x="454" y="130"/>
                    <a:pt x="455" y="127"/>
                    <a:pt x="456" y="125"/>
                  </a:cubicBezTo>
                  <a:cubicBezTo>
                    <a:pt x="460" y="118"/>
                    <a:pt x="463" y="112"/>
                    <a:pt x="467" y="107"/>
                  </a:cubicBezTo>
                  <a:cubicBezTo>
                    <a:pt x="469" y="104"/>
                    <a:pt x="470" y="102"/>
                    <a:pt x="472" y="100"/>
                  </a:cubicBezTo>
                  <a:cubicBezTo>
                    <a:pt x="473" y="98"/>
                    <a:pt x="474" y="96"/>
                    <a:pt x="474" y="94"/>
                  </a:cubicBezTo>
                  <a:cubicBezTo>
                    <a:pt x="474" y="91"/>
                    <a:pt x="472" y="87"/>
                    <a:pt x="471" y="84"/>
                  </a:cubicBezTo>
                  <a:cubicBezTo>
                    <a:pt x="469" y="80"/>
                    <a:pt x="468" y="77"/>
                    <a:pt x="467" y="73"/>
                  </a:cubicBezTo>
                  <a:cubicBezTo>
                    <a:pt x="466" y="72"/>
                    <a:pt x="466" y="70"/>
                    <a:pt x="466" y="69"/>
                  </a:cubicBezTo>
                  <a:cubicBezTo>
                    <a:pt x="465" y="67"/>
                    <a:pt x="464" y="66"/>
                    <a:pt x="462" y="65"/>
                  </a:cubicBezTo>
                  <a:cubicBezTo>
                    <a:pt x="458" y="63"/>
                    <a:pt x="456" y="59"/>
                    <a:pt x="452" y="56"/>
                  </a:cubicBezTo>
                  <a:cubicBezTo>
                    <a:pt x="447" y="51"/>
                    <a:pt x="441" y="48"/>
                    <a:pt x="434" y="45"/>
                  </a:cubicBezTo>
                  <a:cubicBezTo>
                    <a:pt x="432" y="43"/>
                    <a:pt x="431" y="42"/>
                    <a:pt x="430" y="40"/>
                  </a:cubicBezTo>
                  <a:cubicBezTo>
                    <a:pt x="429" y="39"/>
                    <a:pt x="428" y="37"/>
                    <a:pt x="428" y="36"/>
                  </a:cubicBezTo>
                  <a:cubicBezTo>
                    <a:pt x="426" y="34"/>
                    <a:pt x="425" y="32"/>
                    <a:pt x="423" y="29"/>
                  </a:cubicBezTo>
                  <a:cubicBezTo>
                    <a:pt x="422" y="26"/>
                    <a:pt x="419" y="24"/>
                    <a:pt x="417" y="21"/>
                  </a:cubicBezTo>
                  <a:cubicBezTo>
                    <a:pt x="417" y="21"/>
                    <a:pt x="415" y="18"/>
                    <a:pt x="414" y="17"/>
                  </a:cubicBezTo>
                  <a:cubicBezTo>
                    <a:pt x="412" y="16"/>
                    <a:pt x="410" y="17"/>
                    <a:pt x="409" y="14"/>
                  </a:cubicBezTo>
                  <a:cubicBezTo>
                    <a:pt x="408" y="13"/>
                    <a:pt x="409" y="10"/>
                    <a:pt x="409" y="9"/>
                  </a:cubicBezTo>
                  <a:cubicBezTo>
                    <a:pt x="409" y="8"/>
                    <a:pt x="408" y="5"/>
                    <a:pt x="407" y="5"/>
                  </a:cubicBezTo>
                  <a:cubicBezTo>
                    <a:pt x="405" y="2"/>
                    <a:pt x="408" y="4"/>
                    <a:pt x="404" y="3"/>
                  </a:cubicBezTo>
                  <a:cubicBezTo>
                    <a:pt x="401" y="3"/>
                    <a:pt x="397" y="5"/>
                    <a:pt x="393" y="3"/>
                  </a:cubicBezTo>
                  <a:cubicBezTo>
                    <a:pt x="392" y="2"/>
                    <a:pt x="392" y="1"/>
                    <a:pt x="390" y="0"/>
                  </a:cubicBezTo>
                  <a:cubicBezTo>
                    <a:pt x="389" y="1"/>
                    <a:pt x="388" y="1"/>
                    <a:pt x="387" y="1"/>
                  </a:cubicBezTo>
                  <a:cubicBezTo>
                    <a:pt x="386" y="1"/>
                    <a:pt x="385" y="2"/>
                    <a:pt x="385" y="2"/>
                  </a:cubicBezTo>
                  <a:cubicBezTo>
                    <a:pt x="382" y="4"/>
                    <a:pt x="381" y="7"/>
                    <a:pt x="379" y="9"/>
                  </a:cubicBezTo>
                  <a:cubicBezTo>
                    <a:pt x="377" y="11"/>
                    <a:pt x="375" y="12"/>
                    <a:pt x="374" y="14"/>
                  </a:cubicBezTo>
                  <a:cubicBezTo>
                    <a:pt x="371" y="17"/>
                    <a:pt x="372" y="21"/>
                    <a:pt x="371" y="25"/>
                  </a:cubicBezTo>
                  <a:cubicBezTo>
                    <a:pt x="368" y="26"/>
                    <a:pt x="365" y="26"/>
                    <a:pt x="362" y="27"/>
                  </a:cubicBezTo>
                  <a:cubicBezTo>
                    <a:pt x="359" y="27"/>
                    <a:pt x="355" y="29"/>
                    <a:pt x="352" y="28"/>
                  </a:cubicBezTo>
                  <a:cubicBezTo>
                    <a:pt x="352" y="28"/>
                    <a:pt x="352" y="26"/>
                    <a:pt x="352" y="26"/>
                  </a:cubicBezTo>
                  <a:cubicBezTo>
                    <a:pt x="348" y="25"/>
                    <a:pt x="343" y="26"/>
                    <a:pt x="339" y="26"/>
                  </a:cubicBezTo>
                  <a:cubicBezTo>
                    <a:pt x="335" y="26"/>
                    <a:pt x="330" y="25"/>
                    <a:pt x="326" y="27"/>
                  </a:cubicBezTo>
                  <a:cubicBezTo>
                    <a:pt x="321" y="30"/>
                    <a:pt x="315" y="36"/>
                    <a:pt x="312" y="41"/>
                  </a:cubicBezTo>
                  <a:cubicBezTo>
                    <a:pt x="311" y="43"/>
                    <a:pt x="311" y="46"/>
                    <a:pt x="309" y="48"/>
                  </a:cubicBezTo>
                  <a:cubicBezTo>
                    <a:pt x="308" y="49"/>
                    <a:pt x="307" y="50"/>
                    <a:pt x="307" y="52"/>
                  </a:cubicBezTo>
                  <a:cubicBezTo>
                    <a:pt x="306" y="56"/>
                    <a:pt x="309" y="61"/>
                    <a:pt x="306" y="64"/>
                  </a:cubicBezTo>
                  <a:cubicBezTo>
                    <a:pt x="303" y="67"/>
                    <a:pt x="297" y="65"/>
                    <a:pt x="295" y="69"/>
                  </a:cubicBezTo>
                  <a:cubicBezTo>
                    <a:pt x="294" y="70"/>
                    <a:pt x="294" y="71"/>
                    <a:pt x="294" y="72"/>
                  </a:cubicBezTo>
                  <a:cubicBezTo>
                    <a:pt x="293" y="73"/>
                    <a:pt x="293" y="73"/>
                    <a:pt x="293" y="74"/>
                  </a:cubicBezTo>
                  <a:cubicBezTo>
                    <a:pt x="292" y="75"/>
                    <a:pt x="293" y="77"/>
                    <a:pt x="293" y="78"/>
                  </a:cubicBezTo>
                  <a:cubicBezTo>
                    <a:pt x="293" y="80"/>
                    <a:pt x="292" y="83"/>
                    <a:pt x="292" y="86"/>
                  </a:cubicBezTo>
                  <a:cubicBezTo>
                    <a:pt x="291" y="91"/>
                    <a:pt x="292" y="97"/>
                    <a:pt x="290" y="102"/>
                  </a:cubicBezTo>
                  <a:cubicBezTo>
                    <a:pt x="289" y="107"/>
                    <a:pt x="288" y="110"/>
                    <a:pt x="288" y="115"/>
                  </a:cubicBezTo>
                  <a:cubicBezTo>
                    <a:pt x="288" y="121"/>
                    <a:pt x="288" y="128"/>
                    <a:pt x="288" y="135"/>
                  </a:cubicBezTo>
                  <a:cubicBezTo>
                    <a:pt x="288" y="143"/>
                    <a:pt x="288" y="152"/>
                    <a:pt x="288" y="160"/>
                  </a:cubicBezTo>
                  <a:cubicBezTo>
                    <a:pt x="288" y="164"/>
                    <a:pt x="288" y="165"/>
                    <a:pt x="287" y="167"/>
                  </a:cubicBezTo>
                  <a:cubicBezTo>
                    <a:pt x="286" y="169"/>
                    <a:pt x="285" y="169"/>
                    <a:pt x="284" y="170"/>
                  </a:cubicBezTo>
                  <a:cubicBezTo>
                    <a:pt x="283" y="172"/>
                    <a:pt x="282" y="175"/>
                    <a:pt x="281" y="177"/>
                  </a:cubicBezTo>
                  <a:cubicBezTo>
                    <a:pt x="280" y="178"/>
                    <a:pt x="279" y="180"/>
                    <a:pt x="278" y="183"/>
                  </a:cubicBezTo>
                  <a:cubicBezTo>
                    <a:pt x="278" y="184"/>
                    <a:pt x="279" y="185"/>
                    <a:pt x="278" y="187"/>
                  </a:cubicBezTo>
                  <a:cubicBezTo>
                    <a:pt x="275" y="187"/>
                    <a:pt x="274" y="186"/>
                    <a:pt x="271" y="186"/>
                  </a:cubicBezTo>
                  <a:cubicBezTo>
                    <a:pt x="268" y="185"/>
                    <a:pt x="268" y="185"/>
                    <a:pt x="266" y="189"/>
                  </a:cubicBezTo>
                  <a:cubicBezTo>
                    <a:pt x="265" y="192"/>
                    <a:pt x="265" y="194"/>
                    <a:pt x="263" y="196"/>
                  </a:cubicBezTo>
                  <a:cubicBezTo>
                    <a:pt x="263" y="196"/>
                    <a:pt x="260" y="198"/>
                    <a:pt x="260" y="198"/>
                  </a:cubicBezTo>
                  <a:cubicBezTo>
                    <a:pt x="260" y="199"/>
                    <a:pt x="259" y="200"/>
                    <a:pt x="258" y="201"/>
                  </a:cubicBezTo>
                  <a:cubicBezTo>
                    <a:pt x="257" y="202"/>
                    <a:pt x="256" y="201"/>
                    <a:pt x="256" y="203"/>
                  </a:cubicBezTo>
                  <a:cubicBezTo>
                    <a:pt x="255" y="203"/>
                    <a:pt x="255" y="202"/>
                    <a:pt x="255" y="201"/>
                  </a:cubicBezTo>
                  <a:cubicBezTo>
                    <a:pt x="254" y="201"/>
                    <a:pt x="254" y="199"/>
                    <a:pt x="252" y="198"/>
                  </a:cubicBezTo>
                  <a:cubicBezTo>
                    <a:pt x="249" y="195"/>
                    <a:pt x="244" y="196"/>
                    <a:pt x="241" y="195"/>
                  </a:cubicBezTo>
                  <a:cubicBezTo>
                    <a:pt x="243" y="198"/>
                    <a:pt x="250" y="201"/>
                    <a:pt x="254" y="201"/>
                  </a:cubicBezTo>
                  <a:cubicBezTo>
                    <a:pt x="252" y="203"/>
                    <a:pt x="249" y="207"/>
                    <a:pt x="248" y="210"/>
                  </a:cubicBezTo>
                  <a:cubicBezTo>
                    <a:pt x="247" y="214"/>
                    <a:pt x="255" y="224"/>
                    <a:pt x="249" y="227"/>
                  </a:cubicBezTo>
                  <a:cubicBezTo>
                    <a:pt x="247" y="228"/>
                    <a:pt x="245" y="226"/>
                    <a:pt x="243" y="228"/>
                  </a:cubicBezTo>
                  <a:cubicBezTo>
                    <a:pt x="241" y="229"/>
                    <a:pt x="241" y="231"/>
                    <a:pt x="239" y="232"/>
                  </a:cubicBezTo>
                  <a:cubicBezTo>
                    <a:pt x="236" y="232"/>
                    <a:pt x="237" y="226"/>
                    <a:pt x="235" y="224"/>
                  </a:cubicBezTo>
                  <a:cubicBezTo>
                    <a:pt x="234" y="223"/>
                    <a:pt x="234" y="221"/>
                    <a:pt x="232" y="220"/>
                  </a:cubicBezTo>
                  <a:cubicBezTo>
                    <a:pt x="229" y="219"/>
                    <a:pt x="225" y="217"/>
                    <a:pt x="222" y="216"/>
                  </a:cubicBezTo>
                  <a:cubicBezTo>
                    <a:pt x="220" y="215"/>
                    <a:pt x="218" y="215"/>
                    <a:pt x="217" y="214"/>
                  </a:cubicBezTo>
                  <a:cubicBezTo>
                    <a:pt x="216" y="213"/>
                    <a:pt x="215" y="213"/>
                    <a:pt x="214" y="213"/>
                  </a:cubicBezTo>
                  <a:cubicBezTo>
                    <a:pt x="214" y="212"/>
                    <a:pt x="213" y="212"/>
                    <a:pt x="213" y="211"/>
                  </a:cubicBezTo>
                  <a:cubicBezTo>
                    <a:pt x="209" y="208"/>
                    <a:pt x="204" y="206"/>
                    <a:pt x="200" y="203"/>
                  </a:cubicBezTo>
                  <a:cubicBezTo>
                    <a:pt x="195" y="200"/>
                    <a:pt x="190" y="196"/>
                    <a:pt x="184" y="196"/>
                  </a:cubicBezTo>
                  <a:cubicBezTo>
                    <a:pt x="183" y="198"/>
                    <a:pt x="183" y="200"/>
                    <a:pt x="182" y="202"/>
                  </a:cubicBezTo>
                  <a:cubicBezTo>
                    <a:pt x="181" y="203"/>
                    <a:pt x="179" y="205"/>
                    <a:pt x="178" y="206"/>
                  </a:cubicBezTo>
                  <a:cubicBezTo>
                    <a:pt x="176" y="209"/>
                    <a:pt x="176" y="212"/>
                    <a:pt x="175" y="214"/>
                  </a:cubicBezTo>
                  <a:cubicBezTo>
                    <a:pt x="174" y="215"/>
                    <a:pt x="172" y="214"/>
                    <a:pt x="172" y="215"/>
                  </a:cubicBezTo>
                  <a:cubicBezTo>
                    <a:pt x="172" y="216"/>
                    <a:pt x="172" y="217"/>
                    <a:pt x="172" y="217"/>
                  </a:cubicBezTo>
                  <a:cubicBezTo>
                    <a:pt x="170" y="220"/>
                    <a:pt x="172" y="220"/>
                    <a:pt x="169" y="220"/>
                  </a:cubicBezTo>
                  <a:cubicBezTo>
                    <a:pt x="167" y="220"/>
                    <a:pt x="165" y="220"/>
                    <a:pt x="163" y="220"/>
                  </a:cubicBezTo>
                  <a:cubicBezTo>
                    <a:pt x="159" y="220"/>
                    <a:pt x="154" y="224"/>
                    <a:pt x="150" y="223"/>
                  </a:cubicBezTo>
                  <a:cubicBezTo>
                    <a:pt x="146" y="222"/>
                    <a:pt x="146" y="219"/>
                    <a:pt x="142" y="217"/>
                  </a:cubicBezTo>
                  <a:cubicBezTo>
                    <a:pt x="140" y="217"/>
                    <a:pt x="137" y="217"/>
                    <a:pt x="135" y="217"/>
                  </a:cubicBezTo>
                  <a:cubicBezTo>
                    <a:pt x="133" y="217"/>
                    <a:pt x="132" y="216"/>
                    <a:pt x="130" y="215"/>
                  </a:cubicBezTo>
                  <a:cubicBezTo>
                    <a:pt x="125" y="213"/>
                    <a:pt x="121" y="212"/>
                    <a:pt x="115" y="211"/>
                  </a:cubicBezTo>
                  <a:cubicBezTo>
                    <a:pt x="114" y="210"/>
                    <a:pt x="112" y="210"/>
                    <a:pt x="110" y="210"/>
                  </a:cubicBezTo>
                  <a:cubicBezTo>
                    <a:pt x="108" y="210"/>
                    <a:pt x="107" y="211"/>
                    <a:pt x="105" y="211"/>
                  </a:cubicBezTo>
                  <a:cubicBezTo>
                    <a:pt x="104" y="204"/>
                    <a:pt x="105" y="196"/>
                    <a:pt x="104" y="189"/>
                  </a:cubicBezTo>
                  <a:cubicBezTo>
                    <a:pt x="103" y="186"/>
                    <a:pt x="103" y="188"/>
                    <a:pt x="101" y="186"/>
                  </a:cubicBezTo>
                  <a:cubicBezTo>
                    <a:pt x="100" y="185"/>
                    <a:pt x="100" y="184"/>
                    <a:pt x="99" y="183"/>
                  </a:cubicBezTo>
                  <a:cubicBezTo>
                    <a:pt x="99" y="181"/>
                    <a:pt x="97" y="180"/>
                    <a:pt x="96" y="178"/>
                  </a:cubicBezTo>
                  <a:cubicBezTo>
                    <a:pt x="95" y="177"/>
                    <a:pt x="94" y="175"/>
                    <a:pt x="93" y="174"/>
                  </a:cubicBezTo>
                  <a:cubicBezTo>
                    <a:pt x="91" y="171"/>
                    <a:pt x="88" y="167"/>
                    <a:pt x="85" y="164"/>
                  </a:cubicBezTo>
                  <a:cubicBezTo>
                    <a:pt x="83" y="162"/>
                    <a:pt x="81" y="160"/>
                    <a:pt x="79" y="157"/>
                  </a:cubicBezTo>
                  <a:cubicBezTo>
                    <a:pt x="76" y="153"/>
                    <a:pt x="74" y="148"/>
                    <a:pt x="73" y="144"/>
                  </a:cubicBezTo>
                  <a:cubicBezTo>
                    <a:pt x="72" y="142"/>
                    <a:pt x="72" y="141"/>
                    <a:pt x="71" y="139"/>
                  </a:cubicBezTo>
                  <a:cubicBezTo>
                    <a:pt x="70" y="138"/>
                    <a:pt x="68" y="137"/>
                    <a:pt x="67" y="135"/>
                  </a:cubicBezTo>
                  <a:cubicBezTo>
                    <a:pt x="66" y="133"/>
                    <a:pt x="66" y="129"/>
                    <a:pt x="64" y="127"/>
                  </a:cubicBezTo>
                  <a:cubicBezTo>
                    <a:pt x="62" y="125"/>
                    <a:pt x="57" y="126"/>
                    <a:pt x="55" y="126"/>
                  </a:cubicBezTo>
                  <a:cubicBezTo>
                    <a:pt x="49" y="126"/>
                    <a:pt x="44" y="129"/>
                    <a:pt x="39" y="130"/>
                  </a:cubicBezTo>
                  <a:cubicBezTo>
                    <a:pt x="34" y="132"/>
                    <a:pt x="27" y="134"/>
                    <a:pt x="30" y="141"/>
                  </a:cubicBezTo>
                  <a:cubicBezTo>
                    <a:pt x="31" y="144"/>
                    <a:pt x="33" y="146"/>
                    <a:pt x="34" y="151"/>
                  </a:cubicBezTo>
                  <a:cubicBezTo>
                    <a:pt x="34" y="154"/>
                    <a:pt x="34" y="158"/>
                    <a:pt x="34" y="161"/>
                  </a:cubicBezTo>
                  <a:cubicBezTo>
                    <a:pt x="31" y="160"/>
                    <a:pt x="28" y="158"/>
                    <a:pt x="25" y="157"/>
                  </a:cubicBezTo>
                  <a:cubicBezTo>
                    <a:pt x="23" y="156"/>
                    <a:pt x="19" y="153"/>
                    <a:pt x="17" y="154"/>
                  </a:cubicBezTo>
                  <a:cubicBezTo>
                    <a:pt x="17" y="154"/>
                    <a:pt x="17" y="155"/>
                    <a:pt x="17" y="156"/>
                  </a:cubicBezTo>
                  <a:cubicBezTo>
                    <a:pt x="11" y="157"/>
                    <a:pt x="5" y="157"/>
                    <a:pt x="0" y="158"/>
                  </a:cubicBezTo>
                  <a:cubicBezTo>
                    <a:pt x="1" y="157"/>
                    <a:pt x="3" y="157"/>
                    <a:pt x="5" y="157"/>
                  </a:cubicBezTo>
                  <a:cubicBezTo>
                    <a:pt x="5" y="157"/>
                    <a:pt x="5" y="158"/>
                    <a:pt x="5" y="158"/>
                  </a:cubicBezTo>
                  <a:cubicBezTo>
                    <a:pt x="6" y="159"/>
                    <a:pt x="6" y="161"/>
                    <a:pt x="7" y="162"/>
                  </a:cubicBezTo>
                  <a:cubicBezTo>
                    <a:pt x="8" y="165"/>
                    <a:pt x="11" y="168"/>
                    <a:pt x="13" y="171"/>
                  </a:cubicBezTo>
                  <a:cubicBezTo>
                    <a:pt x="16" y="174"/>
                    <a:pt x="19" y="176"/>
                    <a:pt x="22" y="179"/>
                  </a:cubicBezTo>
                  <a:cubicBezTo>
                    <a:pt x="25" y="181"/>
                    <a:pt x="26" y="183"/>
                    <a:pt x="28" y="185"/>
                  </a:cubicBezTo>
                  <a:cubicBezTo>
                    <a:pt x="31" y="187"/>
                    <a:pt x="34" y="189"/>
                    <a:pt x="37" y="192"/>
                  </a:cubicBezTo>
                  <a:cubicBezTo>
                    <a:pt x="40" y="196"/>
                    <a:pt x="41" y="201"/>
                    <a:pt x="45" y="204"/>
                  </a:cubicBezTo>
                  <a:cubicBezTo>
                    <a:pt x="50" y="207"/>
                    <a:pt x="52" y="211"/>
                    <a:pt x="55" y="216"/>
                  </a:cubicBezTo>
                  <a:cubicBezTo>
                    <a:pt x="58" y="219"/>
                    <a:pt x="62" y="224"/>
                    <a:pt x="66" y="225"/>
                  </a:cubicBezTo>
                  <a:cubicBezTo>
                    <a:pt x="71" y="226"/>
                    <a:pt x="73" y="226"/>
                    <a:pt x="77" y="229"/>
                  </a:cubicBezTo>
                  <a:cubicBezTo>
                    <a:pt x="80" y="231"/>
                    <a:pt x="82" y="233"/>
                    <a:pt x="85" y="235"/>
                  </a:cubicBezTo>
                  <a:cubicBezTo>
                    <a:pt x="86" y="237"/>
                    <a:pt x="88" y="239"/>
                    <a:pt x="90" y="240"/>
                  </a:cubicBezTo>
                  <a:cubicBezTo>
                    <a:pt x="91" y="241"/>
                    <a:pt x="92" y="241"/>
                    <a:pt x="94" y="241"/>
                  </a:cubicBezTo>
                  <a:cubicBezTo>
                    <a:pt x="98" y="241"/>
                    <a:pt x="101" y="242"/>
                    <a:pt x="105" y="243"/>
                  </a:cubicBezTo>
                  <a:cubicBezTo>
                    <a:pt x="110" y="246"/>
                    <a:pt x="112" y="247"/>
                    <a:pt x="116" y="252"/>
                  </a:cubicBezTo>
                  <a:cubicBezTo>
                    <a:pt x="119" y="257"/>
                    <a:pt x="124" y="263"/>
                    <a:pt x="127" y="269"/>
                  </a:cubicBezTo>
                  <a:cubicBezTo>
                    <a:pt x="128" y="271"/>
                    <a:pt x="129" y="272"/>
                    <a:pt x="130" y="274"/>
                  </a:cubicBezTo>
                  <a:cubicBezTo>
                    <a:pt x="131" y="277"/>
                    <a:pt x="132" y="276"/>
                    <a:pt x="135" y="277"/>
                  </a:cubicBezTo>
                  <a:cubicBezTo>
                    <a:pt x="137" y="278"/>
                    <a:pt x="142" y="279"/>
                    <a:pt x="144" y="280"/>
                  </a:cubicBezTo>
                  <a:cubicBezTo>
                    <a:pt x="145" y="282"/>
                    <a:pt x="144" y="285"/>
                    <a:pt x="144" y="286"/>
                  </a:cubicBezTo>
                  <a:cubicBezTo>
                    <a:pt x="145" y="290"/>
                    <a:pt x="144" y="294"/>
                    <a:pt x="145" y="297"/>
                  </a:cubicBezTo>
                  <a:cubicBezTo>
                    <a:pt x="148" y="297"/>
                    <a:pt x="150" y="298"/>
                    <a:pt x="152" y="299"/>
                  </a:cubicBezTo>
                  <a:cubicBezTo>
                    <a:pt x="156" y="300"/>
                    <a:pt x="157" y="302"/>
                    <a:pt x="159" y="305"/>
                  </a:cubicBezTo>
                  <a:cubicBezTo>
                    <a:pt x="162" y="310"/>
                    <a:pt x="163" y="318"/>
                    <a:pt x="170" y="319"/>
                  </a:cubicBezTo>
                  <a:cubicBezTo>
                    <a:pt x="171" y="324"/>
                    <a:pt x="168" y="326"/>
                    <a:pt x="166" y="331"/>
                  </a:cubicBezTo>
                  <a:cubicBezTo>
                    <a:pt x="166" y="333"/>
                    <a:pt x="165" y="335"/>
                    <a:pt x="165" y="337"/>
                  </a:cubicBezTo>
                  <a:cubicBezTo>
                    <a:pt x="165" y="341"/>
                    <a:pt x="165" y="345"/>
                    <a:pt x="165" y="349"/>
                  </a:cubicBezTo>
                  <a:cubicBezTo>
                    <a:pt x="165" y="356"/>
                    <a:pt x="168" y="361"/>
                    <a:pt x="169" y="368"/>
                  </a:cubicBezTo>
                  <a:cubicBezTo>
                    <a:pt x="169" y="371"/>
                    <a:pt x="169" y="375"/>
                    <a:pt x="167" y="378"/>
                  </a:cubicBezTo>
                  <a:cubicBezTo>
                    <a:pt x="164" y="381"/>
                    <a:pt x="159" y="382"/>
                    <a:pt x="160" y="387"/>
                  </a:cubicBezTo>
                  <a:cubicBezTo>
                    <a:pt x="161" y="390"/>
                    <a:pt x="162" y="393"/>
                    <a:pt x="164" y="394"/>
                  </a:cubicBezTo>
                  <a:cubicBezTo>
                    <a:pt x="166" y="396"/>
                    <a:pt x="170" y="395"/>
                    <a:pt x="172" y="396"/>
                  </a:cubicBezTo>
                  <a:cubicBezTo>
                    <a:pt x="173" y="397"/>
                    <a:pt x="173" y="398"/>
                    <a:pt x="173" y="400"/>
                  </a:cubicBezTo>
                  <a:cubicBezTo>
                    <a:pt x="174" y="403"/>
                    <a:pt x="175" y="406"/>
                    <a:pt x="175" y="410"/>
                  </a:cubicBezTo>
                  <a:cubicBezTo>
                    <a:pt x="176" y="412"/>
                    <a:pt x="177" y="416"/>
                    <a:pt x="176" y="419"/>
                  </a:cubicBezTo>
                  <a:cubicBezTo>
                    <a:pt x="176" y="421"/>
                    <a:pt x="174" y="420"/>
                    <a:pt x="173" y="422"/>
                  </a:cubicBezTo>
                  <a:cubicBezTo>
                    <a:pt x="171" y="424"/>
                    <a:pt x="172" y="430"/>
                    <a:pt x="172" y="433"/>
                  </a:cubicBezTo>
                  <a:cubicBezTo>
                    <a:pt x="172" y="443"/>
                    <a:pt x="175" y="453"/>
                    <a:pt x="180" y="462"/>
                  </a:cubicBezTo>
                  <a:cubicBezTo>
                    <a:pt x="185" y="469"/>
                    <a:pt x="189" y="477"/>
                    <a:pt x="190" y="485"/>
                  </a:cubicBezTo>
                  <a:cubicBezTo>
                    <a:pt x="192" y="494"/>
                    <a:pt x="189" y="502"/>
                    <a:pt x="187" y="510"/>
                  </a:cubicBezTo>
                  <a:cubicBezTo>
                    <a:pt x="186" y="516"/>
                    <a:pt x="187" y="522"/>
                    <a:pt x="184" y="528"/>
                  </a:cubicBezTo>
                  <a:cubicBezTo>
                    <a:pt x="182" y="531"/>
                    <a:pt x="180" y="533"/>
                    <a:pt x="180" y="537"/>
                  </a:cubicBezTo>
                  <a:cubicBezTo>
                    <a:pt x="179" y="541"/>
                    <a:pt x="180" y="544"/>
                    <a:pt x="180" y="548"/>
                  </a:cubicBezTo>
                  <a:cubicBezTo>
                    <a:pt x="180" y="551"/>
                    <a:pt x="179" y="555"/>
                    <a:pt x="180" y="558"/>
                  </a:cubicBezTo>
                  <a:cubicBezTo>
                    <a:pt x="182" y="562"/>
                    <a:pt x="185" y="563"/>
                    <a:pt x="187" y="567"/>
                  </a:cubicBezTo>
                  <a:cubicBezTo>
                    <a:pt x="193" y="576"/>
                    <a:pt x="194" y="586"/>
                    <a:pt x="197" y="596"/>
                  </a:cubicBezTo>
                  <a:cubicBezTo>
                    <a:pt x="198" y="601"/>
                    <a:pt x="199" y="607"/>
                    <a:pt x="198" y="612"/>
                  </a:cubicBezTo>
                  <a:cubicBezTo>
                    <a:pt x="198" y="613"/>
                    <a:pt x="197" y="615"/>
                    <a:pt x="197" y="616"/>
                  </a:cubicBezTo>
                  <a:cubicBezTo>
                    <a:pt x="197" y="616"/>
                    <a:pt x="197" y="616"/>
                    <a:pt x="196" y="616"/>
                  </a:cubicBezTo>
                  <a:cubicBezTo>
                    <a:pt x="199" y="619"/>
                    <a:pt x="202" y="620"/>
                    <a:pt x="205" y="620"/>
                  </a:cubicBezTo>
                  <a:cubicBezTo>
                    <a:pt x="205" y="630"/>
                    <a:pt x="221" y="632"/>
                    <a:pt x="228" y="634"/>
                  </a:cubicBezTo>
                  <a:cubicBezTo>
                    <a:pt x="234" y="636"/>
                    <a:pt x="242" y="639"/>
                    <a:pt x="247" y="644"/>
                  </a:cubicBezTo>
                  <a:cubicBezTo>
                    <a:pt x="252" y="648"/>
                    <a:pt x="255" y="654"/>
                    <a:pt x="258" y="659"/>
                  </a:cubicBezTo>
                  <a:cubicBezTo>
                    <a:pt x="259" y="661"/>
                    <a:pt x="260" y="664"/>
                    <a:pt x="262" y="666"/>
                  </a:cubicBezTo>
                  <a:cubicBezTo>
                    <a:pt x="263" y="667"/>
                    <a:pt x="265" y="667"/>
                    <a:pt x="266" y="667"/>
                  </a:cubicBezTo>
                  <a:cubicBezTo>
                    <a:pt x="270" y="674"/>
                    <a:pt x="265" y="686"/>
                    <a:pt x="264" y="693"/>
                  </a:cubicBezTo>
                  <a:cubicBezTo>
                    <a:pt x="264" y="698"/>
                    <a:pt x="264" y="702"/>
                    <a:pt x="267" y="706"/>
                  </a:cubicBezTo>
                  <a:cubicBezTo>
                    <a:pt x="269" y="711"/>
                    <a:pt x="276" y="716"/>
                    <a:pt x="274" y="723"/>
                  </a:cubicBezTo>
                  <a:cubicBezTo>
                    <a:pt x="271" y="723"/>
                    <a:pt x="263" y="723"/>
                    <a:pt x="261" y="726"/>
                  </a:cubicBezTo>
                  <a:cubicBezTo>
                    <a:pt x="264" y="728"/>
                    <a:pt x="271" y="735"/>
                    <a:pt x="267" y="738"/>
                  </a:cubicBezTo>
                  <a:cubicBezTo>
                    <a:pt x="263" y="735"/>
                    <a:pt x="261" y="733"/>
                    <a:pt x="256" y="735"/>
                  </a:cubicBezTo>
                  <a:cubicBezTo>
                    <a:pt x="251" y="737"/>
                    <a:pt x="250" y="741"/>
                    <a:pt x="246" y="743"/>
                  </a:cubicBezTo>
                  <a:cubicBezTo>
                    <a:pt x="239" y="746"/>
                    <a:pt x="228" y="739"/>
                    <a:pt x="224" y="749"/>
                  </a:cubicBezTo>
                  <a:cubicBezTo>
                    <a:pt x="223" y="752"/>
                    <a:pt x="224" y="755"/>
                    <a:pt x="222" y="758"/>
                  </a:cubicBezTo>
                  <a:cubicBezTo>
                    <a:pt x="221" y="763"/>
                    <a:pt x="217" y="763"/>
                    <a:pt x="214" y="767"/>
                  </a:cubicBezTo>
                  <a:cubicBezTo>
                    <a:pt x="208" y="774"/>
                    <a:pt x="201" y="783"/>
                    <a:pt x="195" y="791"/>
                  </a:cubicBezTo>
                  <a:cubicBezTo>
                    <a:pt x="187" y="802"/>
                    <a:pt x="180" y="816"/>
                    <a:pt x="171" y="826"/>
                  </a:cubicBezTo>
                  <a:cubicBezTo>
                    <a:pt x="169" y="828"/>
                    <a:pt x="167" y="830"/>
                    <a:pt x="166" y="833"/>
                  </a:cubicBezTo>
                  <a:cubicBezTo>
                    <a:pt x="165" y="836"/>
                    <a:pt x="168" y="840"/>
                    <a:pt x="164" y="841"/>
                  </a:cubicBezTo>
                  <a:cubicBezTo>
                    <a:pt x="160" y="843"/>
                    <a:pt x="158" y="839"/>
                    <a:pt x="155" y="841"/>
                  </a:cubicBezTo>
                  <a:cubicBezTo>
                    <a:pt x="151" y="844"/>
                    <a:pt x="146" y="853"/>
                    <a:pt x="145" y="857"/>
                  </a:cubicBezTo>
                  <a:cubicBezTo>
                    <a:pt x="144" y="862"/>
                    <a:pt x="147" y="868"/>
                    <a:pt x="140" y="869"/>
                  </a:cubicBezTo>
                  <a:cubicBezTo>
                    <a:pt x="134" y="870"/>
                    <a:pt x="133" y="864"/>
                    <a:pt x="128" y="863"/>
                  </a:cubicBezTo>
                  <a:cubicBezTo>
                    <a:pt x="127" y="866"/>
                    <a:pt x="125" y="868"/>
                    <a:pt x="124" y="871"/>
                  </a:cubicBezTo>
                  <a:cubicBezTo>
                    <a:pt x="124" y="874"/>
                    <a:pt x="125" y="877"/>
                    <a:pt x="124" y="881"/>
                  </a:cubicBezTo>
                  <a:cubicBezTo>
                    <a:pt x="124" y="884"/>
                    <a:pt x="124" y="885"/>
                    <a:pt x="122" y="887"/>
                  </a:cubicBezTo>
                  <a:cubicBezTo>
                    <a:pt x="119" y="890"/>
                    <a:pt x="112" y="890"/>
                    <a:pt x="109" y="893"/>
                  </a:cubicBezTo>
                  <a:cubicBezTo>
                    <a:pt x="105" y="898"/>
                    <a:pt x="109" y="905"/>
                    <a:pt x="111" y="910"/>
                  </a:cubicBezTo>
                  <a:cubicBezTo>
                    <a:pt x="116" y="919"/>
                    <a:pt x="105" y="929"/>
                    <a:pt x="96" y="932"/>
                  </a:cubicBezTo>
                  <a:cubicBezTo>
                    <a:pt x="93" y="930"/>
                    <a:pt x="89" y="931"/>
                    <a:pt x="86" y="931"/>
                  </a:cubicBezTo>
                  <a:cubicBezTo>
                    <a:pt x="82" y="931"/>
                    <a:pt x="78" y="929"/>
                    <a:pt x="75" y="929"/>
                  </a:cubicBezTo>
                  <a:cubicBezTo>
                    <a:pt x="65" y="928"/>
                    <a:pt x="66" y="935"/>
                    <a:pt x="66" y="943"/>
                  </a:cubicBezTo>
                  <a:cubicBezTo>
                    <a:pt x="66" y="949"/>
                    <a:pt x="67" y="964"/>
                    <a:pt x="62" y="967"/>
                  </a:cubicBezTo>
                  <a:cubicBezTo>
                    <a:pt x="58" y="970"/>
                    <a:pt x="54" y="967"/>
                    <a:pt x="50" y="969"/>
                  </a:cubicBezTo>
                  <a:cubicBezTo>
                    <a:pt x="43" y="972"/>
                    <a:pt x="42" y="986"/>
                    <a:pt x="43" y="994"/>
                  </a:cubicBezTo>
                  <a:cubicBezTo>
                    <a:pt x="43" y="994"/>
                    <a:pt x="43" y="994"/>
                    <a:pt x="43" y="995"/>
                  </a:cubicBezTo>
                  <a:cubicBezTo>
                    <a:pt x="43" y="994"/>
                    <a:pt x="43" y="994"/>
                    <a:pt x="43" y="994"/>
                  </a:cubicBezTo>
                  <a:cubicBezTo>
                    <a:pt x="43" y="993"/>
                    <a:pt x="42" y="993"/>
                    <a:pt x="42" y="993"/>
                  </a:cubicBezTo>
                  <a:cubicBezTo>
                    <a:pt x="39" y="997"/>
                    <a:pt x="41" y="1008"/>
                    <a:pt x="43" y="1013"/>
                  </a:cubicBezTo>
                  <a:cubicBezTo>
                    <a:pt x="46" y="1025"/>
                    <a:pt x="59" y="1035"/>
                    <a:pt x="55" y="1049"/>
                  </a:cubicBezTo>
                  <a:cubicBezTo>
                    <a:pt x="53" y="1054"/>
                    <a:pt x="51" y="1056"/>
                    <a:pt x="52" y="1061"/>
                  </a:cubicBezTo>
                  <a:cubicBezTo>
                    <a:pt x="53" y="1066"/>
                    <a:pt x="54" y="1070"/>
                    <a:pt x="54" y="1075"/>
                  </a:cubicBezTo>
                  <a:cubicBezTo>
                    <a:pt x="54" y="1082"/>
                    <a:pt x="52" y="1095"/>
                    <a:pt x="56" y="1101"/>
                  </a:cubicBezTo>
                  <a:cubicBezTo>
                    <a:pt x="58" y="1101"/>
                    <a:pt x="60" y="1099"/>
                    <a:pt x="60" y="1098"/>
                  </a:cubicBezTo>
                  <a:cubicBezTo>
                    <a:pt x="58" y="1105"/>
                    <a:pt x="54" y="1112"/>
                    <a:pt x="55" y="1120"/>
                  </a:cubicBezTo>
                  <a:cubicBezTo>
                    <a:pt x="56" y="1127"/>
                    <a:pt x="61" y="1131"/>
                    <a:pt x="64" y="1137"/>
                  </a:cubicBezTo>
                  <a:cubicBezTo>
                    <a:pt x="68" y="1142"/>
                    <a:pt x="70" y="1145"/>
                    <a:pt x="68" y="1152"/>
                  </a:cubicBezTo>
                  <a:cubicBezTo>
                    <a:pt x="67" y="1156"/>
                    <a:pt x="64" y="1158"/>
                    <a:pt x="62" y="1162"/>
                  </a:cubicBezTo>
                  <a:cubicBezTo>
                    <a:pt x="60" y="1166"/>
                    <a:pt x="61" y="1173"/>
                    <a:pt x="61" y="1178"/>
                  </a:cubicBezTo>
                  <a:cubicBezTo>
                    <a:pt x="61" y="1180"/>
                    <a:pt x="62" y="1183"/>
                    <a:pt x="61" y="1185"/>
                  </a:cubicBezTo>
                  <a:cubicBezTo>
                    <a:pt x="60" y="1192"/>
                    <a:pt x="55" y="1197"/>
                    <a:pt x="55" y="1204"/>
                  </a:cubicBezTo>
                  <a:cubicBezTo>
                    <a:pt x="55" y="1210"/>
                    <a:pt x="57" y="1216"/>
                    <a:pt x="56" y="1221"/>
                  </a:cubicBezTo>
                  <a:cubicBezTo>
                    <a:pt x="55" y="1228"/>
                    <a:pt x="49" y="1232"/>
                    <a:pt x="47" y="1238"/>
                  </a:cubicBezTo>
                  <a:cubicBezTo>
                    <a:pt x="46" y="1243"/>
                    <a:pt x="47" y="1247"/>
                    <a:pt x="50" y="1251"/>
                  </a:cubicBezTo>
                  <a:cubicBezTo>
                    <a:pt x="53" y="1257"/>
                    <a:pt x="54" y="1254"/>
                    <a:pt x="59" y="1251"/>
                  </a:cubicBezTo>
                  <a:cubicBezTo>
                    <a:pt x="64" y="1249"/>
                    <a:pt x="68" y="1248"/>
                    <a:pt x="70" y="1253"/>
                  </a:cubicBezTo>
                  <a:cubicBezTo>
                    <a:pt x="73" y="1260"/>
                    <a:pt x="66" y="1266"/>
                    <a:pt x="65" y="1272"/>
                  </a:cubicBezTo>
                  <a:cubicBezTo>
                    <a:pt x="71" y="1275"/>
                    <a:pt x="76" y="1277"/>
                    <a:pt x="80" y="1282"/>
                  </a:cubicBezTo>
                  <a:cubicBezTo>
                    <a:pt x="84" y="1285"/>
                    <a:pt x="84" y="1292"/>
                    <a:pt x="87" y="1294"/>
                  </a:cubicBezTo>
                  <a:cubicBezTo>
                    <a:pt x="92" y="1288"/>
                    <a:pt x="97" y="1281"/>
                    <a:pt x="106" y="1280"/>
                  </a:cubicBezTo>
                  <a:cubicBezTo>
                    <a:pt x="113" y="1279"/>
                    <a:pt x="112" y="1282"/>
                    <a:pt x="114" y="1288"/>
                  </a:cubicBezTo>
                  <a:cubicBezTo>
                    <a:pt x="114" y="1291"/>
                    <a:pt x="117" y="1310"/>
                    <a:pt x="122" y="1309"/>
                  </a:cubicBezTo>
                  <a:cubicBezTo>
                    <a:pt x="125" y="1308"/>
                    <a:pt x="126" y="1302"/>
                    <a:pt x="129" y="1303"/>
                  </a:cubicBezTo>
                  <a:cubicBezTo>
                    <a:pt x="130" y="1306"/>
                    <a:pt x="129" y="1309"/>
                    <a:pt x="130" y="1311"/>
                  </a:cubicBezTo>
                  <a:cubicBezTo>
                    <a:pt x="134" y="1308"/>
                    <a:pt x="141" y="1303"/>
                    <a:pt x="146" y="1303"/>
                  </a:cubicBezTo>
                  <a:cubicBezTo>
                    <a:pt x="144" y="1307"/>
                    <a:pt x="134" y="1311"/>
                    <a:pt x="134" y="1316"/>
                  </a:cubicBezTo>
                  <a:cubicBezTo>
                    <a:pt x="135" y="1318"/>
                    <a:pt x="139" y="1322"/>
                    <a:pt x="140" y="1325"/>
                  </a:cubicBezTo>
                  <a:cubicBezTo>
                    <a:pt x="145" y="1336"/>
                    <a:pt x="151" y="1324"/>
                    <a:pt x="157" y="1319"/>
                  </a:cubicBezTo>
                  <a:cubicBezTo>
                    <a:pt x="161" y="1323"/>
                    <a:pt x="162" y="1327"/>
                    <a:pt x="167" y="1328"/>
                  </a:cubicBezTo>
                  <a:cubicBezTo>
                    <a:pt x="173" y="1328"/>
                    <a:pt x="175" y="1322"/>
                    <a:pt x="180" y="1319"/>
                  </a:cubicBezTo>
                  <a:cubicBezTo>
                    <a:pt x="186" y="1314"/>
                    <a:pt x="191" y="1311"/>
                    <a:pt x="199" y="1310"/>
                  </a:cubicBezTo>
                  <a:cubicBezTo>
                    <a:pt x="203" y="1309"/>
                    <a:pt x="209" y="1306"/>
                    <a:pt x="210" y="1302"/>
                  </a:cubicBezTo>
                  <a:cubicBezTo>
                    <a:pt x="210" y="1301"/>
                    <a:pt x="210" y="1301"/>
                    <a:pt x="211" y="1301"/>
                  </a:cubicBezTo>
                  <a:cubicBezTo>
                    <a:pt x="211" y="1301"/>
                    <a:pt x="210" y="1301"/>
                    <a:pt x="210" y="1302"/>
                  </a:cubicBezTo>
                  <a:cubicBezTo>
                    <a:pt x="213" y="1303"/>
                    <a:pt x="233" y="1303"/>
                    <a:pt x="240" y="1295"/>
                  </a:cubicBezTo>
                  <a:cubicBezTo>
                    <a:pt x="244" y="1296"/>
                    <a:pt x="249" y="1299"/>
                    <a:pt x="253" y="1297"/>
                  </a:cubicBezTo>
                  <a:cubicBezTo>
                    <a:pt x="257" y="1296"/>
                    <a:pt x="259" y="1289"/>
                    <a:pt x="263" y="1288"/>
                  </a:cubicBezTo>
                  <a:cubicBezTo>
                    <a:pt x="265" y="1287"/>
                    <a:pt x="266" y="1289"/>
                    <a:pt x="268" y="1290"/>
                  </a:cubicBezTo>
                  <a:cubicBezTo>
                    <a:pt x="272" y="1291"/>
                    <a:pt x="277" y="1291"/>
                    <a:pt x="282" y="1292"/>
                  </a:cubicBezTo>
                  <a:cubicBezTo>
                    <a:pt x="284" y="1293"/>
                    <a:pt x="291" y="1294"/>
                    <a:pt x="293" y="1291"/>
                  </a:cubicBezTo>
                  <a:cubicBezTo>
                    <a:pt x="295" y="1288"/>
                    <a:pt x="293" y="1275"/>
                    <a:pt x="293" y="1272"/>
                  </a:cubicBezTo>
                  <a:cubicBezTo>
                    <a:pt x="293" y="1267"/>
                    <a:pt x="292" y="1265"/>
                    <a:pt x="297" y="1263"/>
                  </a:cubicBezTo>
                  <a:cubicBezTo>
                    <a:pt x="303" y="1261"/>
                    <a:pt x="309" y="1266"/>
                    <a:pt x="314" y="1268"/>
                  </a:cubicBezTo>
                  <a:cubicBezTo>
                    <a:pt x="323" y="1270"/>
                    <a:pt x="338" y="1269"/>
                    <a:pt x="347" y="1265"/>
                  </a:cubicBezTo>
                  <a:cubicBezTo>
                    <a:pt x="352" y="1264"/>
                    <a:pt x="355" y="1259"/>
                    <a:pt x="359" y="1257"/>
                  </a:cubicBezTo>
                  <a:cubicBezTo>
                    <a:pt x="363" y="1256"/>
                    <a:pt x="370" y="1257"/>
                    <a:pt x="374" y="1257"/>
                  </a:cubicBezTo>
                  <a:cubicBezTo>
                    <a:pt x="382" y="1256"/>
                    <a:pt x="390" y="1255"/>
                    <a:pt x="398" y="1253"/>
                  </a:cubicBezTo>
                  <a:cubicBezTo>
                    <a:pt x="397" y="1251"/>
                    <a:pt x="399" y="1250"/>
                    <a:pt x="400" y="1248"/>
                  </a:cubicBezTo>
                  <a:cubicBezTo>
                    <a:pt x="401" y="1247"/>
                    <a:pt x="400" y="1246"/>
                    <a:pt x="401" y="1244"/>
                  </a:cubicBezTo>
                  <a:cubicBezTo>
                    <a:pt x="404" y="1242"/>
                    <a:pt x="409" y="1240"/>
                    <a:pt x="412" y="1239"/>
                  </a:cubicBezTo>
                  <a:cubicBezTo>
                    <a:pt x="423" y="1233"/>
                    <a:pt x="430" y="1223"/>
                    <a:pt x="439" y="1216"/>
                  </a:cubicBezTo>
                  <a:cubicBezTo>
                    <a:pt x="445" y="1211"/>
                    <a:pt x="451" y="1207"/>
                    <a:pt x="456" y="1201"/>
                  </a:cubicBezTo>
                  <a:cubicBezTo>
                    <a:pt x="462" y="1196"/>
                    <a:pt x="467" y="1190"/>
                    <a:pt x="472" y="1184"/>
                  </a:cubicBezTo>
                  <a:cubicBezTo>
                    <a:pt x="480" y="1177"/>
                    <a:pt x="488" y="1170"/>
                    <a:pt x="494" y="1162"/>
                  </a:cubicBezTo>
                  <a:cubicBezTo>
                    <a:pt x="498" y="1156"/>
                    <a:pt x="501" y="1149"/>
                    <a:pt x="505" y="1143"/>
                  </a:cubicBezTo>
                  <a:cubicBezTo>
                    <a:pt x="520" y="1121"/>
                    <a:pt x="533" y="1097"/>
                    <a:pt x="546" y="1073"/>
                  </a:cubicBezTo>
                  <a:cubicBezTo>
                    <a:pt x="555" y="1054"/>
                    <a:pt x="569" y="1034"/>
                    <a:pt x="586" y="1019"/>
                  </a:cubicBezTo>
                  <a:cubicBezTo>
                    <a:pt x="594" y="1012"/>
                    <a:pt x="605" y="1004"/>
                    <a:pt x="603" y="99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3" name="Freeform 63"/>
            <p:cNvSpPr>
              <a:spLocks noEditPoints="1"/>
            </p:cNvSpPr>
            <p:nvPr/>
          </p:nvSpPr>
          <p:spPr bwMode="auto">
            <a:xfrm>
              <a:off x="2730500" y="3097213"/>
              <a:ext cx="850900" cy="1528763"/>
            </a:xfrm>
            <a:custGeom>
              <a:avLst/>
              <a:gdLst/>
              <a:ahLst/>
              <a:cxnLst>
                <a:cxn ang="0">
                  <a:pos x="416" y="555"/>
                </a:cxn>
                <a:cxn ang="0">
                  <a:pos x="363" y="502"/>
                </a:cxn>
                <a:cxn ang="0">
                  <a:pos x="302" y="396"/>
                </a:cxn>
                <a:cxn ang="0">
                  <a:pos x="260" y="298"/>
                </a:cxn>
                <a:cxn ang="0">
                  <a:pos x="170" y="270"/>
                </a:cxn>
                <a:cxn ang="0">
                  <a:pos x="230" y="236"/>
                </a:cxn>
                <a:cxn ang="0">
                  <a:pos x="246" y="155"/>
                </a:cxn>
                <a:cxn ang="0">
                  <a:pos x="184" y="99"/>
                </a:cxn>
                <a:cxn ang="0">
                  <a:pos x="139" y="117"/>
                </a:cxn>
                <a:cxn ang="0">
                  <a:pos x="157" y="88"/>
                </a:cxn>
                <a:cxn ang="0">
                  <a:pos x="158" y="69"/>
                </a:cxn>
                <a:cxn ang="0">
                  <a:pos x="198" y="27"/>
                </a:cxn>
                <a:cxn ang="0">
                  <a:pos x="183" y="3"/>
                </a:cxn>
                <a:cxn ang="0">
                  <a:pos x="136" y="16"/>
                </a:cxn>
                <a:cxn ang="0">
                  <a:pos x="109" y="24"/>
                </a:cxn>
                <a:cxn ang="0">
                  <a:pos x="89" y="25"/>
                </a:cxn>
                <a:cxn ang="0">
                  <a:pos x="78" y="63"/>
                </a:cxn>
                <a:cxn ang="0">
                  <a:pos x="72" y="84"/>
                </a:cxn>
                <a:cxn ang="0">
                  <a:pos x="50" y="91"/>
                </a:cxn>
                <a:cxn ang="0">
                  <a:pos x="59" y="121"/>
                </a:cxn>
                <a:cxn ang="0">
                  <a:pos x="66" y="137"/>
                </a:cxn>
                <a:cxn ang="0">
                  <a:pos x="46" y="148"/>
                </a:cxn>
                <a:cxn ang="0">
                  <a:pos x="33" y="129"/>
                </a:cxn>
                <a:cxn ang="0">
                  <a:pos x="9" y="116"/>
                </a:cxn>
                <a:cxn ang="0">
                  <a:pos x="12" y="136"/>
                </a:cxn>
                <a:cxn ang="0">
                  <a:pos x="42" y="159"/>
                </a:cxn>
                <a:cxn ang="0">
                  <a:pos x="64" y="164"/>
                </a:cxn>
                <a:cxn ang="0">
                  <a:pos x="48" y="183"/>
                </a:cxn>
                <a:cxn ang="0">
                  <a:pos x="32" y="205"/>
                </a:cxn>
                <a:cxn ang="0">
                  <a:pos x="50" y="220"/>
                </a:cxn>
                <a:cxn ang="0">
                  <a:pos x="26" y="221"/>
                </a:cxn>
                <a:cxn ang="0">
                  <a:pos x="18" y="239"/>
                </a:cxn>
                <a:cxn ang="0">
                  <a:pos x="67" y="218"/>
                </a:cxn>
                <a:cxn ang="0">
                  <a:pos x="79" y="206"/>
                </a:cxn>
                <a:cxn ang="0">
                  <a:pos x="64" y="258"/>
                </a:cxn>
                <a:cxn ang="0">
                  <a:pos x="73" y="277"/>
                </a:cxn>
                <a:cxn ang="0">
                  <a:pos x="98" y="290"/>
                </a:cxn>
                <a:cxn ang="0">
                  <a:pos x="84" y="377"/>
                </a:cxn>
                <a:cxn ang="0">
                  <a:pos x="156" y="388"/>
                </a:cxn>
                <a:cxn ang="0">
                  <a:pos x="180" y="380"/>
                </a:cxn>
                <a:cxn ang="0">
                  <a:pos x="195" y="451"/>
                </a:cxn>
                <a:cxn ang="0">
                  <a:pos x="194" y="504"/>
                </a:cxn>
                <a:cxn ang="0">
                  <a:pos x="136" y="525"/>
                </a:cxn>
                <a:cxn ang="0">
                  <a:pos x="107" y="574"/>
                </a:cxn>
                <a:cxn ang="0">
                  <a:pos x="137" y="614"/>
                </a:cxn>
                <a:cxn ang="0">
                  <a:pos x="85" y="655"/>
                </a:cxn>
                <a:cxn ang="0">
                  <a:pos x="134" y="682"/>
                </a:cxn>
                <a:cxn ang="0">
                  <a:pos x="205" y="682"/>
                </a:cxn>
                <a:cxn ang="0">
                  <a:pos x="165" y="708"/>
                </a:cxn>
                <a:cxn ang="0">
                  <a:pos x="91" y="770"/>
                </a:cxn>
                <a:cxn ang="0">
                  <a:pos x="67" y="795"/>
                </a:cxn>
                <a:cxn ang="0">
                  <a:pos x="57" y="810"/>
                </a:cxn>
                <a:cxn ang="0">
                  <a:pos x="86" y="815"/>
                </a:cxn>
                <a:cxn ang="0">
                  <a:pos x="107" y="784"/>
                </a:cxn>
                <a:cxn ang="0">
                  <a:pos x="141" y="787"/>
                </a:cxn>
                <a:cxn ang="0">
                  <a:pos x="172" y="789"/>
                </a:cxn>
                <a:cxn ang="0">
                  <a:pos x="187" y="755"/>
                </a:cxn>
                <a:cxn ang="0">
                  <a:pos x="259" y="751"/>
                </a:cxn>
                <a:cxn ang="0">
                  <a:pos x="341" y="743"/>
                </a:cxn>
                <a:cxn ang="0">
                  <a:pos x="415" y="731"/>
                </a:cxn>
                <a:cxn ang="0">
                  <a:pos x="370" y="685"/>
                </a:cxn>
                <a:cxn ang="0">
                  <a:pos x="444" y="635"/>
                </a:cxn>
              </a:cxnLst>
              <a:rect l="0" t="0" r="r" b="b"/>
              <a:pathLst>
                <a:path w="455" h="818">
                  <a:moveTo>
                    <a:pt x="126" y="139"/>
                  </a:moveTo>
                  <a:cubicBezTo>
                    <a:pt x="126" y="141"/>
                    <a:pt x="126" y="142"/>
                    <a:pt x="125" y="144"/>
                  </a:cubicBezTo>
                  <a:cubicBezTo>
                    <a:pt x="124" y="145"/>
                    <a:pt x="117" y="155"/>
                    <a:pt x="116" y="157"/>
                  </a:cubicBezTo>
                  <a:cubicBezTo>
                    <a:pt x="114" y="159"/>
                    <a:pt x="111" y="160"/>
                    <a:pt x="110" y="163"/>
                  </a:cubicBezTo>
                  <a:cubicBezTo>
                    <a:pt x="106" y="164"/>
                    <a:pt x="109" y="162"/>
                    <a:pt x="109" y="161"/>
                  </a:cubicBezTo>
                  <a:cubicBezTo>
                    <a:pt x="110" y="160"/>
                    <a:pt x="112" y="159"/>
                    <a:pt x="112" y="157"/>
                  </a:cubicBezTo>
                  <a:cubicBezTo>
                    <a:pt x="113" y="154"/>
                    <a:pt x="117" y="148"/>
                    <a:pt x="118" y="147"/>
                  </a:cubicBezTo>
                  <a:cubicBezTo>
                    <a:pt x="119" y="146"/>
                    <a:pt x="119" y="145"/>
                    <a:pt x="120" y="144"/>
                  </a:cubicBezTo>
                  <a:cubicBezTo>
                    <a:pt x="120" y="144"/>
                    <a:pt x="122" y="142"/>
                    <a:pt x="122" y="141"/>
                  </a:cubicBezTo>
                  <a:cubicBezTo>
                    <a:pt x="123" y="140"/>
                    <a:pt x="124" y="139"/>
                    <a:pt x="124" y="138"/>
                  </a:cubicBezTo>
                  <a:cubicBezTo>
                    <a:pt x="126" y="137"/>
                    <a:pt x="126" y="138"/>
                    <a:pt x="126" y="139"/>
                  </a:cubicBezTo>
                  <a:moveTo>
                    <a:pt x="452" y="569"/>
                  </a:moveTo>
                  <a:cubicBezTo>
                    <a:pt x="450" y="566"/>
                    <a:pt x="446" y="568"/>
                    <a:pt x="443" y="567"/>
                  </a:cubicBezTo>
                  <a:cubicBezTo>
                    <a:pt x="441" y="566"/>
                    <a:pt x="441" y="564"/>
                    <a:pt x="440" y="563"/>
                  </a:cubicBezTo>
                  <a:cubicBezTo>
                    <a:pt x="439" y="562"/>
                    <a:pt x="436" y="561"/>
                    <a:pt x="434" y="560"/>
                  </a:cubicBezTo>
                  <a:cubicBezTo>
                    <a:pt x="432" y="559"/>
                    <a:pt x="431" y="559"/>
                    <a:pt x="429" y="558"/>
                  </a:cubicBezTo>
                  <a:cubicBezTo>
                    <a:pt x="427" y="558"/>
                    <a:pt x="425" y="555"/>
                    <a:pt x="422" y="555"/>
                  </a:cubicBezTo>
                  <a:cubicBezTo>
                    <a:pt x="420" y="554"/>
                    <a:pt x="418" y="555"/>
                    <a:pt x="416" y="555"/>
                  </a:cubicBezTo>
                  <a:cubicBezTo>
                    <a:pt x="413" y="556"/>
                    <a:pt x="410" y="555"/>
                    <a:pt x="407" y="555"/>
                  </a:cubicBezTo>
                  <a:cubicBezTo>
                    <a:pt x="402" y="555"/>
                    <a:pt x="398" y="554"/>
                    <a:pt x="393" y="554"/>
                  </a:cubicBezTo>
                  <a:cubicBezTo>
                    <a:pt x="388" y="554"/>
                    <a:pt x="387" y="555"/>
                    <a:pt x="385" y="559"/>
                  </a:cubicBezTo>
                  <a:cubicBezTo>
                    <a:pt x="384" y="561"/>
                    <a:pt x="383" y="562"/>
                    <a:pt x="382" y="563"/>
                  </a:cubicBezTo>
                  <a:cubicBezTo>
                    <a:pt x="380" y="565"/>
                    <a:pt x="380" y="567"/>
                    <a:pt x="378" y="568"/>
                  </a:cubicBezTo>
                  <a:cubicBezTo>
                    <a:pt x="376" y="570"/>
                    <a:pt x="375" y="570"/>
                    <a:pt x="373" y="569"/>
                  </a:cubicBezTo>
                  <a:cubicBezTo>
                    <a:pt x="370" y="568"/>
                    <a:pt x="371" y="565"/>
                    <a:pt x="368" y="563"/>
                  </a:cubicBezTo>
                  <a:cubicBezTo>
                    <a:pt x="366" y="561"/>
                    <a:pt x="364" y="562"/>
                    <a:pt x="364" y="558"/>
                  </a:cubicBezTo>
                  <a:cubicBezTo>
                    <a:pt x="364" y="556"/>
                    <a:pt x="364" y="555"/>
                    <a:pt x="365" y="553"/>
                  </a:cubicBezTo>
                  <a:cubicBezTo>
                    <a:pt x="367" y="550"/>
                    <a:pt x="372" y="551"/>
                    <a:pt x="375" y="549"/>
                  </a:cubicBezTo>
                  <a:cubicBezTo>
                    <a:pt x="377" y="547"/>
                    <a:pt x="377" y="545"/>
                    <a:pt x="378" y="543"/>
                  </a:cubicBezTo>
                  <a:cubicBezTo>
                    <a:pt x="378" y="540"/>
                    <a:pt x="380" y="538"/>
                    <a:pt x="380" y="536"/>
                  </a:cubicBezTo>
                  <a:cubicBezTo>
                    <a:pt x="382" y="532"/>
                    <a:pt x="381" y="528"/>
                    <a:pt x="380" y="524"/>
                  </a:cubicBezTo>
                  <a:cubicBezTo>
                    <a:pt x="379" y="522"/>
                    <a:pt x="379" y="519"/>
                    <a:pt x="378" y="518"/>
                  </a:cubicBezTo>
                  <a:cubicBezTo>
                    <a:pt x="377" y="517"/>
                    <a:pt x="376" y="518"/>
                    <a:pt x="375" y="517"/>
                  </a:cubicBezTo>
                  <a:cubicBezTo>
                    <a:pt x="373" y="517"/>
                    <a:pt x="372" y="514"/>
                    <a:pt x="370" y="513"/>
                  </a:cubicBezTo>
                  <a:cubicBezTo>
                    <a:pt x="368" y="511"/>
                    <a:pt x="368" y="508"/>
                    <a:pt x="367" y="506"/>
                  </a:cubicBezTo>
                  <a:cubicBezTo>
                    <a:pt x="366" y="505"/>
                    <a:pt x="365" y="502"/>
                    <a:pt x="363" y="502"/>
                  </a:cubicBezTo>
                  <a:cubicBezTo>
                    <a:pt x="362" y="501"/>
                    <a:pt x="358" y="501"/>
                    <a:pt x="358" y="499"/>
                  </a:cubicBezTo>
                  <a:cubicBezTo>
                    <a:pt x="360" y="498"/>
                    <a:pt x="365" y="498"/>
                    <a:pt x="367" y="499"/>
                  </a:cubicBezTo>
                  <a:cubicBezTo>
                    <a:pt x="370" y="499"/>
                    <a:pt x="371" y="501"/>
                    <a:pt x="375" y="501"/>
                  </a:cubicBezTo>
                  <a:cubicBezTo>
                    <a:pt x="376" y="498"/>
                    <a:pt x="374" y="498"/>
                    <a:pt x="372" y="497"/>
                  </a:cubicBezTo>
                  <a:cubicBezTo>
                    <a:pt x="371" y="496"/>
                    <a:pt x="370" y="495"/>
                    <a:pt x="369" y="495"/>
                  </a:cubicBezTo>
                  <a:cubicBezTo>
                    <a:pt x="368" y="489"/>
                    <a:pt x="364" y="485"/>
                    <a:pt x="361" y="481"/>
                  </a:cubicBezTo>
                  <a:cubicBezTo>
                    <a:pt x="359" y="476"/>
                    <a:pt x="358" y="470"/>
                    <a:pt x="354" y="466"/>
                  </a:cubicBezTo>
                  <a:cubicBezTo>
                    <a:pt x="352" y="464"/>
                    <a:pt x="350" y="459"/>
                    <a:pt x="349" y="456"/>
                  </a:cubicBezTo>
                  <a:cubicBezTo>
                    <a:pt x="348" y="452"/>
                    <a:pt x="354" y="451"/>
                    <a:pt x="354" y="447"/>
                  </a:cubicBezTo>
                  <a:cubicBezTo>
                    <a:pt x="350" y="445"/>
                    <a:pt x="347" y="443"/>
                    <a:pt x="345" y="439"/>
                  </a:cubicBezTo>
                  <a:cubicBezTo>
                    <a:pt x="344" y="437"/>
                    <a:pt x="343" y="434"/>
                    <a:pt x="341" y="432"/>
                  </a:cubicBezTo>
                  <a:cubicBezTo>
                    <a:pt x="340" y="430"/>
                    <a:pt x="338" y="429"/>
                    <a:pt x="337" y="427"/>
                  </a:cubicBezTo>
                  <a:cubicBezTo>
                    <a:pt x="335" y="424"/>
                    <a:pt x="333" y="419"/>
                    <a:pt x="330" y="417"/>
                  </a:cubicBezTo>
                  <a:cubicBezTo>
                    <a:pt x="327" y="414"/>
                    <a:pt x="323" y="414"/>
                    <a:pt x="319" y="412"/>
                  </a:cubicBezTo>
                  <a:cubicBezTo>
                    <a:pt x="317" y="410"/>
                    <a:pt x="315" y="408"/>
                    <a:pt x="313" y="407"/>
                  </a:cubicBezTo>
                  <a:cubicBezTo>
                    <a:pt x="312" y="406"/>
                    <a:pt x="310" y="406"/>
                    <a:pt x="308" y="405"/>
                  </a:cubicBezTo>
                  <a:cubicBezTo>
                    <a:pt x="306" y="403"/>
                    <a:pt x="304" y="403"/>
                    <a:pt x="304" y="400"/>
                  </a:cubicBezTo>
                  <a:cubicBezTo>
                    <a:pt x="304" y="397"/>
                    <a:pt x="305" y="397"/>
                    <a:pt x="302" y="396"/>
                  </a:cubicBezTo>
                  <a:cubicBezTo>
                    <a:pt x="299" y="396"/>
                    <a:pt x="292" y="397"/>
                    <a:pt x="292" y="392"/>
                  </a:cubicBezTo>
                  <a:cubicBezTo>
                    <a:pt x="291" y="388"/>
                    <a:pt x="293" y="391"/>
                    <a:pt x="295" y="390"/>
                  </a:cubicBezTo>
                  <a:cubicBezTo>
                    <a:pt x="296" y="389"/>
                    <a:pt x="297" y="386"/>
                    <a:pt x="295" y="385"/>
                  </a:cubicBezTo>
                  <a:cubicBezTo>
                    <a:pt x="297" y="385"/>
                    <a:pt x="299" y="382"/>
                    <a:pt x="299" y="380"/>
                  </a:cubicBezTo>
                  <a:cubicBezTo>
                    <a:pt x="299" y="378"/>
                    <a:pt x="297" y="377"/>
                    <a:pt x="295" y="376"/>
                  </a:cubicBezTo>
                  <a:cubicBezTo>
                    <a:pt x="292" y="374"/>
                    <a:pt x="290" y="373"/>
                    <a:pt x="290" y="368"/>
                  </a:cubicBezTo>
                  <a:cubicBezTo>
                    <a:pt x="290" y="364"/>
                    <a:pt x="292" y="360"/>
                    <a:pt x="288" y="357"/>
                  </a:cubicBezTo>
                  <a:cubicBezTo>
                    <a:pt x="286" y="356"/>
                    <a:pt x="284" y="356"/>
                    <a:pt x="282" y="358"/>
                  </a:cubicBezTo>
                  <a:cubicBezTo>
                    <a:pt x="282" y="359"/>
                    <a:pt x="282" y="359"/>
                    <a:pt x="280" y="360"/>
                  </a:cubicBezTo>
                  <a:cubicBezTo>
                    <a:pt x="281" y="359"/>
                    <a:pt x="282" y="358"/>
                    <a:pt x="282" y="358"/>
                  </a:cubicBezTo>
                  <a:cubicBezTo>
                    <a:pt x="284" y="353"/>
                    <a:pt x="279" y="343"/>
                    <a:pt x="278" y="341"/>
                  </a:cubicBezTo>
                  <a:cubicBezTo>
                    <a:pt x="277" y="338"/>
                    <a:pt x="276" y="336"/>
                    <a:pt x="276" y="332"/>
                  </a:cubicBezTo>
                  <a:cubicBezTo>
                    <a:pt x="276" y="327"/>
                    <a:pt x="277" y="324"/>
                    <a:pt x="283" y="328"/>
                  </a:cubicBezTo>
                  <a:cubicBezTo>
                    <a:pt x="279" y="323"/>
                    <a:pt x="277" y="318"/>
                    <a:pt x="274" y="312"/>
                  </a:cubicBezTo>
                  <a:cubicBezTo>
                    <a:pt x="272" y="310"/>
                    <a:pt x="272" y="310"/>
                    <a:pt x="270" y="309"/>
                  </a:cubicBezTo>
                  <a:cubicBezTo>
                    <a:pt x="268" y="308"/>
                    <a:pt x="267" y="308"/>
                    <a:pt x="267" y="306"/>
                  </a:cubicBezTo>
                  <a:cubicBezTo>
                    <a:pt x="266" y="303"/>
                    <a:pt x="269" y="302"/>
                    <a:pt x="266" y="300"/>
                  </a:cubicBezTo>
                  <a:cubicBezTo>
                    <a:pt x="265" y="299"/>
                    <a:pt x="262" y="298"/>
                    <a:pt x="260" y="298"/>
                  </a:cubicBezTo>
                  <a:cubicBezTo>
                    <a:pt x="256" y="297"/>
                    <a:pt x="251" y="294"/>
                    <a:pt x="250" y="290"/>
                  </a:cubicBezTo>
                  <a:cubicBezTo>
                    <a:pt x="249" y="286"/>
                    <a:pt x="252" y="283"/>
                    <a:pt x="252" y="279"/>
                  </a:cubicBezTo>
                  <a:cubicBezTo>
                    <a:pt x="251" y="277"/>
                    <a:pt x="250" y="275"/>
                    <a:pt x="249" y="273"/>
                  </a:cubicBezTo>
                  <a:cubicBezTo>
                    <a:pt x="248" y="273"/>
                    <a:pt x="245" y="271"/>
                    <a:pt x="243" y="271"/>
                  </a:cubicBezTo>
                  <a:cubicBezTo>
                    <a:pt x="239" y="271"/>
                    <a:pt x="239" y="277"/>
                    <a:pt x="233" y="273"/>
                  </a:cubicBezTo>
                  <a:cubicBezTo>
                    <a:pt x="233" y="273"/>
                    <a:pt x="233" y="272"/>
                    <a:pt x="232" y="272"/>
                  </a:cubicBezTo>
                  <a:cubicBezTo>
                    <a:pt x="231" y="271"/>
                    <a:pt x="229" y="271"/>
                    <a:pt x="229" y="271"/>
                  </a:cubicBezTo>
                  <a:cubicBezTo>
                    <a:pt x="227" y="270"/>
                    <a:pt x="227" y="267"/>
                    <a:pt x="224" y="268"/>
                  </a:cubicBezTo>
                  <a:cubicBezTo>
                    <a:pt x="225" y="272"/>
                    <a:pt x="222" y="269"/>
                    <a:pt x="221" y="268"/>
                  </a:cubicBezTo>
                  <a:cubicBezTo>
                    <a:pt x="220" y="266"/>
                    <a:pt x="220" y="266"/>
                    <a:pt x="217" y="266"/>
                  </a:cubicBezTo>
                  <a:cubicBezTo>
                    <a:pt x="214" y="266"/>
                    <a:pt x="209" y="265"/>
                    <a:pt x="207" y="268"/>
                  </a:cubicBezTo>
                  <a:cubicBezTo>
                    <a:pt x="207" y="269"/>
                    <a:pt x="208" y="271"/>
                    <a:pt x="206" y="272"/>
                  </a:cubicBezTo>
                  <a:cubicBezTo>
                    <a:pt x="204" y="273"/>
                    <a:pt x="203" y="271"/>
                    <a:pt x="202" y="270"/>
                  </a:cubicBezTo>
                  <a:cubicBezTo>
                    <a:pt x="198" y="270"/>
                    <a:pt x="195" y="274"/>
                    <a:pt x="192" y="275"/>
                  </a:cubicBezTo>
                  <a:cubicBezTo>
                    <a:pt x="190" y="276"/>
                    <a:pt x="187" y="275"/>
                    <a:pt x="185" y="274"/>
                  </a:cubicBezTo>
                  <a:cubicBezTo>
                    <a:pt x="184" y="274"/>
                    <a:pt x="183" y="274"/>
                    <a:pt x="183" y="274"/>
                  </a:cubicBezTo>
                  <a:cubicBezTo>
                    <a:pt x="182" y="274"/>
                    <a:pt x="181" y="273"/>
                    <a:pt x="180" y="272"/>
                  </a:cubicBezTo>
                  <a:cubicBezTo>
                    <a:pt x="177" y="270"/>
                    <a:pt x="174" y="271"/>
                    <a:pt x="170" y="270"/>
                  </a:cubicBezTo>
                  <a:cubicBezTo>
                    <a:pt x="167" y="270"/>
                    <a:pt x="163" y="270"/>
                    <a:pt x="160" y="269"/>
                  </a:cubicBezTo>
                  <a:cubicBezTo>
                    <a:pt x="158" y="269"/>
                    <a:pt x="156" y="268"/>
                    <a:pt x="154" y="268"/>
                  </a:cubicBezTo>
                  <a:cubicBezTo>
                    <a:pt x="152" y="268"/>
                    <a:pt x="152" y="269"/>
                    <a:pt x="150" y="269"/>
                  </a:cubicBezTo>
                  <a:cubicBezTo>
                    <a:pt x="149" y="268"/>
                    <a:pt x="149" y="268"/>
                    <a:pt x="150" y="267"/>
                  </a:cubicBezTo>
                  <a:cubicBezTo>
                    <a:pt x="156" y="266"/>
                    <a:pt x="163" y="267"/>
                    <a:pt x="170" y="267"/>
                  </a:cubicBezTo>
                  <a:cubicBezTo>
                    <a:pt x="173" y="267"/>
                    <a:pt x="176" y="267"/>
                    <a:pt x="179" y="267"/>
                  </a:cubicBezTo>
                  <a:cubicBezTo>
                    <a:pt x="182" y="267"/>
                    <a:pt x="185" y="268"/>
                    <a:pt x="188" y="268"/>
                  </a:cubicBezTo>
                  <a:cubicBezTo>
                    <a:pt x="188" y="264"/>
                    <a:pt x="191" y="266"/>
                    <a:pt x="193" y="265"/>
                  </a:cubicBezTo>
                  <a:cubicBezTo>
                    <a:pt x="196" y="264"/>
                    <a:pt x="194" y="261"/>
                    <a:pt x="195" y="258"/>
                  </a:cubicBezTo>
                  <a:cubicBezTo>
                    <a:pt x="196" y="256"/>
                    <a:pt x="200" y="256"/>
                    <a:pt x="202" y="255"/>
                  </a:cubicBezTo>
                  <a:cubicBezTo>
                    <a:pt x="204" y="254"/>
                    <a:pt x="205" y="254"/>
                    <a:pt x="206" y="253"/>
                  </a:cubicBezTo>
                  <a:cubicBezTo>
                    <a:pt x="207" y="252"/>
                    <a:pt x="208" y="251"/>
                    <a:pt x="210" y="251"/>
                  </a:cubicBezTo>
                  <a:cubicBezTo>
                    <a:pt x="210" y="252"/>
                    <a:pt x="210" y="253"/>
                    <a:pt x="210" y="254"/>
                  </a:cubicBezTo>
                  <a:cubicBezTo>
                    <a:pt x="212" y="255"/>
                    <a:pt x="214" y="254"/>
                    <a:pt x="216" y="254"/>
                  </a:cubicBezTo>
                  <a:cubicBezTo>
                    <a:pt x="216" y="252"/>
                    <a:pt x="216" y="249"/>
                    <a:pt x="217" y="247"/>
                  </a:cubicBezTo>
                  <a:cubicBezTo>
                    <a:pt x="218" y="243"/>
                    <a:pt x="222" y="243"/>
                    <a:pt x="225" y="243"/>
                  </a:cubicBezTo>
                  <a:cubicBezTo>
                    <a:pt x="228" y="243"/>
                    <a:pt x="230" y="243"/>
                    <a:pt x="232" y="241"/>
                  </a:cubicBezTo>
                  <a:cubicBezTo>
                    <a:pt x="234" y="239"/>
                    <a:pt x="233" y="237"/>
                    <a:pt x="230" y="236"/>
                  </a:cubicBezTo>
                  <a:cubicBezTo>
                    <a:pt x="227" y="236"/>
                    <a:pt x="226" y="237"/>
                    <a:pt x="224" y="237"/>
                  </a:cubicBezTo>
                  <a:cubicBezTo>
                    <a:pt x="221" y="237"/>
                    <a:pt x="219" y="234"/>
                    <a:pt x="217" y="233"/>
                  </a:cubicBezTo>
                  <a:cubicBezTo>
                    <a:pt x="215" y="232"/>
                    <a:pt x="213" y="231"/>
                    <a:pt x="212" y="230"/>
                  </a:cubicBezTo>
                  <a:cubicBezTo>
                    <a:pt x="210" y="228"/>
                    <a:pt x="212" y="225"/>
                    <a:pt x="209" y="224"/>
                  </a:cubicBezTo>
                  <a:cubicBezTo>
                    <a:pt x="213" y="223"/>
                    <a:pt x="215" y="219"/>
                    <a:pt x="220" y="219"/>
                  </a:cubicBezTo>
                  <a:cubicBezTo>
                    <a:pt x="221" y="219"/>
                    <a:pt x="222" y="219"/>
                    <a:pt x="223" y="219"/>
                  </a:cubicBezTo>
                  <a:cubicBezTo>
                    <a:pt x="224" y="219"/>
                    <a:pt x="224" y="217"/>
                    <a:pt x="225" y="217"/>
                  </a:cubicBezTo>
                  <a:cubicBezTo>
                    <a:pt x="225" y="216"/>
                    <a:pt x="226" y="216"/>
                    <a:pt x="227" y="216"/>
                  </a:cubicBezTo>
                  <a:cubicBezTo>
                    <a:pt x="228" y="215"/>
                    <a:pt x="230" y="210"/>
                    <a:pt x="230" y="209"/>
                  </a:cubicBezTo>
                  <a:cubicBezTo>
                    <a:pt x="231" y="205"/>
                    <a:pt x="230" y="202"/>
                    <a:pt x="227" y="201"/>
                  </a:cubicBezTo>
                  <a:cubicBezTo>
                    <a:pt x="227" y="198"/>
                    <a:pt x="228" y="196"/>
                    <a:pt x="230" y="195"/>
                  </a:cubicBezTo>
                  <a:cubicBezTo>
                    <a:pt x="231" y="194"/>
                    <a:pt x="232" y="194"/>
                    <a:pt x="233" y="194"/>
                  </a:cubicBezTo>
                  <a:cubicBezTo>
                    <a:pt x="235" y="193"/>
                    <a:pt x="235" y="192"/>
                    <a:pt x="237" y="191"/>
                  </a:cubicBezTo>
                  <a:cubicBezTo>
                    <a:pt x="239" y="190"/>
                    <a:pt x="240" y="188"/>
                    <a:pt x="242" y="186"/>
                  </a:cubicBezTo>
                  <a:cubicBezTo>
                    <a:pt x="245" y="183"/>
                    <a:pt x="247" y="183"/>
                    <a:pt x="246" y="179"/>
                  </a:cubicBezTo>
                  <a:cubicBezTo>
                    <a:pt x="246" y="177"/>
                    <a:pt x="245" y="174"/>
                    <a:pt x="245" y="172"/>
                  </a:cubicBezTo>
                  <a:cubicBezTo>
                    <a:pt x="246" y="169"/>
                    <a:pt x="248" y="169"/>
                    <a:pt x="250" y="167"/>
                  </a:cubicBezTo>
                  <a:cubicBezTo>
                    <a:pt x="251" y="164"/>
                    <a:pt x="250" y="151"/>
                    <a:pt x="246" y="155"/>
                  </a:cubicBezTo>
                  <a:cubicBezTo>
                    <a:pt x="249" y="154"/>
                    <a:pt x="251" y="151"/>
                    <a:pt x="252" y="149"/>
                  </a:cubicBezTo>
                  <a:cubicBezTo>
                    <a:pt x="253" y="145"/>
                    <a:pt x="255" y="145"/>
                    <a:pt x="258" y="142"/>
                  </a:cubicBezTo>
                  <a:cubicBezTo>
                    <a:pt x="261" y="140"/>
                    <a:pt x="265" y="138"/>
                    <a:pt x="266" y="134"/>
                  </a:cubicBezTo>
                  <a:cubicBezTo>
                    <a:pt x="266" y="130"/>
                    <a:pt x="266" y="126"/>
                    <a:pt x="266" y="123"/>
                  </a:cubicBezTo>
                  <a:cubicBezTo>
                    <a:pt x="266" y="120"/>
                    <a:pt x="267" y="115"/>
                    <a:pt x="266" y="112"/>
                  </a:cubicBezTo>
                  <a:cubicBezTo>
                    <a:pt x="264" y="109"/>
                    <a:pt x="261" y="107"/>
                    <a:pt x="258" y="106"/>
                  </a:cubicBezTo>
                  <a:cubicBezTo>
                    <a:pt x="257" y="106"/>
                    <a:pt x="254" y="104"/>
                    <a:pt x="253" y="104"/>
                  </a:cubicBezTo>
                  <a:cubicBezTo>
                    <a:pt x="252" y="102"/>
                    <a:pt x="252" y="100"/>
                    <a:pt x="250" y="100"/>
                  </a:cubicBezTo>
                  <a:cubicBezTo>
                    <a:pt x="247" y="99"/>
                    <a:pt x="243" y="103"/>
                    <a:pt x="242" y="105"/>
                  </a:cubicBezTo>
                  <a:cubicBezTo>
                    <a:pt x="238" y="106"/>
                    <a:pt x="236" y="104"/>
                    <a:pt x="232" y="106"/>
                  </a:cubicBezTo>
                  <a:cubicBezTo>
                    <a:pt x="231" y="107"/>
                    <a:pt x="230" y="108"/>
                    <a:pt x="228" y="108"/>
                  </a:cubicBezTo>
                  <a:cubicBezTo>
                    <a:pt x="228" y="107"/>
                    <a:pt x="227" y="106"/>
                    <a:pt x="226" y="105"/>
                  </a:cubicBezTo>
                  <a:cubicBezTo>
                    <a:pt x="225" y="105"/>
                    <a:pt x="225" y="105"/>
                    <a:pt x="224" y="105"/>
                  </a:cubicBezTo>
                  <a:cubicBezTo>
                    <a:pt x="222" y="104"/>
                    <a:pt x="222" y="102"/>
                    <a:pt x="220" y="102"/>
                  </a:cubicBezTo>
                  <a:cubicBezTo>
                    <a:pt x="219" y="101"/>
                    <a:pt x="215" y="102"/>
                    <a:pt x="213" y="102"/>
                  </a:cubicBezTo>
                  <a:cubicBezTo>
                    <a:pt x="210" y="102"/>
                    <a:pt x="206" y="101"/>
                    <a:pt x="203" y="102"/>
                  </a:cubicBezTo>
                  <a:cubicBezTo>
                    <a:pt x="202" y="107"/>
                    <a:pt x="197" y="105"/>
                    <a:pt x="194" y="104"/>
                  </a:cubicBezTo>
                  <a:cubicBezTo>
                    <a:pt x="191" y="101"/>
                    <a:pt x="188" y="99"/>
                    <a:pt x="184" y="99"/>
                  </a:cubicBezTo>
                  <a:cubicBezTo>
                    <a:pt x="182" y="99"/>
                    <a:pt x="177" y="99"/>
                    <a:pt x="176" y="101"/>
                  </a:cubicBezTo>
                  <a:cubicBezTo>
                    <a:pt x="174" y="103"/>
                    <a:pt x="175" y="105"/>
                    <a:pt x="174" y="106"/>
                  </a:cubicBezTo>
                  <a:cubicBezTo>
                    <a:pt x="173" y="107"/>
                    <a:pt x="171" y="106"/>
                    <a:pt x="169" y="106"/>
                  </a:cubicBezTo>
                  <a:cubicBezTo>
                    <a:pt x="167" y="107"/>
                    <a:pt x="165" y="108"/>
                    <a:pt x="162" y="109"/>
                  </a:cubicBezTo>
                  <a:cubicBezTo>
                    <a:pt x="161" y="110"/>
                    <a:pt x="159" y="111"/>
                    <a:pt x="157" y="112"/>
                  </a:cubicBezTo>
                  <a:cubicBezTo>
                    <a:pt x="157" y="113"/>
                    <a:pt x="157" y="113"/>
                    <a:pt x="157" y="114"/>
                  </a:cubicBezTo>
                  <a:cubicBezTo>
                    <a:pt x="157" y="114"/>
                    <a:pt x="157" y="115"/>
                    <a:pt x="156" y="115"/>
                  </a:cubicBezTo>
                  <a:cubicBezTo>
                    <a:pt x="156" y="115"/>
                    <a:pt x="153" y="117"/>
                    <a:pt x="153" y="117"/>
                  </a:cubicBezTo>
                  <a:cubicBezTo>
                    <a:pt x="150" y="117"/>
                    <a:pt x="147" y="116"/>
                    <a:pt x="144" y="117"/>
                  </a:cubicBezTo>
                  <a:cubicBezTo>
                    <a:pt x="142" y="118"/>
                    <a:pt x="143" y="118"/>
                    <a:pt x="141" y="120"/>
                  </a:cubicBezTo>
                  <a:cubicBezTo>
                    <a:pt x="140" y="122"/>
                    <a:pt x="139" y="122"/>
                    <a:pt x="136" y="123"/>
                  </a:cubicBezTo>
                  <a:cubicBezTo>
                    <a:pt x="134" y="125"/>
                    <a:pt x="134" y="126"/>
                    <a:pt x="132" y="128"/>
                  </a:cubicBezTo>
                  <a:cubicBezTo>
                    <a:pt x="130" y="129"/>
                    <a:pt x="129" y="132"/>
                    <a:pt x="130" y="128"/>
                  </a:cubicBezTo>
                  <a:cubicBezTo>
                    <a:pt x="131" y="127"/>
                    <a:pt x="132" y="125"/>
                    <a:pt x="131" y="126"/>
                  </a:cubicBezTo>
                  <a:cubicBezTo>
                    <a:pt x="132" y="125"/>
                    <a:pt x="132" y="125"/>
                    <a:pt x="132" y="124"/>
                  </a:cubicBezTo>
                  <a:cubicBezTo>
                    <a:pt x="133" y="123"/>
                    <a:pt x="134" y="122"/>
                    <a:pt x="135" y="121"/>
                  </a:cubicBezTo>
                  <a:cubicBezTo>
                    <a:pt x="136" y="120"/>
                    <a:pt x="136" y="120"/>
                    <a:pt x="137" y="119"/>
                  </a:cubicBezTo>
                  <a:cubicBezTo>
                    <a:pt x="137" y="118"/>
                    <a:pt x="138" y="118"/>
                    <a:pt x="139" y="117"/>
                  </a:cubicBezTo>
                  <a:cubicBezTo>
                    <a:pt x="141" y="115"/>
                    <a:pt x="143" y="111"/>
                    <a:pt x="145" y="109"/>
                  </a:cubicBezTo>
                  <a:cubicBezTo>
                    <a:pt x="145" y="108"/>
                    <a:pt x="146" y="108"/>
                    <a:pt x="146" y="107"/>
                  </a:cubicBezTo>
                  <a:cubicBezTo>
                    <a:pt x="146" y="106"/>
                    <a:pt x="143" y="105"/>
                    <a:pt x="142" y="105"/>
                  </a:cubicBezTo>
                  <a:cubicBezTo>
                    <a:pt x="139" y="104"/>
                    <a:pt x="136" y="107"/>
                    <a:pt x="134" y="108"/>
                  </a:cubicBezTo>
                  <a:cubicBezTo>
                    <a:pt x="132" y="109"/>
                    <a:pt x="130" y="111"/>
                    <a:pt x="128" y="112"/>
                  </a:cubicBezTo>
                  <a:cubicBezTo>
                    <a:pt x="128" y="113"/>
                    <a:pt x="127" y="113"/>
                    <a:pt x="127" y="114"/>
                  </a:cubicBezTo>
                  <a:cubicBezTo>
                    <a:pt x="125" y="114"/>
                    <a:pt x="124" y="114"/>
                    <a:pt x="125" y="112"/>
                  </a:cubicBezTo>
                  <a:cubicBezTo>
                    <a:pt x="126" y="111"/>
                    <a:pt x="127" y="110"/>
                    <a:pt x="128" y="108"/>
                  </a:cubicBezTo>
                  <a:cubicBezTo>
                    <a:pt x="129" y="107"/>
                    <a:pt x="130" y="106"/>
                    <a:pt x="132" y="105"/>
                  </a:cubicBezTo>
                  <a:cubicBezTo>
                    <a:pt x="135" y="103"/>
                    <a:pt x="138" y="102"/>
                    <a:pt x="141" y="101"/>
                  </a:cubicBezTo>
                  <a:cubicBezTo>
                    <a:pt x="142" y="100"/>
                    <a:pt x="143" y="100"/>
                    <a:pt x="144" y="100"/>
                  </a:cubicBezTo>
                  <a:cubicBezTo>
                    <a:pt x="146" y="100"/>
                    <a:pt x="145" y="102"/>
                    <a:pt x="146" y="102"/>
                  </a:cubicBezTo>
                  <a:cubicBezTo>
                    <a:pt x="147" y="103"/>
                    <a:pt x="147" y="103"/>
                    <a:pt x="148" y="103"/>
                  </a:cubicBezTo>
                  <a:cubicBezTo>
                    <a:pt x="149" y="102"/>
                    <a:pt x="150" y="102"/>
                    <a:pt x="150" y="101"/>
                  </a:cubicBezTo>
                  <a:cubicBezTo>
                    <a:pt x="151" y="98"/>
                    <a:pt x="152" y="96"/>
                    <a:pt x="154" y="94"/>
                  </a:cubicBezTo>
                  <a:cubicBezTo>
                    <a:pt x="155" y="92"/>
                    <a:pt x="157" y="90"/>
                    <a:pt x="159" y="88"/>
                  </a:cubicBezTo>
                  <a:cubicBezTo>
                    <a:pt x="160" y="87"/>
                    <a:pt x="161" y="86"/>
                    <a:pt x="161" y="85"/>
                  </a:cubicBezTo>
                  <a:cubicBezTo>
                    <a:pt x="159" y="85"/>
                    <a:pt x="158" y="87"/>
                    <a:pt x="157" y="88"/>
                  </a:cubicBezTo>
                  <a:cubicBezTo>
                    <a:pt x="157" y="89"/>
                    <a:pt x="156" y="89"/>
                    <a:pt x="155" y="89"/>
                  </a:cubicBezTo>
                  <a:cubicBezTo>
                    <a:pt x="154" y="90"/>
                    <a:pt x="153" y="89"/>
                    <a:pt x="152" y="89"/>
                  </a:cubicBezTo>
                  <a:cubicBezTo>
                    <a:pt x="150" y="89"/>
                    <a:pt x="148" y="87"/>
                    <a:pt x="147" y="88"/>
                  </a:cubicBezTo>
                  <a:cubicBezTo>
                    <a:pt x="145" y="88"/>
                    <a:pt x="143" y="90"/>
                    <a:pt x="141" y="89"/>
                  </a:cubicBezTo>
                  <a:cubicBezTo>
                    <a:pt x="139" y="89"/>
                    <a:pt x="138" y="88"/>
                    <a:pt x="136" y="87"/>
                  </a:cubicBezTo>
                  <a:cubicBezTo>
                    <a:pt x="134" y="85"/>
                    <a:pt x="131" y="85"/>
                    <a:pt x="129" y="85"/>
                  </a:cubicBezTo>
                  <a:cubicBezTo>
                    <a:pt x="128" y="85"/>
                    <a:pt x="123" y="86"/>
                    <a:pt x="123" y="84"/>
                  </a:cubicBezTo>
                  <a:cubicBezTo>
                    <a:pt x="124" y="83"/>
                    <a:pt x="128" y="83"/>
                    <a:pt x="130" y="83"/>
                  </a:cubicBezTo>
                  <a:cubicBezTo>
                    <a:pt x="131" y="83"/>
                    <a:pt x="132" y="84"/>
                    <a:pt x="133" y="84"/>
                  </a:cubicBezTo>
                  <a:cubicBezTo>
                    <a:pt x="135" y="84"/>
                    <a:pt x="139" y="83"/>
                    <a:pt x="141" y="84"/>
                  </a:cubicBezTo>
                  <a:cubicBezTo>
                    <a:pt x="143" y="84"/>
                    <a:pt x="144" y="85"/>
                    <a:pt x="146" y="84"/>
                  </a:cubicBezTo>
                  <a:cubicBezTo>
                    <a:pt x="147" y="84"/>
                    <a:pt x="147" y="83"/>
                    <a:pt x="147" y="81"/>
                  </a:cubicBezTo>
                  <a:cubicBezTo>
                    <a:pt x="147" y="80"/>
                    <a:pt x="147" y="79"/>
                    <a:pt x="148" y="78"/>
                  </a:cubicBezTo>
                  <a:cubicBezTo>
                    <a:pt x="148" y="77"/>
                    <a:pt x="149" y="76"/>
                    <a:pt x="150" y="76"/>
                  </a:cubicBezTo>
                  <a:cubicBezTo>
                    <a:pt x="152" y="75"/>
                    <a:pt x="154" y="74"/>
                    <a:pt x="155" y="73"/>
                  </a:cubicBezTo>
                  <a:cubicBezTo>
                    <a:pt x="156" y="72"/>
                    <a:pt x="156" y="73"/>
                    <a:pt x="156" y="72"/>
                  </a:cubicBezTo>
                  <a:cubicBezTo>
                    <a:pt x="157" y="72"/>
                    <a:pt x="157" y="71"/>
                    <a:pt x="157" y="71"/>
                  </a:cubicBezTo>
                  <a:cubicBezTo>
                    <a:pt x="157" y="70"/>
                    <a:pt x="157" y="70"/>
                    <a:pt x="158" y="69"/>
                  </a:cubicBezTo>
                  <a:cubicBezTo>
                    <a:pt x="158" y="68"/>
                    <a:pt x="159" y="68"/>
                    <a:pt x="159" y="68"/>
                  </a:cubicBezTo>
                  <a:cubicBezTo>
                    <a:pt x="160" y="67"/>
                    <a:pt x="161" y="66"/>
                    <a:pt x="161" y="65"/>
                  </a:cubicBezTo>
                  <a:cubicBezTo>
                    <a:pt x="162" y="64"/>
                    <a:pt x="164" y="63"/>
                    <a:pt x="164" y="62"/>
                  </a:cubicBezTo>
                  <a:cubicBezTo>
                    <a:pt x="166" y="61"/>
                    <a:pt x="166" y="59"/>
                    <a:pt x="168" y="58"/>
                  </a:cubicBezTo>
                  <a:cubicBezTo>
                    <a:pt x="168" y="58"/>
                    <a:pt x="169" y="58"/>
                    <a:pt x="169" y="58"/>
                  </a:cubicBezTo>
                  <a:cubicBezTo>
                    <a:pt x="170" y="57"/>
                    <a:pt x="169" y="57"/>
                    <a:pt x="170" y="57"/>
                  </a:cubicBezTo>
                  <a:cubicBezTo>
                    <a:pt x="170" y="56"/>
                    <a:pt x="171" y="56"/>
                    <a:pt x="172" y="56"/>
                  </a:cubicBezTo>
                  <a:cubicBezTo>
                    <a:pt x="175" y="54"/>
                    <a:pt x="177" y="53"/>
                    <a:pt x="179" y="50"/>
                  </a:cubicBezTo>
                  <a:cubicBezTo>
                    <a:pt x="180" y="48"/>
                    <a:pt x="180" y="47"/>
                    <a:pt x="181" y="45"/>
                  </a:cubicBezTo>
                  <a:cubicBezTo>
                    <a:pt x="182" y="45"/>
                    <a:pt x="182" y="44"/>
                    <a:pt x="182" y="43"/>
                  </a:cubicBezTo>
                  <a:cubicBezTo>
                    <a:pt x="183" y="43"/>
                    <a:pt x="186" y="44"/>
                    <a:pt x="187" y="43"/>
                  </a:cubicBezTo>
                  <a:cubicBezTo>
                    <a:pt x="187" y="42"/>
                    <a:pt x="187" y="42"/>
                    <a:pt x="188" y="41"/>
                  </a:cubicBezTo>
                  <a:cubicBezTo>
                    <a:pt x="188" y="40"/>
                    <a:pt x="190" y="40"/>
                    <a:pt x="190" y="39"/>
                  </a:cubicBezTo>
                  <a:cubicBezTo>
                    <a:pt x="191" y="38"/>
                    <a:pt x="191" y="37"/>
                    <a:pt x="192" y="36"/>
                  </a:cubicBezTo>
                  <a:cubicBezTo>
                    <a:pt x="192" y="35"/>
                    <a:pt x="193" y="35"/>
                    <a:pt x="194" y="34"/>
                  </a:cubicBezTo>
                  <a:cubicBezTo>
                    <a:pt x="194" y="33"/>
                    <a:pt x="195" y="32"/>
                    <a:pt x="195" y="31"/>
                  </a:cubicBezTo>
                  <a:cubicBezTo>
                    <a:pt x="196" y="30"/>
                    <a:pt x="197" y="30"/>
                    <a:pt x="197" y="29"/>
                  </a:cubicBezTo>
                  <a:cubicBezTo>
                    <a:pt x="197" y="28"/>
                    <a:pt x="197" y="28"/>
                    <a:pt x="198" y="27"/>
                  </a:cubicBezTo>
                  <a:cubicBezTo>
                    <a:pt x="198" y="26"/>
                    <a:pt x="198" y="26"/>
                    <a:pt x="199" y="25"/>
                  </a:cubicBezTo>
                  <a:cubicBezTo>
                    <a:pt x="199" y="24"/>
                    <a:pt x="199" y="24"/>
                    <a:pt x="199" y="24"/>
                  </a:cubicBezTo>
                  <a:cubicBezTo>
                    <a:pt x="198" y="23"/>
                    <a:pt x="195" y="23"/>
                    <a:pt x="194" y="22"/>
                  </a:cubicBezTo>
                  <a:cubicBezTo>
                    <a:pt x="194" y="22"/>
                    <a:pt x="194" y="21"/>
                    <a:pt x="193" y="21"/>
                  </a:cubicBezTo>
                  <a:cubicBezTo>
                    <a:pt x="193" y="20"/>
                    <a:pt x="193" y="20"/>
                    <a:pt x="192" y="19"/>
                  </a:cubicBezTo>
                  <a:cubicBezTo>
                    <a:pt x="192" y="18"/>
                    <a:pt x="193" y="17"/>
                    <a:pt x="194" y="15"/>
                  </a:cubicBezTo>
                  <a:cubicBezTo>
                    <a:pt x="195" y="15"/>
                    <a:pt x="195" y="14"/>
                    <a:pt x="196" y="13"/>
                  </a:cubicBezTo>
                  <a:cubicBezTo>
                    <a:pt x="196" y="13"/>
                    <a:pt x="197" y="13"/>
                    <a:pt x="198" y="12"/>
                  </a:cubicBezTo>
                  <a:cubicBezTo>
                    <a:pt x="198" y="12"/>
                    <a:pt x="198" y="11"/>
                    <a:pt x="199" y="11"/>
                  </a:cubicBezTo>
                  <a:cubicBezTo>
                    <a:pt x="200" y="9"/>
                    <a:pt x="202" y="8"/>
                    <a:pt x="201" y="6"/>
                  </a:cubicBezTo>
                  <a:cubicBezTo>
                    <a:pt x="201" y="6"/>
                    <a:pt x="199" y="5"/>
                    <a:pt x="199" y="4"/>
                  </a:cubicBezTo>
                  <a:cubicBezTo>
                    <a:pt x="198" y="4"/>
                    <a:pt x="197" y="4"/>
                    <a:pt x="196" y="4"/>
                  </a:cubicBezTo>
                  <a:cubicBezTo>
                    <a:pt x="195" y="4"/>
                    <a:pt x="194" y="3"/>
                    <a:pt x="193" y="4"/>
                  </a:cubicBezTo>
                  <a:cubicBezTo>
                    <a:pt x="193" y="4"/>
                    <a:pt x="192" y="5"/>
                    <a:pt x="191" y="5"/>
                  </a:cubicBezTo>
                  <a:cubicBezTo>
                    <a:pt x="191" y="5"/>
                    <a:pt x="190" y="4"/>
                    <a:pt x="189" y="4"/>
                  </a:cubicBezTo>
                  <a:cubicBezTo>
                    <a:pt x="188" y="4"/>
                    <a:pt x="188" y="4"/>
                    <a:pt x="187" y="4"/>
                  </a:cubicBezTo>
                  <a:cubicBezTo>
                    <a:pt x="186" y="4"/>
                    <a:pt x="186" y="4"/>
                    <a:pt x="185" y="4"/>
                  </a:cubicBezTo>
                  <a:cubicBezTo>
                    <a:pt x="184" y="4"/>
                    <a:pt x="184" y="3"/>
                    <a:pt x="183" y="3"/>
                  </a:cubicBezTo>
                  <a:cubicBezTo>
                    <a:pt x="183" y="3"/>
                    <a:pt x="182" y="3"/>
                    <a:pt x="182" y="3"/>
                  </a:cubicBezTo>
                  <a:cubicBezTo>
                    <a:pt x="182" y="2"/>
                    <a:pt x="181" y="2"/>
                    <a:pt x="181" y="2"/>
                  </a:cubicBezTo>
                  <a:cubicBezTo>
                    <a:pt x="181" y="1"/>
                    <a:pt x="181" y="0"/>
                    <a:pt x="180" y="1"/>
                  </a:cubicBezTo>
                  <a:cubicBezTo>
                    <a:pt x="179" y="1"/>
                    <a:pt x="179" y="4"/>
                    <a:pt x="179" y="5"/>
                  </a:cubicBezTo>
                  <a:cubicBezTo>
                    <a:pt x="180" y="7"/>
                    <a:pt x="182" y="5"/>
                    <a:pt x="183" y="7"/>
                  </a:cubicBezTo>
                  <a:cubicBezTo>
                    <a:pt x="184" y="8"/>
                    <a:pt x="180" y="10"/>
                    <a:pt x="179" y="11"/>
                  </a:cubicBezTo>
                  <a:cubicBezTo>
                    <a:pt x="178" y="11"/>
                    <a:pt x="176" y="11"/>
                    <a:pt x="175" y="11"/>
                  </a:cubicBezTo>
                  <a:cubicBezTo>
                    <a:pt x="173" y="10"/>
                    <a:pt x="169" y="6"/>
                    <a:pt x="167" y="9"/>
                  </a:cubicBezTo>
                  <a:cubicBezTo>
                    <a:pt x="166" y="9"/>
                    <a:pt x="164" y="9"/>
                    <a:pt x="163" y="10"/>
                  </a:cubicBezTo>
                  <a:cubicBezTo>
                    <a:pt x="162" y="11"/>
                    <a:pt x="162" y="12"/>
                    <a:pt x="162" y="12"/>
                  </a:cubicBezTo>
                  <a:cubicBezTo>
                    <a:pt x="160" y="13"/>
                    <a:pt x="157" y="12"/>
                    <a:pt x="156" y="12"/>
                  </a:cubicBezTo>
                  <a:cubicBezTo>
                    <a:pt x="154" y="13"/>
                    <a:pt x="152" y="13"/>
                    <a:pt x="151" y="13"/>
                  </a:cubicBezTo>
                  <a:cubicBezTo>
                    <a:pt x="149" y="13"/>
                    <a:pt x="149" y="11"/>
                    <a:pt x="147" y="11"/>
                  </a:cubicBezTo>
                  <a:cubicBezTo>
                    <a:pt x="146" y="11"/>
                    <a:pt x="146" y="11"/>
                    <a:pt x="145" y="12"/>
                  </a:cubicBezTo>
                  <a:cubicBezTo>
                    <a:pt x="143" y="13"/>
                    <a:pt x="142" y="12"/>
                    <a:pt x="141" y="13"/>
                  </a:cubicBezTo>
                  <a:cubicBezTo>
                    <a:pt x="140" y="13"/>
                    <a:pt x="139" y="13"/>
                    <a:pt x="139" y="13"/>
                  </a:cubicBezTo>
                  <a:cubicBezTo>
                    <a:pt x="139" y="14"/>
                    <a:pt x="139" y="14"/>
                    <a:pt x="139" y="15"/>
                  </a:cubicBezTo>
                  <a:cubicBezTo>
                    <a:pt x="138" y="15"/>
                    <a:pt x="137" y="16"/>
                    <a:pt x="136" y="16"/>
                  </a:cubicBezTo>
                  <a:cubicBezTo>
                    <a:pt x="136" y="17"/>
                    <a:pt x="135" y="17"/>
                    <a:pt x="134" y="17"/>
                  </a:cubicBezTo>
                  <a:cubicBezTo>
                    <a:pt x="134" y="17"/>
                    <a:pt x="133" y="17"/>
                    <a:pt x="132" y="17"/>
                  </a:cubicBezTo>
                  <a:cubicBezTo>
                    <a:pt x="131" y="17"/>
                    <a:pt x="131" y="18"/>
                    <a:pt x="131" y="18"/>
                  </a:cubicBezTo>
                  <a:cubicBezTo>
                    <a:pt x="130" y="19"/>
                    <a:pt x="129" y="18"/>
                    <a:pt x="129" y="18"/>
                  </a:cubicBezTo>
                  <a:cubicBezTo>
                    <a:pt x="129" y="20"/>
                    <a:pt x="127" y="22"/>
                    <a:pt x="126" y="23"/>
                  </a:cubicBezTo>
                  <a:cubicBezTo>
                    <a:pt x="125" y="25"/>
                    <a:pt x="124" y="27"/>
                    <a:pt x="122" y="28"/>
                  </a:cubicBezTo>
                  <a:cubicBezTo>
                    <a:pt x="121" y="27"/>
                    <a:pt x="122" y="25"/>
                    <a:pt x="122" y="24"/>
                  </a:cubicBezTo>
                  <a:cubicBezTo>
                    <a:pt x="122" y="24"/>
                    <a:pt x="122" y="23"/>
                    <a:pt x="122" y="22"/>
                  </a:cubicBezTo>
                  <a:cubicBezTo>
                    <a:pt x="122" y="21"/>
                    <a:pt x="122" y="20"/>
                    <a:pt x="123" y="19"/>
                  </a:cubicBezTo>
                  <a:cubicBezTo>
                    <a:pt x="123" y="18"/>
                    <a:pt x="123" y="17"/>
                    <a:pt x="123" y="16"/>
                  </a:cubicBezTo>
                  <a:cubicBezTo>
                    <a:pt x="123" y="15"/>
                    <a:pt x="123" y="15"/>
                    <a:pt x="123" y="14"/>
                  </a:cubicBezTo>
                  <a:cubicBezTo>
                    <a:pt x="122" y="14"/>
                    <a:pt x="123" y="14"/>
                    <a:pt x="122" y="13"/>
                  </a:cubicBezTo>
                  <a:cubicBezTo>
                    <a:pt x="121" y="12"/>
                    <a:pt x="117" y="13"/>
                    <a:pt x="116" y="14"/>
                  </a:cubicBezTo>
                  <a:cubicBezTo>
                    <a:pt x="115" y="15"/>
                    <a:pt x="115" y="17"/>
                    <a:pt x="115" y="18"/>
                  </a:cubicBezTo>
                  <a:cubicBezTo>
                    <a:pt x="114" y="19"/>
                    <a:pt x="114" y="20"/>
                    <a:pt x="113" y="20"/>
                  </a:cubicBezTo>
                  <a:cubicBezTo>
                    <a:pt x="112" y="21"/>
                    <a:pt x="112" y="21"/>
                    <a:pt x="112" y="21"/>
                  </a:cubicBezTo>
                  <a:cubicBezTo>
                    <a:pt x="111" y="21"/>
                    <a:pt x="111" y="22"/>
                    <a:pt x="111" y="23"/>
                  </a:cubicBezTo>
                  <a:cubicBezTo>
                    <a:pt x="110" y="23"/>
                    <a:pt x="110" y="23"/>
                    <a:pt x="109" y="24"/>
                  </a:cubicBezTo>
                  <a:cubicBezTo>
                    <a:pt x="109" y="24"/>
                    <a:pt x="108" y="25"/>
                    <a:pt x="107" y="25"/>
                  </a:cubicBezTo>
                  <a:cubicBezTo>
                    <a:pt x="105" y="25"/>
                    <a:pt x="107" y="23"/>
                    <a:pt x="108" y="22"/>
                  </a:cubicBezTo>
                  <a:cubicBezTo>
                    <a:pt x="109" y="20"/>
                    <a:pt x="111" y="20"/>
                    <a:pt x="111" y="18"/>
                  </a:cubicBezTo>
                  <a:cubicBezTo>
                    <a:pt x="111" y="16"/>
                    <a:pt x="109" y="14"/>
                    <a:pt x="107" y="13"/>
                  </a:cubicBezTo>
                  <a:cubicBezTo>
                    <a:pt x="106" y="13"/>
                    <a:pt x="106" y="14"/>
                    <a:pt x="106" y="15"/>
                  </a:cubicBezTo>
                  <a:cubicBezTo>
                    <a:pt x="106" y="15"/>
                    <a:pt x="105" y="15"/>
                    <a:pt x="105" y="15"/>
                  </a:cubicBezTo>
                  <a:cubicBezTo>
                    <a:pt x="105" y="15"/>
                    <a:pt x="105" y="16"/>
                    <a:pt x="105" y="16"/>
                  </a:cubicBezTo>
                  <a:cubicBezTo>
                    <a:pt x="105" y="16"/>
                    <a:pt x="105" y="17"/>
                    <a:pt x="105" y="17"/>
                  </a:cubicBezTo>
                  <a:cubicBezTo>
                    <a:pt x="104" y="17"/>
                    <a:pt x="103" y="14"/>
                    <a:pt x="103" y="13"/>
                  </a:cubicBezTo>
                  <a:cubicBezTo>
                    <a:pt x="103" y="11"/>
                    <a:pt x="104" y="10"/>
                    <a:pt x="102" y="9"/>
                  </a:cubicBezTo>
                  <a:cubicBezTo>
                    <a:pt x="101" y="8"/>
                    <a:pt x="100" y="7"/>
                    <a:pt x="98" y="8"/>
                  </a:cubicBezTo>
                  <a:cubicBezTo>
                    <a:pt x="98" y="8"/>
                    <a:pt x="96" y="8"/>
                    <a:pt x="96" y="9"/>
                  </a:cubicBezTo>
                  <a:cubicBezTo>
                    <a:pt x="95" y="10"/>
                    <a:pt x="95" y="12"/>
                    <a:pt x="94" y="13"/>
                  </a:cubicBezTo>
                  <a:cubicBezTo>
                    <a:pt x="94" y="14"/>
                    <a:pt x="93" y="15"/>
                    <a:pt x="92" y="16"/>
                  </a:cubicBezTo>
                  <a:cubicBezTo>
                    <a:pt x="90" y="18"/>
                    <a:pt x="88" y="20"/>
                    <a:pt x="88" y="22"/>
                  </a:cubicBezTo>
                  <a:cubicBezTo>
                    <a:pt x="89" y="22"/>
                    <a:pt x="89" y="23"/>
                    <a:pt x="89" y="23"/>
                  </a:cubicBezTo>
                  <a:cubicBezTo>
                    <a:pt x="90" y="23"/>
                    <a:pt x="90" y="24"/>
                    <a:pt x="90" y="24"/>
                  </a:cubicBezTo>
                  <a:cubicBezTo>
                    <a:pt x="89" y="25"/>
                    <a:pt x="89" y="25"/>
                    <a:pt x="89" y="25"/>
                  </a:cubicBezTo>
                  <a:cubicBezTo>
                    <a:pt x="87" y="28"/>
                    <a:pt x="92" y="28"/>
                    <a:pt x="89" y="30"/>
                  </a:cubicBezTo>
                  <a:cubicBezTo>
                    <a:pt x="87" y="31"/>
                    <a:pt x="85" y="34"/>
                    <a:pt x="84" y="37"/>
                  </a:cubicBezTo>
                  <a:cubicBezTo>
                    <a:pt x="84" y="38"/>
                    <a:pt x="85" y="38"/>
                    <a:pt x="86" y="39"/>
                  </a:cubicBezTo>
                  <a:cubicBezTo>
                    <a:pt x="87" y="40"/>
                    <a:pt x="87" y="40"/>
                    <a:pt x="87" y="42"/>
                  </a:cubicBezTo>
                  <a:cubicBezTo>
                    <a:pt x="87" y="43"/>
                    <a:pt x="87" y="43"/>
                    <a:pt x="89" y="43"/>
                  </a:cubicBezTo>
                  <a:cubicBezTo>
                    <a:pt x="89" y="43"/>
                    <a:pt x="90" y="43"/>
                    <a:pt x="90" y="44"/>
                  </a:cubicBezTo>
                  <a:cubicBezTo>
                    <a:pt x="91" y="45"/>
                    <a:pt x="89" y="45"/>
                    <a:pt x="89" y="45"/>
                  </a:cubicBezTo>
                  <a:cubicBezTo>
                    <a:pt x="86" y="46"/>
                    <a:pt x="84" y="45"/>
                    <a:pt x="81" y="45"/>
                  </a:cubicBezTo>
                  <a:cubicBezTo>
                    <a:pt x="80" y="45"/>
                    <a:pt x="79" y="45"/>
                    <a:pt x="77" y="46"/>
                  </a:cubicBezTo>
                  <a:cubicBezTo>
                    <a:pt x="76" y="46"/>
                    <a:pt x="75" y="45"/>
                    <a:pt x="74" y="46"/>
                  </a:cubicBezTo>
                  <a:cubicBezTo>
                    <a:pt x="74" y="47"/>
                    <a:pt x="73" y="50"/>
                    <a:pt x="74" y="50"/>
                  </a:cubicBezTo>
                  <a:cubicBezTo>
                    <a:pt x="74" y="51"/>
                    <a:pt x="75" y="52"/>
                    <a:pt x="76" y="52"/>
                  </a:cubicBezTo>
                  <a:cubicBezTo>
                    <a:pt x="76" y="53"/>
                    <a:pt x="76" y="54"/>
                    <a:pt x="76" y="55"/>
                  </a:cubicBezTo>
                  <a:cubicBezTo>
                    <a:pt x="76" y="56"/>
                    <a:pt x="76" y="57"/>
                    <a:pt x="76" y="58"/>
                  </a:cubicBezTo>
                  <a:cubicBezTo>
                    <a:pt x="76" y="60"/>
                    <a:pt x="77" y="61"/>
                    <a:pt x="77" y="62"/>
                  </a:cubicBezTo>
                  <a:cubicBezTo>
                    <a:pt x="78" y="62"/>
                    <a:pt x="77" y="59"/>
                    <a:pt x="78" y="59"/>
                  </a:cubicBezTo>
                  <a:cubicBezTo>
                    <a:pt x="79" y="59"/>
                    <a:pt x="79" y="61"/>
                    <a:pt x="79" y="61"/>
                  </a:cubicBezTo>
                  <a:cubicBezTo>
                    <a:pt x="78" y="62"/>
                    <a:pt x="78" y="62"/>
                    <a:pt x="78" y="63"/>
                  </a:cubicBezTo>
                  <a:cubicBezTo>
                    <a:pt x="77" y="64"/>
                    <a:pt x="77" y="67"/>
                    <a:pt x="78" y="67"/>
                  </a:cubicBezTo>
                  <a:cubicBezTo>
                    <a:pt x="76" y="68"/>
                    <a:pt x="75" y="66"/>
                    <a:pt x="73" y="65"/>
                  </a:cubicBezTo>
                  <a:cubicBezTo>
                    <a:pt x="73" y="65"/>
                    <a:pt x="70" y="63"/>
                    <a:pt x="69" y="64"/>
                  </a:cubicBezTo>
                  <a:cubicBezTo>
                    <a:pt x="67" y="67"/>
                    <a:pt x="72" y="70"/>
                    <a:pt x="73" y="71"/>
                  </a:cubicBezTo>
                  <a:cubicBezTo>
                    <a:pt x="74" y="72"/>
                    <a:pt x="75" y="73"/>
                    <a:pt x="76" y="74"/>
                  </a:cubicBezTo>
                  <a:cubicBezTo>
                    <a:pt x="77" y="74"/>
                    <a:pt x="78" y="74"/>
                    <a:pt x="78" y="75"/>
                  </a:cubicBezTo>
                  <a:cubicBezTo>
                    <a:pt x="79" y="75"/>
                    <a:pt x="79" y="76"/>
                    <a:pt x="80" y="76"/>
                  </a:cubicBezTo>
                  <a:cubicBezTo>
                    <a:pt x="81" y="78"/>
                    <a:pt x="83" y="77"/>
                    <a:pt x="84" y="79"/>
                  </a:cubicBezTo>
                  <a:cubicBezTo>
                    <a:pt x="86" y="80"/>
                    <a:pt x="84" y="82"/>
                    <a:pt x="84" y="84"/>
                  </a:cubicBezTo>
                  <a:cubicBezTo>
                    <a:pt x="84" y="86"/>
                    <a:pt x="86" y="86"/>
                    <a:pt x="87" y="88"/>
                  </a:cubicBezTo>
                  <a:cubicBezTo>
                    <a:pt x="86" y="86"/>
                    <a:pt x="84" y="85"/>
                    <a:pt x="82" y="84"/>
                  </a:cubicBezTo>
                  <a:cubicBezTo>
                    <a:pt x="81" y="84"/>
                    <a:pt x="79" y="83"/>
                    <a:pt x="77" y="82"/>
                  </a:cubicBezTo>
                  <a:cubicBezTo>
                    <a:pt x="76" y="81"/>
                    <a:pt x="75" y="81"/>
                    <a:pt x="75" y="81"/>
                  </a:cubicBezTo>
                  <a:cubicBezTo>
                    <a:pt x="74" y="83"/>
                    <a:pt x="76" y="84"/>
                    <a:pt x="77" y="85"/>
                  </a:cubicBezTo>
                  <a:cubicBezTo>
                    <a:pt x="78" y="86"/>
                    <a:pt x="79" y="87"/>
                    <a:pt x="80" y="89"/>
                  </a:cubicBezTo>
                  <a:cubicBezTo>
                    <a:pt x="78" y="88"/>
                    <a:pt x="77" y="87"/>
                    <a:pt x="75" y="86"/>
                  </a:cubicBezTo>
                  <a:cubicBezTo>
                    <a:pt x="75" y="85"/>
                    <a:pt x="74" y="85"/>
                    <a:pt x="74" y="84"/>
                  </a:cubicBezTo>
                  <a:cubicBezTo>
                    <a:pt x="73" y="84"/>
                    <a:pt x="73" y="84"/>
                    <a:pt x="72" y="84"/>
                  </a:cubicBezTo>
                  <a:cubicBezTo>
                    <a:pt x="72" y="83"/>
                    <a:pt x="71" y="82"/>
                    <a:pt x="70" y="83"/>
                  </a:cubicBezTo>
                  <a:cubicBezTo>
                    <a:pt x="70" y="83"/>
                    <a:pt x="69" y="85"/>
                    <a:pt x="69" y="86"/>
                  </a:cubicBezTo>
                  <a:cubicBezTo>
                    <a:pt x="69" y="86"/>
                    <a:pt x="68" y="88"/>
                    <a:pt x="67" y="87"/>
                  </a:cubicBezTo>
                  <a:cubicBezTo>
                    <a:pt x="66" y="87"/>
                    <a:pt x="66" y="86"/>
                    <a:pt x="66" y="85"/>
                  </a:cubicBezTo>
                  <a:cubicBezTo>
                    <a:pt x="65" y="84"/>
                    <a:pt x="66" y="84"/>
                    <a:pt x="65" y="83"/>
                  </a:cubicBezTo>
                  <a:cubicBezTo>
                    <a:pt x="65" y="83"/>
                    <a:pt x="64" y="83"/>
                    <a:pt x="64" y="82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82"/>
                    <a:pt x="62" y="82"/>
                    <a:pt x="62" y="82"/>
                  </a:cubicBezTo>
                  <a:cubicBezTo>
                    <a:pt x="61" y="82"/>
                    <a:pt x="60" y="82"/>
                    <a:pt x="60" y="83"/>
                  </a:cubicBezTo>
                  <a:cubicBezTo>
                    <a:pt x="60" y="84"/>
                    <a:pt x="60" y="86"/>
                    <a:pt x="60" y="86"/>
                  </a:cubicBezTo>
                  <a:cubicBezTo>
                    <a:pt x="60" y="89"/>
                    <a:pt x="60" y="91"/>
                    <a:pt x="60" y="93"/>
                  </a:cubicBezTo>
                  <a:cubicBezTo>
                    <a:pt x="60" y="94"/>
                    <a:pt x="60" y="96"/>
                    <a:pt x="59" y="96"/>
                  </a:cubicBezTo>
                  <a:cubicBezTo>
                    <a:pt x="58" y="96"/>
                    <a:pt x="57" y="92"/>
                    <a:pt x="57" y="91"/>
                  </a:cubicBezTo>
                  <a:cubicBezTo>
                    <a:pt x="57" y="90"/>
                    <a:pt x="57" y="88"/>
                    <a:pt x="56" y="87"/>
                  </a:cubicBezTo>
                  <a:cubicBezTo>
                    <a:pt x="54" y="85"/>
                    <a:pt x="52" y="87"/>
                    <a:pt x="51" y="88"/>
                  </a:cubicBezTo>
                  <a:cubicBezTo>
                    <a:pt x="50" y="88"/>
                    <a:pt x="49" y="89"/>
                    <a:pt x="49" y="90"/>
                  </a:cubicBezTo>
                  <a:cubicBezTo>
                    <a:pt x="49" y="90"/>
                    <a:pt x="50" y="90"/>
                    <a:pt x="50" y="90"/>
                  </a:cubicBezTo>
                  <a:cubicBezTo>
                    <a:pt x="50" y="90"/>
                    <a:pt x="50" y="91"/>
                    <a:pt x="50" y="91"/>
                  </a:cubicBezTo>
                  <a:cubicBezTo>
                    <a:pt x="50" y="92"/>
                    <a:pt x="50" y="92"/>
                    <a:pt x="50" y="93"/>
                  </a:cubicBezTo>
                  <a:cubicBezTo>
                    <a:pt x="50" y="95"/>
                    <a:pt x="50" y="97"/>
                    <a:pt x="51" y="100"/>
                  </a:cubicBezTo>
                  <a:cubicBezTo>
                    <a:pt x="51" y="101"/>
                    <a:pt x="52" y="101"/>
                    <a:pt x="52" y="101"/>
                  </a:cubicBezTo>
                  <a:cubicBezTo>
                    <a:pt x="53" y="102"/>
                    <a:pt x="53" y="102"/>
                    <a:pt x="53" y="102"/>
                  </a:cubicBezTo>
                  <a:cubicBezTo>
                    <a:pt x="54" y="102"/>
                    <a:pt x="56" y="103"/>
                    <a:pt x="55" y="104"/>
                  </a:cubicBezTo>
                  <a:cubicBezTo>
                    <a:pt x="54" y="104"/>
                    <a:pt x="52" y="104"/>
                    <a:pt x="51" y="105"/>
                  </a:cubicBezTo>
                  <a:cubicBezTo>
                    <a:pt x="52" y="105"/>
                    <a:pt x="53" y="106"/>
                    <a:pt x="53" y="106"/>
                  </a:cubicBezTo>
                  <a:cubicBezTo>
                    <a:pt x="53" y="106"/>
                    <a:pt x="53" y="107"/>
                    <a:pt x="52" y="107"/>
                  </a:cubicBezTo>
                  <a:cubicBezTo>
                    <a:pt x="52" y="108"/>
                    <a:pt x="51" y="107"/>
                    <a:pt x="51" y="108"/>
                  </a:cubicBezTo>
                  <a:cubicBezTo>
                    <a:pt x="51" y="109"/>
                    <a:pt x="50" y="109"/>
                    <a:pt x="50" y="110"/>
                  </a:cubicBezTo>
                  <a:cubicBezTo>
                    <a:pt x="51" y="111"/>
                    <a:pt x="51" y="110"/>
                    <a:pt x="52" y="111"/>
                  </a:cubicBezTo>
                  <a:cubicBezTo>
                    <a:pt x="52" y="111"/>
                    <a:pt x="53" y="112"/>
                    <a:pt x="54" y="112"/>
                  </a:cubicBezTo>
                  <a:cubicBezTo>
                    <a:pt x="54" y="113"/>
                    <a:pt x="54" y="114"/>
                    <a:pt x="55" y="114"/>
                  </a:cubicBezTo>
                  <a:cubicBezTo>
                    <a:pt x="55" y="115"/>
                    <a:pt x="56" y="116"/>
                    <a:pt x="57" y="117"/>
                  </a:cubicBezTo>
                  <a:cubicBezTo>
                    <a:pt x="57" y="117"/>
                    <a:pt x="57" y="118"/>
                    <a:pt x="57" y="119"/>
                  </a:cubicBezTo>
                  <a:cubicBezTo>
                    <a:pt x="59" y="120"/>
                    <a:pt x="61" y="117"/>
                    <a:pt x="62" y="118"/>
                  </a:cubicBezTo>
                  <a:cubicBezTo>
                    <a:pt x="63" y="118"/>
                    <a:pt x="64" y="119"/>
                    <a:pt x="64" y="120"/>
                  </a:cubicBezTo>
                  <a:cubicBezTo>
                    <a:pt x="63" y="121"/>
                    <a:pt x="60" y="121"/>
                    <a:pt x="59" y="121"/>
                  </a:cubicBezTo>
                  <a:cubicBezTo>
                    <a:pt x="58" y="121"/>
                    <a:pt x="58" y="121"/>
                    <a:pt x="58" y="122"/>
                  </a:cubicBezTo>
                  <a:cubicBezTo>
                    <a:pt x="55" y="121"/>
                    <a:pt x="53" y="118"/>
                    <a:pt x="50" y="117"/>
                  </a:cubicBezTo>
                  <a:cubicBezTo>
                    <a:pt x="50" y="117"/>
                    <a:pt x="48" y="117"/>
                    <a:pt x="48" y="117"/>
                  </a:cubicBezTo>
                  <a:cubicBezTo>
                    <a:pt x="47" y="118"/>
                    <a:pt x="47" y="121"/>
                    <a:pt x="47" y="122"/>
                  </a:cubicBezTo>
                  <a:cubicBezTo>
                    <a:pt x="47" y="123"/>
                    <a:pt x="47" y="124"/>
                    <a:pt x="47" y="125"/>
                  </a:cubicBezTo>
                  <a:cubicBezTo>
                    <a:pt x="48" y="126"/>
                    <a:pt x="48" y="127"/>
                    <a:pt x="49" y="129"/>
                  </a:cubicBezTo>
                  <a:cubicBezTo>
                    <a:pt x="49" y="130"/>
                    <a:pt x="49" y="131"/>
                    <a:pt x="49" y="132"/>
                  </a:cubicBezTo>
                  <a:cubicBezTo>
                    <a:pt x="49" y="133"/>
                    <a:pt x="49" y="133"/>
                    <a:pt x="49" y="134"/>
                  </a:cubicBezTo>
                  <a:cubicBezTo>
                    <a:pt x="49" y="135"/>
                    <a:pt x="49" y="136"/>
                    <a:pt x="49" y="137"/>
                  </a:cubicBezTo>
                  <a:cubicBezTo>
                    <a:pt x="49" y="139"/>
                    <a:pt x="50" y="140"/>
                    <a:pt x="51" y="140"/>
                  </a:cubicBezTo>
                  <a:cubicBezTo>
                    <a:pt x="51" y="140"/>
                    <a:pt x="52" y="140"/>
                    <a:pt x="52" y="140"/>
                  </a:cubicBezTo>
                  <a:cubicBezTo>
                    <a:pt x="53" y="139"/>
                    <a:pt x="53" y="139"/>
                    <a:pt x="53" y="138"/>
                  </a:cubicBezTo>
                  <a:cubicBezTo>
                    <a:pt x="54" y="137"/>
                    <a:pt x="55" y="137"/>
                    <a:pt x="56" y="136"/>
                  </a:cubicBezTo>
                  <a:cubicBezTo>
                    <a:pt x="57" y="136"/>
                    <a:pt x="59" y="135"/>
                    <a:pt x="60" y="135"/>
                  </a:cubicBezTo>
                  <a:cubicBezTo>
                    <a:pt x="61" y="135"/>
                    <a:pt x="61" y="135"/>
                    <a:pt x="61" y="136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8"/>
                    <a:pt x="63" y="138"/>
                    <a:pt x="63" y="138"/>
                  </a:cubicBezTo>
                  <a:cubicBezTo>
                    <a:pt x="65" y="138"/>
                    <a:pt x="65" y="138"/>
                    <a:pt x="66" y="137"/>
                  </a:cubicBezTo>
                  <a:cubicBezTo>
                    <a:pt x="67" y="136"/>
                    <a:pt x="66" y="135"/>
                    <a:pt x="67" y="134"/>
                  </a:cubicBezTo>
                  <a:cubicBezTo>
                    <a:pt x="68" y="134"/>
                    <a:pt x="70" y="134"/>
                    <a:pt x="71" y="134"/>
                  </a:cubicBezTo>
                  <a:cubicBezTo>
                    <a:pt x="72" y="136"/>
                    <a:pt x="70" y="137"/>
                    <a:pt x="69" y="138"/>
                  </a:cubicBezTo>
                  <a:cubicBezTo>
                    <a:pt x="68" y="139"/>
                    <a:pt x="67" y="140"/>
                    <a:pt x="66" y="140"/>
                  </a:cubicBezTo>
                  <a:cubicBezTo>
                    <a:pt x="64" y="141"/>
                    <a:pt x="62" y="141"/>
                    <a:pt x="61" y="142"/>
                  </a:cubicBezTo>
                  <a:cubicBezTo>
                    <a:pt x="60" y="142"/>
                    <a:pt x="58" y="141"/>
                    <a:pt x="57" y="142"/>
                  </a:cubicBezTo>
                  <a:cubicBezTo>
                    <a:pt x="56" y="142"/>
                    <a:pt x="56" y="144"/>
                    <a:pt x="55" y="144"/>
                  </a:cubicBezTo>
                  <a:cubicBezTo>
                    <a:pt x="56" y="144"/>
                    <a:pt x="58" y="145"/>
                    <a:pt x="59" y="145"/>
                  </a:cubicBezTo>
                  <a:cubicBezTo>
                    <a:pt x="59" y="146"/>
                    <a:pt x="61" y="146"/>
                    <a:pt x="62" y="146"/>
                  </a:cubicBezTo>
                  <a:cubicBezTo>
                    <a:pt x="63" y="146"/>
                    <a:pt x="65" y="146"/>
                    <a:pt x="64" y="147"/>
                  </a:cubicBezTo>
                  <a:cubicBezTo>
                    <a:pt x="64" y="148"/>
                    <a:pt x="62" y="148"/>
                    <a:pt x="61" y="149"/>
                  </a:cubicBezTo>
                  <a:cubicBezTo>
                    <a:pt x="60" y="149"/>
                    <a:pt x="60" y="150"/>
                    <a:pt x="60" y="151"/>
                  </a:cubicBezTo>
                  <a:cubicBezTo>
                    <a:pt x="59" y="152"/>
                    <a:pt x="59" y="151"/>
                    <a:pt x="59" y="150"/>
                  </a:cubicBezTo>
                  <a:cubicBezTo>
                    <a:pt x="58" y="150"/>
                    <a:pt x="58" y="149"/>
                    <a:pt x="58" y="148"/>
                  </a:cubicBezTo>
                  <a:cubicBezTo>
                    <a:pt x="58" y="147"/>
                    <a:pt x="55" y="147"/>
                    <a:pt x="55" y="148"/>
                  </a:cubicBezTo>
                  <a:cubicBezTo>
                    <a:pt x="54" y="148"/>
                    <a:pt x="54" y="149"/>
                    <a:pt x="54" y="149"/>
                  </a:cubicBezTo>
                  <a:cubicBezTo>
                    <a:pt x="53" y="149"/>
                    <a:pt x="52" y="149"/>
                    <a:pt x="51" y="149"/>
                  </a:cubicBezTo>
                  <a:cubicBezTo>
                    <a:pt x="49" y="149"/>
                    <a:pt x="48" y="149"/>
                    <a:pt x="46" y="148"/>
                  </a:cubicBezTo>
                  <a:cubicBezTo>
                    <a:pt x="46" y="148"/>
                    <a:pt x="46" y="147"/>
                    <a:pt x="45" y="146"/>
                  </a:cubicBezTo>
                  <a:cubicBezTo>
                    <a:pt x="45" y="146"/>
                    <a:pt x="45" y="144"/>
                    <a:pt x="45" y="143"/>
                  </a:cubicBezTo>
                  <a:cubicBezTo>
                    <a:pt x="44" y="142"/>
                    <a:pt x="42" y="141"/>
                    <a:pt x="41" y="141"/>
                  </a:cubicBezTo>
                  <a:cubicBezTo>
                    <a:pt x="41" y="141"/>
                    <a:pt x="40" y="141"/>
                    <a:pt x="40" y="141"/>
                  </a:cubicBezTo>
                  <a:cubicBezTo>
                    <a:pt x="39" y="140"/>
                    <a:pt x="39" y="139"/>
                    <a:pt x="39" y="138"/>
                  </a:cubicBezTo>
                  <a:cubicBezTo>
                    <a:pt x="39" y="137"/>
                    <a:pt x="39" y="136"/>
                    <a:pt x="39" y="134"/>
                  </a:cubicBezTo>
                  <a:cubicBezTo>
                    <a:pt x="40" y="133"/>
                    <a:pt x="40" y="131"/>
                    <a:pt x="41" y="130"/>
                  </a:cubicBezTo>
                  <a:cubicBezTo>
                    <a:pt x="41" y="129"/>
                    <a:pt x="41" y="128"/>
                    <a:pt x="42" y="126"/>
                  </a:cubicBezTo>
                  <a:cubicBezTo>
                    <a:pt x="43" y="124"/>
                    <a:pt x="43" y="122"/>
                    <a:pt x="43" y="119"/>
                  </a:cubicBezTo>
                  <a:cubicBezTo>
                    <a:pt x="43" y="119"/>
                    <a:pt x="43" y="118"/>
                    <a:pt x="43" y="117"/>
                  </a:cubicBezTo>
                  <a:cubicBezTo>
                    <a:pt x="42" y="115"/>
                    <a:pt x="40" y="116"/>
                    <a:pt x="40" y="117"/>
                  </a:cubicBezTo>
                  <a:cubicBezTo>
                    <a:pt x="39" y="119"/>
                    <a:pt x="39" y="121"/>
                    <a:pt x="39" y="122"/>
                  </a:cubicBezTo>
                  <a:cubicBezTo>
                    <a:pt x="40" y="124"/>
                    <a:pt x="39" y="124"/>
                    <a:pt x="38" y="125"/>
                  </a:cubicBezTo>
                  <a:cubicBezTo>
                    <a:pt x="37" y="127"/>
                    <a:pt x="37" y="130"/>
                    <a:pt x="36" y="132"/>
                  </a:cubicBezTo>
                  <a:cubicBezTo>
                    <a:pt x="36" y="134"/>
                    <a:pt x="36" y="134"/>
                    <a:pt x="36" y="136"/>
                  </a:cubicBezTo>
                  <a:cubicBezTo>
                    <a:pt x="36" y="136"/>
                    <a:pt x="37" y="138"/>
                    <a:pt x="36" y="139"/>
                  </a:cubicBezTo>
                  <a:cubicBezTo>
                    <a:pt x="35" y="138"/>
                    <a:pt x="34" y="135"/>
                    <a:pt x="33" y="133"/>
                  </a:cubicBezTo>
                  <a:cubicBezTo>
                    <a:pt x="33" y="132"/>
                    <a:pt x="33" y="130"/>
                    <a:pt x="33" y="129"/>
                  </a:cubicBezTo>
                  <a:cubicBezTo>
                    <a:pt x="33" y="126"/>
                    <a:pt x="33" y="124"/>
                    <a:pt x="33" y="121"/>
                  </a:cubicBezTo>
                  <a:cubicBezTo>
                    <a:pt x="33" y="118"/>
                    <a:pt x="31" y="114"/>
                    <a:pt x="30" y="112"/>
                  </a:cubicBezTo>
                  <a:cubicBezTo>
                    <a:pt x="29" y="111"/>
                    <a:pt x="28" y="110"/>
                    <a:pt x="28" y="109"/>
                  </a:cubicBezTo>
                  <a:cubicBezTo>
                    <a:pt x="27" y="108"/>
                    <a:pt x="26" y="107"/>
                    <a:pt x="26" y="106"/>
                  </a:cubicBezTo>
                  <a:cubicBezTo>
                    <a:pt x="24" y="104"/>
                    <a:pt x="22" y="103"/>
                    <a:pt x="20" y="105"/>
                  </a:cubicBezTo>
                  <a:cubicBezTo>
                    <a:pt x="19" y="107"/>
                    <a:pt x="18" y="109"/>
                    <a:pt x="17" y="110"/>
                  </a:cubicBezTo>
                  <a:cubicBezTo>
                    <a:pt x="17" y="112"/>
                    <a:pt x="18" y="114"/>
                    <a:pt x="18" y="115"/>
                  </a:cubicBezTo>
                  <a:cubicBezTo>
                    <a:pt x="18" y="117"/>
                    <a:pt x="18" y="118"/>
                    <a:pt x="20" y="119"/>
                  </a:cubicBezTo>
                  <a:cubicBezTo>
                    <a:pt x="20" y="119"/>
                    <a:pt x="21" y="120"/>
                    <a:pt x="21" y="121"/>
                  </a:cubicBezTo>
                  <a:cubicBezTo>
                    <a:pt x="21" y="121"/>
                    <a:pt x="21" y="122"/>
                    <a:pt x="21" y="123"/>
                  </a:cubicBezTo>
                  <a:cubicBezTo>
                    <a:pt x="21" y="123"/>
                    <a:pt x="23" y="124"/>
                    <a:pt x="22" y="125"/>
                  </a:cubicBezTo>
                  <a:cubicBezTo>
                    <a:pt x="22" y="125"/>
                    <a:pt x="21" y="124"/>
                    <a:pt x="20" y="123"/>
                  </a:cubicBezTo>
                  <a:cubicBezTo>
                    <a:pt x="20" y="123"/>
                    <a:pt x="20" y="123"/>
                    <a:pt x="19" y="123"/>
                  </a:cubicBezTo>
                  <a:cubicBezTo>
                    <a:pt x="18" y="123"/>
                    <a:pt x="17" y="124"/>
                    <a:pt x="16" y="123"/>
                  </a:cubicBezTo>
                  <a:cubicBezTo>
                    <a:pt x="15" y="123"/>
                    <a:pt x="14" y="122"/>
                    <a:pt x="14" y="121"/>
                  </a:cubicBezTo>
                  <a:cubicBezTo>
                    <a:pt x="13" y="120"/>
                    <a:pt x="12" y="120"/>
                    <a:pt x="11" y="119"/>
                  </a:cubicBezTo>
                  <a:cubicBezTo>
                    <a:pt x="11" y="119"/>
                    <a:pt x="10" y="118"/>
                    <a:pt x="10" y="118"/>
                  </a:cubicBezTo>
                  <a:cubicBezTo>
                    <a:pt x="9" y="117"/>
                    <a:pt x="9" y="117"/>
                    <a:pt x="9" y="116"/>
                  </a:cubicBezTo>
                  <a:cubicBezTo>
                    <a:pt x="8" y="115"/>
                    <a:pt x="8" y="113"/>
                    <a:pt x="7" y="113"/>
                  </a:cubicBezTo>
                  <a:cubicBezTo>
                    <a:pt x="6" y="114"/>
                    <a:pt x="6" y="116"/>
                    <a:pt x="6" y="117"/>
                  </a:cubicBezTo>
                  <a:cubicBezTo>
                    <a:pt x="7" y="118"/>
                    <a:pt x="7" y="119"/>
                    <a:pt x="8" y="120"/>
                  </a:cubicBezTo>
                  <a:cubicBezTo>
                    <a:pt x="8" y="121"/>
                    <a:pt x="7" y="123"/>
                    <a:pt x="8" y="123"/>
                  </a:cubicBezTo>
                  <a:cubicBezTo>
                    <a:pt x="8" y="123"/>
                    <a:pt x="8" y="123"/>
                    <a:pt x="8" y="123"/>
                  </a:cubicBezTo>
                  <a:cubicBezTo>
                    <a:pt x="7" y="124"/>
                    <a:pt x="8" y="126"/>
                    <a:pt x="8" y="127"/>
                  </a:cubicBezTo>
                  <a:cubicBezTo>
                    <a:pt x="8" y="127"/>
                    <a:pt x="8" y="128"/>
                    <a:pt x="8" y="129"/>
                  </a:cubicBezTo>
                  <a:cubicBezTo>
                    <a:pt x="8" y="129"/>
                    <a:pt x="9" y="130"/>
                    <a:pt x="8" y="131"/>
                  </a:cubicBezTo>
                  <a:cubicBezTo>
                    <a:pt x="7" y="132"/>
                    <a:pt x="5" y="128"/>
                    <a:pt x="4" y="127"/>
                  </a:cubicBezTo>
                  <a:cubicBezTo>
                    <a:pt x="4" y="126"/>
                    <a:pt x="3" y="123"/>
                    <a:pt x="1" y="123"/>
                  </a:cubicBezTo>
                  <a:cubicBezTo>
                    <a:pt x="1" y="124"/>
                    <a:pt x="1" y="124"/>
                    <a:pt x="1" y="125"/>
                  </a:cubicBezTo>
                  <a:cubicBezTo>
                    <a:pt x="1" y="125"/>
                    <a:pt x="0" y="126"/>
                    <a:pt x="0" y="126"/>
                  </a:cubicBezTo>
                  <a:cubicBezTo>
                    <a:pt x="0" y="129"/>
                    <a:pt x="0" y="131"/>
                    <a:pt x="0" y="133"/>
                  </a:cubicBezTo>
                  <a:cubicBezTo>
                    <a:pt x="0" y="135"/>
                    <a:pt x="0" y="136"/>
                    <a:pt x="2" y="137"/>
                  </a:cubicBezTo>
                  <a:cubicBezTo>
                    <a:pt x="2" y="138"/>
                    <a:pt x="3" y="139"/>
                    <a:pt x="4" y="139"/>
                  </a:cubicBezTo>
                  <a:cubicBezTo>
                    <a:pt x="5" y="140"/>
                    <a:pt x="6" y="140"/>
                    <a:pt x="7" y="140"/>
                  </a:cubicBezTo>
                  <a:cubicBezTo>
                    <a:pt x="8" y="140"/>
                    <a:pt x="8" y="140"/>
                    <a:pt x="9" y="139"/>
                  </a:cubicBezTo>
                  <a:cubicBezTo>
                    <a:pt x="9" y="138"/>
                    <a:pt x="10" y="136"/>
                    <a:pt x="12" y="136"/>
                  </a:cubicBezTo>
                  <a:cubicBezTo>
                    <a:pt x="13" y="136"/>
                    <a:pt x="15" y="137"/>
                    <a:pt x="16" y="138"/>
                  </a:cubicBezTo>
                  <a:cubicBezTo>
                    <a:pt x="16" y="138"/>
                    <a:pt x="16" y="139"/>
                    <a:pt x="16" y="139"/>
                  </a:cubicBezTo>
                  <a:cubicBezTo>
                    <a:pt x="17" y="139"/>
                    <a:pt x="17" y="139"/>
                    <a:pt x="18" y="140"/>
                  </a:cubicBezTo>
                  <a:cubicBezTo>
                    <a:pt x="19" y="141"/>
                    <a:pt x="21" y="142"/>
                    <a:pt x="22" y="144"/>
                  </a:cubicBezTo>
                  <a:cubicBezTo>
                    <a:pt x="20" y="144"/>
                    <a:pt x="19" y="143"/>
                    <a:pt x="17" y="143"/>
                  </a:cubicBezTo>
                  <a:cubicBezTo>
                    <a:pt x="17" y="143"/>
                    <a:pt x="14" y="141"/>
                    <a:pt x="13" y="141"/>
                  </a:cubicBezTo>
                  <a:cubicBezTo>
                    <a:pt x="12" y="141"/>
                    <a:pt x="12" y="143"/>
                    <a:pt x="12" y="144"/>
                  </a:cubicBezTo>
                  <a:cubicBezTo>
                    <a:pt x="11" y="148"/>
                    <a:pt x="14" y="150"/>
                    <a:pt x="17" y="153"/>
                  </a:cubicBezTo>
                  <a:cubicBezTo>
                    <a:pt x="18" y="154"/>
                    <a:pt x="19" y="155"/>
                    <a:pt x="20" y="156"/>
                  </a:cubicBezTo>
                  <a:cubicBezTo>
                    <a:pt x="20" y="157"/>
                    <a:pt x="21" y="157"/>
                    <a:pt x="21" y="158"/>
                  </a:cubicBezTo>
                  <a:cubicBezTo>
                    <a:pt x="22" y="159"/>
                    <a:pt x="23" y="160"/>
                    <a:pt x="26" y="160"/>
                  </a:cubicBezTo>
                  <a:cubicBezTo>
                    <a:pt x="27" y="160"/>
                    <a:pt x="27" y="160"/>
                    <a:pt x="28" y="159"/>
                  </a:cubicBezTo>
                  <a:cubicBezTo>
                    <a:pt x="28" y="159"/>
                    <a:pt x="29" y="159"/>
                    <a:pt x="30" y="159"/>
                  </a:cubicBezTo>
                  <a:cubicBezTo>
                    <a:pt x="30" y="159"/>
                    <a:pt x="30" y="158"/>
                    <a:pt x="31" y="158"/>
                  </a:cubicBezTo>
                  <a:cubicBezTo>
                    <a:pt x="32" y="158"/>
                    <a:pt x="32" y="158"/>
                    <a:pt x="33" y="159"/>
                  </a:cubicBezTo>
                  <a:cubicBezTo>
                    <a:pt x="33" y="159"/>
                    <a:pt x="33" y="160"/>
                    <a:pt x="33" y="160"/>
                  </a:cubicBezTo>
                  <a:cubicBezTo>
                    <a:pt x="34" y="160"/>
                    <a:pt x="35" y="160"/>
                    <a:pt x="36" y="160"/>
                  </a:cubicBezTo>
                  <a:cubicBezTo>
                    <a:pt x="37" y="159"/>
                    <a:pt x="40" y="158"/>
                    <a:pt x="42" y="159"/>
                  </a:cubicBezTo>
                  <a:cubicBezTo>
                    <a:pt x="44" y="160"/>
                    <a:pt x="38" y="165"/>
                    <a:pt x="38" y="167"/>
                  </a:cubicBezTo>
                  <a:cubicBezTo>
                    <a:pt x="38" y="168"/>
                    <a:pt x="38" y="169"/>
                    <a:pt x="39" y="170"/>
                  </a:cubicBezTo>
                  <a:cubicBezTo>
                    <a:pt x="40" y="170"/>
                    <a:pt x="40" y="171"/>
                    <a:pt x="41" y="171"/>
                  </a:cubicBezTo>
                  <a:cubicBezTo>
                    <a:pt x="42" y="172"/>
                    <a:pt x="43" y="171"/>
                    <a:pt x="44" y="171"/>
                  </a:cubicBezTo>
                  <a:cubicBezTo>
                    <a:pt x="46" y="170"/>
                    <a:pt x="47" y="169"/>
                    <a:pt x="48" y="168"/>
                  </a:cubicBezTo>
                  <a:cubicBezTo>
                    <a:pt x="50" y="167"/>
                    <a:pt x="49" y="166"/>
                    <a:pt x="50" y="164"/>
                  </a:cubicBezTo>
                  <a:cubicBezTo>
                    <a:pt x="50" y="163"/>
                    <a:pt x="51" y="161"/>
                    <a:pt x="52" y="160"/>
                  </a:cubicBezTo>
                  <a:cubicBezTo>
                    <a:pt x="53" y="159"/>
                    <a:pt x="53" y="159"/>
                    <a:pt x="54" y="158"/>
                  </a:cubicBezTo>
                  <a:cubicBezTo>
                    <a:pt x="54" y="158"/>
                    <a:pt x="55" y="157"/>
                    <a:pt x="55" y="156"/>
                  </a:cubicBezTo>
                  <a:cubicBezTo>
                    <a:pt x="56" y="155"/>
                    <a:pt x="58" y="154"/>
                    <a:pt x="59" y="154"/>
                  </a:cubicBezTo>
                  <a:cubicBezTo>
                    <a:pt x="59" y="154"/>
                    <a:pt x="59" y="154"/>
                    <a:pt x="59" y="154"/>
                  </a:cubicBezTo>
                  <a:cubicBezTo>
                    <a:pt x="60" y="156"/>
                    <a:pt x="56" y="157"/>
                    <a:pt x="58" y="159"/>
                  </a:cubicBezTo>
                  <a:cubicBezTo>
                    <a:pt x="59" y="159"/>
                    <a:pt x="60" y="159"/>
                    <a:pt x="60" y="160"/>
                  </a:cubicBezTo>
                  <a:cubicBezTo>
                    <a:pt x="61" y="160"/>
                    <a:pt x="61" y="161"/>
                    <a:pt x="62" y="162"/>
                  </a:cubicBezTo>
                  <a:cubicBezTo>
                    <a:pt x="63" y="163"/>
                    <a:pt x="64" y="163"/>
                    <a:pt x="66" y="163"/>
                  </a:cubicBezTo>
                  <a:cubicBezTo>
                    <a:pt x="67" y="163"/>
                    <a:pt x="67" y="163"/>
                    <a:pt x="68" y="164"/>
                  </a:cubicBezTo>
                  <a:cubicBezTo>
                    <a:pt x="69" y="166"/>
                    <a:pt x="66" y="165"/>
                    <a:pt x="65" y="165"/>
                  </a:cubicBezTo>
                  <a:cubicBezTo>
                    <a:pt x="64" y="165"/>
                    <a:pt x="64" y="165"/>
                    <a:pt x="64" y="164"/>
                  </a:cubicBezTo>
                  <a:cubicBezTo>
                    <a:pt x="62" y="164"/>
                    <a:pt x="62" y="163"/>
                    <a:pt x="60" y="163"/>
                  </a:cubicBezTo>
                  <a:cubicBezTo>
                    <a:pt x="60" y="163"/>
                    <a:pt x="59" y="163"/>
                    <a:pt x="59" y="163"/>
                  </a:cubicBezTo>
                  <a:cubicBezTo>
                    <a:pt x="58" y="163"/>
                    <a:pt x="57" y="162"/>
                    <a:pt x="56" y="162"/>
                  </a:cubicBezTo>
                  <a:cubicBezTo>
                    <a:pt x="56" y="163"/>
                    <a:pt x="55" y="164"/>
                    <a:pt x="55" y="165"/>
                  </a:cubicBezTo>
                  <a:cubicBezTo>
                    <a:pt x="54" y="166"/>
                    <a:pt x="54" y="167"/>
                    <a:pt x="54" y="168"/>
                  </a:cubicBezTo>
                  <a:cubicBezTo>
                    <a:pt x="54" y="171"/>
                    <a:pt x="57" y="171"/>
                    <a:pt x="59" y="172"/>
                  </a:cubicBezTo>
                  <a:cubicBezTo>
                    <a:pt x="59" y="173"/>
                    <a:pt x="60" y="173"/>
                    <a:pt x="60" y="174"/>
                  </a:cubicBezTo>
                  <a:cubicBezTo>
                    <a:pt x="61" y="174"/>
                    <a:pt x="61" y="175"/>
                    <a:pt x="61" y="175"/>
                  </a:cubicBezTo>
                  <a:cubicBezTo>
                    <a:pt x="60" y="175"/>
                    <a:pt x="59" y="175"/>
                    <a:pt x="58" y="175"/>
                  </a:cubicBezTo>
                  <a:cubicBezTo>
                    <a:pt x="57" y="174"/>
                    <a:pt x="57" y="173"/>
                    <a:pt x="55" y="173"/>
                  </a:cubicBezTo>
                  <a:cubicBezTo>
                    <a:pt x="53" y="173"/>
                    <a:pt x="51" y="174"/>
                    <a:pt x="49" y="174"/>
                  </a:cubicBezTo>
                  <a:cubicBezTo>
                    <a:pt x="49" y="175"/>
                    <a:pt x="48" y="175"/>
                    <a:pt x="48" y="176"/>
                  </a:cubicBezTo>
                  <a:cubicBezTo>
                    <a:pt x="47" y="177"/>
                    <a:pt x="48" y="177"/>
                    <a:pt x="49" y="178"/>
                  </a:cubicBezTo>
                  <a:cubicBezTo>
                    <a:pt x="50" y="178"/>
                    <a:pt x="52" y="179"/>
                    <a:pt x="50" y="180"/>
                  </a:cubicBezTo>
                  <a:cubicBezTo>
                    <a:pt x="50" y="180"/>
                    <a:pt x="49" y="179"/>
                    <a:pt x="49" y="180"/>
                  </a:cubicBezTo>
                  <a:cubicBezTo>
                    <a:pt x="49" y="180"/>
                    <a:pt x="49" y="180"/>
                    <a:pt x="49" y="181"/>
                  </a:cubicBezTo>
                  <a:cubicBezTo>
                    <a:pt x="48" y="181"/>
                    <a:pt x="48" y="181"/>
                    <a:pt x="48" y="182"/>
                  </a:cubicBezTo>
                  <a:cubicBezTo>
                    <a:pt x="48" y="182"/>
                    <a:pt x="48" y="182"/>
                    <a:pt x="48" y="183"/>
                  </a:cubicBezTo>
                  <a:cubicBezTo>
                    <a:pt x="48" y="184"/>
                    <a:pt x="47" y="183"/>
                    <a:pt x="46" y="183"/>
                  </a:cubicBezTo>
                  <a:cubicBezTo>
                    <a:pt x="45" y="184"/>
                    <a:pt x="43" y="186"/>
                    <a:pt x="44" y="187"/>
                  </a:cubicBezTo>
                  <a:cubicBezTo>
                    <a:pt x="45" y="188"/>
                    <a:pt x="47" y="186"/>
                    <a:pt x="47" y="186"/>
                  </a:cubicBezTo>
                  <a:cubicBezTo>
                    <a:pt x="48" y="186"/>
                    <a:pt x="50" y="185"/>
                    <a:pt x="51" y="185"/>
                  </a:cubicBezTo>
                  <a:cubicBezTo>
                    <a:pt x="53" y="186"/>
                    <a:pt x="54" y="188"/>
                    <a:pt x="54" y="189"/>
                  </a:cubicBezTo>
                  <a:cubicBezTo>
                    <a:pt x="52" y="190"/>
                    <a:pt x="49" y="189"/>
                    <a:pt x="48" y="190"/>
                  </a:cubicBezTo>
                  <a:cubicBezTo>
                    <a:pt x="47" y="191"/>
                    <a:pt x="47" y="192"/>
                    <a:pt x="47" y="192"/>
                  </a:cubicBezTo>
                  <a:cubicBezTo>
                    <a:pt x="46" y="194"/>
                    <a:pt x="47" y="195"/>
                    <a:pt x="46" y="196"/>
                  </a:cubicBezTo>
                  <a:cubicBezTo>
                    <a:pt x="45" y="196"/>
                    <a:pt x="44" y="197"/>
                    <a:pt x="44" y="198"/>
                  </a:cubicBezTo>
                  <a:cubicBezTo>
                    <a:pt x="44" y="198"/>
                    <a:pt x="44" y="196"/>
                    <a:pt x="43" y="196"/>
                  </a:cubicBezTo>
                  <a:cubicBezTo>
                    <a:pt x="42" y="196"/>
                    <a:pt x="42" y="197"/>
                    <a:pt x="41" y="197"/>
                  </a:cubicBezTo>
                  <a:cubicBezTo>
                    <a:pt x="40" y="197"/>
                    <a:pt x="39" y="197"/>
                    <a:pt x="39" y="197"/>
                  </a:cubicBezTo>
                  <a:cubicBezTo>
                    <a:pt x="38" y="198"/>
                    <a:pt x="38" y="198"/>
                    <a:pt x="38" y="198"/>
                  </a:cubicBezTo>
                  <a:cubicBezTo>
                    <a:pt x="37" y="198"/>
                    <a:pt x="35" y="198"/>
                    <a:pt x="34" y="198"/>
                  </a:cubicBezTo>
                  <a:cubicBezTo>
                    <a:pt x="33" y="198"/>
                    <a:pt x="33" y="198"/>
                    <a:pt x="32" y="198"/>
                  </a:cubicBezTo>
                  <a:cubicBezTo>
                    <a:pt x="30" y="197"/>
                    <a:pt x="28" y="200"/>
                    <a:pt x="26" y="201"/>
                  </a:cubicBezTo>
                  <a:cubicBezTo>
                    <a:pt x="24" y="203"/>
                    <a:pt x="24" y="203"/>
                    <a:pt x="26" y="204"/>
                  </a:cubicBezTo>
                  <a:cubicBezTo>
                    <a:pt x="28" y="204"/>
                    <a:pt x="30" y="204"/>
                    <a:pt x="32" y="205"/>
                  </a:cubicBezTo>
                  <a:cubicBezTo>
                    <a:pt x="32" y="207"/>
                    <a:pt x="35" y="205"/>
                    <a:pt x="36" y="205"/>
                  </a:cubicBezTo>
                  <a:cubicBezTo>
                    <a:pt x="36" y="207"/>
                    <a:pt x="39" y="207"/>
                    <a:pt x="40" y="207"/>
                  </a:cubicBezTo>
                  <a:cubicBezTo>
                    <a:pt x="42" y="207"/>
                    <a:pt x="44" y="207"/>
                    <a:pt x="45" y="207"/>
                  </a:cubicBezTo>
                  <a:cubicBezTo>
                    <a:pt x="46" y="206"/>
                    <a:pt x="46" y="206"/>
                    <a:pt x="47" y="206"/>
                  </a:cubicBezTo>
                  <a:cubicBezTo>
                    <a:pt x="49" y="207"/>
                    <a:pt x="51" y="206"/>
                    <a:pt x="52" y="206"/>
                  </a:cubicBezTo>
                  <a:cubicBezTo>
                    <a:pt x="55" y="206"/>
                    <a:pt x="57" y="207"/>
                    <a:pt x="59" y="207"/>
                  </a:cubicBezTo>
                  <a:cubicBezTo>
                    <a:pt x="58" y="209"/>
                    <a:pt x="52" y="208"/>
                    <a:pt x="50" y="208"/>
                  </a:cubicBezTo>
                  <a:cubicBezTo>
                    <a:pt x="49" y="208"/>
                    <a:pt x="48" y="207"/>
                    <a:pt x="46" y="207"/>
                  </a:cubicBezTo>
                  <a:cubicBezTo>
                    <a:pt x="45" y="208"/>
                    <a:pt x="44" y="209"/>
                    <a:pt x="43" y="209"/>
                  </a:cubicBezTo>
                  <a:cubicBezTo>
                    <a:pt x="43" y="210"/>
                    <a:pt x="42" y="210"/>
                    <a:pt x="42" y="210"/>
                  </a:cubicBezTo>
                  <a:cubicBezTo>
                    <a:pt x="41" y="211"/>
                    <a:pt x="40" y="210"/>
                    <a:pt x="39" y="210"/>
                  </a:cubicBezTo>
                  <a:cubicBezTo>
                    <a:pt x="38" y="211"/>
                    <a:pt x="38" y="213"/>
                    <a:pt x="39" y="213"/>
                  </a:cubicBezTo>
                  <a:cubicBezTo>
                    <a:pt x="40" y="214"/>
                    <a:pt x="40" y="214"/>
                    <a:pt x="41" y="214"/>
                  </a:cubicBezTo>
                  <a:cubicBezTo>
                    <a:pt x="42" y="215"/>
                    <a:pt x="42" y="214"/>
                    <a:pt x="42" y="216"/>
                  </a:cubicBezTo>
                  <a:cubicBezTo>
                    <a:pt x="42" y="216"/>
                    <a:pt x="42" y="217"/>
                    <a:pt x="43" y="217"/>
                  </a:cubicBezTo>
                  <a:cubicBezTo>
                    <a:pt x="44" y="218"/>
                    <a:pt x="44" y="218"/>
                    <a:pt x="45" y="218"/>
                  </a:cubicBezTo>
                  <a:cubicBezTo>
                    <a:pt x="46" y="218"/>
                    <a:pt x="47" y="219"/>
                    <a:pt x="48" y="219"/>
                  </a:cubicBezTo>
                  <a:cubicBezTo>
                    <a:pt x="49" y="220"/>
                    <a:pt x="50" y="220"/>
                    <a:pt x="50" y="220"/>
                  </a:cubicBezTo>
                  <a:cubicBezTo>
                    <a:pt x="51" y="220"/>
                    <a:pt x="52" y="221"/>
                    <a:pt x="52" y="220"/>
                  </a:cubicBezTo>
                  <a:cubicBezTo>
                    <a:pt x="54" y="221"/>
                    <a:pt x="54" y="222"/>
                    <a:pt x="56" y="222"/>
                  </a:cubicBezTo>
                  <a:cubicBezTo>
                    <a:pt x="57" y="222"/>
                    <a:pt x="58" y="222"/>
                    <a:pt x="58" y="223"/>
                  </a:cubicBezTo>
                  <a:cubicBezTo>
                    <a:pt x="59" y="224"/>
                    <a:pt x="59" y="225"/>
                    <a:pt x="57" y="225"/>
                  </a:cubicBezTo>
                  <a:cubicBezTo>
                    <a:pt x="57" y="225"/>
                    <a:pt x="56" y="225"/>
                    <a:pt x="55" y="224"/>
                  </a:cubicBezTo>
                  <a:cubicBezTo>
                    <a:pt x="54" y="224"/>
                    <a:pt x="54" y="224"/>
                    <a:pt x="53" y="223"/>
                  </a:cubicBezTo>
                  <a:cubicBezTo>
                    <a:pt x="52" y="222"/>
                    <a:pt x="50" y="222"/>
                    <a:pt x="49" y="221"/>
                  </a:cubicBezTo>
                  <a:cubicBezTo>
                    <a:pt x="47" y="220"/>
                    <a:pt x="46" y="220"/>
                    <a:pt x="44" y="219"/>
                  </a:cubicBezTo>
                  <a:cubicBezTo>
                    <a:pt x="43" y="218"/>
                    <a:pt x="43" y="218"/>
                    <a:pt x="42" y="218"/>
                  </a:cubicBezTo>
                  <a:cubicBezTo>
                    <a:pt x="41" y="217"/>
                    <a:pt x="41" y="217"/>
                    <a:pt x="41" y="217"/>
                  </a:cubicBezTo>
                  <a:cubicBezTo>
                    <a:pt x="41" y="217"/>
                    <a:pt x="41" y="216"/>
                    <a:pt x="40" y="215"/>
                  </a:cubicBezTo>
                  <a:cubicBezTo>
                    <a:pt x="39" y="214"/>
                    <a:pt x="38" y="214"/>
                    <a:pt x="38" y="213"/>
                  </a:cubicBezTo>
                  <a:cubicBezTo>
                    <a:pt x="37" y="212"/>
                    <a:pt x="37" y="211"/>
                    <a:pt x="36" y="211"/>
                  </a:cubicBezTo>
                  <a:cubicBezTo>
                    <a:pt x="35" y="210"/>
                    <a:pt x="34" y="210"/>
                    <a:pt x="33" y="210"/>
                  </a:cubicBezTo>
                  <a:cubicBezTo>
                    <a:pt x="30" y="209"/>
                    <a:pt x="28" y="212"/>
                    <a:pt x="26" y="213"/>
                  </a:cubicBezTo>
                  <a:cubicBezTo>
                    <a:pt x="25" y="214"/>
                    <a:pt x="24" y="215"/>
                    <a:pt x="23" y="216"/>
                  </a:cubicBezTo>
                  <a:cubicBezTo>
                    <a:pt x="23" y="216"/>
                    <a:pt x="22" y="218"/>
                    <a:pt x="23" y="219"/>
                  </a:cubicBezTo>
                  <a:cubicBezTo>
                    <a:pt x="23" y="220"/>
                    <a:pt x="25" y="221"/>
                    <a:pt x="26" y="221"/>
                  </a:cubicBezTo>
                  <a:cubicBezTo>
                    <a:pt x="27" y="222"/>
                    <a:pt x="29" y="221"/>
                    <a:pt x="30" y="222"/>
                  </a:cubicBezTo>
                  <a:cubicBezTo>
                    <a:pt x="31" y="222"/>
                    <a:pt x="30" y="223"/>
                    <a:pt x="31" y="222"/>
                  </a:cubicBezTo>
                  <a:cubicBezTo>
                    <a:pt x="31" y="223"/>
                    <a:pt x="31" y="225"/>
                    <a:pt x="30" y="225"/>
                  </a:cubicBezTo>
                  <a:cubicBezTo>
                    <a:pt x="30" y="225"/>
                    <a:pt x="28" y="225"/>
                    <a:pt x="27" y="225"/>
                  </a:cubicBezTo>
                  <a:cubicBezTo>
                    <a:pt x="25" y="225"/>
                    <a:pt x="22" y="225"/>
                    <a:pt x="22" y="228"/>
                  </a:cubicBezTo>
                  <a:cubicBezTo>
                    <a:pt x="23" y="228"/>
                    <a:pt x="25" y="228"/>
                    <a:pt x="26" y="228"/>
                  </a:cubicBezTo>
                  <a:cubicBezTo>
                    <a:pt x="26" y="228"/>
                    <a:pt x="26" y="228"/>
                    <a:pt x="27" y="229"/>
                  </a:cubicBezTo>
                  <a:cubicBezTo>
                    <a:pt x="27" y="229"/>
                    <a:pt x="28" y="229"/>
                    <a:pt x="28" y="229"/>
                  </a:cubicBezTo>
                  <a:cubicBezTo>
                    <a:pt x="29" y="229"/>
                    <a:pt x="30" y="229"/>
                    <a:pt x="31" y="229"/>
                  </a:cubicBezTo>
                  <a:cubicBezTo>
                    <a:pt x="33" y="228"/>
                    <a:pt x="34" y="227"/>
                    <a:pt x="35" y="226"/>
                  </a:cubicBezTo>
                  <a:cubicBezTo>
                    <a:pt x="36" y="226"/>
                    <a:pt x="39" y="225"/>
                    <a:pt x="39" y="226"/>
                  </a:cubicBezTo>
                  <a:cubicBezTo>
                    <a:pt x="40" y="229"/>
                    <a:pt x="35" y="231"/>
                    <a:pt x="33" y="232"/>
                  </a:cubicBezTo>
                  <a:cubicBezTo>
                    <a:pt x="32" y="233"/>
                    <a:pt x="26" y="237"/>
                    <a:pt x="30" y="238"/>
                  </a:cubicBezTo>
                  <a:cubicBezTo>
                    <a:pt x="31" y="238"/>
                    <a:pt x="34" y="238"/>
                    <a:pt x="36" y="238"/>
                  </a:cubicBezTo>
                  <a:cubicBezTo>
                    <a:pt x="38" y="238"/>
                    <a:pt x="39" y="236"/>
                    <a:pt x="41" y="236"/>
                  </a:cubicBezTo>
                  <a:cubicBezTo>
                    <a:pt x="42" y="240"/>
                    <a:pt x="35" y="240"/>
                    <a:pt x="33" y="240"/>
                  </a:cubicBezTo>
                  <a:cubicBezTo>
                    <a:pt x="30" y="240"/>
                    <a:pt x="26" y="240"/>
                    <a:pt x="23" y="239"/>
                  </a:cubicBezTo>
                  <a:cubicBezTo>
                    <a:pt x="22" y="239"/>
                    <a:pt x="20" y="239"/>
                    <a:pt x="18" y="239"/>
                  </a:cubicBezTo>
                  <a:cubicBezTo>
                    <a:pt x="17" y="240"/>
                    <a:pt x="17" y="242"/>
                    <a:pt x="18" y="243"/>
                  </a:cubicBezTo>
                  <a:cubicBezTo>
                    <a:pt x="22" y="245"/>
                    <a:pt x="25" y="247"/>
                    <a:pt x="29" y="247"/>
                  </a:cubicBezTo>
                  <a:cubicBezTo>
                    <a:pt x="30" y="247"/>
                    <a:pt x="32" y="247"/>
                    <a:pt x="34" y="247"/>
                  </a:cubicBezTo>
                  <a:cubicBezTo>
                    <a:pt x="34" y="247"/>
                    <a:pt x="35" y="246"/>
                    <a:pt x="35" y="246"/>
                  </a:cubicBezTo>
                  <a:cubicBezTo>
                    <a:pt x="37" y="245"/>
                    <a:pt x="39" y="245"/>
                    <a:pt x="40" y="244"/>
                  </a:cubicBezTo>
                  <a:cubicBezTo>
                    <a:pt x="43" y="243"/>
                    <a:pt x="47" y="244"/>
                    <a:pt x="50" y="243"/>
                  </a:cubicBezTo>
                  <a:cubicBezTo>
                    <a:pt x="51" y="242"/>
                    <a:pt x="53" y="241"/>
                    <a:pt x="54" y="241"/>
                  </a:cubicBezTo>
                  <a:cubicBezTo>
                    <a:pt x="56" y="240"/>
                    <a:pt x="58" y="239"/>
                    <a:pt x="59" y="236"/>
                  </a:cubicBezTo>
                  <a:cubicBezTo>
                    <a:pt x="59" y="234"/>
                    <a:pt x="58" y="233"/>
                    <a:pt x="58" y="231"/>
                  </a:cubicBezTo>
                  <a:cubicBezTo>
                    <a:pt x="58" y="230"/>
                    <a:pt x="58" y="228"/>
                    <a:pt x="57" y="228"/>
                  </a:cubicBezTo>
                  <a:cubicBezTo>
                    <a:pt x="57" y="228"/>
                    <a:pt x="56" y="227"/>
                    <a:pt x="56" y="227"/>
                  </a:cubicBezTo>
                  <a:cubicBezTo>
                    <a:pt x="57" y="227"/>
                    <a:pt x="57" y="227"/>
                    <a:pt x="58" y="226"/>
                  </a:cubicBezTo>
                  <a:cubicBezTo>
                    <a:pt x="58" y="226"/>
                    <a:pt x="60" y="226"/>
                    <a:pt x="60" y="226"/>
                  </a:cubicBezTo>
                  <a:cubicBezTo>
                    <a:pt x="60" y="226"/>
                    <a:pt x="61" y="225"/>
                    <a:pt x="61" y="225"/>
                  </a:cubicBezTo>
                  <a:cubicBezTo>
                    <a:pt x="62" y="224"/>
                    <a:pt x="62" y="223"/>
                    <a:pt x="62" y="223"/>
                  </a:cubicBezTo>
                  <a:cubicBezTo>
                    <a:pt x="62" y="222"/>
                    <a:pt x="62" y="222"/>
                    <a:pt x="63" y="221"/>
                  </a:cubicBezTo>
                  <a:cubicBezTo>
                    <a:pt x="64" y="221"/>
                    <a:pt x="64" y="220"/>
                    <a:pt x="64" y="220"/>
                  </a:cubicBezTo>
                  <a:cubicBezTo>
                    <a:pt x="65" y="219"/>
                    <a:pt x="66" y="219"/>
                    <a:pt x="67" y="218"/>
                  </a:cubicBezTo>
                  <a:cubicBezTo>
                    <a:pt x="67" y="217"/>
                    <a:pt x="67" y="215"/>
                    <a:pt x="68" y="214"/>
                  </a:cubicBezTo>
                  <a:cubicBezTo>
                    <a:pt x="69" y="213"/>
                    <a:pt x="70" y="213"/>
                    <a:pt x="71" y="212"/>
                  </a:cubicBezTo>
                  <a:cubicBezTo>
                    <a:pt x="71" y="211"/>
                    <a:pt x="72" y="211"/>
                    <a:pt x="72" y="210"/>
                  </a:cubicBezTo>
                  <a:cubicBezTo>
                    <a:pt x="72" y="210"/>
                    <a:pt x="73" y="209"/>
                    <a:pt x="73" y="209"/>
                  </a:cubicBezTo>
                  <a:cubicBezTo>
                    <a:pt x="73" y="209"/>
                    <a:pt x="73" y="209"/>
                    <a:pt x="74" y="208"/>
                  </a:cubicBezTo>
                  <a:cubicBezTo>
                    <a:pt x="74" y="208"/>
                    <a:pt x="74" y="208"/>
                    <a:pt x="74" y="208"/>
                  </a:cubicBezTo>
                  <a:cubicBezTo>
                    <a:pt x="75" y="207"/>
                    <a:pt x="76" y="207"/>
                    <a:pt x="76" y="206"/>
                  </a:cubicBezTo>
                  <a:cubicBezTo>
                    <a:pt x="78" y="204"/>
                    <a:pt x="84" y="196"/>
                    <a:pt x="85" y="195"/>
                  </a:cubicBezTo>
                  <a:cubicBezTo>
                    <a:pt x="85" y="194"/>
                    <a:pt x="86" y="193"/>
                    <a:pt x="86" y="193"/>
                  </a:cubicBezTo>
                  <a:cubicBezTo>
                    <a:pt x="86" y="193"/>
                    <a:pt x="87" y="193"/>
                    <a:pt x="87" y="192"/>
                  </a:cubicBezTo>
                  <a:cubicBezTo>
                    <a:pt x="87" y="192"/>
                    <a:pt x="87" y="191"/>
                    <a:pt x="87" y="191"/>
                  </a:cubicBezTo>
                  <a:cubicBezTo>
                    <a:pt x="88" y="189"/>
                    <a:pt x="98" y="179"/>
                    <a:pt x="99" y="177"/>
                  </a:cubicBezTo>
                  <a:cubicBezTo>
                    <a:pt x="99" y="176"/>
                    <a:pt x="100" y="176"/>
                    <a:pt x="100" y="175"/>
                  </a:cubicBezTo>
                  <a:cubicBezTo>
                    <a:pt x="101" y="174"/>
                    <a:pt x="102" y="172"/>
                    <a:pt x="101" y="175"/>
                  </a:cubicBezTo>
                  <a:cubicBezTo>
                    <a:pt x="100" y="177"/>
                    <a:pt x="92" y="189"/>
                    <a:pt x="92" y="189"/>
                  </a:cubicBezTo>
                  <a:cubicBezTo>
                    <a:pt x="90" y="190"/>
                    <a:pt x="90" y="191"/>
                    <a:pt x="89" y="192"/>
                  </a:cubicBezTo>
                  <a:cubicBezTo>
                    <a:pt x="86" y="195"/>
                    <a:pt x="85" y="198"/>
                    <a:pt x="82" y="202"/>
                  </a:cubicBezTo>
                  <a:cubicBezTo>
                    <a:pt x="81" y="203"/>
                    <a:pt x="81" y="204"/>
                    <a:pt x="79" y="206"/>
                  </a:cubicBezTo>
                  <a:cubicBezTo>
                    <a:pt x="78" y="208"/>
                    <a:pt x="76" y="209"/>
                    <a:pt x="75" y="211"/>
                  </a:cubicBezTo>
                  <a:cubicBezTo>
                    <a:pt x="72" y="214"/>
                    <a:pt x="72" y="218"/>
                    <a:pt x="70" y="222"/>
                  </a:cubicBezTo>
                  <a:cubicBezTo>
                    <a:pt x="70" y="223"/>
                    <a:pt x="69" y="222"/>
                    <a:pt x="69" y="223"/>
                  </a:cubicBezTo>
                  <a:cubicBezTo>
                    <a:pt x="68" y="224"/>
                    <a:pt x="69" y="226"/>
                    <a:pt x="68" y="226"/>
                  </a:cubicBezTo>
                  <a:cubicBezTo>
                    <a:pt x="68" y="227"/>
                    <a:pt x="68" y="229"/>
                    <a:pt x="68" y="230"/>
                  </a:cubicBezTo>
                  <a:cubicBezTo>
                    <a:pt x="70" y="229"/>
                    <a:pt x="73" y="229"/>
                    <a:pt x="75" y="229"/>
                  </a:cubicBezTo>
                  <a:cubicBezTo>
                    <a:pt x="68" y="231"/>
                    <a:pt x="68" y="231"/>
                    <a:pt x="68" y="231"/>
                  </a:cubicBezTo>
                  <a:cubicBezTo>
                    <a:pt x="68" y="231"/>
                    <a:pt x="68" y="232"/>
                    <a:pt x="68" y="232"/>
                  </a:cubicBezTo>
                  <a:cubicBezTo>
                    <a:pt x="67" y="232"/>
                    <a:pt x="67" y="232"/>
                    <a:pt x="66" y="232"/>
                  </a:cubicBezTo>
                  <a:cubicBezTo>
                    <a:pt x="68" y="231"/>
                    <a:pt x="68" y="231"/>
                    <a:pt x="68" y="231"/>
                  </a:cubicBezTo>
                  <a:cubicBezTo>
                    <a:pt x="68" y="231"/>
                    <a:pt x="68" y="230"/>
                    <a:pt x="68" y="230"/>
                  </a:cubicBezTo>
                  <a:cubicBezTo>
                    <a:pt x="68" y="230"/>
                    <a:pt x="67" y="230"/>
                    <a:pt x="67" y="231"/>
                  </a:cubicBezTo>
                  <a:cubicBezTo>
                    <a:pt x="65" y="232"/>
                    <a:pt x="66" y="233"/>
                    <a:pt x="66" y="236"/>
                  </a:cubicBezTo>
                  <a:cubicBezTo>
                    <a:pt x="62" y="237"/>
                    <a:pt x="63" y="239"/>
                    <a:pt x="61" y="243"/>
                  </a:cubicBezTo>
                  <a:cubicBezTo>
                    <a:pt x="60" y="245"/>
                    <a:pt x="59" y="245"/>
                    <a:pt x="59" y="248"/>
                  </a:cubicBezTo>
                  <a:cubicBezTo>
                    <a:pt x="59" y="250"/>
                    <a:pt x="59" y="252"/>
                    <a:pt x="59" y="254"/>
                  </a:cubicBezTo>
                  <a:cubicBezTo>
                    <a:pt x="60" y="254"/>
                    <a:pt x="64" y="244"/>
                    <a:pt x="67" y="250"/>
                  </a:cubicBezTo>
                  <a:cubicBezTo>
                    <a:pt x="63" y="252"/>
                    <a:pt x="65" y="255"/>
                    <a:pt x="64" y="258"/>
                  </a:cubicBezTo>
                  <a:cubicBezTo>
                    <a:pt x="64" y="258"/>
                    <a:pt x="63" y="258"/>
                    <a:pt x="63" y="258"/>
                  </a:cubicBezTo>
                  <a:cubicBezTo>
                    <a:pt x="62" y="259"/>
                    <a:pt x="62" y="260"/>
                    <a:pt x="63" y="261"/>
                  </a:cubicBezTo>
                  <a:cubicBezTo>
                    <a:pt x="63" y="262"/>
                    <a:pt x="64" y="262"/>
                    <a:pt x="64" y="262"/>
                  </a:cubicBezTo>
                  <a:cubicBezTo>
                    <a:pt x="64" y="262"/>
                    <a:pt x="64" y="263"/>
                    <a:pt x="64" y="264"/>
                  </a:cubicBezTo>
                  <a:cubicBezTo>
                    <a:pt x="61" y="263"/>
                    <a:pt x="62" y="270"/>
                    <a:pt x="62" y="272"/>
                  </a:cubicBezTo>
                  <a:cubicBezTo>
                    <a:pt x="62" y="275"/>
                    <a:pt x="60" y="277"/>
                    <a:pt x="60" y="280"/>
                  </a:cubicBezTo>
                  <a:cubicBezTo>
                    <a:pt x="60" y="283"/>
                    <a:pt x="60" y="286"/>
                    <a:pt x="60" y="288"/>
                  </a:cubicBezTo>
                  <a:cubicBezTo>
                    <a:pt x="59" y="289"/>
                    <a:pt x="60" y="291"/>
                    <a:pt x="60" y="291"/>
                  </a:cubicBezTo>
                  <a:cubicBezTo>
                    <a:pt x="59" y="292"/>
                    <a:pt x="58" y="292"/>
                    <a:pt x="58" y="293"/>
                  </a:cubicBezTo>
                  <a:cubicBezTo>
                    <a:pt x="57" y="294"/>
                    <a:pt x="57" y="294"/>
                    <a:pt x="57" y="296"/>
                  </a:cubicBezTo>
                  <a:cubicBezTo>
                    <a:pt x="62" y="297"/>
                    <a:pt x="63" y="295"/>
                    <a:pt x="65" y="291"/>
                  </a:cubicBezTo>
                  <a:cubicBezTo>
                    <a:pt x="68" y="287"/>
                    <a:pt x="71" y="285"/>
                    <a:pt x="71" y="280"/>
                  </a:cubicBezTo>
                  <a:cubicBezTo>
                    <a:pt x="71" y="277"/>
                    <a:pt x="70" y="271"/>
                    <a:pt x="71" y="268"/>
                  </a:cubicBezTo>
                  <a:cubicBezTo>
                    <a:pt x="73" y="267"/>
                    <a:pt x="75" y="268"/>
                    <a:pt x="77" y="267"/>
                  </a:cubicBezTo>
                  <a:cubicBezTo>
                    <a:pt x="78" y="267"/>
                    <a:pt x="80" y="266"/>
                    <a:pt x="81" y="265"/>
                  </a:cubicBezTo>
                  <a:cubicBezTo>
                    <a:pt x="83" y="269"/>
                    <a:pt x="78" y="270"/>
                    <a:pt x="76" y="273"/>
                  </a:cubicBezTo>
                  <a:cubicBezTo>
                    <a:pt x="75" y="274"/>
                    <a:pt x="76" y="275"/>
                    <a:pt x="75" y="275"/>
                  </a:cubicBezTo>
                  <a:cubicBezTo>
                    <a:pt x="75" y="276"/>
                    <a:pt x="73" y="276"/>
                    <a:pt x="73" y="277"/>
                  </a:cubicBezTo>
                  <a:cubicBezTo>
                    <a:pt x="72" y="278"/>
                    <a:pt x="72" y="281"/>
                    <a:pt x="72" y="282"/>
                  </a:cubicBezTo>
                  <a:cubicBezTo>
                    <a:pt x="73" y="286"/>
                    <a:pt x="75" y="291"/>
                    <a:pt x="79" y="290"/>
                  </a:cubicBezTo>
                  <a:cubicBezTo>
                    <a:pt x="82" y="289"/>
                    <a:pt x="81" y="290"/>
                    <a:pt x="81" y="286"/>
                  </a:cubicBezTo>
                  <a:cubicBezTo>
                    <a:pt x="82" y="284"/>
                    <a:pt x="83" y="283"/>
                    <a:pt x="86" y="284"/>
                  </a:cubicBezTo>
                  <a:cubicBezTo>
                    <a:pt x="86" y="287"/>
                    <a:pt x="86" y="288"/>
                    <a:pt x="88" y="290"/>
                  </a:cubicBezTo>
                  <a:cubicBezTo>
                    <a:pt x="90" y="292"/>
                    <a:pt x="91" y="294"/>
                    <a:pt x="92" y="296"/>
                  </a:cubicBezTo>
                  <a:cubicBezTo>
                    <a:pt x="93" y="298"/>
                    <a:pt x="94" y="301"/>
                    <a:pt x="95" y="298"/>
                  </a:cubicBezTo>
                  <a:cubicBezTo>
                    <a:pt x="95" y="297"/>
                    <a:pt x="95" y="294"/>
                    <a:pt x="95" y="293"/>
                  </a:cubicBezTo>
                  <a:cubicBezTo>
                    <a:pt x="95" y="291"/>
                    <a:pt x="93" y="290"/>
                    <a:pt x="94" y="288"/>
                  </a:cubicBezTo>
                  <a:cubicBezTo>
                    <a:pt x="95" y="288"/>
                    <a:pt x="96" y="288"/>
                    <a:pt x="98" y="288"/>
                  </a:cubicBezTo>
                  <a:cubicBezTo>
                    <a:pt x="98" y="287"/>
                    <a:pt x="98" y="285"/>
                    <a:pt x="98" y="283"/>
                  </a:cubicBezTo>
                  <a:cubicBezTo>
                    <a:pt x="98" y="280"/>
                    <a:pt x="98" y="279"/>
                    <a:pt x="99" y="277"/>
                  </a:cubicBezTo>
                  <a:cubicBezTo>
                    <a:pt x="100" y="276"/>
                    <a:pt x="100" y="273"/>
                    <a:pt x="101" y="272"/>
                  </a:cubicBezTo>
                  <a:cubicBezTo>
                    <a:pt x="104" y="272"/>
                    <a:pt x="103" y="275"/>
                    <a:pt x="103" y="277"/>
                  </a:cubicBezTo>
                  <a:cubicBezTo>
                    <a:pt x="106" y="277"/>
                    <a:pt x="112" y="275"/>
                    <a:pt x="110" y="279"/>
                  </a:cubicBezTo>
                  <a:cubicBezTo>
                    <a:pt x="108" y="280"/>
                    <a:pt x="105" y="279"/>
                    <a:pt x="103" y="280"/>
                  </a:cubicBezTo>
                  <a:cubicBezTo>
                    <a:pt x="101" y="281"/>
                    <a:pt x="102" y="283"/>
                    <a:pt x="102" y="285"/>
                  </a:cubicBezTo>
                  <a:cubicBezTo>
                    <a:pt x="101" y="288"/>
                    <a:pt x="99" y="288"/>
                    <a:pt x="98" y="290"/>
                  </a:cubicBezTo>
                  <a:cubicBezTo>
                    <a:pt x="97" y="292"/>
                    <a:pt x="97" y="294"/>
                    <a:pt x="97" y="296"/>
                  </a:cubicBezTo>
                  <a:cubicBezTo>
                    <a:pt x="98" y="297"/>
                    <a:pt x="98" y="298"/>
                    <a:pt x="99" y="299"/>
                  </a:cubicBezTo>
                  <a:cubicBezTo>
                    <a:pt x="99" y="300"/>
                    <a:pt x="98" y="301"/>
                    <a:pt x="99" y="301"/>
                  </a:cubicBezTo>
                  <a:cubicBezTo>
                    <a:pt x="99" y="302"/>
                    <a:pt x="100" y="302"/>
                    <a:pt x="100" y="302"/>
                  </a:cubicBezTo>
                  <a:cubicBezTo>
                    <a:pt x="101" y="303"/>
                    <a:pt x="102" y="305"/>
                    <a:pt x="103" y="306"/>
                  </a:cubicBezTo>
                  <a:cubicBezTo>
                    <a:pt x="103" y="307"/>
                    <a:pt x="105" y="307"/>
                    <a:pt x="106" y="308"/>
                  </a:cubicBezTo>
                  <a:cubicBezTo>
                    <a:pt x="107" y="308"/>
                    <a:pt x="108" y="310"/>
                    <a:pt x="110" y="310"/>
                  </a:cubicBezTo>
                  <a:cubicBezTo>
                    <a:pt x="111" y="310"/>
                    <a:pt x="112" y="310"/>
                    <a:pt x="113" y="311"/>
                  </a:cubicBezTo>
                  <a:cubicBezTo>
                    <a:pt x="114" y="312"/>
                    <a:pt x="114" y="319"/>
                    <a:pt x="113" y="320"/>
                  </a:cubicBezTo>
                  <a:cubicBezTo>
                    <a:pt x="110" y="320"/>
                    <a:pt x="109" y="324"/>
                    <a:pt x="108" y="327"/>
                  </a:cubicBezTo>
                  <a:cubicBezTo>
                    <a:pt x="107" y="330"/>
                    <a:pt x="107" y="332"/>
                    <a:pt x="106" y="336"/>
                  </a:cubicBezTo>
                  <a:cubicBezTo>
                    <a:pt x="105" y="341"/>
                    <a:pt x="102" y="347"/>
                    <a:pt x="98" y="351"/>
                  </a:cubicBezTo>
                  <a:cubicBezTo>
                    <a:pt x="97" y="353"/>
                    <a:pt x="95" y="355"/>
                    <a:pt x="93" y="356"/>
                  </a:cubicBezTo>
                  <a:cubicBezTo>
                    <a:pt x="91" y="359"/>
                    <a:pt x="91" y="362"/>
                    <a:pt x="91" y="365"/>
                  </a:cubicBezTo>
                  <a:cubicBezTo>
                    <a:pt x="91" y="369"/>
                    <a:pt x="92" y="377"/>
                    <a:pt x="96" y="379"/>
                  </a:cubicBezTo>
                  <a:cubicBezTo>
                    <a:pt x="93" y="380"/>
                    <a:pt x="92" y="373"/>
                    <a:pt x="91" y="372"/>
                  </a:cubicBezTo>
                  <a:cubicBezTo>
                    <a:pt x="90" y="368"/>
                    <a:pt x="88" y="367"/>
                    <a:pt x="84" y="368"/>
                  </a:cubicBezTo>
                  <a:cubicBezTo>
                    <a:pt x="83" y="371"/>
                    <a:pt x="83" y="374"/>
                    <a:pt x="84" y="377"/>
                  </a:cubicBezTo>
                  <a:cubicBezTo>
                    <a:pt x="85" y="380"/>
                    <a:pt x="87" y="383"/>
                    <a:pt x="89" y="385"/>
                  </a:cubicBezTo>
                  <a:cubicBezTo>
                    <a:pt x="90" y="386"/>
                    <a:pt x="92" y="387"/>
                    <a:pt x="93" y="388"/>
                  </a:cubicBezTo>
                  <a:cubicBezTo>
                    <a:pt x="94" y="390"/>
                    <a:pt x="97" y="405"/>
                    <a:pt x="101" y="403"/>
                  </a:cubicBezTo>
                  <a:cubicBezTo>
                    <a:pt x="102" y="398"/>
                    <a:pt x="99" y="392"/>
                    <a:pt x="99" y="387"/>
                  </a:cubicBezTo>
                  <a:cubicBezTo>
                    <a:pt x="99" y="383"/>
                    <a:pt x="98" y="380"/>
                    <a:pt x="102" y="378"/>
                  </a:cubicBezTo>
                  <a:cubicBezTo>
                    <a:pt x="105" y="377"/>
                    <a:pt x="105" y="378"/>
                    <a:pt x="107" y="381"/>
                  </a:cubicBezTo>
                  <a:cubicBezTo>
                    <a:pt x="107" y="382"/>
                    <a:pt x="109" y="382"/>
                    <a:pt x="109" y="382"/>
                  </a:cubicBezTo>
                  <a:cubicBezTo>
                    <a:pt x="110" y="384"/>
                    <a:pt x="111" y="385"/>
                    <a:pt x="112" y="386"/>
                  </a:cubicBezTo>
                  <a:cubicBezTo>
                    <a:pt x="113" y="388"/>
                    <a:pt x="115" y="389"/>
                    <a:pt x="117" y="390"/>
                  </a:cubicBezTo>
                  <a:cubicBezTo>
                    <a:pt x="121" y="394"/>
                    <a:pt x="123" y="399"/>
                    <a:pt x="130" y="399"/>
                  </a:cubicBezTo>
                  <a:cubicBezTo>
                    <a:pt x="131" y="395"/>
                    <a:pt x="130" y="395"/>
                    <a:pt x="128" y="391"/>
                  </a:cubicBezTo>
                  <a:cubicBezTo>
                    <a:pt x="127" y="388"/>
                    <a:pt x="127" y="385"/>
                    <a:pt x="127" y="381"/>
                  </a:cubicBezTo>
                  <a:cubicBezTo>
                    <a:pt x="127" y="376"/>
                    <a:pt x="130" y="380"/>
                    <a:pt x="133" y="382"/>
                  </a:cubicBezTo>
                  <a:cubicBezTo>
                    <a:pt x="137" y="384"/>
                    <a:pt x="136" y="385"/>
                    <a:pt x="137" y="390"/>
                  </a:cubicBezTo>
                  <a:cubicBezTo>
                    <a:pt x="139" y="390"/>
                    <a:pt x="142" y="391"/>
                    <a:pt x="145" y="391"/>
                  </a:cubicBezTo>
                  <a:cubicBezTo>
                    <a:pt x="145" y="391"/>
                    <a:pt x="147" y="392"/>
                    <a:pt x="147" y="392"/>
                  </a:cubicBezTo>
                  <a:cubicBezTo>
                    <a:pt x="148" y="392"/>
                    <a:pt x="149" y="390"/>
                    <a:pt x="150" y="390"/>
                  </a:cubicBezTo>
                  <a:cubicBezTo>
                    <a:pt x="153" y="389"/>
                    <a:pt x="154" y="390"/>
                    <a:pt x="156" y="388"/>
                  </a:cubicBezTo>
                  <a:cubicBezTo>
                    <a:pt x="158" y="386"/>
                    <a:pt x="158" y="385"/>
                    <a:pt x="160" y="383"/>
                  </a:cubicBezTo>
                  <a:cubicBezTo>
                    <a:pt x="162" y="381"/>
                    <a:pt x="162" y="380"/>
                    <a:pt x="165" y="381"/>
                  </a:cubicBezTo>
                  <a:cubicBezTo>
                    <a:pt x="166" y="381"/>
                    <a:pt x="166" y="382"/>
                    <a:pt x="166" y="383"/>
                  </a:cubicBezTo>
                  <a:cubicBezTo>
                    <a:pt x="167" y="383"/>
                    <a:pt x="168" y="382"/>
                    <a:pt x="168" y="383"/>
                  </a:cubicBezTo>
                  <a:cubicBezTo>
                    <a:pt x="169" y="383"/>
                    <a:pt x="170" y="383"/>
                    <a:pt x="171" y="383"/>
                  </a:cubicBezTo>
                  <a:cubicBezTo>
                    <a:pt x="174" y="382"/>
                    <a:pt x="175" y="381"/>
                    <a:pt x="174" y="378"/>
                  </a:cubicBezTo>
                  <a:cubicBezTo>
                    <a:pt x="174" y="377"/>
                    <a:pt x="172" y="376"/>
                    <a:pt x="171" y="375"/>
                  </a:cubicBezTo>
                  <a:cubicBezTo>
                    <a:pt x="171" y="374"/>
                    <a:pt x="171" y="373"/>
                    <a:pt x="172" y="372"/>
                  </a:cubicBezTo>
                  <a:cubicBezTo>
                    <a:pt x="175" y="371"/>
                    <a:pt x="177" y="372"/>
                    <a:pt x="180" y="372"/>
                  </a:cubicBezTo>
                  <a:cubicBezTo>
                    <a:pt x="183" y="372"/>
                    <a:pt x="185" y="372"/>
                    <a:pt x="187" y="372"/>
                  </a:cubicBezTo>
                  <a:cubicBezTo>
                    <a:pt x="189" y="371"/>
                    <a:pt x="191" y="370"/>
                    <a:pt x="193" y="369"/>
                  </a:cubicBezTo>
                  <a:cubicBezTo>
                    <a:pt x="196" y="368"/>
                    <a:pt x="197" y="366"/>
                    <a:pt x="201" y="367"/>
                  </a:cubicBezTo>
                  <a:cubicBezTo>
                    <a:pt x="201" y="368"/>
                    <a:pt x="201" y="369"/>
                    <a:pt x="201" y="371"/>
                  </a:cubicBezTo>
                  <a:cubicBezTo>
                    <a:pt x="197" y="370"/>
                    <a:pt x="195" y="375"/>
                    <a:pt x="192" y="375"/>
                  </a:cubicBezTo>
                  <a:cubicBezTo>
                    <a:pt x="190" y="376"/>
                    <a:pt x="189" y="373"/>
                    <a:pt x="187" y="374"/>
                  </a:cubicBezTo>
                  <a:cubicBezTo>
                    <a:pt x="186" y="375"/>
                    <a:pt x="186" y="377"/>
                    <a:pt x="186" y="378"/>
                  </a:cubicBezTo>
                  <a:cubicBezTo>
                    <a:pt x="185" y="378"/>
                    <a:pt x="183" y="378"/>
                    <a:pt x="182" y="378"/>
                  </a:cubicBezTo>
                  <a:cubicBezTo>
                    <a:pt x="180" y="379"/>
                    <a:pt x="182" y="378"/>
                    <a:pt x="180" y="380"/>
                  </a:cubicBezTo>
                  <a:cubicBezTo>
                    <a:pt x="179" y="382"/>
                    <a:pt x="178" y="385"/>
                    <a:pt x="176" y="388"/>
                  </a:cubicBezTo>
                  <a:cubicBezTo>
                    <a:pt x="175" y="389"/>
                    <a:pt x="175" y="390"/>
                    <a:pt x="174" y="391"/>
                  </a:cubicBezTo>
                  <a:cubicBezTo>
                    <a:pt x="174" y="391"/>
                    <a:pt x="174" y="392"/>
                    <a:pt x="173" y="392"/>
                  </a:cubicBezTo>
                  <a:cubicBezTo>
                    <a:pt x="173" y="392"/>
                    <a:pt x="172" y="392"/>
                    <a:pt x="171" y="392"/>
                  </a:cubicBezTo>
                  <a:cubicBezTo>
                    <a:pt x="170" y="393"/>
                    <a:pt x="170" y="394"/>
                    <a:pt x="169" y="395"/>
                  </a:cubicBezTo>
                  <a:cubicBezTo>
                    <a:pt x="169" y="396"/>
                    <a:pt x="169" y="397"/>
                    <a:pt x="169" y="397"/>
                  </a:cubicBezTo>
                  <a:cubicBezTo>
                    <a:pt x="169" y="398"/>
                    <a:pt x="168" y="398"/>
                    <a:pt x="168" y="399"/>
                  </a:cubicBezTo>
                  <a:cubicBezTo>
                    <a:pt x="165" y="402"/>
                    <a:pt x="164" y="409"/>
                    <a:pt x="165" y="414"/>
                  </a:cubicBezTo>
                  <a:cubicBezTo>
                    <a:pt x="166" y="418"/>
                    <a:pt x="171" y="422"/>
                    <a:pt x="172" y="425"/>
                  </a:cubicBezTo>
                  <a:cubicBezTo>
                    <a:pt x="173" y="427"/>
                    <a:pt x="173" y="429"/>
                    <a:pt x="174" y="430"/>
                  </a:cubicBezTo>
                  <a:cubicBezTo>
                    <a:pt x="174" y="431"/>
                    <a:pt x="175" y="432"/>
                    <a:pt x="176" y="433"/>
                  </a:cubicBezTo>
                  <a:cubicBezTo>
                    <a:pt x="176" y="434"/>
                    <a:pt x="177" y="434"/>
                    <a:pt x="177" y="435"/>
                  </a:cubicBezTo>
                  <a:cubicBezTo>
                    <a:pt x="178" y="435"/>
                    <a:pt x="177" y="436"/>
                    <a:pt x="177" y="437"/>
                  </a:cubicBezTo>
                  <a:cubicBezTo>
                    <a:pt x="180" y="441"/>
                    <a:pt x="186" y="442"/>
                    <a:pt x="185" y="448"/>
                  </a:cubicBezTo>
                  <a:cubicBezTo>
                    <a:pt x="184" y="450"/>
                    <a:pt x="182" y="452"/>
                    <a:pt x="185" y="454"/>
                  </a:cubicBezTo>
                  <a:cubicBezTo>
                    <a:pt x="185" y="455"/>
                    <a:pt x="187" y="456"/>
                    <a:pt x="188" y="456"/>
                  </a:cubicBezTo>
                  <a:cubicBezTo>
                    <a:pt x="190" y="455"/>
                    <a:pt x="189" y="454"/>
                    <a:pt x="190" y="453"/>
                  </a:cubicBezTo>
                  <a:cubicBezTo>
                    <a:pt x="192" y="452"/>
                    <a:pt x="193" y="453"/>
                    <a:pt x="195" y="451"/>
                  </a:cubicBezTo>
                  <a:cubicBezTo>
                    <a:pt x="196" y="449"/>
                    <a:pt x="196" y="447"/>
                    <a:pt x="199" y="448"/>
                  </a:cubicBezTo>
                  <a:cubicBezTo>
                    <a:pt x="202" y="449"/>
                    <a:pt x="203" y="452"/>
                    <a:pt x="205" y="448"/>
                  </a:cubicBezTo>
                  <a:cubicBezTo>
                    <a:pt x="206" y="446"/>
                    <a:pt x="206" y="442"/>
                    <a:pt x="209" y="443"/>
                  </a:cubicBezTo>
                  <a:cubicBezTo>
                    <a:pt x="212" y="443"/>
                    <a:pt x="213" y="447"/>
                    <a:pt x="212" y="449"/>
                  </a:cubicBezTo>
                  <a:cubicBezTo>
                    <a:pt x="212" y="452"/>
                    <a:pt x="209" y="452"/>
                    <a:pt x="208" y="455"/>
                  </a:cubicBezTo>
                  <a:cubicBezTo>
                    <a:pt x="206" y="455"/>
                    <a:pt x="205" y="459"/>
                    <a:pt x="205" y="461"/>
                  </a:cubicBezTo>
                  <a:cubicBezTo>
                    <a:pt x="205" y="461"/>
                    <a:pt x="206" y="462"/>
                    <a:pt x="206" y="462"/>
                  </a:cubicBezTo>
                  <a:cubicBezTo>
                    <a:pt x="206" y="463"/>
                    <a:pt x="206" y="464"/>
                    <a:pt x="206" y="465"/>
                  </a:cubicBezTo>
                  <a:cubicBezTo>
                    <a:pt x="205" y="466"/>
                    <a:pt x="205" y="466"/>
                    <a:pt x="204" y="468"/>
                  </a:cubicBezTo>
                  <a:cubicBezTo>
                    <a:pt x="204" y="468"/>
                    <a:pt x="203" y="467"/>
                    <a:pt x="203" y="467"/>
                  </a:cubicBezTo>
                  <a:cubicBezTo>
                    <a:pt x="202" y="468"/>
                    <a:pt x="202" y="468"/>
                    <a:pt x="202" y="469"/>
                  </a:cubicBezTo>
                  <a:cubicBezTo>
                    <a:pt x="201" y="469"/>
                    <a:pt x="200" y="470"/>
                    <a:pt x="200" y="471"/>
                  </a:cubicBezTo>
                  <a:cubicBezTo>
                    <a:pt x="198" y="473"/>
                    <a:pt x="197" y="474"/>
                    <a:pt x="199" y="476"/>
                  </a:cubicBezTo>
                  <a:cubicBezTo>
                    <a:pt x="198" y="478"/>
                    <a:pt x="196" y="478"/>
                    <a:pt x="195" y="480"/>
                  </a:cubicBezTo>
                  <a:cubicBezTo>
                    <a:pt x="193" y="483"/>
                    <a:pt x="195" y="483"/>
                    <a:pt x="196" y="485"/>
                  </a:cubicBezTo>
                  <a:cubicBezTo>
                    <a:pt x="197" y="487"/>
                    <a:pt x="198" y="490"/>
                    <a:pt x="197" y="492"/>
                  </a:cubicBezTo>
                  <a:cubicBezTo>
                    <a:pt x="196" y="494"/>
                    <a:pt x="194" y="494"/>
                    <a:pt x="194" y="498"/>
                  </a:cubicBezTo>
                  <a:cubicBezTo>
                    <a:pt x="194" y="500"/>
                    <a:pt x="195" y="502"/>
                    <a:pt x="194" y="504"/>
                  </a:cubicBezTo>
                  <a:cubicBezTo>
                    <a:pt x="194" y="506"/>
                    <a:pt x="195" y="510"/>
                    <a:pt x="194" y="511"/>
                  </a:cubicBezTo>
                  <a:cubicBezTo>
                    <a:pt x="193" y="515"/>
                    <a:pt x="187" y="512"/>
                    <a:pt x="188" y="516"/>
                  </a:cubicBezTo>
                  <a:cubicBezTo>
                    <a:pt x="188" y="517"/>
                    <a:pt x="190" y="518"/>
                    <a:pt x="190" y="519"/>
                  </a:cubicBezTo>
                  <a:cubicBezTo>
                    <a:pt x="190" y="520"/>
                    <a:pt x="189" y="521"/>
                    <a:pt x="189" y="522"/>
                  </a:cubicBezTo>
                  <a:cubicBezTo>
                    <a:pt x="187" y="523"/>
                    <a:pt x="186" y="521"/>
                    <a:pt x="185" y="519"/>
                  </a:cubicBezTo>
                  <a:cubicBezTo>
                    <a:pt x="184" y="518"/>
                    <a:pt x="182" y="518"/>
                    <a:pt x="181" y="517"/>
                  </a:cubicBezTo>
                  <a:cubicBezTo>
                    <a:pt x="180" y="516"/>
                    <a:pt x="179" y="514"/>
                    <a:pt x="178" y="514"/>
                  </a:cubicBezTo>
                  <a:cubicBezTo>
                    <a:pt x="176" y="513"/>
                    <a:pt x="173" y="515"/>
                    <a:pt x="174" y="517"/>
                  </a:cubicBezTo>
                  <a:cubicBezTo>
                    <a:pt x="169" y="518"/>
                    <a:pt x="161" y="511"/>
                    <a:pt x="157" y="514"/>
                  </a:cubicBezTo>
                  <a:cubicBezTo>
                    <a:pt x="163" y="515"/>
                    <a:pt x="160" y="523"/>
                    <a:pt x="163" y="525"/>
                  </a:cubicBezTo>
                  <a:cubicBezTo>
                    <a:pt x="160" y="525"/>
                    <a:pt x="155" y="524"/>
                    <a:pt x="152" y="525"/>
                  </a:cubicBezTo>
                  <a:cubicBezTo>
                    <a:pt x="150" y="526"/>
                    <a:pt x="151" y="530"/>
                    <a:pt x="148" y="531"/>
                  </a:cubicBezTo>
                  <a:cubicBezTo>
                    <a:pt x="148" y="531"/>
                    <a:pt x="146" y="532"/>
                    <a:pt x="146" y="532"/>
                  </a:cubicBezTo>
                  <a:cubicBezTo>
                    <a:pt x="144" y="533"/>
                    <a:pt x="143" y="533"/>
                    <a:pt x="142" y="531"/>
                  </a:cubicBezTo>
                  <a:cubicBezTo>
                    <a:pt x="141" y="529"/>
                    <a:pt x="143" y="529"/>
                    <a:pt x="143" y="528"/>
                  </a:cubicBezTo>
                  <a:cubicBezTo>
                    <a:pt x="144" y="526"/>
                    <a:pt x="144" y="526"/>
                    <a:pt x="144" y="523"/>
                  </a:cubicBezTo>
                  <a:cubicBezTo>
                    <a:pt x="142" y="522"/>
                    <a:pt x="142" y="524"/>
                    <a:pt x="141" y="525"/>
                  </a:cubicBezTo>
                  <a:cubicBezTo>
                    <a:pt x="139" y="525"/>
                    <a:pt x="138" y="525"/>
                    <a:pt x="136" y="525"/>
                  </a:cubicBezTo>
                  <a:cubicBezTo>
                    <a:pt x="136" y="523"/>
                    <a:pt x="136" y="522"/>
                    <a:pt x="135" y="520"/>
                  </a:cubicBezTo>
                  <a:cubicBezTo>
                    <a:pt x="134" y="518"/>
                    <a:pt x="132" y="515"/>
                    <a:pt x="130" y="514"/>
                  </a:cubicBezTo>
                  <a:cubicBezTo>
                    <a:pt x="128" y="512"/>
                    <a:pt x="123" y="513"/>
                    <a:pt x="120" y="513"/>
                  </a:cubicBezTo>
                  <a:cubicBezTo>
                    <a:pt x="116" y="513"/>
                    <a:pt x="112" y="516"/>
                    <a:pt x="114" y="521"/>
                  </a:cubicBezTo>
                  <a:cubicBezTo>
                    <a:pt x="115" y="523"/>
                    <a:pt x="119" y="525"/>
                    <a:pt x="118" y="526"/>
                  </a:cubicBezTo>
                  <a:cubicBezTo>
                    <a:pt x="116" y="529"/>
                    <a:pt x="109" y="520"/>
                    <a:pt x="107" y="521"/>
                  </a:cubicBezTo>
                  <a:cubicBezTo>
                    <a:pt x="109" y="525"/>
                    <a:pt x="112" y="529"/>
                    <a:pt x="115" y="531"/>
                  </a:cubicBezTo>
                  <a:cubicBezTo>
                    <a:pt x="118" y="534"/>
                    <a:pt x="121" y="532"/>
                    <a:pt x="122" y="537"/>
                  </a:cubicBezTo>
                  <a:cubicBezTo>
                    <a:pt x="125" y="537"/>
                    <a:pt x="124" y="539"/>
                    <a:pt x="126" y="541"/>
                  </a:cubicBezTo>
                  <a:cubicBezTo>
                    <a:pt x="127" y="543"/>
                    <a:pt x="129" y="543"/>
                    <a:pt x="130" y="545"/>
                  </a:cubicBezTo>
                  <a:cubicBezTo>
                    <a:pt x="129" y="545"/>
                    <a:pt x="128" y="548"/>
                    <a:pt x="127" y="549"/>
                  </a:cubicBezTo>
                  <a:cubicBezTo>
                    <a:pt x="125" y="552"/>
                    <a:pt x="124" y="556"/>
                    <a:pt x="123" y="560"/>
                  </a:cubicBezTo>
                  <a:cubicBezTo>
                    <a:pt x="123" y="559"/>
                    <a:pt x="123" y="559"/>
                    <a:pt x="123" y="558"/>
                  </a:cubicBezTo>
                  <a:cubicBezTo>
                    <a:pt x="122" y="560"/>
                    <a:pt x="120" y="562"/>
                    <a:pt x="118" y="563"/>
                  </a:cubicBezTo>
                  <a:cubicBezTo>
                    <a:pt x="117" y="564"/>
                    <a:pt x="114" y="563"/>
                    <a:pt x="112" y="564"/>
                  </a:cubicBezTo>
                  <a:cubicBezTo>
                    <a:pt x="112" y="564"/>
                    <a:pt x="111" y="565"/>
                    <a:pt x="110" y="566"/>
                  </a:cubicBezTo>
                  <a:cubicBezTo>
                    <a:pt x="109" y="567"/>
                    <a:pt x="109" y="566"/>
                    <a:pt x="108" y="568"/>
                  </a:cubicBezTo>
                  <a:cubicBezTo>
                    <a:pt x="106" y="570"/>
                    <a:pt x="106" y="572"/>
                    <a:pt x="107" y="574"/>
                  </a:cubicBezTo>
                  <a:cubicBezTo>
                    <a:pt x="108" y="574"/>
                    <a:pt x="110" y="574"/>
                    <a:pt x="112" y="574"/>
                  </a:cubicBezTo>
                  <a:cubicBezTo>
                    <a:pt x="113" y="574"/>
                    <a:pt x="112" y="575"/>
                    <a:pt x="113" y="576"/>
                  </a:cubicBezTo>
                  <a:cubicBezTo>
                    <a:pt x="114" y="576"/>
                    <a:pt x="116" y="576"/>
                    <a:pt x="117" y="576"/>
                  </a:cubicBezTo>
                  <a:cubicBezTo>
                    <a:pt x="122" y="577"/>
                    <a:pt x="121" y="570"/>
                    <a:pt x="124" y="567"/>
                  </a:cubicBezTo>
                  <a:cubicBezTo>
                    <a:pt x="126" y="564"/>
                    <a:pt x="129" y="563"/>
                    <a:pt x="132" y="561"/>
                  </a:cubicBezTo>
                  <a:cubicBezTo>
                    <a:pt x="135" y="559"/>
                    <a:pt x="141" y="558"/>
                    <a:pt x="144" y="559"/>
                  </a:cubicBezTo>
                  <a:cubicBezTo>
                    <a:pt x="144" y="561"/>
                    <a:pt x="143" y="562"/>
                    <a:pt x="143" y="563"/>
                  </a:cubicBezTo>
                  <a:cubicBezTo>
                    <a:pt x="142" y="565"/>
                    <a:pt x="142" y="565"/>
                    <a:pt x="142" y="567"/>
                  </a:cubicBezTo>
                  <a:cubicBezTo>
                    <a:pt x="142" y="570"/>
                    <a:pt x="146" y="574"/>
                    <a:pt x="142" y="574"/>
                  </a:cubicBezTo>
                  <a:cubicBezTo>
                    <a:pt x="142" y="576"/>
                    <a:pt x="141" y="577"/>
                    <a:pt x="141" y="578"/>
                  </a:cubicBezTo>
                  <a:cubicBezTo>
                    <a:pt x="141" y="580"/>
                    <a:pt x="143" y="582"/>
                    <a:pt x="143" y="584"/>
                  </a:cubicBezTo>
                  <a:cubicBezTo>
                    <a:pt x="143" y="585"/>
                    <a:pt x="139" y="589"/>
                    <a:pt x="143" y="590"/>
                  </a:cubicBezTo>
                  <a:cubicBezTo>
                    <a:pt x="143" y="592"/>
                    <a:pt x="145" y="595"/>
                    <a:pt x="144" y="597"/>
                  </a:cubicBezTo>
                  <a:cubicBezTo>
                    <a:pt x="144" y="598"/>
                    <a:pt x="143" y="598"/>
                    <a:pt x="142" y="600"/>
                  </a:cubicBezTo>
                  <a:cubicBezTo>
                    <a:pt x="141" y="601"/>
                    <a:pt x="141" y="602"/>
                    <a:pt x="141" y="603"/>
                  </a:cubicBezTo>
                  <a:cubicBezTo>
                    <a:pt x="141" y="605"/>
                    <a:pt x="140" y="606"/>
                    <a:pt x="139" y="608"/>
                  </a:cubicBezTo>
                  <a:cubicBezTo>
                    <a:pt x="139" y="609"/>
                    <a:pt x="140" y="611"/>
                    <a:pt x="139" y="612"/>
                  </a:cubicBezTo>
                  <a:cubicBezTo>
                    <a:pt x="139" y="613"/>
                    <a:pt x="137" y="613"/>
                    <a:pt x="137" y="614"/>
                  </a:cubicBezTo>
                  <a:cubicBezTo>
                    <a:pt x="136" y="615"/>
                    <a:pt x="136" y="616"/>
                    <a:pt x="136" y="617"/>
                  </a:cubicBezTo>
                  <a:cubicBezTo>
                    <a:pt x="134" y="621"/>
                    <a:pt x="134" y="619"/>
                    <a:pt x="132" y="620"/>
                  </a:cubicBezTo>
                  <a:cubicBezTo>
                    <a:pt x="130" y="621"/>
                    <a:pt x="129" y="623"/>
                    <a:pt x="128" y="624"/>
                  </a:cubicBezTo>
                  <a:cubicBezTo>
                    <a:pt x="127" y="624"/>
                    <a:pt x="126" y="625"/>
                    <a:pt x="125" y="625"/>
                  </a:cubicBezTo>
                  <a:cubicBezTo>
                    <a:pt x="125" y="626"/>
                    <a:pt x="124" y="625"/>
                    <a:pt x="123" y="626"/>
                  </a:cubicBezTo>
                  <a:cubicBezTo>
                    <a:pt x="122" y="626"/>
                    <a:pt x="121" y="629"/>
                    <a:pt x="120" y="630"/>
                  </a:cubicBezTo>
                  <a:cubicBezTo>
                    <a:pt x="118" y="631"/>
                    <a:pt x="115" y="629"/>
                    <a:pt x="113" y="630"/>
                  </a:cubicBezTo>
                  <a:cubicBezTo>
                    <a:pt x="113" y="630"/>
                    <a:pt x="112" y="631"/>
                    <a:pt x="112" y="631"/>
                  </a:cubicBezTo>
                  <a:cubicBezTo>
                    <a:pt x="111" y="631"/>
                    <a:pt x="109" y="631"/>
                    <a:pt x="109" y="631"/>
                  </a:cubicBezTo>
                  <a:cubicBezTo>
                    <a:pt x="108" y="632"/>
                    <a:pt x="106" y="633"/>
                    <a:pt x="105" y="634"/>
                  </a:cubicBezTo>
                  <a:cubicBezTo>
                    <a:pt x="104" y="635"/>
                    <a:pt x="104" y="637"/>
                    <a:pt x="103" y="638"/>
                  </a:cubicBezTo>
                  <a:cubicBezTo>
                    <a:pt x="101" y="640"/>
                    <a:pt x="95" y="639"/>
                    <a:pt x="93" y="637"/>
                  </a:cubicBezTo>
                  <a:cubicBezTo>
                    <a:pt x="91" y="636"/>
                    <a:pt x="92" y="635"/>
                    <a:pt x="89" y="636"/>
                  </a:cubicBezTo>
                  <a:cubicBezTo>
                    <a:pt x="87" y="638"/>
                    <a:pt x="88" y="639"/>
                    <a:pt x="87" y="642"/>
                  </a:cubicBezTo>
                  <a:cubicBezTo>
                    <a:pt x="86" y="643"/>
                    <a:pt x="82" y="642"/>
                    <a:pt x="82" y="643"/>
                  </a:cubicBezTo>
                  <a:cubicBezTo>
                    <a:pt x="81" y="644"/>
                    <a:pt x="82" y="648"/>
                    <a:pt x="81" y="650"/>
                  </a:cubicBezTo>
                  <a:cubicBezTo>
                    <a:pt x="79" y="653"/>
                    <a:pt x="76" y="651"/>
                    <a:pt x="75" y="655"/>
                  </a:cubicBezTo>
                  <a:cubicBezTo>
                    <a:pt x="77" y="655"/>
                    <a:pt x="82" y="654"/>
                    <a:pt x="85" y="655"/>
                  </a:cubicBezTo>
                  <a:cubicBezTo>
                    <a:pt x="88" y="656"/>
                    <a:pt x="86" y="658"/>
                    <a:pt x="85" y="660"/>
                  </a:cubicBezTo>
                  <a:cubicBezTo>
                    <a:pt x="83" y="662"/>
                    <a:pt x="82" y="663"/>
                    <a:pt x="79" y="664"/>
                  </a:cubicBezTo>
                  <a:cubicBezTo>
                    <a:pt x="78" y="665"/>
                    <a:pt x="77" y="664"/>
                    <a:pt x="76" y="666"/>
                  </a:cubicBezTo>
                  <a:cubicBezTo>
                    <a:pt x="76" y="669"/>
                    <a:pt x="77" y="669"/>
                    <a:pt x="79" y="670"/>
                  </a:cubicBezTo>
                  <a:cubicBezTo>
                    <a:pt x="82" y="672"/>
                    <a:pt x="84" y="672"/>
                    <a:pt x="87" y="672"/>
                  </a:cubicBezTo>
                  <a:cubicBezTo>
                    <a:pt x="88" y="672"/>
                    <a:pt x="89" y="672"/>
                    <a:pt x="89" y="672"/>
                  </a:cubicBezTo>
                  <a:cubicBezTo>
                    <a:pt x="90" y="673"/>
                    <a:pt x="90" y="674"/>
                    <a:pt x="90" y="674"/>
                  </a:cubicBezTo>
                  <a:cubicBezTo>
                    <a:pt x="92" y="675"/>
                    <a:pt x="93" y="675"/>
                    <a:pt x="95" y="675"/>
                  </a:cubicBezTo>
                  <a:cubicBezTo>
                    <a:pt x="97" y="675"/>
                    <a:pt x="100" y="675"/>
                    <a:pt x="102" y="675"/>
                  </a:cubicBezTo>
                  <a:cubicBezTo>
                    <a:pt x="104" y="676"/>
                    <a:pt x="103" y="676"/>
                    <a:pt x="105" y="677"/>
                  </a:cubicBezTo>
                  <a:cubicBezTo>
                    <a:pt x="105" y="678"/>
                    <a:pt x="105" y="679"/>
                    <a:pt x="107" y="678"/>
                  </a:cubicBezTo>
                  <a:cubicBezTo>
                    <a:pt x="110" y="677"/>
                    <a:pt x="107" y="674"/>
                    <a:pt x="108" y="672"/>
                  </a:cubicBezTo>
                  <a:cubicBezTo>
                    <a:pt x="111" y="671"/>
                    <a:pt x="113" y="671"/>
                    <a:pt x="116" y="671"/>
                  </a:cubicBezTo>
                  <a:cubicBezTo>
                    <a:pt x="119" y="671"/>
                    <a:pt x="119" y="669"/>
                    <a:pt x="122" y="669"/>
                  </a:cubicBezTo>
                  <a:cubicBezTo>
                    <a:pt x="125" y="668"/>
                    <a:pt x="127" y="668"/>
                    <a:pt x="128" y="671"/>
                  </a:cubicBezTo>
                  <a:cubicBezTo>
                    <a:pt x="128" y="673"/>
                    <a:pt x="127" y="677"/>
                    <a:pt x="128" y="678"/>
                  </a:cubicBezTo>
                  <a:cubicBezTo>
                    <a:pt x="129" y="679"/>
                    <a:pt x="131" y="679"/>
                    <a:pt x="131" y="679"/>
                  </a:cubicBezTo>
                  <a:cubicBezTo>
                    <a:pt x="133" y="680"/>
                    <a:pt x="133" y="682"/>
                    <a:pt x="134" y="682"/>
                  </a:cubicBezTo>
                  <a:cubicBezTo>
                    <a:pt x="135" y="683"/>
                    <a:pt x="139" y="682"/>
                    <a:pt x="140" y="682"/>
                  </a:cubicBezTo>
                  <a:cubicBezTo>
                    <a:pt x="143" y="682"/>
                    <a:pt x="143" y="682"/>
                    <a:pt x="145" y="680"/>
                  </a:cubicBezTo>
                  <a:cubicBezTo>
                    <a:pt x="148" y="678"/>
                    <a:pt x="147" y="678"/>
                    <a:pt x="147" y="675"/>
                  </a:cubicBezTo>
                  <a:cubicBezTo>
                    <a:pt x="148" y="672"/>
                    <a:pt x="148" y="671"/>
                    <a:pt x="151" y="672"/>
                  </a:cubicBezTo>
                  <a:cubicBezTo>
                    <a:pt x="153" y="672"/>
                    <a:pt x="154" y="672"/>
                    <a:pt x="155" y="675"/>
                  </a:cubicBezTo>
                  <a:cubicBezTo>
                    <a:pt x="155" y="676"/>
                    <a:pt x="154" y="678"/>
                    <a:pt x="155" y="678"/>
                  </a:cubicBezTo>
                  <a:cubicBezTo>
                    <a:pt x="156" y="680"/>
                    <a:pt x="158" y="680"/>
                    <a:pt x="160" y="681"/>
                  </a:cubicBezTo>
                  <a:cubicBezTo>
                    <a:pt x="162" y="682"/>
                    <a:pt x="163" y="684"/>
                    <a:pt x="165" y="686"/>
                  </a:cubicBezTo>
                  <a:cubicBezTo>
                    <a:pt x="166" y="689"/>
                    <a:pt x="167" y="691"/>
                    <a:pt x="169" y="691"/>
                  </a:cubicBezTo>
                  <a:cubicBezTo>
                    <a:pt x="171" y="692"/>
                    <a:pt x="172" y="691"/>
                    <a:pt x="173" y="692"/>
                  </a:cubicBezTo>
                  <a:cubicBezTo>
                    <a:pt x="176" y="693"/>
                    <a:pt x="176" y="694"/>
                    <a:pt x="179" y="695"/>
                  </a:cubicBezTo>
                  <a:cubicBezTo>
                    <a:pt x="182" y="696"/>
                    <a:pt x="185" y="697"/>
                    <a:pt x="189" y="697"/>
                  </a:cubicBezTo>
                  <a:cubicBezTo>
                    <a:pt x="191" y="697"/>
                    <a:pt x="193" y="696"/>
                    <a:pt x="194" y="694"/>
                  </a:cubicBezTo>
                  <a:cubicBezTo>
                    <a:pt x="195" y="691"/>
                    <a:pt x="192" y="689"/>
                    <a:pt x="194" y="687"/>
                  </a:cubicBezTo>
                  <a:cubicBezTo>
                    <a:pt x="196" y="685"/>
                    <a:pt x="196" y="685"/>
                    <a:pt x="198" y="685"/>
                  </a:cubicBezTo>
                  <a:cubicBezTo>
                    <a:pt x="198" y="685"/>
                    <a:pt x="199" y="685"/>
                    <a:pt x="200" y="685"/>
                  </a:cubicBezTo>
                  <a:cubicBezTo>
                    <a:pt x="201" y="685"/>
                    <a:pt x="201" y="684"/>
                    <a:pt x="202" y="683"/>
                  </a:cubicBezTo>
                  <a:cubicBezTo>
                    <a:pt x="203" y="683"/>
                    <a:pt x="204" y="683"/>
                    <a:pt x="205" y="682"/>
                  </a:cubicBezTo>
                  <a:cubicBezTo>
                    <a:pt x="206" y="682"/>
                    <a:pt x="208" y="680"/>
                    <a:pt x="209" y="679"/>
                  </a:cubicBezTo>
                  <a:cubicBezTo>
                    <a:pt x="211" y="678"/>
                    <a:pt x="214" y="680"/>
                    <a:pt x="216" y="678"/>
                  </a:cubicBezTo>
                  <a:cubicBezTo>
                    <a:pt x="218" y="677"/>
                    <a:pt x="218" y="676"/>
                    <a:pt x="219" y="675"/>
                  </a:cubicBezTo>
                  <a:cubicBezTo>
                    <a:pt x="220" y="674"/>
                    <a:pt x="221" y="675"/>
                    <a:pt x="222" y="675"/>
                  </a:cubicBezTo>
                  <a:cubicBezTo>
                    <a:pt x="223" y="674"/>
                    <a:pt x="223" y="673"/>
                    <a:pt x="224" y="673"/>
                  </a:cubicBezTo>
                  <a:cubicBezTo>
                    <a:pt x="225" y="674"/>
                    <a:pt x="218" y="677"/>
                    <a:pt x="217" y="679"/>
                  </a:cubicBezTo>
                  <a:cubicBezTo>
                    <a:pt x="215" y="680"/>
                    <a:pt x="216" y="682"/>
                    <a:pt x="215" y="683"/>
                  </a:cubicBezTo>
                  <a:cubicBezTo>
                    <a:pt x="214" y="686"/>
                    <a:pt x="212" y="686"/>
                    <a:pt x="210" y="687"/>
                  </a:cubicBezTo>
                  <a:cubicBezTo>
                    <a:pt x="208" y="689"/>
                    <a:pt x="206" y="690"/>
                    <a:pt x="204" y="692"/>
                  </a:cubicBezTo>
                  <a:cubicBezTo>
                    <a:pt x="204" y="693"/>
                    <a:pt x="203" y="695"/>
                    <a:pt x="202" y="696"/>
                  </a:cubicBezTo>
                  <a:cubicBezTo>
                    <a:pt x="202" y="696"/>
                    <a:pt x="202" y="697"/>
                    <a:pt x="202" y="698"/>
                  </a:cubicBezTo>
                  <a:cubicBezTo>
                    <a:pt x="201" y="698"/>
                    <a:pt x="200" y="700"/>
                    <a:pt x="200" y="700"/>
                  </a:cubicBezTo>
                  <a:cubicBezTo>
                    <a:pt x="199" y="704"/>
                    <a:pt x="200" y="708"/>
                    <a:pt x="195" y="709"/>
                  </a:cubicBezTo>
                  <a:cubicBezTo>
                    <a:pt x="193" y="709"/>
                    <a:pt x="192" y="709"/>
                    <a:pt x="190" y="709"/>
                  </a:cubicBezTo>
                  <a:cubicBezTo>
                    <a:pt x="190" y="709"/>
                    <a:pt x="188" y="708"/>
                    <a:pt x="187" y="709"/>
                  </a:cubicBezTo>
                  <a:cubicBezTo>
                    <a:pt x="186" y="709"/>
                    <a:pt x="186" y="710"/>
                    <a:pt x="185" y="711"/>
                  </a:cubicBezTo>
                  <a:cubicBezTo>
                    <a:pt x="182" y="713"/>
                    <a:pt x="179" y="711"/>
                    <a:pt x="177" y="709"/>
                  </a:cubicBezTo>
                  <a:cubicBezTo>
                    <a:pt x="174" y="707"/>
                    <a:pt x="169" y="708"/>
                    <a:pt x="165" y="708"/>
                  </a:cubicBezTo>
                  <a:cubicBezTo>
                    <a:pt x="161" y="708"/>
                    <a:pt x="157" y="707"/>
                    <a:pt x="152" y="707"/>
                  </a:cubicBezTo>
                  <a:cubicBezTo>
                    <a:pt x="149" y="707"/>
                    <a:pt x="145" y="708"/>
                    <a:pt x="141" y="708"/>
                  </a:cubicBezTo>
                  <a:cubicBezTo>
                    <a:pt x="137" y="708"/>
                    <a:pt x="134" y="707"/>
                    <a:pt x="134" y="712"/>
                  </a:cubicBezTo>
                  <a:cubicBezTo>
                    <a:pt x="134" y="714"/>
                    <a:pt x="134" y="715"/>
                    <a:pt x="133" y="717"/>
                  </a:cubicBezTo>
                  <a:cubicBezTo>
                    <a:pt x="133" y="717"/>
                    <a:pt x="132" y="718"/>
                    <a:pt x="132" y="719"/>
                  </a:cubicBezTo>
                  <a:cubicBezTo>
                    <a:pt x="132" y="720"/>
                    <a:pt x="132" y="722"/>
                    <a:pt x="132" y="724"/>
                  </a:cubicBezTo>
                  <a:cubicBezTo>
                    <a:pt x="132" y="726"/>
                    <a:pt x="132" y="727"/>
                    <a:pt x="130" y="728"/>
                  </a:cubicBezTo>
                  <a:cubicBezTo>
                    <a:pt x="129" y="729"/>
                    <a:pt x="125" y="729"/>
                    <a:pt x="124" y="728"/>
                  </a:cubicBezTo>
                  <a:cubicBezTo>
                    <a:pt x="123" y="727"/>
                    <a:pt x="122" y="721"/>
                    <a:pt x="118" y="724"/>
                  </a:cubicBezTo>
                  <a:cubicBezTo>
                    <a:pt x="116" y="727"/>
                    <a:pt x="117" y="733"/>
                    <a:pt x="117" y="736"/>
                  </a:cubicBezTo>
                  <a:cubicBezTo>
                    <a:pt x="117" y="738"/>
                    <a:pt x="117" y="740"/>
                    <a:pt x="116" y="742"/>
                  </a:cubicBezTo>
                  <a:cubicBezTo>
                    <a:pt x="115" y="744"/>
                    <a:pt x="114" y="746"/>
                    <a:pt x="114" y="748"/>
                  </a:cubicBezTo>
                  <a:cubicBezTo>
                    <a:pt x="113" y="749"/>
                    <a:pt x="110" y="750"/>
                    <a:pt x="109" y="751"/>
                  </a:cubicBezTo>
                  <a:cubicBezTo>
                    <a:pt x="108" y="753"/>
                    <a:pt x="107" y="755"/>
                    <a:pt x="106" y="756"/>
                  </a:cubicBezTo>
                  <a:cubicBezTo>
                    <a:pt x="105" y="758"/>
                    <a:pt x="105" y="760"/>
                    <a:pt x="104" y="761"/>
                  </a:cubicBezTo>
                  <a:cubicBezTo>
                    <a:pt x="103" y="763"/>
                    <a:pt x="101" y="762"/>
                    <a:pt x="100" y="762"/>
                  </a:cubicBezTo>
                  <a:cubicBezTo>
                    <a:pt x="96" y="763"/>
                    <a:pt x="96" y="763"/>
                    <a:pt x="94" y="766"/>
                  </a:cubicBezTo>
                  <a:cubicBezTo>
                    <a:pt x="94" y="767"/>
                    <a:pt x="92" y="769"/>
                    <a:pt x="91" y="770"/>
                  </a:cubicBezTo>
                  <a:cubicBezTo>
                    <a:pt x="91" y="771"/>
                    <a:pt x="91" y="771"/>
                    <a:pt x="92" y="772"/>
                  </a:cubicBezTo>
                  <a:cubicBezTo>
                    <a:pt x="91" y="773"/>
                    <a:pt x="91" y="774"/>
                    <a:pt x="90" y="775"/>
                  </a:cubicBezTo>
                  <a:cubicBezTo>
                    <a:pt x="83" y="781"/>
                    <a:pt x="83" y="781"/>
                    <a:pt x="83" y="781"/>
                  </a:cubicBezTo>
                  <a:cubicBezTo>
                    <a:pt x="83" y="782"/>
                    <a:pt x="82" y="782"/>
                    <a:pt x="82" y="783"/>
                  </a:cubicBezTo>
                  <a:cubicBezTo>
                    <a:pt x="82" y="783"/>
                    <a:pt x="82" y="783"/>
                    <a:pt x="81" y="784"/>
                  </a:cubicBezTo>
                  <a:cubicBezTo>
                    <a:pt x="81" y="784"/>
                    <a:pt x="81" y="784"/>
                    <a:pt x="81" y="784"/>
                  </a:cubicBezTo>
                  <a:cubicBezTo>
                    <a:pt x="80" y="784"/>
                    <a:pt x="81" y="785"/>
                    <a:pt x="81" y="785"/>
                  </a:cubicBezTo>
                  <a:cubicBezTo>
                    <a:pt x="81" y="786"/>
                    <a:pt x="81" y="786"/>
                    <a:pt x="81" y="787"/>
                  </a:cubicBezTo>
                  <a:cubicBezTo>
                    <a:pt x="81" y="787"/>
                    <a:pt x="81" y="787"/>
                    <a:pt x="80" y="787"/>
                  </a:cubicBezTo>
                  <a:cubicBezTo>
                    <a:pt x="80" y="787"/>
                    <a:pt x="80" y="788"/>
                    <a:pt x="79" y="788"/>
                  </a:cubicBezTo>
                  <a:cubicBezTo>
                    <a:pt x="79" y="788"/>
                    <a:pt x="78" y="788"/>
                    <a:pt x="78" y="788"/>
                  </a:cubicBezTo>
                  <a:cubicBezTo>
                    <a:pt x="77" y="789"/>
                    <a:pt x="77" y="790"/>
                    <a:pt x="76" y="791"/>
                  </a:cubicBezTo>
                  <a:cubicBezTo>
                    <a:pt x="75" y="792"/>
                    <a:pt x="74" y="793"/>
                    <a:pt x="73" y="793"/>
                  </a:cubicBezTo>
                  <a:cubicBezTo>
                    <a:pt x="73" y="793"/>
                    <a:pt x="73" y="793"/>
                    <a:pt x="73" y="793"/>
                  </a:cubicBezTo>
                  <a:cubicBezTo>
                    <a:pt x="72" y="794"/>
                    <a:pt x="72" y="794"/>
                    <a:pt x="72" y="794"/>
                  </a:cubicBezTo>
                  <a:cubicBezTo>
                    <a:pt x="71" y="795"/>
                    <a:pt x="71" y="795"/>
                    <a:pt x="70" y="796"/>
                  </a:cubicBezTo>
                  <a:cubicBezTo>
                    <a:pt x="70" y="796"/>
                    <a:pt x="70" y="796"/>
                    <a:pt x="70" y="796"/>
                  </a:cubicBezTo>
                  <a:cubicBezTo>
                    <a:pt x="69" y="796"/>
                    <a:pt x="67" y="795"/>
                    <a:pt x="67" y="795"/>
                  </a:cubicBezTo>
                  <a:cubicBezTo>
                    <a:pt x="67" y="795"/>
                    <a:pt x="66" y="794"/>
                    <a:pt x="66" y="794"/>
                  </a:cubicBezTo>
                  <a:cubicBezTo>
                    <a:pt x="66" y="794"/>
                    <a:pt x="66" y="793"/>
                    <a:pt x="65" y="793"/>
                  </a:cubicBezTo>
                  <a:cubicBezTo>
                    <a:pt x="65" y="793"/>
                    <a:pt x="64" y="794"/>
                    <a:pt x="64" y="794"/>
                  </a:cubicBezTo>
                  <a:cubicBezTo>
                    <a:pt x="63" y="794"/>
                    <a:pt x="63" y="794"/>
                    <a:pt x="63" y="795"/>
                  </a:cubicBezTo>
                  <a:cubicBezTo>
                    <a:pt x="62" y="795"/>
                    <a:pt x="62" y="795"/>
                    <a:pt x="62" y="796"/>
                  </a:cubicBezTo>
                  <a:cubicBezTo>
                    <a:pt x="62" y="796"/>
                    <a:pt x="62" y="796"/>
                    <a:pt x="62" y="796"/>
                  </a:cubicBezTo>
                  <a:cubicBezTo>
                    <a:pt x="62" y="796"/>
                    <a:pt x="61" y="796"/>
                    <a:pt x="61" y="796"/>
                  </a:cubicBezTo>
                  <a:cubicBezTo>
                    <a:pt x="60" y="796"/>
                    <a:pt x="59" y="796"/>
                    <a:pt x="59" y="796"/>
                  </a:cubicBezTo>
                  <a:cubicBezTo>
                    <a:pt x="58" y="797"/>
                    <a:pt x="57" y="797"/>
                    <a:pt x="57" y="798"/>
                  </a:cubicBezTo>
                  <a:cubicBezTo>
                    <a:pt x="56" y="799"/>
                    <a:pt x="56" y="800"/>
                    <a:pt x="55" y="801"/>
                  </a:cubicBezTo>
                  <a:cubicBezTo>
                    <a:pt x="55" y="802"/>
                    <a:pt x="54" y="802"/>
                    <a:pt x="54" y="803"/>
                  </a:cubicBezTo>
                  <a:cubicBezTo>
                    <a:pt x="54" y="804"/>
                    <a:pt x="54" y="804"/>
                    <a:pt x="54" y="805"/>
                  </a:cubicBezTo>
                  <a:cubicBezTo>
                    <a:pt x="54" y="805"/>
                    <a:pt x="53" y="806"/>
                    <a:pt x="54" y="806"/>
                  </a:cubicBezTo>
                  <a:cubicBezTo>
                    <a:pt x="54" y="807"/>
                    <a:pt x="54" y="808"/>
                    <a:pt x="55" y="808"/>
                  </a:cubicBezTo>
                  <a:cubicBezTo>
                    <a:pt x="55" y="808"/>
                    <a:pt x="55" y="809"/>
                    <a:pt x="55" y="809"/>
                  </a:cubicBezTo>
                  <a:cubicBezTo>
                    <a:pt x="56" y="809"/>
                    <a:pt x="56" y="809"/>
                    <a:pt x="56" y="809"/>
                  </a:cubicBezTo>
                  <a:cubicBezTo>
                    <a:pt x="56" y="809"/>
                    <a:pt x="56" y="809"/>
                    <a:pt x="57" y="810"/>
                  </a:cubicBezTo>
                  <a:cubicBezTo>
                    <a:pt x="57" y="810"/>
                    <a:pt x="57" y="810"/>
                    <a:pt x="57" y="810"/>
                  </a:cubicBezTo>
                  <a:cubicBezTo>
                    <a:pt x="58" y="810"/>
                    <a:pt x="58" y="810"/>
                    <a:pt x="59" y="811"/>
                  </a:cubicBezTo>
                  <a:cubicBezTo>
                    <a:pt x="60" y="811"/>
                    <a:pt x="60" y="811"/>
                    <a:pt x="61" y="810"/>
                  </a:cubicBezTo>
                  <a:cubicBezTo>
                    <a:pt x="62" y="810"/>
                    <a:pt x="62" y="810"/>
                    <a:pt x="63" y="809"/>
                  </a:cubicBezTo>
                  <a:cubicBezTo>
                    <a:pt x="63" y="809"/>
                    <a:pt x="64" y="809"/>
                    <a:pt x="64" y="808"/>
                  </a:cubicBezTo>
                  <a:cubicBezTo>
                    <a:pt x="65" y="808"/>
                    <a:pt x="65" y="807"/>
                    <a:pt x="65" y="806"/>
                  </a:cubicBezTo>
                  <a:cubicBezTo>
                    <a:pt x="65" y="806"/>
                    <a:pt x="66" y="805"/>
                    <a:pt x="66" y="804"/>
                  </a:cubicBezTo>
                  <a:cubicBezTo>
                    <a:pt x="67" y="804"/>
                    <a:pt x="67" y="804"/>
                    <a:pt x="68" y="804"/>
                  </a:cubicBezTo>
                  <a:cubicBezTo>
                    <a:pt x="69" y="804"/>
                    <a:pt x="70" y="805"/>
                    <a:pt x="70" y="805"/>
                  </a:cubicBezTo>
                  <a:cubicBezTo>
                    <a:pt x="71" y="805"/>
                    <a:pt x="72" y="806"/>
                    <a:pt x="73" y="806"/>
                  </a:cubicBezTo>
                  <a:cubicBezTo>
                    <a:pt x="73" y="806"/>
                    <a:pt x="74" y="807"/>
                    <a:pt x="74" y="807"/>
                  </a:cubicBezTo>
                  <a:cubicBezTo>
                    <a:pt x="74" y="807"/>
                    <a:pt x="74" y="808"/>
                    <a:pt x="74" y="808"/>
                  </a:cubicBezTo>
                  <a:cubicBezTo>
                    <a:pt x="74" y="808"/>
                    <a:pt x="75" y="809"/>
                    <a:pt x="75" y="810"/>
                  </a:cubicBezTo>
                  <a:cubicBezTo>
                    <a:pt x="76" y="811"/>
                    <a:pt x="77" y="811"/>
                    <a:pt x="77" y="812"/>
                  </a:cubicBezTo>
                  <a:cubicBezTo>
                    <a:pt x="78" y="813"/>
                    <a:pt x="78" y="814"/>
                    <a:pt x="78" y="815"/>
                  </a:cubicBezTo>
                  <a:cubicBezTo>
                    <a:pt x="79" y="817"/>
                    <a:pt x="81" y="818"/>
                    <a:pt x="83" y="818"/>
                  </a:cubicBezTo>
                  <a:cubicBezTo>
                    <a:pt x="83" y="818"/>
                    <a:pt x="84" y="818"/>
                    <a:pt x="85" y="817"/>
                  </a:cubicBezTo>
                  <a:cubicBezTo>
                    <a:pt x="85" y="817"/>
                    <a:pt x="85" y="817"/>
                    <a:pt x="85" y="817"/>
                  </a:cubicBezTo>
                  <a:cubicBezTo>
                    <a:pt x="85" y="816"/>
                    <a:pt x="85" y="816"/>
                    <a:pt x="86" y="815"/>
                  </a:cubicBezTo>
                  <a:cubicBezTo>
                    <a:pt x="87" y="814"/>
                    <a:pt x="88" y="813"/>
                    <a:pt x="88" y="811"/>
                  </a:cubicBezTo>
                  <a:cubicBezTo>
                    <a:pt x="89" y="811"/>
                    <a:pt x="89" y="811"/>
                    <a:pt x="89" y="810"/>
                  </a:cubicBezTo>
                  <a:cubicBezTo>
                    <a:pt x="90" y="810"/>
                    <a:pt x="90" y="809"/>
                    <a:pt x="90" y="809"/>
                  </a:cubicBezTo>
                  <a:cubicBezTo>
                    <a:pt x="91" y="807"/>
                    <a:pt x="90" y="806"/>
                    <a:pt x="89" y="805"/>
                  </a:cubicBezTo>
                  <a:cubicBezTo>
                    <a:pt x="89" y="804"/>
                    <a:pt x="89" y="804"/>
                    <a:pt x="89" y="803"/>
                  </a:cubicBezTo>
                  <a:cubicBezTo>
                    <a:pt x="89" y="802"/>
                    <a:pt x="89" y="802"/>
                    <a:pt x="90" y="802"/>
                  </a:cubicBezTo>
                  <a:cubicBezTo>
                    <a:pt x="91" y="802"/>
                    <a:pt x="91" y="802"/>
                    <a:pt x="91" y="802"/>
                  </a:cubicBezTo>
                  <a:cubicBezTo>
                    <a:pt x="91" y="801"/>
                    <a:pt x="92" y="801"/>
                    <a:pt x="92" y="801"/>
                  </a:cubicBezTo>
                  <a:cubicBezTo>
                    <a:pt x="93" y="800"/>
                    <a:pt x="93" y="800"/>
                    <a:pt x="94" y="800"/>
                  </a:cubicBezTo>
                  <a:cubicBezTo>
                    <a:pt x="94" y="799"/>
                    <a:pt x="95" y="799"/>
                    <a:pt x="96" y="799"/>
                  </a:cubicBezTo>
                  <a:cubicBezTo>
                    <a:pt x="97" y="798"/>
                    <a:pt x="98" y="798"/>
                    <a:pt x="99" y="797"/>
                  </a:cubicBezTo>
                  <a:cubicBezTo>
                    <a:pt x="100" y="797"/>
                    <a:pt x="101" y="796"/>
                    <a:pt x="103" y="795"/>
                  </a:cubicBezTo>
                  <a:cubicBezTo>
                    <a:pt x="104" y="794"/>
                    <a:pt x="105" y="793"/>
                    <a:pt x="105" y="792"/>
                  </a:cubicBezTo>
                  <a:cubicBezTo>
                    <a:pt x="105" y="791"/>
                    <a:pt x="105" y="791"/>
                    <a:pt x="105" y="791"/>
                  </a:cubicBezTo>
                  <a:cubicBezTo>
                    <a:pt x="105" y="790"/>
                    <a:pt x="106" y="789"/>
                    <a:pt x="106" y="788"/>
                  </a:cubicBezTo>
                  <a:cubicBezTo>
                    <a:pt x="106" y="788"/>
                    <a:pt x="106" y="787"/>
                    <a:pt x="106" y="786"/>
                  </a:cubicBezTo>
                  <a:cubicBezTo>
                    <a:pt x="106" y="786"/>
                    <a:pt x="106" y="786"/>
                    <a:pt x="106" y="785"/>
                  </a:cubicBezTo>
                  <a:cubicBezTo>
                    <a:pt x="107" y="785"/>
                    <a:pt x="106" y="784"/>
                    <a:pt x="107" y="784"/>
                  </a:cubicBezTo>
                  <a:cubicBezTo>
                    <a:pt x="107" y="783"/>
                    <a:pt x="107" y="783"/>
                    <a:pt x="108" y="783"/>
                  </a:cubicBezTo>
                  <a:cubicBezTo>
                    <a:pt x="108" y="783"/>
                    <a:pt x="108" y="783"/>
                    <a:pt x="109" y="783"/>
                  </a:cubicBezTo>
                  <a:cubicBezTo>
                    <a:pt x="109" y="784"/>
                    <a:pt x="109" y="785"/>
                    <a:pt x="109" y="785"/>
                  </a:cubicBezTo>
                  <a:cubicBezTo>
                    <a:pt x="111" y="787"/>
                    <a:pt x="112" y="787"/>
                    <a:pt x="114" y="786"/>
                  </a:cubicBezTo>
                  <a:cubicBezTo>
                    <a:pt x="115" y="786"/>
                    <a:pt x="116" y="786"/>
                    <a:pt x="117" y="786"/>
                  </a:cubicBezTo>
                  <a:cubicBezTo>
                    <a:pt x="118" y="785"/>
                    <a:pt x="119" y="786"/>
                    <a:pt x="120" y="786"/>
                  </a:cubicBezTo>
                  <a:cubicBezTo>
                    <a:pt x="121" y="785"/>
                    <a:pt x="122" y="785"/>
                    <a:pt x="124" y="784"/>
                  </a:cubicBezTo>
                  <a:cubicBezTo>
                    <a:pt x="124" y="783"/>
                    <a:pt x="124" y="783"/>
                    <a:pt x="125" y="783"/>
                  </a:cubicBezTo>
                  <a:cubicBezTo>
                    <a:pt x="125" y="783"/>
                    <a:pt x="126" y="783"/>
                    <a:pt x="127" y="783"/>
                  </a:cubicBezTo>
                  <a:cubicBezTo>
                    <a:pt x="128" y="782"/>
                    <a:pt x="128" y="782"/>
                    <a:pt x="129" y="781"/>
                  </a:cubicBezTo>
                  <a:cubicBezTo>
                    <a:pt x="129" y="781"/>
                    <a:pt x="130" y="780"/>
                    <a:pt x="130" y="780"/>
                  </a:cubicBezTo>
                  <a:cubicBezTo>
                    <a:pt x="131" y="779"/>
                    <a:pt x="131" y="780"/>
                    <a:pt x="132" y="780"/>
                  </a:cubicBezTo>
                  <a:cubicBezTo>
                    <a:pt x="133" y="780"/>
                    <a:pt x="133" y="780"/>
                    <a:pt x="134" y="781"/>
                  </a:cubicBezTo>
                  <a:cubicBezTo>
                    <a:pt x="134" y="781"/>
                    <a:pt x="134" y="781"/>
                    <a:pt x="134" y="781"/>
                  </a:cubicBezTo>
                  <a:cubicBezTo>
                    <a:pt x="134" y="782"/>
                    <a:pt x="134" y="782"/>
                    <a:pt x="135" y="783"/>
                  </a:cubicBezTo>
                  <a:cubicBezTo>
                    <a:pt x="135" y="784"/>
                    <a:pt x="135" y="785"/>
                    <a:pt x="136" y="786"/>
                  </a:cubicBezTo>
                  <a:cubicBezTo>
                    <a:pt x="136" y="786"/>
                    <a:pt x="138" y="786"/>
                    <a:pt x="138" y="786"/>
                  </a:cubicBezTo>
                  <a:cubicBezTo>
                    <a:pt x="139" y="786"/>
                    <a:pt x="140" y="787"/>
                    <a:pt x="141" y="787"/>
                  </a:cubicBezTo>
                  <a:cubicBezTo>
                    <a:pt x="141" y="788"/>
                    <a:pt x="141" y="787"/>
                    <a:pt x="142" y="788"/>
                  </a:cubicBezTo>
                  <a:cubicBezTo>
                    <a:pt x="142" y="788"/>
                    <a:pt x="143" y="788"/>
                    <a:pt x="144" y="788"/>
                  </a:cubicBezTo>
                  <a:cubicBezTo>
                    <a:pt x="145" y="788"/>
                    <a:pt x="146" y="789"/>
                    <a:pt x="147" y="788"/>
                  </a:cubicBezTo>
                  <a:cubicBezTo>
                    <a:pt x="147" y="787"/>
                    <a:pt x="147" y="787"/>
                    <a:pt x="148" y="787"/>
                  </a:cubicBezTo>
                  <a:cubicBezTo>
                    <a:pt x="148" y="788"/>
                    <a:pt x="149" y="788"/>
                    <a:pt x="149" y="788"/>
                  </a:cubicBezTo>
                  <a:cubicBezTo>
                    <a:pt x="150" y="788"/>
                    <a:pt x="151" y="789"/>
                    <a:pt x="151" y="790"/>
                  </a:cubicBezTo>
                  <a:cubicBezTo>
                    <a:pt x="151" y="791"/>
                    <a:pt x="151" y="791"/>
                    <a:pt x="151" y="792"/>
                  </a:cubicBezTo>
                  <a:cubicBezTo>
                    <a:pt x="152" y="793"/>
                    <a:pt x="152" y="793"/>
                    <a:pt x="153" y="793"/>
                  </a:cubicBezTo>
                  <a:cubicBezTo>
                    <a:pt x="153" y="794"/>
                    <a:pt x="154" y="794"/>
                    <a:pt x="154" y="795"/>
                  </a:cubicBezTo>
                  <a:cubicBezTo>
                    <a:pt x="156" y="795"/>
                    <a:pt x="157" y="796"/>
                    <a:pt x="158" y="796"/>
                  </a:cubicBezTo>
                  <a:cubicBezTo>
                    <a:pt x="159" y="796"/>
                    <a:pt x="160" y="796"/>
                    <a:pt x="160" y="796"/>
                  </a:cubicBezTo>
                  <a:cubicBezTo>
                    <a:pt x="161" y="796"/>
                    <a:pt x="163" y="797"/>
                    <a:pt x="163" y="796"/>
                  </a:cubicBezTo>
                  <a:cubicBezTo>
                    <a:pt x="165" y="796"/>
                    <a:pt x="164" y="795"/>
                    <a:pt x="165" y="794"/>
                  </a:cubicBezTo>
                  <a:cubicBezTo>
                    <a:pt x="165" y="793"/>
                    <a:pt x="165" y="793"/>
                    <a:pt x="165" y="792"/>
                  </a:cubicBezTo>
                  <a:cubicBezTo>
                    <a:pt x="165" y="791"/>
                    <a:pt x="165" y="790"/>
                    <a:pt x="165" y="789"/>
                  </a:cubicBezTo>
                  <a:cubicBezTo>
                    <a:pt x="166" y="789"/>
                    <a:pt x="166" y="789"/>
                    <a:pt x="166" y="789"/>
                  </a:cubicBezTo>
                  <a:cubicBezTo>
                    <a:pt x="167" y="789"/>
                    <a:pt x="168" y="789"/>
                    <a:pt x="169" y="789"/>
                  </a:cubicBezTo>
                  <a:cubicBezTo>
                    <a:pt x="170" y="789"/>
                    <a:pt x="171" y="789"/>
                    <a:pt x="172" y="789"/>
                  </a:cubicBezTo>
                  <a:cubicBezTo>
                    <a:pt x="173" y="789"/>
                    <a:pt x="174" y="789"/>
                    <a:pt x="176" y="789"/>
                  </a:cubicBezTo>
                  <a:cubicBezTo>
                    <a:pt x="176" y="789"/>
                    <a:pt x="177" y="789"/>
                    <a:pt x="178" y="789"/>
                  </a:cubicBezTo>
                  <a:cubicBezTo>
                    <a:pt x="180" y="789"/>
                    <a:pt x="181" y="788"/>
                    <a:pt x="183" y="788"/>
                  </a:cubicBezTo>
                  <a:cubicBezTo>
                    <a:pt x="187" y="787"/>
                    <a:pt x="193" y="788"/>
                    <a:pt x="193" y="786"/>
                  </a:cubicBezTo>
                  <a:cubicBezTo>
                    <a:pt x="195" y="780"/>
                    <a:pt x="191" y="779"/>
                    <a:pt x="191" y="778"/>
                  </a:cubicBezTo>
                  <a:cubicBezTo>
                    <a:pt x="189" y="777"/>
                    <a:pt x="182" y="777"/>
                    <a:pt x="180" y="777"/>
                  </a:cubicBezTo>
                  <a:cubicBezTo>
                    <a:pt x="177" y="777"/>
                    <a:pt x="174" y="777"/>
                    <a:pt x="172" y="777"/>
                  </a:cubicBezTo>
                  <a:cubicBezTo>
                    <a:pt x="171" y="777"/>
                    <a:pt x="169" y="777"/>
                    <a:pt x="169" y="776"/>
                  </a:cubicBezTo>
                  <a:cubicBezTo>
                    <a:pt x="169" y="775"/>
                    <a:pt x="170" y="773"/>
                    <a:pt x="171" y="773"/>
                  </a:cubicBezTo>
                  <a:cubicBezTo>
                    <a:pt x="172" y="771"/>
                    <a:pt x="174" y="769"/>
                    <a:pt x="175" y="767"/>
                  </a:cubicBezTo>
                  <a:cubicBezTo>
                    <a:pt x="176" y="766"/>
                    <a:pt x="176" y="764"/>
                    <a:pt x="177" y="763"/>
                  </a:cubicBezTo>
                  <a:cubicBezTo>
                    <a:pt x="178" y="762"/>
                    <a:pt x="178" y="761"/>
                    <a:pt x="178" y="760"/>
                  </a:cubicBezTo>
                  <a:cubicBezTo>
                    <a:pt x="179" y="760"/>
                    <a:pt x="179" y="760"/>
                    <a:pt x="180" y="759"/>
                  </a:cubicBezTo>
                  <a:cubicBezTo>
                    <a:pt x="181" y="759"/>
                    <a:pt x="181" y="759"/>
                    <a:pt x="181" y="759"/>
                  </a:cubicBezTo>
                  <a:cubicBezTo>
                    <a:pt x="182" y="759"/>
                    <a:pt x="182" y="759"/>
                    <a:pt x="183" y="759"/>
                  </a:cubicBezTo>
                  <a:cubicBezTo>
                    <a:pt x="183" y="759"/>
                    <a:pt x="183" y="759"/>
                    <a:pt x="183" y="759"/>
                  </a:cubicBezTo>
                  <a:cubicBezTo>
                    <a:pt x="184" y="758"/>
                    <a:pt x="184" y="758"/>
                    <a:pt x="185" y="757"/>
                  </a:cubicBezTo>
                  <a:cubicBezTo>
                    <a:pt x="185" y="756"/>
                    <a:pt x="186" y="755"/>
                    <a:pt x="187" y="755"/>
                  </a:cubicBezTo>
                  <a:cubicBezTo>
                    <a:pt x="188" y="755"/>
                    <a:pt x="189" y="754"/>
                    <a:pt x="190" y="754"/>
                  </a:cubicBezTo>
                  <a:cubicBezTo>
                    <a:pt x="191" y="754"/>
                    <a:pt x="192" y="754"/>
                    <a:pt x="192" y="754"/>
                  </a:cubicBezTo>
                  <a:cubicBezTo>
                    <a:pt x="194" y="754"/>
                    <a:pt x="195" y="755"/>
                    <a:pt x="196" y="755"/>
                  </a:cubicBezTo>
                  <a:cubicBezTo>
                    <a:pt x="196" y="755"/>
                    <a:pt x="196" y="755"/>
                    <a:pt x="196" y="755"/>
                  </a:cubicBezTo>
                  <a:cubicBezTo>
                    <a:pt x="198" y="754"/>
                    <a:pt x="199" y="755"/>
                    <a:pt x="200" y="754"/>
                  </a:cubicBezTo>
                  <a:cubicBezTo>
                    <a:pt x="201" y="754"/>
                    <a:pt x="200" y="753"/>
                    <a:pt x="201" y="752"/>
                  </a:cubicBezTo>
                  <a:cubicBezTo>
                    <a:pt x="201" y="752"/>
                    <a:pt x="202" y="751"/>
                    <a:pt x="202" y="751"/>
                  </a:cubicBezTo>
                  <a:cubicBezTo>
                    <a:pt x="203" y="749"/>
                    <a:pt x="202" y="748"/>
                    <a:pt x="204" y="747"/>
                  </a:cubicBezTo>
                  <a:cubicBezTo>
                    <a:pt x="205" y="747"/>
                    <a:pt x="209" y="748"/>
                    <a:pt x="210" y="749"/>
                  </a:cubicBezTo>
                  <a:cubicBezTo>
                    <a:pt x="211" y="750"/>
                    <a:pt x="211" y="752"/>
                    <a:pt x="211" y="754"/>
                  </a:cubicBezTo>
                  <a:cubicBezTo>
                    <a:pt x="213" y="755"/>
                    <a:pt x="216" y="754"/>
                    <a:pt x="218" y="755"/>
                  </a:cubicBezTo>
                  <a:cubicBezTo>
                    <a:pt x="220" y="756"/>
                    <a:pt x="222" y="757"/>
                    <a:pt x="225" y="759"/>
                  </a:cubicBezTo>
                  <a:cubicBezTo>
                    <a:pt x="228" y="760"/>
                    <a:pt x="231" y="763"/>
                    <a:pt x="235" y="763"/>
                  </a:cubicBezTo>
                  <a:cubicBezTo>
                    <a:pt x="238" y="763"/>
                    <a:pt x="240" y="762"/>
                    <a:pt x="243" y="762"/>
                  </a:cubicBezTo>
                  <a:cubicBezTo>
                    <a:pt x="246" y="762"/>
                    <a:pt x="250" y="762"/>
                    <a:pt x="254" y="762"/>
                  </a:cubicBezTo>
                  <a:cubicBezTo>
                    <a:pt x="256" y="762"/>
                    <a:pt x="257" y="763"/>
                    <a:pt x="258" y="760"/>
                  </a:cubicBezTo>
                  <a:cubicBezTo>
                    <a:pt x="258" y="759"/>
                    <a:pt x="255" y="755"/>
                    <a:pt x="253" y="755"/>
                  </a:cubicBezTo>
                  <a:cubicBezTo>
                    <a:pt x="252" y="750"/>
                    <a:pt x="257" y="751"/>
                    <a:pt x="259" y="751"/>
                  </a:cubicBezTo>
                  <a:cubicBezTo>
                    <a:pt x="261" y="752"/>
                    <a:pt x="264" y="752"/>
                    <a:pt x="266" y="753"/>
                  </a:cubicBezTo>
                  <a:cubicBezTo>
                    <a:pt x="268" y="753"/>
                    <a:pt x="268" y="753"/>
                    <a:pt x="269" y="754"/>
                  </a:cubicBezTo>
                  <a:cubicBezTo>
                    <a:pt x="269" y="754"/>
                    <a:pt x="270" y="754"/>
                    <a:pt x="270" y="754"/>
                  </a:cubicBezTo>
                  <a:cubicBezTo>
                    <a:pt x="271" y="753"/>
                    <a:pt x="272" y="752"/>
                    <a:pt x="273" y="752"/>
                  </a:cubicBezTo>
                  <a:cubicBezTo>
                    <a:pt x="274" y="751"/>
                    <a:pt x="274" y="751"/>
                    <a:pt x="275" y="751"/>
                  </a:cubicBezTo>
                  <a:cubicBezTo>
                    <a:pt x="276" y="750"/>
                    <a:pt x="276" y="750"/>
                    <a:pt x="277" y="750"/>
                  </a:cubicBezTo>
                  <a:cubicBezTo>
                    <a:pt x="279" y="750"/>
                    <a:pt x="280" y="750"/>
                    <a:pt x="281" y="749"/>
                  </a:cubicBezTo>
                  <a:cubicBezTo>
                    <a:pt x="282" y="749"/>
                    <a:pt x="282" y="749"/>
                    <a:pt x="282" y="749"/>
                  </a:cubicBezTo>
                  <a:cubicBezTo>
                    <a:pt x="282" y="748"/>
                    <a:pt x="282" y="746"/>
                    <a:pt x="283" y="746"/>
                  </a:cubicBezTo>
                  <a:cubicBezTo>
                    <a:pt x="285" y="742"/>
                    <a:pt x="287" y="744"/>
                    <a:pt x="289" y="745"/>
                  </a:cubicBezTo>
                  <a:cubicBezTo>
                    <a:pt x="290" y="746"/>
                    <a:pt x="292" y="745"/>
                    <a:pt x="293" y="745"/>
                  </a:cubicBezTo>
                  <a:cubicBezTo>
                    <a:pt x="296" y="745"/>
                    <a:pt x="297" y="746"/>
                    <a:pt x="299" y="747"/>
                  </a:cubicBezTo>
                  <a:cubicBezTo>
                    <a:pt x="303" y="749"/>
                    <a:pt x="307" y="746"/>
                    <a:pt x="310" y="748"/>
                  </a:cubicBezTo>
                  <a:cubicBezTo>
                    <a:pt x="312" y="749"/>
                    <a:pt x="312" y="750"/>
                    <a:pt x="314" y="751"/>
                  </a:cubicBezTo>
                  <a:cubicBezTo>
                    <a:pt x="316" y="751"/>
                    <a:pt x="318" y="751"/>
                    <a:pt x="319" y="751"/>
                  </a:cubicBezTo>
                  <a:cubicBezTo>
                    <a:pt x="324" y="751"/>
                    <a:pt x="325" y="748"/>
                    <a:pt x="329" y="748"/>
                  </a:cubicBezTo>
                  <a:cubicBezTo>
                    <a:pt x="332" y="748"/>
                    <a:pt x="334" y="748"/>
                    <a:pt x="336" y="747"/>
                  </a:cubicBezTo>
                  <a:cubicBezTo>
                    <a:pt x="338" y="746"/>
                    <a:pt x="340" y="745"/>
                    <a:pt x="341" y="743"/>
                  </a:cubicBezTo>
                  <a:cubicBezTo>
                    <a:pt x="342" y="743"/>
                    <a:pt x="343" y="743"/>
                    <a:pt x="344" y="743"/>
                  </a:cubicBezTo>
                  <a:cubicBezTo>
                    <a:pt x="344" y="742"/>
                    <a:pt x="344" y="742"/>
                    <a:pt x="345" y="741"/>
                  </a:cubicBezTo>
                  <a:cubicBezTo>
                    <a:pt x="346" y="740"/>
                    <a:pt x="347" y="739"/>
                    <a:pt x="349" y="740"/>
                  </a:cubicBezTo>
                  <a:cubicBezTo>
                    <a:pt x="350" y="740"/>
                    <a:pt x="352" y="742"/>
                    <a:pt x="353" y="743"/>
                  </a:cubicBezTo>
                  <a:cubicBezTo>
                    <a:pt x="355" y="744"/>
                    <a:pt x="356" y="745"/>
                    <a:pt x="358" y="745"/>
                  </a:cubicBezTo>
                  <a:cubicBezTo>
                    <a:pt x="360" y="746"/>
                    <a:pt x="361" y="745"/>
                    <a:pt x="364" y="748"/>
                  </a:cubicBezTo>
                  <a:cubicBezTo>
                    <a:pt x="366" y="750"/>
                    <a:pt x="366" y="751"/>
                    <a:pt x="369" y="750"/>
                  </a:cubicBezTo>
                  <a:cubicBezTo>
                    <a:pt x="371" y="750"/>
                    <a:pt x="372" y="749"/>
                    <a:pt x="374" y="748"/>
                  </a:cubicBezTo>
                  <a:cubicBezTo>
                    <a:pt x="374" y="748"/>
                    <a:pt x="377" y="747"/>
                    <a:pt x="377" y="747"/>
                  </a:cubicBezTo>
                  <a:cubicBezTo>
                    <a:pt x="378" y="746"/>
                    <a:pt x="378" y="744"/>
                    <a:pt x="378" y="743"/>
                  </a:cubicBezTo>
                  <a:cubicBezTo>
                    <a:pt x="380" y="743"/>
                    <a:pt x="383" y="743"/>
                    <a:pt x="385" y="743"/>
                  </a:cubicBezTo>
                  <a:cubicBezTo>
                    <a:pt x="386" y="742"/>
                    <a:pt x="387" y="741"/>
                    <a:pt x="388" y="740"/>
                  </a:cubicBezTo>
                  <a:cubicBezTo>
                    <a:pt x="390" y="738"/>
                    <a:pt x="394" y="738"/>
                    <a:pt x="397" y="737"/>
                  </a:cubicBezTo>
                  <a:cubicBezTo>
                    <a:pt x="400" y="737"/>
                    <a:pt x="403" y="738"/>
                    <a:pt x="406" y="737"/>
                  </a:cubicBezTo>
                  <a:cubicBezTo>
                    <a:pt x="407" y="737"/>
                    <a:pt x="408" y="736"/>
                    <a:pt x="410" y="736"/>
                  </a:cubicBezTo>
                  <a:cubicBezTo>
                    <a:pt x="411" y="736"/>
                    <a:pt x="413" y="736"/>
                    <a:pt x="414" y="736"/>
                  </a:cubicBezTo>
                  <a:cubicBezTo>
                    <a:pt x="415" y="736"/>
                    <a:pt x="417" y="735"/>
                    <a:pt x="417" y="735"/>
                  </a:cubicBezTo>
                  <a:cubicBezTo>
                    <a:pt x="419" y="732"/>
                    <a:pt x="417" y="733"/>
                    <a:pt x="415" y="731"/>
                  </a:cubicBezTo>
                  <a:cubicBezTo>
                    <a:pt x="413" y="728"/>
                    <a:pt x="416" y="726"/>
                    <a:pt x="418" y="724"/>
                  </a:cubicBezTo>
                  <a:cubicBezTo>
                    <a:pt x="420" y="722"/>
                    <a:pt x="423" y="722"/>
                    <a:pt x="426" y="722"/>
                  </a:cubicBezTo>
                  <a:cubicBezTo>
                    <a:pt x="430" y="722"/>
                    <a:pt x="431" y="722"/>
                    <a:pt x="432" y="718"/>
                  </a:cubicBezTo>
                  <a:cubicBezTo>
                    <a:pt x="435" y="717"/>
                    <a:pt x="440" y="719"/>
                    <a:pt x="443" y="717"/>
                  </a:cubicBezTo>
                  <a:cubicBezTo>
                    <a:pt x="445" y="716"/>
                    <a:pt x="446" y="713"/>
                    <a:pt x="447" y="712"/>
                  </a:cubicBezTo>
                  <a:cubicBezTo>
                    <a:pt x="448" y="711"/>
                    <a:pt x="451" y="709"/>
                    <a:pt x="451" y="708"/>
                  </a:cubicBezTo>
                  <a:cubicBezTo>
                    <a:pt x="450" y="707"/>
                    <a:pt x="448" y="707"/>
                    <a:pt x="448" y="706"/>
                  </a:cubicBezTo>
                  <a:cubicBezTo>
                    <a:pt x="446" y="705"/>
                    <a:pt x="444" y="704"/>
                    <a:pt x="442" y="703"/>
                  </a:cubicBezTo>
                  <a:cubicBezTo>
                    <a:pt x="439" y="702"/>
                    <a:pt x="433" y="703"/>
                    <a:pt x="433" y="700"/>
                  </a:cubicBezTo>
                  <a:cubicBezTo>
                    <a:pt x="433" y="698"/>
                    <a:pt x="437" y="697"/>
                    <a:pt x="436" y="694"/>
                  </a:cubicBezTo>
                  <a:cubicBezTo>
                    <a:pt x="434" y="692"/>
                    <a:pt x="424" y="694"/>
                    <a:pt x="422" y="694"/>
                  </a:cubicBezTo>
                  <a:cubicBezTo>
                    <a:pt x="418" y="695"/>
                    <a:pt x="417" y="695"/>
                    <a:pt x="413" y="694"/>
                  </a:cubicBezTo>
                  <a:cubicBezTo>
                    <a:pt x="412" y="693"/>
                    <a:pt x="410" y="692"/>
                    <a:pt x="408" y="691"/>
                  </a:cubicBezTo>
                  <a:cubicBezTo>
                    <a:pt x="405" y="690"/>
                    <a:pt x="403" y="693"/>
                    <a:pt x="401" y="693"/>
                  </a:cubicBezTo>
                  <a:cubicBezTo>
                    <a:pt x="399" y="693"/>
                    <a:pt x="397" y="690"/>
                    <a:pt x="395" y="690"/>
                  </a:cubicBezTo>
                  <a:cubicBezTo>
                    <a:pt x="391" y="689"/>
                    <a:pt x="387" y="690"/>
                    <a:pt x="383" y="690"/>
                  </a:cubicBezTo>
                  <a:cubicBezTo>
                    <a:pt x="381" y="689"/>
                    <a:pt x="378" y="689"/>
                    <a:pt x="375" y="688"/>
                  </a:cubicBezTo>
                  <a:cubicBezTo>
                    <a:pt x="373" y="688"/>
                    <a:pt x="371" y="687"/>
                    <a:pt x="370" y="685"/>
                  </a:cubicBezTo>
                  <a:cubicBezTo>
                    <a:pt x="375" y="684"/>
                    <a:pt x="381" y="685"/>
                    <a:pt x="385" y="685"/>
                  </a:cubicBezTo>
                  <a:cubicBezTo>
                    <a:pt x="391" y="685"/>
                    <a:pt x="399" y="687"/>
                    <a:pt x="403" y="682"/>
                  </a:cubicBezTo>
                  <a:cubicBezTo>
                    <a:pt x="404" y="681"/>
                    <a:pt x="405" y="679"/>
                    <a:pt x="406" y="677"/>
                  </a:cubicBezTo>
                  <a:cubicBezTo>
                    <a:pt x="406" y="676"/>
                    <a:pt x="406" y="675"/>
                    <a:pt x="407" y="674"/>
                  </a:cubicBezTo>
                  <a:cubicBezTo>
                    <a:pt x="409" y="672"/>
                    <a:pt x="412" y="674"/>
                    <a:pt x="413" y="672"/>
                  </a:cubicBezTo>
                  <a:cubicBezTo>
                    <a:pt x="414" y="669"/>
                    <a:pt x="412" y="665"/>
                    <a:pt x="410" y="664"/>
                  </a:cubicBezTo>
                  <a:cubicBezTo>
                    <a:pt x="408" y="663"/>
                    <a:pt x="405" y="663"/>
                    <a:pt x="403" y="664"/>
                  </a:cubicBezTo>
                  <a:cubicBezTo>
                    <a:pt x="403" y="660"/>
                    <a:pt x="407" y="661"/>
                    <a:pt x="410" y="661"/>
                  </a:cubicBezTo>
                  <a:cubicBezTo>
                    <a:pt x="411" y="660"/>
                    <a:pt x="413" y="660"/>
                    <a:pt x="414" y="660"/>
                  </a:cubicBezTo>
                  <a:cubicBezTo>
                    <a:pt x="417" y="660"/>
                    <a:pt x="415" y="661"/>
                    <a:pt x="417" y="661"/>
                  </a:cubicBezTo>
                  <a:cubicBezTo>
                    <a:pt x="419" y="662"/>
                    <a:pt x="420" y="662"/>
                    <a:pt x="422" y="661"/>
                  </a:cubicBezTo>
                  <a:cubicBezTo>
                    <a:pt x="423" y="661"/>
                    <a:pt x="424" y="659"/>
                    <a:pt x="425" y="658"/>
                  </a:cubicBezTo>
                  <a:cubicBezTo>
                    <a:pt x="426" y="657"/>
                    <a:pt x="426" y="657"/>
                    <a:pt x="427" y="656"/>
                  </a:cubicBezTo>
                  <a:cubicBezTo>
                    <a:pt x="427" y="655"/>
                    <a:pt x="429" y="655"/>
                    <a:pt x="429" y="655"/>
                  </a:cubicBezTo>
                  <a:cubicBezTo>
                    <a:pt x="431" y="654"/>
                    <a:pt x="433" y="651"/>
                    <a:pt x="434" y="649"/>
                  </a:cubicBezTo>
                  <a:cubicBezTo>
                    <a:pt x="434" y="648"/>
                    <a:pt x="433" y="644"/>
                    <a:pt x="432" y="644"/>
                  </a:cubicBezTo>
                  <a:cubicBezTo>
                    <a:pt x="433" y="640"/>
                    <a:pt x="435" y="640"/>
                    <a:pt x="439" y="639"/>
                  </a:cubicBezTo>
                  <a:cubicBezTo>
                    <a:pt x="442" y="639"/>
                    <a:pt x="443" y="638"/>
                    <a:pt x="444" y="635"/>
                  </a:cubicBezTo>
                  <a:cubicBezTo>
                    <a:pt x="445" y="631"/>
                    <a:pt x="447" y="627"/>
                    <a:pt x="447" y="622"/>
                  </a:cubicBezTo>
                  <a:cubicBezTo>
                    <a:pt x="448" y="620"/>
                    <a:pt x="448" y="619"/>
                    <a:pt x="449" y="617"/>
                  </a:cubicBezTo>
                  <a:cubicBezTo>
                    <a:pt x="450" y="614"/>
                    <a:pt x="451" y="613"/>
                    <a:pt x="451" y="611"/>
                  </a:cubicBezTo>
                  <a:cubicBezTo>
                    <a:pt x="451" y="609"/>
                    <a:pt x="452" y="607"/>
                    <a:pt x="452" y="604"/>
                  </a:cubicBezTo>
                  <a:cubicBezTo>
                    <a:pt x="452" y="601"/>
                    <a:pt x="453" y="599"/>
                    <a:pt x="453" y="596"/>
                  </a:cubicBezTo>
                  <a:cubicBezTo>
                    <a:pt x="454" y="592"/>
                    <a:pt x="453" y="587"/>
                    <a:pt x="453" y="583"/>
                  </a:cubicBezTo>
                  <a:cubicBezTo>
                    <a:pt x="453" y="579"/>
                    <a:pt x="455" y="572"/>
                    <a:pt x="452" y="569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4" name="Freeform 64"/>
            <p:cNvSpPr>
              <a:spLocks/>
            </p:cNvSpPr>
            <p:nvPr/>
          </p:nvSpPr>
          <p:spPr bwMode="auto">
            <a:xfrm>
              <a:off x="2798763" y="3584575"/>
              <a:ext cx="41275" cy="63500"/>
            </a:xfrm>
            <a:custGeom>
              <a:avLst/>
              <a:gdLst/>
              <a:ahLst/>
              <a:cxnLst>
                <a:cxn ang="0">
                  <a:pos x="18" y="2"/>
                </a:cxn>
                <a:cxn ang="0">
                  <a:pos x="22" y="1"/>
                </a:cxn>
                <a:cxn ang="0">
                  <a:pos x="17" y="10"/>
                </a:cxn>
                <a:cxn ang="0">
                  <a:pos x="12" y="15"/>
                </a:cxn>
                <a:cxn ang="0">
                  <a:pos x="10" y="19"/>
                </a:cxn>
                <a:cxn ang="0">
                  <a:pos x="10" y="23"/>
                </a:cxn>
                <a:cxn ang="0">
                  <a:pos x="6" y="32"/>
                </a:cxn>
                <a:cxn ang="0">
                  <a:pos x="5" y="34"/>
                </a:cxn>
                <a:cxn ang="0">
                  <a:pos x="2" y="32"/>
                </a:cxn>
                <a:cxn ang="0">
                  <a:pos x="1" y="25"/>
                </a:cxn>
                <a:cxn ang="0">
                  <a:pos x="1" y="21"/>
                </a:cxn>
                <a:cxn ang="0">
                  <a:pos x="3" y="19"/>
                </a:cxn>
                <a:cxn ang="0">
                  <a:pos x="9" y="15"/>
                </a:cxn>
                <a:cxn ang="0">
                  <a:pos x="3" y="14"/>
                </a:cxn>
                <a:cxn ang="0">
                  <a:pos x="5" y="13"/>
                </a:cxn>
                <a:cxn ang="0">
                  <a:pos x="6" y="9"/>
                </a:cxn>
                <a:cxn ang="0">
                  <a:pos x="10" y="5"/>
                </a:cxn>
                <a:cxn ang="0">
                  <a:pos x="18" y="0"/>
                </a:cxn>
                <a:cxn ang="0">
                  <a:pos x="18" y="2"/>
                </a:cxn>
              </a:cxnLst>
              <a:rect l="0" t="0" r="r" b="b"/>
              <a:pathLst>
                <a:path w="22" h="34">
                  <a:moveTo>
                    <a:pt x="18" y="2"/>
                  </a:moveTo>
                  <a:cubicBezTo>
                    <a:pt x="19" y="1"/>
                    <a:pt x="21" y="1"/>
                    <a:pt x="22" y="1"/>
                  </a:cubicBezTo>
                  <a:cubicBezTo>
                    <a:pt x="22" y="4"/>
                    <a:pt x="19" y="7"/>
                    <a:pt x="17" y="10"/>
                  </a:cubicBezTo>
                  <a:cubicBezTo>
                    <a:pt x="16" y="11"/>
                    <a:pt x="14" y="13"/>
                    <a:pt x="12" y="15"/>
                  </a:cubicBezTo>
                  <a:cubicBezTo>
                    <a:pt x="12" y="16"/>
                    <a:pt x="11" y="17"/>
                    <a:pt x="10" y="19"/>
                  </a:cubicBezTo>
                  <a:cubicBezTo>
                    <a:pt x="10" y="20"/>
                    <a:pt x="10" y="21"/>
                    <a:pt x="10" y="23"/>
                  </a:cubicBezTo>
                  <a:cubicBezTo>
                    <a:pt x="10" y="26"/>
                    <a:pt x="8" y="29"/>
                    <a:pt x="6" y="32"/>
                  </a:cubicBezTo>
                  <a:cubicBezTo>
                    <a:pt x="6" y="32"/>
                    <a:pt x="6" y="33"/>
                    <a:pt x="5" y="34"/>
                  </a:cubicBezTo>
                  <a:cubicBezTo>
                    <a:pt x="4" y="34"/>
                    <a:pt x="3" y="32"/>
                    <a:pt x="2" y="32"/>
                  </a:cubicBezTo>
                  <a:cubicBezTo>
                    <a:pt x="1" y="29"/>
                    <a:pt x="2" y="27"/>
                    <a:pt x="1" y="25"/>
                  </a:cubicBezTo>
                  <a:cubicBezTo>
                    <a:pt x="1" y="23"/>
                    <a:pt x="0" y="23"/>
                    <a:pt x="1" y="21"/>
                  </a:cubicBezTo>
                  <a:cubicBezTo>
                    <a:pt x="1" y="20"/>
                    <a:pt x="2" y="19"/>
                    <a:pt x="3" y="19"/>
                  </a:cubicBezTo>
                  <a:cubicBezTo>
                    <a:pt x="5" y="17"/>
                    <a:pt x="8" y="17"/>
                    <a:pt x="9" y="15"/>
                  </a:cubicBezTo>
                  <a:cubicBezTo>
                    <a:pt x="8" y="13"/>
                    <a:pt x="2" y="18"/>
                    <a:pt x="3" y="14"/>
                  </a:cubicBezTo>
                  <a:cubicBezTo>
                    <a:pt x="3" y="14"/>
                    <a:pt x="4" y="13"/>
                    <a:pt x="5" y="13"/>
                  </a:cubicBezTo>
                  <a:cubicBezTo>
                    <a:pt x="5" y="12"/>
                    <a:pt x="5" y="10"/>
                    <a:pt x="6" y="9"/>
                  </a:cubicBezTo>
                  <a:cubicBezTo>
                    <a:pt x="7" y="7"/>
                    <a:pt x="8" y="7"/>
                    <a:pt x="10" y="5"/>
                  </a:cubicBezTo>
                  <a:cubicBezTo>
                    <a:pt x="13" y="4"/>
                    <a:pt x="15" y="0"/>
                    <a:pt x="18" y="0"/>
                  </a:cubicBezTo>
                  <a:lnTo>
                    <a:pt x="18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5" name="Freeform 65"/>
            <p:cNvSpPr>
              <a:spLocks/>
            </p:cNvSpPr>
            <p:nvPr/>
          </p:nvSpPr>
          <p:spPr bwMode="auto">
            <a:xfrm>
              <a:off x="2832100" y="3638550"/>
              <a:ext cx="44450" cy="92075"/>
            </a:xfrm>
            <a:custGeom>
              <a:avLst/>
              <a:gdLst/>
              <a:ahLst/>
              <a:cxnLst>
                <a:cxn ang="0">
                  <a:pos x="19" y="0"/>
                </a:cxn>
                <a:cxn ang="0">
                  <a:pos x="9" y="11"/>
                </a:cxn>
                <a:cxn ang="0">
                  <a:pos x="6" y="13"/>
                </a:cxn>
                <a:cxn ang="0">
                  <a:pos x="5" y="13"/>
                </a:cxn>
                <a:cxn ang="0">
                  <a:pos x="3" y="16"/>
                </a:cxn>
                <a:cxn ang="0">
                  <a:pos x="3" y="23"/>
                </a:cxn>
                <a:cxn ang="0">
                  <a:pos x="4" y="28"/>
                </a:cxn>
                <a:cxn ang="0">
                  <a:pos x="6" y="32"/>
                </a:cxn>
                <a:cxn ang="0">
                  <a:pos x="5" y="34"/>
                </a:cxn>
                <a:cxn ang="0">
                  <a:pos x="6" y="38"/>
                </a:cxn>
                <a:cxn ang="0">
                  <a:pos x="7" y="38"/>
                </a:cxn>
                <a:cxn ang="0">
                  <a:pos x="8" y="40"/>
                </a:cxn>
                <a:cxn ang="0">
                  <a:pos x="1" y="40"/>
                </a:cxn>
                <a:cxn ang="0">
                  <a:pos x="0" y="44"/>
                </a:cxn>
                <a:cxn ang="0">
                  <a:pos x="2" y="48"/>
                </a:cxn>
                <a:cxn ang="0">
                  <a:pos x="7" y="47"/>
                </a:cxn>
                <a:cxn ang="0">
                  <a:pos x="11" y="44"/>
                </a:cxn>
                <a:cxn ang="0">
                  <a:pos x="12" y="41"/>
                </a:cxn>
                <a:cxn ang="0">
                  <a:pos x="10" y="37"/>
                </a:cxn>
                <a:cxn ang="0">
                  <a:pos x="11" y="34"/>
                </a:cxn>
                <a:cxn ang="0">
                  <a:pos x="12" y="31"/>
                </a:cxn>
                <a:cxn ang="0">
                  <a:pos x="14" y="29"/>
                </a:cxn>
                <a:cxn ang="0">
                  <a:pos x="13" y="25"/>
                </a:cxn>
                <a:cxn ang="0">
                  <a:pos x="13" y="19"/>
                </a:cxn>
                <a:cxn ang="0">
                  <a:pos x="14" y="13"/>
                </a:cxn>
                <a:cxn ang="0">
                  <a:pos x="17" y="9"/>
                </a:cxn>
                <a:cxn ang="0">
                  <a:pos x="22" y="6"/>
                </a:cxn>
                <a:cxn ang="0">
                  <a:pos x="19" y="2"/>
                </a:cxn>
                <a:cxn ang="0">
                  <a:pos x="19" y="0"/>
                </a:cxn>
              </a:cxnLst>
              <a:rect l="0" t="0" r="r" b="b"/>
              <a:pathLst>
                <a:path w="24" h="49">
                  <a:moveTo>
                    <a:pt x="19" y="0"/>
                  </a:moveTo>
                  <a:cubicBezTo>
                    <a:pt x="15" y="3"/>
                    <a:pt x="12" y="7"/>
                    <a:pt x="9" y="11"/>
                  </a:cubicBezTo>
                  <a:cubicBezTo>
                    <a:pt x="8" y="12"/>
                    <a:pt x="7" y="12"/>
                    <a:pt x="6" y="13"/>
                  </a:cubicBezTo>
                  <a:cubicBezTo>
                    <a:pt x="6" y="13"/>
                    <a:pt x="5" y="13"/>
                    <a:pt x="5" y="13"/>
                  </a:cubicBezTo>
                  <a:cubicBezTo>
                    <a:pt x="4" y="13"/>
                    <a:pt x="3" y="15"/>
                    <a:pt x="3" y="16"/>
                  </a:cubicBezTo>
                  <a:cubicBezTo>
                    <a:pt x="3" y="18"/>
                    <a:pt x="3" y="20"/>
                    <a:pt x="3" y="23"/>
                  </a:cubicBezTo>
                  <a:cubicBezTo>
                    <a:pt x="3" y="25"/>
                    <a:pt x="3" y="26"/>
                    <a:pt x="4" y="28"/>
                  </a:cubicBezTo>
                  <a:cubicBezTo>
                    <a:pt x="4" y="29"/>
                    <a:pt x="6" y="30"/>
                    <a:pt x="6" y="32"/>
                  </a:cubicBezTo>
                  <a:cubicBezTo>
                    <a:pt x="6" y="32"/>
                    <a:pt x="5" y="33"/>
                    <a:pt x="5" y="34"/>
                  </a:cubicBezTo>
                  <a:cubicBezTo>
                    <a:pt x="4" y="35"/>
                    <a:pt x="4" y="36"/>
                    <a:pt x="6" y="38"/>
                  </a:cubicBezTo>
                  <a:cubicBezTo>
                    <a:pt x="6" y="38"/>
                    <a:pt x="7" y="38"/>
                    <a:pt x="7" y="38"/>
                  </a:cubicBezTo>
                  <a:cubicBezTo>
                    <a:pt x="8" y="39"/>
                    <a:pt x="8" y="40"/>
                    <a:pt x="8" y="40"/>
                  </a:cubicBezTo>
                  <a:cubicBezTo>
                    <a:pt x="6" y="40"/>
                    <a:pt x="3" y="39"/>
                    <a:pt x="1" y="40"/>
                  </a:cubicBezTo>
                  <a:cubicBezTo>
                    <a:pt x="1" y="41"/>
                    <a:pt x="0" y="42"/>
                    <a:pt x="0" y="44"/>
                  </a:cubicBezTo>
                  <a:cubicBezTo>
                    <a:pt x="0" y="45"/>
                    <a:pt x="1" y="47"/>
                    <a:pt x="2" y="48"/>
                  </a:cubicBezTo>
                  <a:cubicBezTo>
                    <a:pt x="4" y="49"/>
                    <a:pt x="5" y="48"/>
                    <a:pt x="7" y="47"/>
                  </a:cubicBezTo>
                  <a:cubicBezTo>
                    <a:pt x="8" y="46"/>
                    <a:pt x="9" y="45"/>
                    <a:pt x="11" y="44"/>
                  </a:cubicBezTo>
                  <a:cubicBezTo>
                    <a:pt x="11" y="43"/>
                    <a:pt x="12" y="42"/>
                    <a:pt x="12" y="41"/>
                  </a:cubicBezTo>
                  <a:cubicBezTo>
                    <a:pt x="10" y="41"/>
                    <a:pt x="10" y="38"/>
                    <a:pt x="10" y="37"/>
                  </a:cubicBezTo>
                  <a:cubicBezTo>
                    <a:pt x="10" y="35"/>
                    <a:pt x="11" y="35"/>
                    <a:pt x="11" y="34"/>
                  </a:cubicBezTo>
                  <a:cubicBezTo>
                    <a:pt x="12" y="33"/>
                    <a:pt x="12" y="32"/>
                    <a:pt x="12" y="31"/>
                  </a:cubicBezTo>
                  <a:cubicBezTo>
                    <a:pt x="12" y="30"/>
                    <a:pt x="13" y="29"/>
                    <a:pt x="14" y="29"/>
                  </a:cubicBezTo>
                  <a:cubicBezTo>
                    <a:pt x="14" y="28"/>
                    <a:pt x="13" y="26"/>
                    <a:pt x="13" y="25"/>
                  </a:cubicBezTo>
                  <a:cubicBezTo>
                    <a:pt x="13" y="23"/>
                    <a:pt x="13" y="21"/>
                    <a:pt x="13" y="19"/>
                  </a:cubicBezTo>
                  <a:cubicBezTo>
                    <a:pt x="14" y="17"/>
                    <a:pt x="14" y="15"/>
                    <a:pt x="14" y="13"/>
                  </a:cubicBezTo>
                  <a:cubicBezTo>
                    <a:pt x="14" y="10"/>
                    <a:pt x="14" y="10"/>
                    <a:pt x="17" y="9"/>
                  </a:cubicBezTo>
                  <a:cubicBezTo>
                    <a:pt x="19" y="8"/>
                    <a:pt x="21" y="8"/>
                    <a:pt x="22" y="6"/>
                  </a:cubicBezTo>
                  <a:cubicBezTo>
                    <a:pt x="24" y="2"/>
                    <a:pt x="20" y="4"/>
                    <a:pt x="19" y="2"/>
                  </a:cubicBezTo>
                  <a:lnTo>
                    <a:pt x="19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6" name="Freeform 66"/>
            <p:cNvSpPr>
              <a:spLocks/>
            </p:cNvSpPr>
            <p:nvPr/>
          </p:nvSpPr>
          <p:spPr bwMode="auto">
            <a:xfrm>
              <a:off x="2863850" y="3654425"/>
              <a:ext cx="36513" cy="60325"/>
            </a:xfrm>
            <a:custGeom>
              <a:avLst/>
              <a:gdLst/>
              <a:ahLst/>
              <a:cxnLst>
                <a:cxn ang="0">
                  <a:pos x="13" y="5"/>
                </a:cxn>
                <a:cxn ang="0">
                  <a:pos x="0" y="5"/>
                </a:cxn>
                <a:cxn ang="0">
                  <a:pos x="2" y="14"/>
                </a:cxn>
                <a:cxn ang="0">
                  <a:pos x="4" y="17"/>
                </a:cxn>
                <a:cxn ang="0">
                  <a:pos x="4" y="20"/>
                </a:cxn>
                <a:cxn ang="0">
                  <a:pos x="6" y="26"/>
                </a:cxn>
                <a:cxn ang="0">
                  <a:pos x="13" y="30"/>
                </a:cxn>
                <a:cxn ang="0">
                  <a:pos x="16" y="31"/>
                </a:cxn>
                <a:cxn ang="0">
                  <a:pos x="19" y="25"/>
                </a:cxn>
                <a:cxn ang="0">
                  <a:pos x="13" y="19"/>
                </a:cxn>
                <a:cxn ang="0">
                  <a:pos x="15" y="16"/>
                </a:cxn>
                <a:cxn ang="0">
                  <a:pos x="16" y="13"/>
                </a:cxn>
                <a:cxn ang="0">
                  <a:pos x="16" y="11"/>
                </a:cxn>
                <a:cxn ang="0">
                  <a:pos x="16" y="9"/>
                </a:cxn>
                <a:cxn ang="0">
                  <a:pos x="13" y="7"/>
                </a:cxn>
                <a:cxn ang="0">
                  <a:pos x="13" y="5"/>
                </a:cxn>
              </a:cxnLst>
              <a:rect l="0" t="0" r="r" b="b"/>
              <a:pathLst>
                <a:path w="20" h="32">
                  <a:moveTo>
                    <a:pt x="13" y="5"/>
                  </a:moveTo>
                  <a:cubicBezTo>
                    <a:pt x="11" y="1"/>
                    <a:pt x="2" y="0"/>
                    <a:pt x="0" y="5"/>
                  </a:cubicBezTo>
                  <a:cubicBezTo>
                    <a:pt x="0" y="8"/>
                    <a:pt x="1" y="11"/>
                    <a:pt x="2" y="14"/>
                  </a:cubicBezTo>
                  <a:cubicBezTo>
                    <a:pt x="3" y="15"/>
                    <a:pt x="4" y="16"/>
                    <a:pt x="4" y="17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2"/>
                    <a:pt x="4" y="24"/>
                    <a:pt x="6" y="26"/>
                  </a:cubicBezTo>
                  <a:cubicBezTo>
                    <a:pt x="8" y="28"/>
                    <a:pt x="10" y="29"/>
                    <a:pt x="13" y="30"/>
                  </a:cubicBezTo>
                  <a:cubicBezTo>
                    <a:pt x="14" y="30"/>
                    <a:pt x="15" y="31"/>
                    <a:pt x="16" y="31"/>
                  </a:cubicBezTo>
                  <a:cubicBezTo>
                    <a:pt x="20" y="32"/>
                    <a:pt x="19" y="27"/>
                    <a:pt x="19" y="25"/>
                  </a:cubicBezTo>
                  <a:cubicBezTo>
                    <a:pt x="19" y="21"/>
                    <a:pt x="16" y="19"/>
                    <a:pt x="13" y="19"/>
                  </a:cubicBezTo>
                  <a:cubicBezTo>
                    <a:pt x="15" y="20"/>
                    <a:pt x="15" y="18"/>
                    <a:pt x="15" y="16"/>
                  </a:cubicBezTo>
                  <a:cubicBezTo>
                    <a:pt x="16" y="15"/>
                    <a:pt x="16" y="14"/>
                    <a:pt x="16" y="13"/>
                  </a:cubicBezTo>
                  <a:cubicBezTo>
                    <a:pt x="16" y="13"/>
                    <a:pt x="16" y="12"/>
                    <a:pt x="16" y="11"/>
                  </a:cubicBezTo>
                  <a:cubicBezTo>
                    <a:pt x="16" y="11"/>
                    <a:pt x="16" y="10"/>
                    <a:pt x="16" y="9"/>
                  </a:cubicBezTo>
                  <a:cubicBezTo>
                    <a:pt x="15" y="7"/>
                    <a:pt x="14" y="8"/>
                    <a:pt x="13" y="7"/>
                  </a:cubicBezTo>
                  <a:lnTo>
                    <a:pt x="13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7" name="Freeform 67"/>
            <p:cNvSpPr>
              <a:spLocks/>
            </p:cNvSpPr>
            <p:nvPr/>
          </p:nvSpPr>
          <p:spPr bwMode="auto">
            <a:xfrm>
              <a:off x="2757488" y="3619500"/>
              <a:ext cx="46038" cy="65088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17" y="1"/>
                </a:cxn>
                <a:cxn ang="0">
                  <a:pos x="12" y="4"/>
                </a:cxn>
                <a:cxn ang="0">
                  <a:pos x="12" y="6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6"/>
                </a:cxn>
                <a:cxn ang="0">
                  <a:pos x="4" y="11"/>
                </a:cxn>
                <a:cxn ang="0">
                  <a:pos x="3" y="12"/>
                </a:cxn>
                <a:cxn ang="0">
                  <a:pos x="1" y="13"/>
                </a:cxn>
                <a:cxn ang="0">
                  <a:pos x="1" y="19"/>
                </a:cxn>
                <a:cxn ang="0">
                  <a:pos x="0" y="22"/>
                </a:cxn>
                <a:cxn ang="0">
                  <a:pos x="3" y="24"/>
                </a:cxn>
                <a:cxn ang="0">
                  <a:pos x="4" y="21"/>
                </a:cxn>
                <a:cxn ang="0">
                  <a:pos x="6" y="19"/>
                </a:cxn>
                <a:cxn ang="0">
                  <a:pos x="7" y="18"/>
                </a:cxn>
                <a:cxn ang="0">
                  <a:pos x="10" y="17"/>
                </a:cxn>
                <a:cxn ang="0">
                  <a:pos x="15" y="14"/>
                </a:cxn>
                <a:cxn ang="0">
                  <a:pos x="11" y="19"/>
                </a:cxn>
                <a:cxn ang="0">
                  <a:pos x="8" y="21"/>
                </a:cxn>
                <a:cxn ang="0">
                  <a:pos x="11" y="24"/>
                </a:cxn>
                <a:cxn ang="0">
                  <a:pos x="9" y="27"/>
                </a:cxn>
                <a:cxn ang="0">
                  <a:pos x="11" y="31"/>
                </a:cxn>
                <a:cxn ang="0">
                  <a:pos x="10" y="34"/>
                </a:cxn>
                <a:cxn ang="0">
                  <a:pos x="15" y="30"/>
                </a:cxn>
                <a:cxn ang="0">
                  <a:pos x="22" y="30"/>
                </a:cxn>
                <a:cxn ang="0">
                  <a:pos x="24" y="26"/>
                </a:cxn>
                <a:cxn ang="0">
                  <a:pos x="21" y="16"/>
                </a:cxn>
                <a:cxn ang="0">
                  <a:pos x="19" y="16"/>
                </a:cxn>
                <a:cxn ang="0">
                  <a:pos x="19" y="14"/>
                </a:cxn>
                <a:cxn ang="0">
                  <a:pos x="19" y="9"/>
                </a:cxn>
                <a:cxn ang="0">
                  <a:pos x="18" y="2"/>
                </a:cxn>
                <a:cxn ang="0">
                  <a:pos x="18" y="0"/>
                </a:cxn>
              </a:cxnLst>
              <a:rect l="0" t="0" r="r" b="b"/>
              <a:pathLst>
                <a:path w="25" h="35">
                  <a:moveTo>
                    <a:pt x="18" y="0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5" y="2"/>
                    <a:pt x="13" y="1"/>
                    <a:pt x="12" y="4"/>
                  </a:cubicBezTo>
                  <a:cubicBezTo>
                    <a:pt x="12" y="5"/>
                    <a:pt x="12" y="5"/>
                    <a:pt x="12" y="6"/>
                  </a:cubicBezTo>
                  <a:cubicBezTo>
                    <a:pt x="12" y="6"/>
                    <a:pt x="11" y="6"/>
                    <a:pt x="11" y="7"/>
                  </a:cubicBezTo>
                  <a:cubicBezTo>
                    <a:pt x="10" y="8"/>
                    <a:pt x="10" y="9"/>
                    <a:pt x="10" y="10"/>
                  </a:cubicBezTo>
                  <a:cubicBezTo>
                    <a:pt x="9" y="9"/>
                    <a:pt x="8" y="5"/>
                    <a:pt x="6" y="6"/>
                  </a:cubicBezTo>
                  <a:cubicBezTo>
                    <a:pt x="5" y="6"/>
                    <a:pt x="5" y="10"/>
                    <a:pt x="4" y="11"/>
                  </a:cubicBezTo>
                  <a:cubicBezTo>
                    <a:pt x="3" y="12"/>
                    <a:pt x="4" y="12"/>
                    <a:pt x="3" y="12"/>
                  </a:cubicBezTo>
                  <a:cubicBezTo>
                    <a:pt x="2" y="13"/>
                    <a:pt x="1" y="12"/>
                    <a:pt x="1" y="13"/>
                  </a:cubicBezTo>
                  <a:cubicBezTo>
                    <a:pt x="0" y="15"/>
                    <a:pt x="1" y="17"/>
                    <a:pt x="1" y="19"/>
                  </a:cubicBezTo>
                  <a:cubicBezTo>
                    <a:pt x="1" y="20"/>
                    <a:pt x="0" y="21"/>
                    <a:pt x="0" y="22"/>
                  </a:cubicBezTo>
                  <a:cubicBezTo>
                    <a:pt x="0" y="24"/>
                    <a:pt x="2" y="25"/>
                    <a:pt x="3" y="24"/>
                  </a:cubicBezTo>
                  <a:cubicBezTo>
                    <a:pt x="5" y="23"/>
                    <a:pt x="4" y="23"/>
                    <a:pt x="4" y="21"/>
                  </a:cubicBezTo>
                  <a:cubicBezTo>
                    <a:pt x="5" y="20"/>
                    <a:pt x="5" y="20"/>
                    <a:pt x="6" y="19"/>
                  </a:cubicBezTo>
                  <a:cubicBezTo>
                    <a:pt x="6" y="19"/>
                    <a:pt x="6" y="18"/>
                    <a:pt x="7" y="18"/>
                  </a:cubicBezTo>
                  <a:cubicBezTo>
                    <a:pt x="8" y="18"/>
                    <a:pt x="9" y="17"/>
                    <a:pt x="10" y="17"/>
                  </a:cubicBezTo>
                  <a:cubicBezTo>
                    <a:pt x="11" y="16"/>
                    <a:pt x="13" y="15"/>
                    <a:pt x="15" y="14"/>
                  </a:cubicBezTo>
                  <a:cubicBezTo>
                    <a:pt x="15" y="17"/>
                    <a:pt x="12" y="18"/>
                    <a:pt x="11" y="19"/>
                  </a:cubicBezTo>
                  <a:cubicBezTo>
                    <a:pt x="10" y="20"/>
                    <a:pt x="9" y="21"/>
                    <a:pt x="8" y="21"/>
                  </a:cubicBezTo>
                  <a:cubicBezTo>
                    <a:pt x="9" y="22"/>
                    <a:pt x="10" y="23"/>
                    <a:pt x="11" y="24"/>
                  </a:cubicBezTo>
                  <a:cubicBezTo>
                    <a:pt x="11" y="25"/>
                    <a:pt x="9" y="26"/>
                    <a:pt x="9" y="27"/>
                  </a:cubicBezTo>
                  <a:cubicBezTo>
                    <a:pt x="8" y="29"/>
                    <a:pt x="11" y="29"/>
                    <a:pt x="11" y="31"/>
                  </a:cubicBezTo>
                  <a:cubicBezTo>
                    <a:pt x="10" y="32"/>
                    <a:pt x="10" y="33"/>
                    <a:pt x="10" y="34"/>
                  </a:cubicBezTo>
                  <a:cubicBezTo>
                    <a:pt x="14" y="35"/>
                    <a:pt x="15" y="33"/>
                    <a:pt x="15" y="30"/>
                  </a:cubicBezTo>
                  <a:cubicBezTo>
                    <a:pt x="16" y="32"/>
                    <a:pt x="20" y="31"/>
                    <a:pt x="22" y="30"/>
                  </a:cubicBezTo>
                  <a:cubicBezTo>
                    <a:pt x="23" y="29"/>
                    <a:pt x="24" y="27"/>
                    <a:pt x="24" y="26"/>
                  </a:cubicBezTo>
                  <a:cubicBezTo>
                    <a:pt x="25" y="23"/>
                    <a:pt x="23" y="18"/>
                    <a:pt x="21" y="16"/>
                  </a:cubicBezTo>
                  <a:cubicBezTo>
                    <a:pt x="20" y="16"/>
                    <a:pt x="20" y="16"/>
                    <a:pt x="19" y="16"/>
                  </a:cubicBezTo>
                  <a:cubicBezTo>
                    <a:pt x="19" y="15"/>
                    <a:pt x="19" y="14"/>
                    <a:pt x="19" y="14"/>
                  </a:cubicBezTo>
                  <a:cubicBezTo>
                    <a:pt x="19" y="12"/>
                    <a:pt x="19" y="11"/>
                    <a:pt x="19" y="9"/>
                  </a:cubicBezTo>
                  <a:cubicBezTo>
                    <a:pt x="19" y="7"/>
                    <a:pt x="20" y="2"/>
                    <a:pt x="18" y="2"/>
                  </a:cubicBezTo>
                  <a:lnTo>
                    <a:pt x="1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8" name="Freeform 68"/>
            <p:cNvSpPr>
              <a:spLocks/>
            </p:cNvSpPr>
            <p:nvPr/>
          </p:nvSpPr>
          <p:spPr bwMode="auto">
            <a:xfrm>
              <a:off x="2776538" y="3581400"/>
              <a:ext cx="14288" cy="23813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2" y="4"/>
                </a:cxn>
                <a:cxn ang="0">
                  <a:pos x="0" y="10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6" y="6"/>
                </a:cxn>
                <a:cxn ang="0">
                  <a:pos x="8" y="3"/>
                </a:cxn>
                <a:cxn ang="0">
                  <a:pos x="8" y="0"/>
                </a:cxn>
              </a:cxnLst>
              <a:rect l="0" t="0" r="r" b="b"/>
              <a:pathLst>
                <a:path w="8" h="13">
                  <a:moveTo>
                    <a:pt x="8" y="0"/>
                  </a:moveTo>
                  <a:cubicBezTo>
                    <a:pt x="5" y="0"/>
                    <a:pt x="3" y="3"/>
                    <a:pt x="2" y="4"/>
                  </a:cubicBezTo>
                  <a:cubicBezTo>
                    <a:pt x="0" y="6"/>
                    <a:pt x="0" y="8"/>
                    <a:pt x="0" y="10"/>
                  </a:cubicBezTo>
                  <a:cubicBezTo>
                    <a:pt x="1" y="11"/>
                    <a:pt x="0" y="12"/>
                    <a:pt x="1" y="12"/>
                  </a:cubicBezTo>
                  <a:cubicBezTo>
                    <a:pt x="1" y="13"/>
                    <a:pt x="3" y="12"/>
                    <a:pt x="3" y="12"/>
                  </a:cubicBezTo>
                  <a:cubicBezTo>
                    <a:pt x="5" y="11"/>
                    <a:pt x="5" y="8"/>
                    <a:pt x="6" y="6"/>
                  </a:cubicBezTo>
                  <a:cubicBezTo>
                    <a:pt x="7" y="5"/>
                    <a:pt x="8" y="4"/>
                    <a:pt x="8" y="3"/>
                  </a:cubicBez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9" name="Freeform 69"/>
            <p:cNvSpPr>
              <a:spLocks/>
            </p:cNvSpPr>
            <p:nvPr/>
          </p:nvSpPr>
          <p:spPr bwMode="auto">
            <a:xfrm>
              <a:off x="2708275" y="3482975"/>
              <a:ext cx="58738" cy="39688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20" y="7"/>
                </a:cxn>
                <a:cxn ang="0">
                  <a:pos x="19" y="9"/>
                </a:cxn>
                <a:cxn ang="0">
                  <a:pos x="16" y="10"/>
                </a:cxn>
                <a:cxn ang="0">
                  <a:pos x="15" y="12"/>
                </a:cxn>
                <a:cxn ang="0">
                  <a:pos x="13" y="13"/>
                </a:cxn>
                <a:cxn ang="0">
                  <a:pos x="9" y="15"/>
                </a:cxn>
                <a:cxn ang="0">
                  <a:pos x="4" y="15"/>
                </a:cxn>
                <a:cxn ang="0">
                  <a:pos x="0" y="19"/>
                </a:cxn>
                <a:cxn ang="0">
                  <a:pos x="3" y="22"/>
                </a:cxn>
                <a:cxn ang="0">
                  <a:pos x="5" y="18"/>
                </a:cxn>
                <a:cxn ang="0">
                  <a:pos x="10" y="18"/>
                </a:cxn>
                <a:cxn ang="0">
                  <a:pos x="14" y="15"/>
                </a:cxn>
                <a:cxn ang="0">
                  <a:pos x="15" y="12"/>
                </a:cxn>
                <a:cxn ang="0">
                  <a:pos x="21" y="11"/>
                </a:cxn>
                <a:cxn ang="0">
                  <a:pos x="23" y="10"/>
                </a:cxn>
                <a:cxn ang="0">
                  <a:pos x="28" y="6"/>
                </a:cxn>
                <a:cxn ang="0">
                  <a:pos x="31" y="1"/>
                </a:cxn>
                <a:cxn ang="0">
                  <a:pos x="27" y="0"/>
                </a:cxn>
              </a:cxnLst>
              <a:rect l="0" t="0" r="r" b="b"/>
              <a:pathLst>
                <a:path w="31" h="22">
                  <a:moveTo>
                    <a:pt x="27" y="0"/>
                  </a:moveTo>
                  <a:cubicBezTo>
                    <a:pt x="24" y="2"/>
                    <a:pt x="21" y="4"/>
                    <a:pt x="20" y="7"/>
                  </a:cubicBezTo>
                  <a:cubicBezTo>
                    <a:pt x="19" y="8"/>
                    <a:pt x="19" y="9"/>
                    <a:pt x="19" y="9"/>
                  </a:cubicBezTo>
                  <a:cubicBezTo>
                    <a:pt x="18" y="11"/>
                    <a:pt x="17" y="9"/>
                    <a:pt x="16" y="10"/>
                  </a:cubicBezTo>
                  <a:cubicBezTo>
                    <a:pt x="14" y="11"/>
                    <a:pt x="15" y="11"/>
                    <a:pt x="15" y="12"/>
                  </a:cubicBezTo>
                  <a:cubicBezTo>
                    <a:pt x="14" y="13"/>
                    <a:pt x="14" y="13"/>
                    <a:pt x="13" y="13"/>
                  </a:cubicBezTo>
                  <a:cubicBezTo>
                    <a:pt x="12" y="13"/>
                    <a:pt x="8" y="14"/>
                    <a:pt x="9" y="15"/>
                  </a:cubicBezTo>
                  <a:cubicBezTo>
                    <a:pt x="7" y="16"/>
                    <a:pt x="6" y="15"/>
                    <a:pt x="4" y="15"/>
                  </a:cubicBezTo>
                  <a:cubicBezTo>
                    <a:pt x="2" y="15"/>
                    <a:pt x="1" y="16"/>
                    <a:pt x="0" y="19"/>
                  </a:cubicBezTo>
                  <a:cubicBezTo>
                    <a:pt x="0" y="21"/>
                    <a:pt x="1" y="21"/>
                    <a:pt x="3" y="22"/>
                  </a:cubicBezTo>
                  <a:cubicBezTo>
                    <a:pt x="6" y="22"/>
                    <a:pt x="4" y="20"/>
                    <a:pt x="5" y="18"/>
                  </a:cubicBezTo>
                  <a:cubicBezTo>
                    <a:pt x="8" y="20"/>
                    <a:pt x="7" y="19"/>
                    <a:pt x="10" y="18"/>
                  </a:cubicBezTo>
                  <a:cubicBezTo>
                    <a:pt x="12" y="18"/>
                    <a:pt x="14" y="18"/>
                    <a:pt x="14" y="15"/>
                  </a:cubicBezTo>
                  <a:cubicBezTo>
                    <a:pt x="14" y="13"/>
                    <a:pt x="15" y="13"/>
                    <a:pt x="15" y="12"/>
                  </a:cubicBezTo>
                  <a:cubicBezTo>
                    <a:pt x="17" y="11"/>
                    <a:pt x="19" y="11"/>
                    <a:pt x="21" y="11"/>
                  </a:cubicBezTo>
                  <a:cubicBezTo>
                    <a:pt x="22" y="11"/>
                    <a:pt x="22" y="11"/>
                    <a:pt x="23" y="10"/>
                  </a:cubicBezTo>
                  <a:cubicBezTo>
                    <a:pt x="25" y="9"/>
                    <a:pt x="27" y="8"/>
                    <a:pt x="28" y="6"/>
                  </a:cubicBezTo>
                  <a:cubicBezTo>
                    <a:pt x="29" y="5"/>
                    <a:pt x="30" y="2"/>
                    <a:pt x="31" y="1"/>
                  </a:cubicBezTo>
                  <a:cubicBezTo>
                    <a:pt x="30" y="0"/>
                    <a:pt x="28" y="0"/>
                    <a:pt x="27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0" name="Freeform 70"/>
            <p:cNvSpPr>
              <a:spLocks/>
            </p:cNvSpPr>
            <p:nvPr/>
          </p:nvSpPr>
          <p:spPr bwMode="auto">
            <a:xfrm>
              <a:off x="2789238" y="3435350"/>
              <a:ext cx="7938" cy="9525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0" y="5"/>
                </a:cxn>
                <a:cxn ang="0">
                  <a:pos x="2" y="1"/>
                </a:cxn>
                <a:cxn ang="0">
                  <a:pos x="3" y="2"/>
                </a:cxn>
              </a:cxnLst>
              <a:rect l="0" t="0" r="r" b="b"/>
              <a:pathLst>
                <a:path w="4" h="5">
                  <a:moveTo>
                    <a:pt x="3" y="2"/>
                  </a:moveTo>
                  <a:cubicBezTo>
                    <a:pt x="4" y="4"/>
                    <a:pt x="2" y="5"/>
                    <a:pt x="0" y="5"/>
                  </a:cubicBezTo>
                  <a:cubicBezTo>
                    <a:pt x="0" y="4"/>
                    <a:pt x="0" y="0"/>
                    <a:pt x="2" y="1"/>
                  </a:cubicBezTo>
                  <a:cubicBezTo>
                    <a:pt x="2" y="1"/>
                    <a:pt x="2" y="2"/>
                    <a:pt x="3" y="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1" name="Freeform 71"/>
            <p:cNvSpPr>
              <a:spLocks/>
            </p:cNvSpPr>
            <p:nvPr/>
          </p:nvSpPr>
          <p:spPr bwMode="auto">
            <a:xfrm>
              <a:off x="2649538" y="3416300"/>
              <a:ext cx="22225" cy="26988"/>
            </a:xfrm>
            <a:custGeom>
              <a:avLst/>
              <a:gdLst/>
              <a:ahLst/>
              <a:cxnLst>
                <a:cxn ang="0">
                  <a:pos x="12" y="5"/>
                </a:cxn>
                <a:cxn ang="0">
                  <a:pos x="10" y="0"/>
                </a:cxn>
                <a:cxn ang="0">
                  <a:pos x="7" y="3"/>
                </a:cxn>
                <a:cxn ang="0">
                  <a:pos x="1" y="9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9"/>
                </a:cxn>
                <a:cxn ang="0">
                  <a:pos x="8" y="7"/>
                </a:cxn>
                <a:cxn ang="0">
                  <a:pos x="11" y="4"/>
                </a:cxn>
                <a:cxn ang="0">
                  <a:pos x="12" y="5"/>
                </a:cxn>
              </a:cxnLst>
              <a:rect l="0" t="0" r="r" b="b"/>
              <a:pathLst>
                <a:path w="12" h="14">
                  <a:moveTo>
                    <a:pt x="12" y="5"/>
                  </a:moveTo>
                  <a:cubicBezTo>
                    <a:pt x="12" y="3"/>
                    <a:pt x="12" y="1"/>
                    <a:pt x="10" y="0"/>
                  </a:cubicBezTo>
                  <a:cubicBezTo>
                    <a:pt x="7" y="0"/>
                    <a:pt x="8" y="2"/>
                    <a:pt x="7" y="3"/>
                  </a:cubicBezTo>
                  <a:cubicBezTo>
                    <a:pt x="6" y="6"/>
                    <a:pt x="2" y="6"/>
                    <a:pt x="1" y="9"/>
                  </a:cubicBezTo>
                  <a:cubicBezTo>
                    <a:pt x="0" y="10"/>
                    <a:pt x="0" y="11"/>
                    <a:pt x="0" y="12"/>
                  </a:cubicBezTo>
                  <a:cubicBezTo>
                    <a:pt x="1" y="14"/>
                    <a:pt x="4" y="14"/>
                    <a:pt x="4" y="12"/>
                  </a:cubicBezTo>
                  <a:cubicBezTo>
                    <a:pt x="4" y="11"/>
                    <a:pt x="3" y="10"/>
                    <a:pt x="4" y="9"/>
                  </a:cubicBezTo>
                  <a:cubicBezTo>
                    <a:pt x="4" y="8"/>
                    <a:pt x="7" y="7"/>
                    <a:pt x="8" y="7"/>
                  </a:cubicBezTo>
                  <a:cubicBezTo>
                    <a:pt x="9" y="6"/>
                    <a:pt x="11" y="6"/>
                    <a:pt x="11" y="4"/>
                  </a:cubicBezTo>
                  <a:lnTo>
                    <a:pt x="12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2" name="Freeform 72"/>
            <p:cNvSpPr>
              <a:spLocks/>
            </p:cNvSpPr>
            <p:nvPr/>
          </p:nvSpPr>
          <p:spPr bwMode="auto">
            <a:xfrm>
              <a:off x="2643188" y="3455988"/>
              <a:ext cx="6350" cy="635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2" y="3"/>
                    <a:pt x="3" y="2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3" name="Freeform 73"/>
            <p:cNvSpPr>
              <a:spLocks/>
            </p:cNvSpPr>
            <p:nvPr/>
          </p:nvSpPr>
          <p:spPr bwMode="auto">
            <a:xfrm>
              <a:off x="2654300" y="3294063"/>
              <a:ext cx="42863" cy="120650"/>
            </a:xfrm>
            <a:custGeom>
              <a:avLst/>
              <a:gdLst/>
              <a:ahLst/>
              <a:cxnLst>
                <a:cxn ang="0">
                  <a:pos x="7" y="61"/>
                </a:cxn>
                <a:cxn ang="0">
                  <a:pos x="12" y="62"/>
                </a:cxn>
                <a:cxn ang="0">
                  <a:pos x="12" y="65"/>
                </a:cxn>
                <a:cxn ang="0">
                  <a:pos x="14" y="61"/>
                </a:cxn>
                <a:cxn ang="0">
                  <a:pos x="15" y="58"/>
                </a:cxn>
                <a:cxn ang="0">
                  <a:pos x="17" y="58"/>
                </a:cxn>
                <a:cxn ang="0">
                  <a:pos x="14" y="57"/>
                </a:cxn>
                <a:cxn ang="0">
                  <a:pos x="14" y="55"/>
                </a:cxn>
                <a:cxn ang="0">
                  <a:pos x="13" y="50"/>
                </a:cxn>
                <a:cxn ang="0">
                  <a:pos x="16" y="47"/>
                </a:cxn>
                <a:cxn ang="0">
                  <a:pos x="13" y="41"/>
                </a:cxn>
                <a:cxn ang="0">
                  <a:pos x="14" y="38"/>
                </a:cxn>
                <a:cxn ang="0">
                  <a:pos x="12" y="37"/>
                </a:cxn>
                <a:cxn ang="0">
                  <a:pos x="13" y="33"/>
                </a:cxn>
                <a:cxn ang="0">
                  <a:pos x="12" y="31"/>
                </a:cxn>
                <a:cxn ang="0">
                  <a:pos x="16" y="30"/>
                </a:cxn>
                <a:cxn ang="0">
                  <a:pos x="13" y="25"/>
                </a:cxn>
                <a:cxn ang="0">
                  <a:pos x="20" y="22"/>
                </a:cxn>
                <a:cxn ang="0">
                  <a:pos x="20" y="18"/>
                </a:cxn>
                <a:cxn ang="0">
                  <a:pos x="20" y="17"/>
                </a:cxn>
                <a:cxn ang="0">
                  <a:pos x="19" y="13"/>
                </a:cxn>
                <a:cxn ang="0">
                  <a:pos x="22" y="12"/>
                </a:cxn>
                <a:cxn ang="0">
                  <a:pos x="23" y="6"/>
                </a:cxn>
                <a:cxn ang="0">
                  <a:pos x="20" y="4"/>
                </a:cxn>
                <a:cxn ang="0">
                  <a:pos x="20" y="5"/>
                </a:cxn>
                <a:cxn ang="0">
                  <a:pos x="16" y="2"/>
                </a:cxn>
                <a:cxn ang="0">
                  <a:pos x="13" y="2"/>
                </a:cxn>
                <a:cxn ang="0">
                  <a:pos x="7" y="5"/>
                </a:cxn>
                <a:cxn ang="0">
                  <a:pos x="2" y="2"/>
                </a:cxn>
                <a:cxn ang="0">
                  <a:pos x="0" y="12"/>
                </a:cxn>
                <a:cxn ang="0">
                  <a:pos x="1" y="14"/>
                </a:cxn>
                <a:cxn ang="0">
                  <a:pos x="6" y="14"/>
                </a:cxn>
                <a:cxn ang="0">
                  <a:pos x="6" y="17"/>
                </a:cxn>
                <a:cxn ang="0">
                  <a:pos x="8" y="17"/>
                </a:cxn>
                <a:cxn ang="0">
                  <a:pos x="8" y="20"/>
                </a:cxn>
                <a:cxn ang="0">
                  <a:pos x="9" y="20"/>
                </a:cxn>
                <a:cxn ang="0">
                  <a:pos x="4" y="23"/>
                </a:cxn>
                <a:cxn ang="0">
                  <a:pos x="8" y="27"/>
                </a:cxn>
                <a:cxn ang="0">
                  <a:pos x="2" y="32"/>
                </a:cxn>
                <a:cxn ang="0">
                  <a:pos x="3" y="33"/>
                </a:cxn>
                <a:cxn ang="0">
                  <a:pos x="4" y="34"/>
                </a:cxn>
                <a:cxn ang="0">
                  <a:pos x="5" y="39"/>
                </a:cxn>
                <a:cxn ang="0">
                  <a:pos x="6" y="41"/>
                </a:cxn>
                <a:cxn ang="0">
                  <a:pos x="5" y="41"/>
                </a:cxn>
                <a:cxn ang="0">
                  <a:pos x="4" y="44"/>
                </a:cxn>
                <a:cxn ang="0">
                  <a:pos x="6" y="55"/>
                </a:cxn>
                <a:cxn ang="0">
                  <a:pos x="6" y="58"/>
                </a:cxn>
                <a:cxn ang="0">
                  <a:pos x="9" y="61"/>
                </a:cxn>
                <a:cxn ang="0">
                  <a:pos x="10" y="61"/>
                </a:cxn>
                <a:cxn ang="0">
                  <a:pos x="7" y="61"/>
                </a:cxn>
              </a:cxnLst>
              <a:rect l="0" t="0" r="r" b="b"/>
              <a:pathLst>
                <a:path w="23" h="65">
                  <a:moveTo>
                    <a:pt x="7" y="61"/>
                  </a:moveTo>
                  <a:cubicBezTo>
                    <a:pt x="9" y="62"/>
                    <a:pt x="10" y="62"/>
                    <a:pt x="12" y="62"/>
                  </a:cubicBezTo>
                  <a:cubicBezTo>
                    <a:pt x="13" y="63"/>
                    <a:pt x="12" y="64"/>
                    <a:pt x="12" y="65"/>
                  </a:cubicBezTo>
                  <a:cubicBezTo>
                    <a:pt x="13" y="64"/>
                    <a:pt x="14" y="63"/>
                    <a:pt x="14" y="61"/>
                  </a:cubicBezTo>
                  <a:cubicBezTo>
                    <a:pt x="15" y="60"/>
                    <a:pt x="14" y="59"/>
                    <a:pt x="15" y="58"/>
                  </a:cubicBezTo>
                  <a:cubicBezTo>
                    <a:pt x="15" y="58"/>
                    <a:pt x="16" y="58"/>
                    <a:pt x="17" y="58"/>
                  </a:cubicBezTo>
                  <a:cubicBezTo>
                    <a:pt x="17" y="57"/>
                    <a:pt x="15" y="57"/>
                    <a:pt x="14" y="57"/>
                  </a:cubicBezTo>
                  <a:cubicBezTo>
                    <a:pt x="13" y="56"/>
                    <a:pt x="14" y="56"/>
                    <a:pt x="14" y="55"/>
                  </a:cubicBezTo>
                  <a:cubicBezTo>
                    <a:pt x="13" y="53"/>
                    <a:pt x="15" y="52"/>
                    <a:pt x="13" y="50"/>
                  </a:cubicBezTo>
                  <a:cubicBezTo>
                    <a:pt x="14" y="49"/>
                    <a:pt x="15" y="47"/>
                    <a:pt x="16" y="47"/>
                  </a:cubicBezTo>
                  <a:cubicBezTo>
                    <a:pt x="17" y="44"/>
                    <a:pt x="14" y="43"/>
                    <a:pt x="13" y="41"/>
                  </a:cubicBezTo>
                  <a:cubicBezTo>
                    <a:pt x="13" y="40"/>
                    <a:pt x="15" y="39"/>
                    <a:pt x="14" y="38"/>
                  </a:cubicBezTo>
                  <a:cubicBezTo>
                    <a:pt x="14" y="37"/>
                    <a:pt x="13" y="38"/>
                    <a:pt x="12" y="37"/>
                  </a:cubicBezTo>
                  <a:cubicBezTo>
                    <a:pt x="12" y="35"/>
                    <a:pt x="13" y="34"/>
                    <a:pt x="13" y="33"/>
                  </a:cubicBezTo>
                  <a:cubicBezTo>
                    <a:pt x="13" y="32"/>
                    <a:pt x="12" y="32"/>
                    <a:pt x="12" y="31"/>
                  </a:cubicBezTo>
                  <a:cubicBezTo>
                    <a:pt x="13" y="30"/>
                    <a:pt x="16" y="32"/>
                    <a:pt x="16" y="30"/>
                  </a:cubicBezTo>
                  <a:cubicBezTo>
                    <a:pt x="17" y="28"/>
                    <a:pt x="11" y="28"/>
                    <a:pt x="13" y="25"/>
                  </a:cubicBezTo>
                  <a:cubicBezTo>
                    <a:pt x="15" y="25"/>
                    <a:pt x="17" y="22"/>
                    <a:pt x="20" y="22"/>
                  </a:cubicBezTo>
                  <a:cubicBezTo>
                    <a:pt x="20" y="20"/>
                    <a:pt x="20" y="20"/>
                    <a:pt x="20" y="18"/>
                  </a:cubicBezTo>
                  <a:cubicBezTo>
                    <a:pt x="21" y="19"/>
                    <a:pt x="21" y="17"/>
                    <a:pt x="20" y="17"/>
                  </a:cubicBezTo>
                  <a:cubicBezTo>
                    <a:pt x="19" y="15"/>
                    <a:pt x="18" y="14"/>
                    <a:pt x="19" y="13"/>
                  </a:cubicBezTo>
                  <a:cubicBezTo>
                    <a:pt x="20" y="12"/>
                    <a:pt x="22" y="14"/>
                    <a:pt x="22" y="12"/>
                  </a:cubicBezTo>
                  <a:cubicBezTo>
                    <a:pt x="23" y="10"/>
                    <a:pt x="23" y="8"/>
                    <a:pt x="23" y="6"/>
                  </a:cubicBezTo>
                  <a:cubicBezTo>
                    <a:pt x="23" y="5"/>
                    <a:pt x="22" y="3"/>
                    <a:pt x="20" y="4"/>
                  </a:cubicBezTo>
                  <a:cubicBezTo>
                    <a:pt x="20" y="4"/>
                    <a:pt x="21" y="5"/>
                    <a:pt x="20" y="5"/>
                  </a:cubicBezTo>
                  <a:cubicBezTo>
                    <a:pt x="19" y="6"/>
                    <a:pt x="17" y="2"/>
                    <a:pt x="16" y="2"/>
                  </a:cubicBezTo>
                  <a:cubicBezTo>
                    <a:pt x="15" y="0"/>
                    <a:pt x="14" y="1"/>
                    <a:pt x="13" y="2"/>
                  </a:cubicBezTo>
                  <a:cubicBezTo>
                    <a:pt x="11" y="4"/>
                    <a:pt x="10" y="6"/>
                    <a:pt x="7" y="5"/>
                  </a:cubicBezTo>
                  <a:cubicBezTo>
                    <a:pt x="5" y="4"/>
                    <a:pt x="4" y="2"/>
                    <a:pt x="2" y="2"/>
                  </a:cubicBezTo>
                  <a:cubicBezTo>
                    <a:pt x="0" y="3"/>
                    <a:pt x="0" y="10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2" y="14"/>
                    <a:pt x="7" y="15"/>
                    <a:pt x="6" y="14"/>
                  </a:cubicBezTo>
                  <a:cubicBezTo>
                    <a:pt x="6" y="15"/>
                    <a:pt x="6" y="16"/>
                    <a:pt x="6" y="17"/>
                  </a:cubicBezTo>
                  <a:cubicBezTo>
                    <a:pt x="7" y="17"/>
                    <a:pt x="7" y="17"/>
                    <a:pt x="8" y="17"/>
                  </a:cubicBezTo>
                  <a:cubicBezTo>
                    <a:pt x="8" y="18"/>
                    <a:pt x="8" y="19"/>
                    <a:pt x="8" y="20"/>
                  </a:cubicBezTo>
                  <a:cubicBezTo>
                    <a:pt x="8" y="20"/>
                    <a:pt x="8" y="20"/>
                    <a:pt x="9" y="20"/>
                  </a:cubicBezTo>
                  <a:cubicBezTo>
                    <a:pt x="7" y="21"/>
                    <a:pt x="5" y="22"/>
                    <a:pt x="4" y="23"/>
                  </a:cubicBezTo>
                  <a:cubicBezTo>
                    <a:pt x="3" y="27"/>
                    <a:pt x="6" y="25"/>
                    <a:pt x="8" y="27"/>
                  </a:cubicBezTo>
                  <a:cubicBezTo>
                    <a:pt x="7" y="29"/>
                    <a:pt x="2" y="29"/>
                    <a:pt x="2" y="32"/>
                  </a:cubicBezTo>
                  <a:cubicBezTo>
                    <a:pt x="2" y="32"/>
                    <a:pt x="3" y="32"/>
                    <a:pt x="3" y="33"/>
                  </a:cubicBezTo>
                  <a:cubicBezTo>
                    <a:pt x="4" y="33"/>
                    <a:pt x="4" y="34"/>
                    <a:pt x="4" y="34"/>
                  </a:cubicBezTo>
                  <a:cubicBezTo>
                    <a:pt x="5" y="36"/>
                    <a:pt x="5" y="37"/>
                    <a:pt x="5" y="39"/>
                  </a:cubicBezTo>
                  <a:cubicBezTo>
                    <a:pt x="6" y="39"/>
                    <a:pt x="6" y="40"/>
                    <a:pt x="6" y="41"/>
                  </a:cubicBezTo>
                  <a:cubicBezTo>
                    <a:pt x="6" y="41"/>
                    <a:pt x="6" y="41"/>
                    <a:pt x="5" y="41"/>
                  </a:cubicBezTo>
                  <a:cubicBezTo>
                    <a:pt x="5" y="42"/>
                    <a:pt x="4" y="43"/>
                    <a:pt x="4" y="44"/>
                  </a:cubicBezTo>
                  <a:cubicBezTo>
                    <a:pt x="3" y="48"/>
                    <a:pt x="5" y="51"/>
                    <a:pt x="6" y="55"/>
                  </a:cubicBezTo>
                  <a:cubicBezTo>
                    <a:pt x="6" y="55"/>
                    <a:pt x="6" y="57"/>
                    <a:pt x="6" y="58"/>
                  </a:cubicBezTo>
                  <a:cubicBezTo>
                    <a:pt x="7" y="59"/>
                    <a:pt x="9" y="59"/>
                    <a:pt x="9" y="61"/>
                  </a:cubicBezTo>
                  <a:cubicBezTo>
                    <a:pt x="10" y="61"/>
                    <a:pt x="10" y="61"/>
                    <a:pt x="10" y="61"/>
                  </a:cubicBezTo>
                  <a:lnTo>
                    <a:pt x="7" y="6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4" name="Freeform 74"/>
            <p:cNvSpPr>
              <a:spLocks/>
            </p:cNvSpPr>
            <p:nvPr/>
          </p:nvSpPr>
          <p:spPr bwMode="auto">
            <a:xfrm>
              <a:off x="2779713" y="3184525"/>
              <a:ext cx="17463" cy="1746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7" y="6"/>
                </a:cxn>
                <a:cxn ang="0">
                  <a:pos x="8" y="2"/>
                </a:cxn>
                <a:cxn ang="0">
                  <a:pos x="3" y="3"/>
                </a:cxn>
                <a:cxn ang="0">
                  <a:pos x="0" y="7"/>
                </a:cxn>
              </a:cxnLst>
              <a:rect l="0" t="0" r="r" b="b"/>
              <a:pathLst>
                <a:path w="9" h="9">
                  <a:moveTo>
                    <a:pt x="0" y="7"/>
                  </a:moveTo>
                  <a:cubicBezTo>
                    <a:pt x="0" y="9"/>
                    <a:pt x="6" y="7"/>
                    <a:pt x="7" y="6"/>
                  </a:cubicBezTo>
                  <a:cubicBezTo>
                    <a:pt x="8" y="5"/>
                    <a:pt x="9" y="3"/>
                    <a:pt x="8" y="2"/>
                  </a:cubicBezTo>
                  <a:cubicBezTo>
                    <a:pt x="7" y="0"/>
                    <a:pt x="4" y="2"/>
                    <a:pt x="3" y="3"/>
                  </a:cubicBezTo>
                  <a:cubicBezTo>
                    <a:pt x="1" y="5"/>
                    <a:pt x="0" y="7"/>
                    <a:pt x="0" y="7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5" name="Freeform 75"/>
            <p:cNvSpPr>
              <a:spLocks/>
            </p:cNvSpPr>
            <p:nvPr/>
          </p:nvSpPr>
          <p:spPr bwMode="auto">
            <a:xfrm>
              <a:off x="2692400" y="3136900"/>
              <a:ext cx="100013" cy="147638"/>
            </a:xfrm>
            <a:custGeom>
              <a:avLst/>
              <a:gdLst/>
              <a:ahLst/>
              <a:cxnLst>
                <a:cxn ang="0">
                  <a:pos x="51" y="15"/>
                </a:cxn>
                <a:cxn ang="0">
                  <a:pos x="52" y="10"/>
                </a:cxn>
                <a:cxn ang="0">
                  <a:pos x="52" y="6"/>
                </a:cxn>
                <a:cxn ang="0">
                  <a:pos x="51" y="2"/>
                </a:cxn>
                <a:cxn ang="0">
                  <a:pos x="44" y="7"/>
                </a:cxn>
                <a:cxn ang="0">
                  <a:pos x="41" y="8"/>
                </a:cxn>
                <a:cxn ang="0">
                  <a:pos x="38" y="10"/>
                </a:cxn>
                <a:cxn ang="0">
                  <a:pos x="38" y="11"/>
                </a:cxn>
                <a:cxn ang="0">
                  <a:pos x="34" y="11"/>
                </a:cxn>
                <a:cxn ang="0">
                  <a:pos x="32" y="15"/>
                </a:cxn>
                <a:cxn ang="0">
                  <a:pos x="21" y="19"/>
                </a:cxn>
                <a:cxn ang="0">
                  <a:pos x="18" y="24"/>
                </a:cxn>
                <a:cxn ang="0">
                  <a:pos x="17" y="30"/>
                </a:cxn>
                <a:cxn ang="0">
                  <a:pos x="19" y="32"/>
                </a:cxn>
                <a:cxn ang="0">
                  <a:pos x="14" y="29"/>
                </a:cxn>
                <a:cxn ang="0">
                  <a:pos x="12" y="30"/>
                </a:cxn>
                <a:cxn ang="0">
                  <a:pos x="13" y="32"/>
                </a:cxn>
                <a:cxn ang="0">
                  <a:pos x="8" y="29"/>
                </a:cxn>
                <a:cxn ang="0">
                  <a:pos x="5" y="32"/>
                </a:cxn>
                <a:cxn ang="0">
                  <a:pos x="4" y="36"/>
                </a:cxn>
                <a:cxn ang="0">
                  <a:pos x="5" y="39"/>
                </a:cxn>
                <a:cxn ang="0">
                  <a:pos x="3" y="42"/>
                </a:cxn>
                <a:cxn ang="0">
                  <a:pos x="9" y="50"/>
                </a:cxn>
                <a:cxn ang="0">
                  <a:pos x="1" y="52"/>
                </a:cxn>
                <a:cxn ang="0">
                  <a:pos x="3" y="58"/>
                </a:cxn>
                <a:cxn ang="0">
                  <a:pos x="14" y="63"/>
                </a:cxn>
                <a:cxn ang="0">
                  <a:pos x="8" y="65"/>
                </a:cxn>
                <a:cxn ang="0">
                  <a:pos x="9" y="67"/>
                </a:cxn>
                <a:cxn ang="0">
                  <a:pos x="8" y="68"/>
                </a:cxn>
                <a:cxn ang="0">
                  <a:pos x="7" y="70"/>
                </a:cxn>
                <a:cxn ang="0">
                  <a:pos x="4" y="72"/>
                </a:cxn>
                <a:cxn ang="0">
                  <a:pos x="5" y="75"/>
                </a:cxn>
                <a:cxn ang="0">
                  <a:pos x="6" y="77"/>
                </a:cxn>
                <a:cxn ang="0">
                  <a:pos x="10" y="79"/>
                </a:cxn>
                <a:cxn ang="0">
                  <a:pos x="13" y="75"/>
                </a:cxn>
                <a:cxn ang="0">
                  <a:pos x="23" y="75"/>
                </a:cxn>
                <a:cxn ang="0">
                  <a:pos x="20" y="66"/>
                </a:cxn>
                <a:cxn ang="0">
                  <a:pos x="23" y="67"/>
                </a:cxn>
                <a:cxn ang="0">
                  <a:pos x="28" y="68"/>
                </a:cxn>
                <a:cxn ang="0">
                  <a:pos x="26" y="61"/>
                </a:cxn>
                <a:cxn ang="0">
                  <a:pos x="31" y="61"/>
                </a:cxn>
                <a:cxn ang="0">
                  <a:pos x="34" y="59"/>
                </a:cxn>
                <a:cxn ang="0">
                  <a:pos x="37" y="57"/>
                </a:cxn>
                <a:cxn ang="0">
                  <a:pos x="31" y="54"/>
                </a:cxn>
                <a:cxn ang="0">
                  <a:pos x="42" y="49"/>
                </a:cxn>
                <a:cxn ang="0">
                  <a:pos x="38" y="41"/>
                </a:cxn>
                <a:cxn ang="0">
                  <a:pos x="42" y="39"/>
                </a:cxn>
                <a:cxn ang="0">
                  <a:pos x="41" y="37"/>
                </a:cxn>
                <a:cxn ang="0">
                  <a:pos x="41" y="34"/>
                </a:cxn>
                <a:cxn ang="0">
                  <a:pos x="42" y="32"/>
                </a:cxn>
                <a:cxn ang="0">
                  <a:pos x="41" y="30"/>
                </a:cxn>
                <a:cxn ang="0">
                  <a:pos x="45" y="25"/>
                </a:cxn>
                <a:cxn ang="0">
                  <a:pos x="49" y="21"/>
                </a:cxn>
                <a:cxn ang="0">
                  <a:pos x="51" y="15"/>
                </a:cxn>
              </a:cxnLst>
              <a:rect l="0" t="0" r="r" b="b"/>
              <a:pathLst>
                <a:path w="54" h="79">
                  <a:moveTo>
                    <a:pt x="51" y="15"/>
                  </a:moveTo>
                  <a:cubicBezTo>
                    <a:pt x="54" y="11"/>
                    <a:pt x="53" y="15"/>
                    <a:pt x="52" y="10"/>
                  </a:cubicBezTo>
                  <a:cubicBezTo>
                    <a:pt x="52" y="8"/>
                    <a:pt x="52" y="7"/>
                    <a:pt x="52" y="6"/>
                  </a:cubicBezTo>
                  <a:cubicBezTo>
                    <a:pt x="52" y="4"/>
                    <a:pt x="52" y="3"/>
                    <a:pt x="51" y="2"/>
                  </a:cubicBezTo>
                  <a:cubicBezTo>
                    <a:pt x="47" y="0"/>
                    <a:pt x="46" y="4"/>
                    <a:pt x="44" y="7"/>
                  </a:cubicBezTo>
                  <a:cubicBezTo>
                    <a:pt x="43" y="7"/>
                    <a:pt x="42" y="8"/>
                    <a:pt x="41" y="8"/>
                  </a:cubicBezTo>
                  <a:cubicBezTo>
                    <a:pt x="40" y="9"/>
                    <a:pt x="39" y="9"/>
                    <a:pt x="38" y="10"/>
                  </a:cubicBezTo>
                  <a:cubicBezTo>
                    <a:pt x="38" y="10"/>
                    <a:pt x="38" y="10"/>
                    <a:pt x="38" y="11"/>
                  </a:cubicBezTo>
                  <a:cubicBezTo>
                    <a:pt x="37" y="11"/>
                    <a:pt x="35" y="10"/>
                    <a:pt x="34" y="11"/>
                  </a:cubicBezTo>
                  <a:cubicBezTo>
                    <a:pt x="33" y="11"/>
                    <a:pt x="32" y="14"/>
                    <a:pt x="32" y="15"/>
                  </a:cubicBezTo>
                  <a:cubicBezTo>
                    <a:pt x="29" y="19"/>
                    <a:pt x="25" y="19"/>
                    <a:pt x="21" y="19"/>
                  </a:cubicBezTo>
                  <a:cubicBezTo>
                    <a:pt x="19" y="19"/>
                    <a:pt x="19" y="22"/>
                    <a:pt x="18" y="24"/>
                  </a:cubicBezTo>
                  <a:cubicBezTo>
                    <a:pt x="18" y="26"/>
                    <a:pt x="17" y="29"/>
                    <a:pt x="17" y="30"/>
                  </a:cubicBezTo>
                  <a:cubicBezTo>
                    <a:pt x="17" y="32"/>
                    <a:pt x="19" y="31"/>
                    <a:pt x="19" y="32"/>
                  </a:cubicBezTo>
                  <a:cubicBezTo>
                    <a:pt x="18" y="31"/>
                    <a:pt x="16" y="30"/>
                    <a:pt x="14" y="29"/>
                  </a:cubicBezTo>
                  <a:cubicBezTo>
                    <a:pt x="13" y="29"/>
                    <a:pt x="13" y="28"/>
                    <a:pt x="12" y="30"/>
                  </a:cubicBezTo>
                  <a:cubicBezTo>
                    <a:pt x="12" y="30"/>
                    <a:pt x="12" y="31"/>
                    <a:pt x="13" y="32"/>
                  </a:cubicBezTo>
                  <a:cubicBezTo>
                    <a:pt x="10" y="32"/>
                    <a:pt x="8" y="31"/>
                    <a:pt x="8" y="29"/>
                  </a:cubicBezTo>
                  <a:cubicBezTo>
                    <a:pt x="7" y="29"/>
                    <a:pt x="6" y="31"/>
                    <a:pt x="5" y="32"/>
                  </a:cubicBezTo>
                  <a:cubicBezTo>
                    <a:pt x="4" y="33"/>
                    <a:pt x="4" y="35"/>
                    <a:pt x="4" y="36"/>
                  </a:cubicBezTo>
                  <a:cubicBezTo>
                    <a:pt x="5" y="37"/>
                    <a:pt x="5" y="38"/>
                    <a:pt x="5" y="39"/>
                  </a:cubicBezTo>
                  <a:cubicBezTo>
                    <a:pt x="5" y="40"/>
                    <a:pt x="3" y="41"/>
                    <a:pt x="3" y="42"/>
                  </a:cubicBezTo>
                  <a:cubicBezTo>
                    <a:pt x="3" y="45"/>
                    <a:pt x="9" y="46"/>
                    <a:pt x="9" y="50"/>
                  </a:cubicBezTo>
                  <a:cubicBezTo>
                    <a:pt x="7" y="50"/>
                    <a:pt x="2" y="50"/>
                    <a:pt x="1" y="52"/>
                  </a:cubicBezTo>
                  <a:cubicBezTo>
                    <a:pt x="0" y="53"/>
                    <a:pt x="2" y="57"/>
                    <a:pt x="3" y="58"/>
                  </a:cubicBezTo>
                  <a:cubicBezTo>
                    <a:pt x="5" y="59"/>
                    <a:pt x="15" y="60"/>
                    <a:pt x="14" y="63"/>
                  </a:cubicBezTo>
                  <a:cubicBezTo>
                    <a:pt x="13" y="63"/>
                    <a:pt x="9" y="62"/>
                    <a:pt x="8" y="65"/>
                  </a:cubicBezTo>
                  <a:cubicBezTo>
                    <a:pt x="8" y="65"/>
                    <a:pt x="9" y="66"/>
                    <a:pt x="9" y="67"/>
                  </a:cubicBezTo>
                  <a:cubicBezTo>
                    <a:pt x="9" y="67"/>
                    <a:pt x="8" y="67"/>
                    <a:pt x="8" y="68"/>
                  </a:cubicBezTo>
                  <a:cubicBezTo>
                    <a:pt x="7" y="69"/>
                    <a:pt x="7" y="69"/>
                    <a:pt x="7" y="70"/>
                  </a:cubicBezTo>
                  <a:cubicBezTo>
                    <a:pt x="5" y="71"/>
                    <a:pt x="5" y="71"/>
                    <a:pt x="4" y="72"/>
                  </a:cubicBezTo>
                  <a:cubicBezTo>
                    <a:pt x="4" y="73"/>
                    <a:pt x="4" y="74"/>
                    <a:pt x="5" y="75"/>
                  </a:cubicBezTo>
                  <a:cubicBezTo>
                    <a:pt x="5" y="76"/>
                    <a:pt x="6" y="76"/>
                    <a:pt x="6" y="77"/>
                  </a:cubicBezTo>
                  <a:cubicBezTo>
                    <a:pt x="7" y="77"/>
                    <a:pt x="8" y="79"/>
                    <a:pt x="10" y="79"/>
                  </a:cubicBezTo>
                  <a:cubicBezTo>
                    <a:pt x="12" y="79"/>
                    <a:pt x="13" y="77"/>
                    <a:pt x="13" y="75"/>
                  </a:cubicBezTo>
                  <a:cubicBezTo>
                    <a:pt x="16" y="74"/>
                    <a:pt x="20" y="75"/>
                    <a:pt x="23" y="75"/>
                  </a:cubicBezTo>
                  <a:cubicBezTo>
                    <a:pt x="24" y="71"/>
                    <a:pt x="22" y="69"/>
                    <a:pt x="20" y="66"/>
                  </a:cubicBezTo>
                  <a:cubicBezTo>
                    <a:pt x="21" y="65"/>
                    <a:pt x="22" y="66"/>
                    <a:pt x="23" y="67"/>
                  </a:cubicBezTo>
                  <a:cubicBezTo>
                    <a:pt x="25" y="69"/>
                    <a:pt x="26" y="69"/>
                    <a:pt x="28" y="68"/>
                  </a:cubicBezTo>
                  <a:cubicBezTo>
                    <a:pt x="31" y="65"/>
                    <a:pt x="29" y="63"/>
                    <a:pt x="26" y="61"/>
                  </a:cubicBezTo>
                  <a:cubicBezTo>
                    <a:pt x="27" y="60"/>
                    <a:pt x="29" y="61"/>
                    <a:pt x="31" y="61"/>
                  </a:cubicBezTo>
                  <a:cubicBezTo>
                    <a:pt x="33" y="61"/>
                    <a:pt x="33" y="60"/>
                    <a:pt x="34" y="59"/>
                  </a:cubicBezTo>
                  <a:cubicBezTo>
                    <a:pt x="35" y="59"/>
                    <a:pt x="37" y="58"/>
                    <a:pt x="37" y="57"/>
                  </a:cubicBezTo>
                  <a:cubicBezTo>
                    <a:pt x="37" y="56"/>
                    <a:pt x="33" y="54"/>
                    <a:pt x="31" y="54"/>
                  </a:cubicBezTo>
                  <a:cubicBezTo>
                    <a:pt x="34" y="54"/>
                    <a:pt x="42" y="52"/>
                    <a:pt x="42" y="49"/>
                  </a:cubicBezTo>
                  <a:cubicBezTo>
                    <a:pt x="42" y="46"/>
                    <a:pt x="35" y="43"/>
                    <a:pt x="38" y="41"/>
                  </a:cubicBezTo>
                  <a:cubicBezTo>
                    <a:pt x="39" y="40"/>
                    <a:pt x="41" y="41"/>
                    <a:pt x="42" y="39"/>
                  </a:cubicBezTo>
                  <a:cubicBezTo>
                    <a:pt x="44" y="38"/>
                    <a:pt x="42" y="38"/>
                    <a:pt x="41" y="37"/>
                  </a:cubicBezTo>
                  <a:cubicBezTo>
                    <a:pt x="41" y="36"/>
                    <a:pt x="41" y="35"/>
                    <a:pt x="41" y="34"/>
                  </a:cubicBezTo>
                  <a:cubicBezTo>
                    <a:pt x="41" y="33"/>
                    <a:pt x="42" y="33"/>
                    <a:pt x="42" y="32"/>
                  </a:cubicBezTo>
                  <a:cubicBezTo>
                    <a:pt x="42" y="32"/>
                    <a:pt x="41" y="31"/>
                    <a:pt x="41" y="30"/>
                  </a:cubicBezTo>
                  <a:cubicBezTo>
                    <a:pt x="41" y="28"/>
                    <a:pt x="43" y="26"/>
                    <a:pt x="45" y="25"/>
                  </a:cubicBezTo>
                  <a:cubicBezTo>
                    <a:pt x="47" y="24"/>
                    <a:pt x="49" y="24"/>
                    <a:pt x="49" y="21"/>
                  </a:cubicBezTo>
                  <a:lnTo>
                    <a:pt x="51" y="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6" name="Freeform 76"/>
            <p:cNvSpPr>
              <a:spLocks/>
            </p:cNvSpPr>
            <p:nvPr/>
          </p:nvSpPr>
          <p:spPr bwMode="auto">
            <a:xfrm>
              <a:off x="3065463" y="3005138"/>
              <a:ext cx="69850" cy="53975"/>
            </a:xfrm>
            <a:custGeom>
              <a:avLst/>
              <a:gdLst/>
              <a:ahLst/>
              <a:cxnLst>
                <a:cxn ang="0">
                  <a:pos x="20" y="7"/>
                </a:cxn>
                <a:cxn ang="0">
                  <a:pos x="13" y="2"/>
                </a:cxn>
                <a:cxn ang="0">
                  <a:pos x="9" y="1"/>
                </a:cxn>
                <a:cxn ang="0">
                  <a:pos x="5" y="11"/>
                </a:cxn>
                <a:cxn ang="0">
                  <a:pos x="3" y="21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10" y="13"/>
                </a:cxn>
                <a:cxn ang="0">
                  <a:pos x="12" y="19"/>
                </a:cxn>
                <a:cxn ang="0">
                  <a:pos x="11" y="24"/>
                </a:cxn>
                <a:cxn ang="0">
                  <a:pos x="19" y="22"/>
                </a:cxn>
                <a:cxn ang="0">
                  <a:pos x="23" y="25"/>
                </a:cxn>
                <a:cxn ang="0">
                  <a:pos x="26" y="26"/>
                </a:cxn>
                <a:cxn ang="0">
                  <a:pos x="28" y="27"/>
                </a:cxn>
                <a:cxn ang="0">
                  <a:pos x="33" y="28"/>
                </a:cxn>
                <a:cxn ang="0">
                  <a:pos x="37" y="23"/>
                </a:cxn>
                <a:cxn ang="0">
                  <a:pos x="31" y="22"/>
                </a:cxn>
                <a:cxn ang="0">
                  <a:pos x="31" y="19"/>
                </a:cxn>
                <a:cxn ang="0">
                  <a:pos x="23" y="15"/>
                </a:cxn>
                <a:cxn ang="0">
                  <a:pos x="20" y="15"/>
                </a:cxn>
                <a:cxn ang="0">
                  <a:pos x="19" y="7"/>
                </a:cxn>
                <a:cxn ang="0">
                  <a:pos x="20" y="7"/>
                </a:cxn>
              </a:cxnLst>
              <a:rect l="0" t="0" r="r" b="b"/>
              <a:pathLst>
                <a:path w="37" h="29">
                  <a:moveTo>
                    <a:pt x="20" y="7"/>
                  </a:moveTo>
                  <a:cubicBezTo>
                    <a:pt x="20" y="5"/>
                    <a:pt x="15" y="3"/>
                    <a:pt x="13" y="2"/>
                  </a:cubicBezTo>
                  <a:cubicBezTo>
                    <a:pt x="12" y="1"/>
                    <a:pt x="10" y="0"/>
                    <a:pt x="9" y="1"/>
                  </a:cubicBezTo>
                  <a:cubicBezTo>
                    <a:pt x="8" y="5"/>
                    <a:pt x="6" y="7"/>
                    <a:pt x="5" y="11"/>
                  </a:cubicBezTo>
                  <a:cubicBezTo>
                    <a:pt x="3" y="14"/>
                    <a:pt x="0" y="17"/>
                    <a:pt x="3" y="21"/>
                  </a:cubicBezTo>
                  <a:cubicBezTo>
                    <a:pt x="5" y="24"/>
                    <a:pt x="8" y="23"/>
                    <a:pt x="8" y="20"/>
                  </a:cubicBezTo>
                  <a:cubicBezTo>
                    <a:pt x="9" y="19"/>
                    <a:pt x="8" y="17"/>
                    <a:pt x="8" y="16"/>
                  </a:cubicBezTo>
                  <a:cubicBezTo>
                    <a:pt x="9" y="15"/>
                    <a:pt x="10" y="14"/>
                    <a:pt x="10" y="13"/>
                  </a:cubicBezTo>
                  <a:cubicBezTo>
                    <a:pt x="12" y="13"/>
                    <a:pt x="13" y="17"/>
                    <a:pt x="12" y="19"/>
                  </a:cubicBezTo>
                  <a:cubicBezTo>
                    <a:pt x="12" y="20"/>
                    <a:pt x="10" y="22"/>
                    <a:pt x="11" y="24"/>
                  </a:cubicBezTo>
                  <a:cubicBezTo>
                    <a:pt x="12" y="26"/>
                    <a:pt x="17" y="23"/>
                    <a:pt x="19" y="22"/>
                  </a:cubicBezTo>
                  <a:cubicBezTo>
                    <a:pt x="21" y="22"/>
                    <a:pt x="22" y="24"/>
                    <a:pt x="23" y="25"/>
                  </a:cubicBezTo>
                  <a:cubicBezTo>
                    <a:pt x="24" y="25"/>
                    <a:pt x="25" y="25"/>
                    <a:pt x="26" y="26"/>
                  </a:cubicBezTo>
                  <a:cubicBezTo>
                    <a:pt x="28" y="26"/>
                    <a:pt x="27" y="26"/>
                    <a:pt x="28" y="27"/>
                  </a:cubicBezTo>
                  <a:cubicBezTo>
                    <a:pt x="30" y="28"/>
                    <a:pt x="31" y="29"/>
                    <a:pt x="33" y="28"/>
                  </a:cubicBezTo>
                  <a:cubicBezTo>
                    <a:pt x="34" y="28"/>
                    <a:pt x="37" y="24"/>
                    <a:pt x="37" y="23"/>
                  </a:cubicBezTo>
                  <a:cubicBezTo>
                    <a:pt x="36" y="22"/>
                    <a:pt x="33" y="23"/>
                    <a:pt x="31" y="22"/>
                  </a:cubicBezTo>
                  <a:cubicBezTo>
                    <a:pt x="31" y="22"/>
                    <a:pt x="31" y="20"/>
                    <a:pt x="31" y="19"/>
                  </a:cubicBezTo>
                  <a:cubicBezTo>
                    <a:pt x="29" y="18"/>
                    <a:pt x="22" y="18"/>
                    <a:pt x="23" y="15"/>
                  </a:cubicBezTo>
                  <a:cubicBezTo>
                    <a:pt x="22" y="15"/>
                    <a:pt x="21" y="15"/>
                    <a:pt x="20" y="15"/>
                  </a:cubicBezTo>
                  <a:cubicBezTo>
                    <a:pt x="20" y="14"/>
                    <a:pt x="25" y="6"/>
                    <a:pt x="19" y="7"/>
                  </a:cubicBezTo>
                  <a:lnTo>
                    <a:pt x="20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7" name="Freeform 77"/>
            <p:cNvSpPr>
              <a:spLocks/>
            </p:cNvSpPr>
            <p:nvPr/>
          </p:nvSpPr>
          <p:spPr bwMode="auto">
            <a:xfrm>
              <a:off x="3094038" y="2994025"/>
              <a:ext cx="25400" cy="26988"/>
            </a:xfrm>
            <a:custGeom>
              <a:avLst/>
              <a:gdLst/>
              <a:ahLst/>
              <a:cxnLst>
                <a:cxn ang="0">
                  <a:pos x="10" y="3"/>
                </a:cxn>
                <a:cxn ang="0">
                  <a:pos x="1" y="2"/>
                </a:cxn>
                <a:cxn ang="0">
                  <a:pos x="8" y="9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4" y="11"/>
                </a:cxn>
                <a:cxn ang="0">
                  <a:pos x="10" y="6"/>
                </a:cxn>
                <a:cxn ang="0">
                  <a:pos x="10" y="3"/>
                </a:cxn>
              </a:cxnLst>
              <a:rect l="0" t="0" r="r" b="b"/>
              <a:pathLst>
                <a:path w="14" h="14">
                  <a:moveTo>
                    <a:pt x="10" y="3"/>
                  </a:moveTo>
                  <a:cubicBezTo>
                    <a:pt x="8" y="3"/>
                    <a:pt x="3" y="0"/>
                    <a:pt x="1" y="2"/>
                  </a:cubicBezTo>
                  <a:cubicBezTo>
                    <a:pt x="0" y="5"/>
                    <a:pt x="6" y="7"/>
                    <a:pt x="8" y="9"/>
                  </a:cubicBezTo>
                  <a:cubicBezTo>
                    <a:pt x="9" y="10"/>
                    <a:pt x="10" y="11"/>
                    <a:pt x="11" y="12"/>
                  </a:cubicBezTo>
                  <a:cubicBezTo>
                    <a:pt x="11" y="13"/>
                    <a:pt x="11" y="14"/>
                    <a:pt x="12" y="14"/>
                  </a:cubicBezTo>
                  <a:cubicBezTo>
                    <a:pt x="14" y="14"/>
                    <a:pt x="14" y="12"/>
                    <a:pt x="14" y="11"/>
                  </a:cubicBezTo>
                  <a:cubicBezTo>
                    <a:pt x="14" y="8"/>
                    <a:pt x="13" y="7"/>
                    <a:pt x="10" y="6"/>
                  </a:cubicBezTo>
                  <a:lnTo>
                    <a:pt x="10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8" name="Freeform 78"/>
            <p:cNvSpPr>
              <a:spLocks/>
            </p:cNvSpPr>
            <p:nvPr/>
          </p:nvSpPr>
          <p:spPr bwMode="auto">
            <a:xfrm>
              <a:off x="3105150" y="2962275"/>
              <a:ext cx="23813" cy="2857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7"/>
                </a:cxn>
                <a:cxn ang="0">
                  <a:pos x="4" y="9"/>
                </a:cxn>
                <a:cxn ang="0">
                  <a:pos x="4" y="12"/>
                </a:cxn>
                <a:cxn ang="0">
                  <a:pos x="11" y="14"/>
                </a:cxn>
                <a:cxn ang="0">
                  <a:pos x="5" y="8"/>
                </a:cxn>
                <a:cxn ang="0">
                  <a:pos x="11" y="5"/>
                </a:cxn>
                <a:cxn ang="0">
                  <a:pos x="7" y="0"/>
                </a:cxn>
              </a:cxnLst>
              <a:rect l="0" t="0" r="r" b="b"/>
              <a:pathLst>
                <a:path w="13" h="15">
                  <a:moveTo>
                    <a:pt x="7" y="0"/>
                  </a:moveTo>
                  <a:cubicBezTo>
                    <a:pt x="4" y="0"/>
                    <a:pt x="0" y="3"/>
                    <a:pt x="0" y="7"/>
                  </a:cubicBezTo>
                  <a:cubicBezTo>
                    <a:pt x="0" y="9"/>
                    <a:pt x="2" y="8"/>
                    <a:pt x="4" y="9"/>
                  </a:cubicBezTo>
                  <a:cubicBezTo>
                    <a:pt x="4" y="10"/>
                    <a:pt x="4" y="11"/>
                    <a:pt x="4" y="12"/>
                  </a:cubicBezTo>
                  <a:cubicBezTo>
                    <a:pt x="5" y="14"/>
                    <a:pt x="9" y="15"/>
                    <a:pt x="11" y="14"/>
                  </a:cubicBezTo>
                  <a:cubicBezTo>
                    <a:pt x="11" y="11"/>
                    <a:pt x="8" y="8"/>
                    <a:pt x="5" y="8"/>
                  </a:cubicBezTo>
                  <a:cubicBezTo>
                    <a:pt x="6" y="6"/>
                    <a:pt x="10" y="6"/>
                    <a:pt x="11" y="5"/>
                  </a:cubicBezTo>
                  <a:cubicBezTo>
                    <a:pt x="13" y="2"/>
                    <a:pt x="9" y="0"/>
                    <a:pt x="7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9" name="Freeform 79"/>
            <p:cNvSpPr>
              <a:spLocks/>
            </p:cNvSpPr>
            <p:nvPr/>
          </p:nvSpPr>
          <p:spPr bwMode="auto">
            <a:xfrm>
              <a:off x="3132138" y="2974975"/>
              <a:ext cx="36513" cy="26988"/>
            </a:xfrm>
            <a:custGeom>
              <a:avLst/>
              <a:gdLst/>
              <a:ahLst/>
              <a:cxnLst>
                <a:cxn ang="0">
                  <a:pos x="2" y="9"/>
                </a:cxn>
                <a:cxn ang="0">
                  <a:pos x="1" y="11"/>
                </a:cxn>
                <a:cxn ang="0">
                  <a:pos x="8" y="13"/>
                </a:cxn>
                <a:cxn ang="0">
                  <a:pos x="10" y="10"/>
                </a:cxn>
                <a:cxn ang="0">
                  <a:pos x="10" y="7"/>
                </a:cxn>
                <a:cxn ang="0">
                  <a:pos x="13" y="7"/>
                </a:cxn>
                <a:cxn ang="0">
                  <a:pos x="15" y="7"/>
                </a:cxn>
                <a:cxn ang="0">
                  <a:pos x="19" y="1"/>
                </a:cxn>
                <a:cxn ang="0">
                  <a:pos x="11" y="3"/>
                </a:cxn>
                <a:cxn ang="0">
                  <a:pos x="10" y="1"/>
                </a:cxn>
                <a:cxn ang="0">
                  <a:pos x="8" y="4"/>
                </a:cxn>
                <a:cxn ang="0">
                  <a:pos x="6" y="6"/>
                </a:cxn>
                <a:cxn ang="0">
                  <a:pos x="4" y="10"/>
                </a:cxn>
                <a:cxn ang="0">
                  <a:pos x="0" y="8"/>
                </a:cxn>
                <a:cxn ang="0">
                  <a:pos x="2" y="9"/>
                </a:cxn>
              </a:cxnLst>
              <a:rect l="0" t="0" r="r" b="b"/>
              <a:pathLst>
                <a:path w="19" h="14">
                  <a:moveTo>
                    <a:pt x="2" y="9"/>
                  </a:moveTo>
                  <a:cubicBezTo>
                    <a:pt x="1" y="8"/>
                    <a:pt x="0" y="10"/>
                    <a:pt x="1" y="11"/>
                  </a:cubicBezTo>
                  <a:cubicBezTo>
                    <a:pt x="2" y="13"/>
                    <a:pt x="6" y="14"/>
                    <a:pt x="8" y="13"/>
                  </a:cubicBezTo>
                  <a:cubicBezTo>
                    <a:pt x="9" y="12"/>
                    <a:pt x="10" y="11"/>
                    <a:pt x="10" y="10"/>
                  </a:cubicBezTo>
                  <a:cubicBezTo>
                    <a:pt x="10" y="9"/>
                    <a:pt x="9" y="7"/>
                    <a:pt x="10" y="7"/>
                  </a:cubicBezTo>
                  <a:cubicBezTo>
                    <a:pt x="11" y="6"/>
                    <a:pt x="13" y="7"/>
                    <a:pt x="13" y="7"/>
                  </a:cubicBezTo>
                  <a:cubicBezTo>
                    <a:pt x="15" y="7"/>
                    <a:pt x="14" y="8"/>
                    <a:pt x="15" y="7"/>
                  </a:cubicBezTo>
                  <a:cubicBezTo>
                    <a:pt x="17" y="5"/>
                    <a:pt x="17" y="3"/>
                    <a:pt x="19" y="1"/>
                  </a:cubicBezTo>
                  <a:cubicBezTo>
                    <a:pt x="17" y="1"/>
                    <a:pt x="10" y="0"/>
                    <a:pt x="11" y="3"/>
                  </a:cubicBezTo>
                  <a:cubicBezTo>
                    <a:pt x="11" y="3"/>
                    <a:pt x="11" y="1"/>
                    <a:pt x="10" y="1"/>
                  </a:cubicBezTo>
                  <a:cubicBezTo>
                    <a:pt x="8" y="0"/>
                    <a:pt x="8" y="3"/>
                    <a:pt x="8" y="4"/>
                  </a:cubicBezTo>
                  <a:cubicBezTo>
                    <a:pt x="8" y="6"/>
                    <a:pt x="7" y="5"/>
                    <a:pt x="6" y="6"/>
                  </a:cubicBezTo>
                  <a:cubicBezTo>
                    <a:pt x="5" y="7"/>
                    <a:pt x="5" y="9"/>
                    <a:pt x="4" y="10"/>
                  </a:cubicBezTo>
                  <a:cubicBezTo>
                    <a:pt x="3" y="9"/>
                    <a:pt x="2" y="8"/>
                    <a:pt x="0" y="8"/>
                  </a:cubicBezTo>
                  <a:lnTo>
                    <a:pt x="2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0" name="Freeform 80"/>
            <p:cNvSpPr>
              <a:spLocks/>
            </p:cNvSpPr>
            <p:nvPr/>
          </p:nvSpPr>
          <p:spPr bwMode="auto">
            <a:xfrm>
              <a:off x="3141663" y="3013075"/>
              <a:ext cx="17463" cy="11113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0" y="0"/>
                </a:cxn>
                <a:cxn ang="0">
                  <a:pos x="0" y="3"/>
                </a:cxn>
                <a:cxn ang="0">
                  <a:pos x="5" y="6"/>
                </a:cxn>
                <a:cxn ang="0">
                  <a:pos x="1" y="1"/>
                </a:cxn>
                <a:cxn ang="0">
                  <a:pos x="3" y="1"/>
                </a:cxn>
              </a:cxnLst>
              <a:rect l="0" t="0" r="r" b="b"/>
              <a:pathLst>
                <a:path w="9" h="6">
                  <a:moveTo>
                    <a:pt x="3" y="1"/>
                  </a:moveTo>
                  <a:cubicBezTo>
                    <a:pt x="3" y="1"/>
                    <a:pt x="1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1" y="4"/>
                    <a:pt x="4" y="6"/>
                    <a:pt x="5" y="6"/>
                  </a:cubicBezTo>
                  <a:cubicBezTo>
                    <a:pt x="9" y="5"/>
                    <a:pt x="4" y="0"/>
                    <a:pt x="1" y="1"/>
                  </a:cubicBezTo>
                  <a:lnTo>
                    <a:pt x="3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1" name="Freeform 81"/>
            <p:cNvSpPr>
              <a:spLocks/>
            </p:cNvSpPr>
            <p:nvPr/>
          </p:nvSpPr>
          <p:spPr bwMode="auto">
            <a:xfrm>
              <a:off x="3065463" y="3054350"/>
              <a:ext cx="30163" cy="31750"/>
            </a:xfrm>
            <a:custGeom>
              <a:avLst/>
              <a:gdLst/>
              <a:ahLst/>
              <a:cxnLst>
                <a:cxn ang="0">
                  <a:pos x="11" y="6"/>
                </a:cxn>
                <a:cxn ang="0">
                  <a:pos x="5" y="0"/>
                </a:cxn>
                <a:cxn ang="0">
                  <a:pos x="2" y="0"/>
                </a:cxn>
                <a:cxn ang="0">
                  <a:pos x="0" y="3"/>
                </a:cxn>
                <a:cxn ang="0">
                  <a:pos x="9" y="15"/>
                </a:cxn>
                <a:cxn ang="0">
                  <a:pos x="13" y="16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8" y="5"/>
                </a:cxn>
                <a:cxn ang="0">
                  <a:pos x="11" y="6"/>
                </a:cxn>
              </a:cxnLst>
              <a:rect l="0" t="0" r="r" b="b"/>
              <a:pathLst>
                <a:path w="16" h="17">
                  <a:moveTo>
                    <a:pt x="11" y="6"/>
                  </a:moveTo>
                  <a:cubicBezTo>
                    <a:pt x="12" y="3"/>
                    <a:pt x="7" y="1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0" y="0"/>
                    <a:pt x="0" y="0"/>
                    <a:pt x="0" y="3"/>
                  </a:cubicBezTo>
                  <a:cubicBezTo>
                    <a:pt x="0" y="8"/>
                    <a:pt x="4" y="13"/>
                    <a:pt x="9" y="15"/>
                  </a:cubicBezTo>
                  <a:cubicBezTo>
                    <a:pt x="10" y="16"/>
                    <a:pt x="12" y="17"/>
                    <a:pt x="13" y="16"/>
                  </a:cubicBezTo>
                  <a:cubicBezTo>
                    <a:pt x="14" y="15"/>
                    <a:pt x="12" y="12"/>
                    <a:pt x="13" y="11"/>
                  </a:cubicBezTo>
                  <a:cubicBezTo>
                    <a:pt x="13" y="11"/>
                    <a:pt x="14" y="11"/>
                    <a:pt x="15" y="11"/>
                  </a:cubicBezTo>
                  <a:cubicBezTo>
                    <a:pt x="16" y="9"/>
                    <a:pt x="9" y="6"/>
                    <a:pt x="8" y="5"/>
                  </a:cubicBezTo>
                  <a:lnTo>
                    <a:pt x="11" y="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2" name="Freeform 82"/>
            <p:cNvSpPr>
              <a:spLocks/>
            </p:cNvSpPr>
            <p:nvPr/>
          </p:nvSpPr>
          <p:spPr bwMode="auto">
            <a:xfrm>
              <a:off x="3106738" y="3063875"/>
              <a:ext cx="14288" cy="26988"/>
            </a:xfrm>
            <a:custGeom>
              <a:avLst/>
              <a:gdLst/>
              <a:ahLst/>
              <a:cxnLst>
                <a:cxn ang="0">
                  <a:pos x="6" y="3"/>
                </a:cxn>
                <a:cxn ang="0">
                  <a:pos x="3" y="2"/>
                </a:cxn>
                <a:cxn ang="0">
                  <a:pos x="1" y="6"/>
                </a:cxn>
                <a:cxn ang="0">
                  <a:pos x="0" y="11"/>
                </a:cxn>
                <a:cxn ang="0">
                  <a:pos x="5" y="12"/>
                </a:cxn>
                <a:cxn ang="0">
                  <a:pos x="4" y="5"/>
                </a:cxn>
                <a:cxn ang="0">
                  <a:pos x="5" y="0"/>
                </a:cxn>
                <a:cxn ang="0">
                  <a:pos x="6" y="3"/>
                </a:cxn>
              </a:cxnLst>
              <a:rect l="0" t="0" r="r" b="b"/>
              <a:pathLst>
                <a:path w="8" h="15">
                  <a:moveTo>
                    <a:pt x="6" y="3"/>
                  </a:moveTo>
                  <a:cubicBezTo>
                    <a:pt x="6" y="2"/>
                    <a:pt x="4" y="2"/>
                    <a:pt x="3" y="2"/>
                  </a:cubicBezTo>
                  <a:cubicBezTo>
                    <a:pt x="2" y="3"/>
                    <a:pt x="1" y="4"/>
                    <a:pt x="1" y="6"/>
                  </a:cubicBezTo>
                  <a:cubicBezTo>
                    <a:pt x="1" y="7"/>
                    <a:pt x="0" y="9"/>
                    <a:pt x="0" y="11"/>
                  </a:cubicBezTo>
                  <a:cubicBezTo>
                    <a:pt x="0" y="14"/>
                    <a:pt x="4" y="15"/>
                    <a:pt x="5" y="12"/>
                  </a:cubicBezTo>
                  <a:cubicBezTo>
                    <a:pt x="6" y="9"/>
                    <a:pt x="3" y="7"/>
                    <a:pt x="4" y="5"/>
                  </a:cubicBezTo>
                  <a:cubicBezTo>
                    <a:pt x="8" y="4"/>
                    <a:pt x="7" y="3"/>
                    <a:pt x="5" y="0"/>
                  </a:cubicBezTo>
                  <a:lnTo>
                    <a:pt x="6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3" name="Freeform 83"/>
            <p:cNvSpPr>
              <a:spLocks/>
            </p:cNvSpPr>
            <p:nvPr/>
          </p:nvSpPr>
          <p:spPr bwMode="auto">
            <a:xfrm>
              <a:off x="3298825" y="2697163"/>
              <a:ext cx="28575" cy="60325"/>
            </a:xfrm>
            <a:custGeom>
              <a:avLst/>
              <a:gdLst/>
              <a:ahLst/>
              <a:cxnLst>
                <a:cxn ang="0">
                  <a:pos x="11" y="5"/>
                </a:cxn>
                <a:cxn ang="0">
                  <a:pos x="10" y="1"/>
                </a:cxn>
                <a:cxn ang="0">
                  <a:pos x="1" y="8"/>
                </a:cxn>
                <a:cxn ang="0">
                  <a:pos x="3" y="11"/>
                </a:cxn>
                <a:cxn ang="0">
                  <a:pos x="1" y="14"/>
                </a:cxn>
                <a:cxn ang="0">
                  <a:pos x="2" y="21"/>
                </a:cxn>
                <a:cxn ang="0">
                  <a:pos x="3" y="27"/>
                </a:cxn>
                <a:cxn ang="0">
                  <a:pos x="4" y="29"/>
                </a:cxn>
                <a:cxn ang="0">
                  <a:pos x="8" y="32"/>
                </a:cxn>
                <a:cxn ang="0">
                  <a:pos x="11" y="29"/>
                </a:cxn>
                <a:cxn ang="0">
                  <a:pos x="11" y="24"/>
                </a:cxn>
                <a:cxn ang="0">
                  <a:pos x="12" y="20"/>
                </a:cxn>
                <a:cxn ang="0">
                  <a:pos x="11" y="16"/>
                </a:cxn>
                <a:cxn ang="0">
                  <a:pos x="10" y="12"/>
                </a:cxn>
                <a:cxn ang="0">
                  <a:pos x="14" y="6"/>
                </a:cxn>
                <a:cxn ang="0">
                  <a:pos x="9" y="1"/>
                </a:cxn>
                <a:cxn ang="0">
                  <a:pos x="11" y="5"/>
                </a:cxn>
              </a:cxnLst>
              <a:rect l="0" t="0" r="r" b="b"/>
              <a:pathLst>
                <a:path w="15" h="32">
                  <a:moveTo>
                    <a:pt x="11" y="5"/>
                  </a:moveTo>
                  <a:cubicBezTo>
                    <a:pt x="13" y="4"/>
                    <a:pt x="12" y="2"/>
                    <a:pt x="10" y="1"/>
                  </a:cubicBezTo>
                  <a:cubicBezTo>
                    <a:pt x="6" y="0"/>
                    <a:pt x="1" y="4"/>
                    <a:pt x="1" y="8"/>
                  </a:cubicBezTo>
                  <a:cubicBezTo>
                    <a:pt x="0" y="10"/>
                    <a:pt x="2" y="9"/>
                    <a:pt x="3" y="11"/>
                  </a:cubicBezTo>
                  <a:cubicBezTo>
                    <a:pt x="3" y="12"/>
                    <a:pt x="2" y="14"/>
                    <a:pt x="1" y="14"/>
                  </a:cubicBezTo>
                  <a:cubicBezTo>
                    <a:pt x="0" y="16"/>
                    <a:pt x="1" y="19"/>
                    <a:pt x="2" y="21"/>
                  </a:cubicBezTo>
                  <a:cubicBezTo>
                    <a:pt x="2" y="23"/>
                    <a:pt x="3" y="25"/>
                    <a:pt x="3" y="27"/>
                  </a:cubicBezTo>
                  <a:cubicBezTo>
                    <a:pt x="4" y="29"/>
                    <a:pt x="3" y="28"/>
                    <a:pt x="4" y="29"/>
                  </a:cubicBezTo>
                  <a:cubicBezTo>
                    <a:pt x="5" y="30"/>
                    <a:pt x="7" y="31"/>
                    <a:pt x="8" y="32"/>
                  </a:cubicBezTo>
                  <a:cubicBezTo>
                    <a:pt x="10" y="32"/>
                    <a:pt x="10" y="31"/>
                    <a:pt x="11" y="29"/>
                  </a:cubicBezTo>
                  <a:cubicBezTo>
                    <a:pt x="11" y="27"/>
                    <a:pt x="11" y="25"/>
                    <a:pt x="11" y="24"/>
                  </a:cubicBezTo>
                  <a:cubicBezTo>
                    <a:pt x="11" y="23"/>
                    <a:pt x="12" y="22"/>
                    <a:pt x="12" y="20"/>
                  </a:cubicBezTo>
                  <a:cubicBezTo>
                    <a:pt x="12" y="18"/>
                    <a:pt x="12" y="17"/>
                    <a:pt x="11" y="16"/>
                  </a:cubicBezTo>
                  <a:cubicBezTo>
                    <a:pt x="11" y="15"/>
                    <a:pt x="10" y="13"/>
                    <a:pt x="10" y="12"/>
                  </a:cubicBezTo>
                  <a:cubicBezTo>
                    <a:pt x="10" y="10"/>
                    <a:pt x="13" y="8"/>
                    <a:pt x="14" y="6"/>
                  </a:cubicBezTo>
                  <a:cubicBezTo>
                    <a:pt x="15" y="3"/>
                    <a:pt x="10" y="3"/>
                    <a:pt x="9" y="1"/>
                  </a:cubicBezTo>
                  <a:lnTo>
                    <a:pt x="11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4" name="Freeform 84"/>
            <p:cNvSpPr>
              <a:spLocks/>
            </p:cNvSpPr>
            <p:nvPr/>
          </p:nvSpPr>
          <p:spPr bwMode="auto">
            <a:xfrm>
              <a:off x="3330575" y="2724150"/>
              <a:ext cx="11113" cy="1270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5" y="6"/>
                </a:cxn>
                <a:cxn ang="0">
                  <a:pos x="3" y="7"/>
                </a:cxn>
                <a:cxn ang="0">
                  <a:pos x="1" y="5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7">
                  <a:moveTo>
                    <a:pt x="3" y="0"/>
                  </a:moveTo>
                  <a:cubicBezTo>
                    <a:pt x="6" y="0"/>
                    <a:pt x="6" y="4"/>
                    <a:pt x="5" y="6"/>
                  </a:cubicBezTo>
                  <a:cubicBezTo>
                    <a:pt x="4" y="7"/>
                    <a:pt x="4" y="7"/>
                    <a:pt x="3" y="7"/>
                  </a:cubicBezTo>
                  <a:cubicBezTo>
                    <a:pt x="2" y="7"/>
                    <a:pt x="1" y="6"/>
                    <a:pt x="1" y="5"/>
                  </a:cubicBezTo>
                  <a:cubicBezTo>
                    <a:pt x="0" y="3"/>
                    <a:pt x="2" y="0"/>
                    <a:pt x="5" y="2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5" name="Freeform 85"/>
            <p:cNvSpPr>
              <a:spLocks/>
            </p:cNvSpPr>
            <p:nvPr/>
          </p:nvSpPr>
          <p:spPr bwMode="auto">
            <a:xfrm>
              <a:off x="3248025" y="2706688"/>
              <a:ext cx="82550" cy="173038"/>
            </a:xfrm>
            <a:custGeom>
              <a:avLst/>
              <a:gdLst/>
              <a:ahLst/>
              <a:cxnLst>
                <a:cxn ang="0">
                  <a:pos x="36" y="35"/>
                </a:cxn>
                <a:cxn ang="0">
                  <a:pos x="44" y="37"/>
                </a:cxn>
                <a:cxn ang="0">
                  <a:pos x="41" y="34"/>
                </a:cxn>
                <a:cxn ang="0">
                  <a:pos x="33" y="33"/>
                </a:cxn>
                <a:cxn ang="0">
                  <a:pos x="30" y="32"/>
                </a:cxn>
                <a:cxn ang="0">
                  <a:pos x="28" y="26"/>
                </a:cxn>
                <a:cxn ang="0">
                  <a:pos x="20" y="26"/>
                </a:cxn>
                <a:cxn ang="0">
                  <a:pos x="20" y="16"/>
                </a:cxn>
                <a:cxn ang="0">
                  <a:pos x="21" y="12"/>
                </a:cxn>
                <a:cxn ang="0">
                  <a:pos x="6" y="20"/>
                </a:cxn>
                <a:cxn ang="0">
                  <a:pos x="9" y="25"/>
                </a:cxn>
                <a:cxn ang="0">
                  <a:pos x="12" y="28"/>
                </a:cxn>
                <a:cxn ang="0">
                  <a:pos x="13" y="32"/>
                </a:cxn>
                <a:cxn ang="0">
                  <a:pos x="16" y="36"/>
                </a:cxn>
                <a:cxn ang="0">
                  <a:pos x="13" y="41"/>
                </a:cxn>
                <a:cxn ang="0">
                  <a:pos x="11" y="44"/>
                </a:cxn>
                <a:cxn ang="0">
                  <a:pos x="4" y="41"/>
                </a:cxn>
                <a:cxn ang="0">
                  <a:pos x="0" y="44"/>
                </a:cxn>
                <a:cxn ang="0">
                  <a:pos x="3" y="48"/>
                </a:cxn>
                <a:cxn ang="0">
                  <a:pos x="6" y="54"/>
                </a:cxn>
                <a:cxn ang="0">
                  <a:pos x="21" y="54"/>
                </a:cxn>
                <a:cxn ang="0">
                  <a:pos x="21" y="67"/>
                </a:cxn>
                <a:cxn ang="0">
                  <a:pos x="20" y="80"/>
                </a:cxn>
                <a:cxn ang="0">
                  <a:pos x="20" y="92"/>
                </a:cxn>
                <a:cxn ang="0">
                  <a:pos x="25" y="82"/>
                </a:cxn>
                <a:cxn ang="0">
                  <a:pos x="28" y="68"/>
                </a:cxn>
                <a:cxn ang="0">
                  <a:pos x="30" y="61"/>
                </a:cxn>
                <a:cxn ang="0">
                  <a:pos x="36" y="62"/>
                </a:cxn>
                <a:cxn ang="0">
                  <a:pos x="33" y="58"/>
                </a:cxn>
                <a:cxn ang="0">
                  <a:pos x="29" y="52"/>
                </a:cxn>
                <a:cxn ang="0">
                  <a:pos x="34" y="44"/>
                </a:cxn>
                <a:cxn ang="0">
                  <a:pos x="33" y="38"/>
                </a:cxn>
                <a:cxn ang="0">
                  <a:pos x="37" y="34"/>
                </a:cxn>
              </a:cxnLst>
              <a:rect l="0" t="0" r="r" b="b"/>
              <a:pathLst>
                <a:path w="44" h="93">
                  <a:moveTo>
                    <a:pt x="37" y="34"/>
                  </a:moveTo>
                  <a:cubicBezTo>
                    <a:pt x="37" y="35"/>
                    <a:pt x="37" y="35"/>
                    <a:pt x="36" y="35"/>
                  </a:cubicBezTo>
                  <a:cubicBezTo>
                    <a:pt x="36" y="35"/>
                    <a:pt x="36" y="37"/>
                    <a:pt x="36" y="38"/>
                  </a:cubicBezTo>
                  <a:cubicBezTo>
                    <a:pt x="38" y="38"/>
                    <a:pt x="43" y="39"/>
                    <a:pt x="44" y="37"/>
                  </a:cubicBezTo>
                  <a:cubicBezTo>
                    <a:pt x="43" y="37"/>
                    <a:pt x="42" y="37"/>
                    <a:pt x="42" y="36"/>
                  </a:cubicBezTo>
                  <a:cubicBezTo>
                    <a:pt x="41" y="36"/>
                    <a:pt x="41" y="35"/>
                    <a:pt x="41" y="34"/>
                  </a:cubicBezTo>
                  <a:cubicBezTo>
                    <a:pt x="40" y="33"/>
                    <a:pt x="35" y="32"/>
                    <a:pt x="35" y="35"/>
                  </a:cubicBezTo>
                  <a:cubicBezTo>
                    <a:pt x="34" y="35"/>
                    <a:pt x="33" y="34"/>
                    <a:pt x="33" y="33"/>
                  </a:cubicBezTo>
                  <a:cubicBezTo>
                    <a:pt x="32" y="32"/>
                    <a:pt x="33" y="32"/>
                    <a:pt x="33" y="31"/>
                  </a:cubicBezTo>
                  <a:cubicBezTo>
                    <a:pt x="32" y="31"/>
                    <a:pt x="29" y="30"/>
                    <a:pt x="30" y="32"/>
                  </a:cubicBezTo>
                  <a:cubicBezTo>
                    <a:pt x="30" y="31"/>
                    <a:pt x="30" y="30"/>
                    <a:pt x="30" y="29"/>
                  </a:cubicBezTo>
                  <a:cubicBezTo>
                    <a:pt x="30" y="27"/>
                    <a:pt x="30" y="27"/>
                    <a:pt x="28" y="26"/>
                  </a:cubicBezTo>
                  <a:cubicBezTo>
                    <a:pt x="24" y="25"/>
                    <a:pt x="22" y="25"/>
                    <a:pt x="22" y="30"/>
                  </a:cubicBezTo>
                  <a:cubicBezTo>
                    <a:pt x="22" y="28"/>
                    <a:pt x="20" y="27"/>
                    <a:pt x="20" y="26"/>
                  </a:cubicBezTo>
                  <a:cubicBezTo>
                    <a:pt x="19" y="25"/>
                    <a:pt x="20" y="22"/>
                    <a:pt x="20" y="21"/>
                  </a:cubicBezTo>
                  <a:cubicBezTo>
                    <a:pt x="20" y="19"/>
                    <a:pt x="19" y="18"/>
                    <a:pt x="20" y="16"/>
                  </a:cubicBezTo>
                  <a:cubicBezTo>
                    <a:pt x="20" y="16"/>
                    <a:pt x="20" y="16"/>
                    <a:pt x="21" y="15"/>
                  </a:cubicBezTo>
                  <a:cubicBezTo>
                    <a:pt x="21" y="14"/>
                    <a:pt x="21" y="13"/>
                    <a:pt x="21" y="12"/>
                  </a:cubicBezTo>
                  <a:cubicBezTo>
                    <a:pt x="21" y="0"/>
                    <a:pt x="8" y="20"/>
                    <a:pt x="10" y="21"/>
                  </a:cubicBezTo>
                  <a:cubicBezTo>
                    <a:pt x="9" y="21"/>
                    <a:pt x="7" y="20"/>
                    <a:pt x="6" y="20"/>
                  </a:cubicBezTo>
                  <a:cubicBezTo>
                    <a:pt x="6" y="21"/>
                    <a:pt x="6" y="22"/>
                    <a:pt x="6" y="22"/>
                  </a:cubicBezTo>
                  <a:cubicBezTo>
                    <a:pt x="6" y="24"/>
                    <a:pt x="8" y="24"/>
                    <a:pt x="9" y="25"/>
                  </a:cubicBezTo>
                  <a:cubicBezTo>
                    <a:pt x="9" y="25"/>
                    <a:pt x="8" y="26"/>
                    <a:pt x="9" y="26"/>
                  </a:cubicBezTo>
                  <a:cubicBezTo>
                    <a:pt x="10" y="28"/>
                    <a:pt x="10" y="27"/>
                    <a:pt x="12" y="28"/>
                  </a:cubicBezTo>
                  <a:cubicBezTo>
                    <a:pt x="14" y="28"/>
                    <a:pt x="13" y="28"/>
                    <a:pt x="14" y="29"/>
                  </a:cubicBezTo>
                  <a:cubicBezTo>
                    <a:pt x="14" y="30"/>
                    <a:pt x="13" y="31"/>
                    <a:pt x="13" y="32"/>
                  </a:cubicBezTo>
                  <a:cubicBezTo>
                    <a:pt x="14" y="33"/>
                    <a:pt x="14" y="33"/>
                    <a:pt x="15" y="35"/>
                  </a:cubicBezTo>
                  <a:cubicBezTo>
                    <a:pt x="16" y="35"/>
                    <a:pt x="16" y="35"/>
                    <a:pt x="16" y="36"/>
                  </a:cubicBezTo>
                  <a:cubicBezTo>
                    <a:pt x="15" y="36"/>
                    <a:pt x="12" y="35"/>
                    <a:pt x="11" y="36"/>
                  </a:cubicBezTo>
                  <a:cubicBezTo>
                    <a:pt x="11" y="37"/>
                    <a:pt x="12" y="40"/>
                    <a:pt x="13" y="41"/>
                  </a:cubicBezTo>
                  <a:cubicBezTo>
                    <a:pt x="12" y="42"/>
                    <a:pt x="11" y="41"/>
                    <a:pt x="11" y="42"/>
                  </a:cubicBezTo>
                  <a:cubicBezTo>
                    <a:pt x="10" y="42"/>
                    <a:pt x="11" y="43"/>
                    <a:pt x="11" y="44"/>
                  </a:cubicBezTo>
                  <a:cubicBezTo>
                    <a:pt x="9" y="44"/>
                    <a:pt x="6" y="45"/>
                    <a:pt x="5" y="44"/>
                  </a:cubicBezTo>
                  <a:cubicBezTo>
                    <a:pt x="3" y="44"/>
                    <a:pt x="4" y="43"/>
                    <a:pt x="4" y="41"/>
                  </a:cubicBezTo>
                  <a:cubicBezTo>
                    <a:pt x="4" y="40"/>
                    <a:pt x="2" y="38"/>
                    <a:pt x="0" y="40"/>
                  </a:cubicBezTo>
                  <a:cubicBezTo>
                    <a:pt x="0" y="40"/>
                    <a:pt x="0" y="43"/>
                    <a:pt x="0" y="44"/>
                  </a:cubicBezTo>
                  <a:cubicBezTo>
                    <a:pt x="0" y="45"/>
                    <a:pt x="0" y="47"/>
                    <a:pt x="0" y="47"/>
                  </a:cubicBezTo>
                  <a:cubicBezTo>
                    <a:pt x="1" y="48"/>
                    <a:pt x="2" y="47"/>
                    <a:pt x="3" y="48"/>
                  </a:cubicBezTo>
                  <a:cubicBezTo>
                    <a:pt x="5" y="49"/>
                    <a:pt x="4" y="50"/>
                    <a:pt x="4" y="51"/>
                  </a:cubicBezTo>
                  <a:cubicBezTo>
                    <a:pt x="4" y="52"/>
                    <a:pt x="5" y="53"/>
                    <a:pt x="6" y="54"/>
                  </a:cubicBezTo>
                  <a:cubicBezTo>
                    <a:pt x="9" y="56"/>
                    <a:pt x="11" y="54"/>
                    <a:pt x="14" y="55"/>
                  </a:cubicBezTo>
                  <a:cubicBezTo>
                    <a:pt x="14" y="60"/>
                    <a:pt x="20" y="57"/>
                    <a:pt x="21" y="54"/>
                  </a:cubicBezTo>
                  <a:cubicBezTo>
                    <a:pt x="21" y="57"/>
                    <a:pt x="20" y="60"/>
                    <a:pt x="20" y="63"/>
                  </a:cubicBezTo>
                  <a:cubicBezTo>
                    <a:pt x="20" y="64"/>
                    <a:pt x="21" y="66"/>
                    <a:pt x="21" y="67"/>
                  </a:cubicBezTo>
                  <a:cubicBezTo>
                    <a:pt x="20" y="69"/>
                    <a:pt x="18" y="70"/>
                    <a:pt x="17" y="72"/>
                  </a:cubicBezTo>
                  <a:cubicBezTo>
                    <a:pt x="17" y="76"/>
                    <a:pt x="20" y="77"/>
                    <a:pt x="20" y="80"/>
                  </a:cubicBezTo>
                  <a:cubicBezTo>
                    <a:pt x="19" y="83"/>
                    <a:pt x="19" y="86"/>
                    <a:pt x="19" y="89"/>
                  </a:cubicBezTo>
                  <a:cubicBezTo>
                    <a:pt x="19" y="90"/>
                    <a:pt x="19" y="91"/>
                    <a:pt x="20" y="92"/>
                  </a:cubicBezTo>
                  <a:cubicBezTo>
                    <a:pt x="21" y="93"/>
                    <a:pt x="22" y="92"/>
                    <a:pt x="23" y="91"/>
                  </a:cubicBezTo>
                  <a:cubicBezTo>
                    <a:pt x="25" y="88"/>
                    <a:pt x="26" y="86"/>
                    <a:pt x="25" y="82"/>
                  </a:cubicBezTo>
                  <a:cubicBezTo>
                    <a:pt x="24" y="80"/>
                    <a:pt x="25" y="78"/>
                    <a:pt x="25" y="76"/>
                  </a:cubicBezTo>
                  <a:cubicBezTo>
                    <a:pt x="25" y="73"/>
                    <a:pt x="25" y="70"/>
                    <a:pt x="28" y="68"/>
                  </a:cubicBezTo>
                  <a:cubicBezTo>
                    <a:pt x="29" y="68"/>
                    <a:pt x="31" y="67"/>
                    <a:pt x="31" y="65"/>
                  </a:cubicBezTo>
                  <a:cubicBezTo>
                    <a:pt x="30" y="64"/>
                    <a:pt x="29" y="63"/>
                    <a:pt x="30" y="61"/>
                  </a:cubicBezTo>
                  <a:cubicBezTo>
                    <a:pt x="32" y="61"/>
                    <a:pt x="31" y="63"/>
                    <a:pt x="32" y="64"/>
                  </a:cubicBezTo>
                  <a:cubicBezTo>
                    <a:pt x="33" y="65"/>
                    <a:pt x="35" y="63"/>
                    <a:pt x="36" y="62"/>
                  </a:cubicBezTo>
                  <a:cubicBezTo>
                    <a:pt x="37" y="60"/>
                    <a:pt x="39" y="58"/>
                    <a:pt x="37" y="57"/>
                  </a:cubicBezTo>
                  <a:cubicBezTo>
                    <a:pt x="36" y="56"/>
                    <a:pt x="33" y="56"/>
                    <a:pt x="33" y="58"/>
                  </a:cubicBezTo>
                  <a:cubicBezTo>
                    <a:pt x="32" y="58"/>
                    <a:pt x="32" y="57"/>
                    <a:pt x="31" y="56"/>
                  </a:cubicBezTo>
                  <a:cubicBezTo>
                    <a:pt x="31" y="55"/>
                    <a:pt x="28" y="53"/>
                    <a:pt x="29" y="52"/>
                  </a:cubicBezTo>
                  <a:cubicBezTo>
                    <a:pt x="31" y="51"/>
                    <a:pt x="34" y="52"/>
                    <a:pt x="36" y="50"/>
                  </a:cubicBezTo>
                  <a:cubicBezTo>
                    <a:pt x="37" y="48"/>
                    <a:pt x="33" y="46"/>
                    <a:pt x="34" y="44"/>
                  </a:cubicBezTo>
                  <a:cubicBezTo>
                    <a:pt x="34" y="43"/>
                    <a:pt x="34" y="43"/>
                    <a:pt x="34" y="42"/>
                  </a:cubicBezTo>
                  <a:cubicBezTo>
                    <a:pt x="35" y="40"/>
                    <a:pt x="34" y="39"/>
                    <a:pt x="33" y="38"/>
                  </a:cubicBezTo>
                  <a:cubicBezTo>
                    <a:pt x="33" y="38"/>
                    <a:pt x="34" y="37"/>
                    <a:pt x="35" y="37"/>
                  </a:cubicBezTo>
                  <a:lnTo>
                    <a:pt x="37" y="3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6" name="Freeform 86"/>
            <p:cNvSpPr>
              <a:spLocks/>
            </p:cNvSpPr>
            <p:nvPr/>
          </p:nvSpPr>
          <p:spPr bwMode="auto">
            <a:xfrm>
              <a:off x="3325813" y="2676525"/>
              <a:ext cx="20638" cy="39688"/>
            </a:xfrm>
            <a:custGeom>
              <a:avLst/>
              <a:gdLst/>
              <a:ahLst/>
              <a:cxnLst>
                <a:cxn ang="0">
                  <a:pos x="9" y="2"/>
                </a:cxn>
                <a:cxn ang="0">
                  <a:pos x="1" y="11"/>
                </a:cxn>
                <a:cxn ang="0">
                  <a:pos x="1" y="18"/>
                </a:cxn>
                <a:cxn ang="0">
                  <a:pos x="8" y="15"/>
                </a:cxn>
                <a:cxn ang="0">
                  <a:pos x="9" y="0"/>
                </a:cxn>
                <a:cxn ang="0">
                  <a:pos x="9" y="2"/>
                </a:cxn>
              </a:cxnLst>
              <a:rect l="0" t="0" r="r" b="b"/>
              <a:pathLst>
                <a:path w="11" h="21">
                  <a:moveTo>
                    <a:pt x="9" y="2"/>
                  </a:moveTo>
                  <a:cubicBezTo>
                    <a:pt x="4" y="2"/>
                    <a:pt x="1" y="7"/>
                    <a:pt x="1" y="11"/>
                  </a:cubicBezTo>
                  <a:cubicBezTo>
                    <a:pt x="1" y="13"/>
                    <a:pt x="0" y="17"/>
                    <a:pt x="1" y="18"/>
                  </a:cubicBezTo>
                  <a:cubicBezTo>
                    <a:pt x="3" y="21"/>
                    <a:pt x="7" y="17"/>
                    <a:pt x="8" y="15"/>
                  </a:cubicBezTo>
                  <a:cubicBezTo>
                    <a:pt x="10" y="11"/>
                    <a:pt x="11" y="6"/>
                    <a:pt x="9" y="0"/>
                  </a:cubicBezTo>
                  <a:lnTo>
                    <a:pt x="9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7" name="Line 87"/>
            <p:cNvSpPr>
              <a:spLocks noChangeShapeType="1"/>
            </p:cNvSpPr>
            <p:nvPr/>
          </p:nvSpPr>
          <p:spPr bwMode="auto">
            <a:xfrm>
              <a:off x="2644775" y="3457575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8" name="Line 88"/>
            <p:cNvSpPr>
              <a:spLocks noChangeShapeType="1"/>
            </p:cNvSpPr>
            <p:nvPr/>
          </p:nvSpPr>
          <p:spPr bwMode="auto">
            <a:xfrm>
              <a:off x="2644775" y="3457575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9" name="Freeform 89"/>
            <p:cNvSpPr>
              <a:spLocks/>
            </p:cNvSpPr>
            <p:nvPr/>
          </p:nvSpPr>
          <p:spPr bwMode="auto">
            <a:xfrm>
              <a:off x="2598738" y="3735388"/>
              <a:ext cx="263525" cy="222250"/>
            </a:xfrm>
            <a:custGeom>
              <a:avLst/>
              <a:gdLst/>
              <a:ahLst/>
              <a:cxnLst>
                <a:cxn ang="0">
                  <a:pos x="140" y="68"/>
                </a:cxn>
                <a:cxn ang="0">
                  <a:pos x="135" y="48"/>
                </a:cxn>
                <a:cxn ang="0">
                  <a:pos x="127" y="45"/>
                </a:cxn>
                <a:cxn ang="0">
                  <a:pos x="118" y="42"/>
                </a:cxn>
                <a:cxn ang="0">
                  <a:pos x="107" y="16"/>
                </a:cxn>
                <a:cxn ang="0">
                  <a:pos x="90" y="6"/>
                </a:cxn>
                <a:cxn ang="0">
                  <a:pos x="78" y="1"/>
                </a:cxn>
                <a:cxn ang="0">
                  <a:pos x="73" y="0"/>
                </a:cxn>
                <a:cxn ang="0">
                  <a:pos x="61" y="6"/>
                </a:cxn>
                <a:cxn ang="0">
                  <a:pos x="58" y="13"/>
                </a:cxn>
                <a:cxn ang="0">
                  <a:pos x="55" y="16"/>
                </a:cxn>
                <a:cxn ang="0">
                  <a:pos x="50" y="21"/>
                </a:cxn>
                <a:cxn ang="0">
                  <a:pos x="41" y="26"/>
                </a:cxn>
                <a:cxn ang="0">
                  <a:pos x="35" y="36"/>
                </a:cxn>
                <a:cxn ang="0">
                  <a:pos x="31" y="44"/>
                </a:cxn>
                <a:cxn ang="0">
                  <a:pos x="24" y="53"/>
                </a:cxn>
                <a:cxn ang="0">
                  <a:pos x="11" y="55"/>
                </a:cxn>
                <a:cxn ang="0">
                  <a:pos x="11" y="61"/>
                </a:cxn>
                <a:cxn ang="0">
                  <a:pos x="19" y="63"/>
                </a:cxn>
                <a:cxn ang="0">
                  <a:pos x="14" y="68"/>
                </a:cxn>
                <a:cxn ang="0">
                  <a:pos x="3" y="76"/>
                </a:cxn>
                <a:cxn ang="0">
                  <a:pos x="1" y="86"/>
                </a:cxn>
                <a:cxn ang="0">
                  <a:pos x="6" y="90"/>
                </a:cxn>
                <a:cxn ang="0">
                  <a:pos x="7" y="94"/>
                </a:cxn>
                <a:cxn ang="0">
                  <a:pos x="11" y="100"/>
                </a:cxn>
                <a:cxn ang="0">
                  <a:pos x="22" y="103"/>
                </a:cxn>
                <a:cxn ang="0">
                  <a:pos x="25" y="106"/>
                </a:cxn>
                <a:cxn ang="0">
                  <a:pos x="35" y="109"/>
                </a:cxn>
                <a:cxn ang="0">
                  <a:pos x="42" y="104"/>
                </a:cxn>
                <a:cxn ang="0">
                  <a:pos x="49" y="97"/>
                </a:cxn>
                <a:cxn ang="0">
                  <a:pos x="50" y="89"/>
                </a:cxn>
                <a:cxn ang="0">
                  <a:pos x="58" y="84"/>
                </a:cxn>
                <a:cxn ang="0">
                  <a:pos x="66" y="95"/>
                </a:cxn>
                <a:cxn ang="0">
                  <a:pos x="71" y="102"/>
                </a:cxn>
                <a:cxn ang="0">
                  <a:pos x="76" y="113"/>
                </a:cxn>
                <a:cxn ang="0">
                  <a:pos x="85" y="116"/>
                </a:cxn>
                <a:cxn ang="0">
                  <a:pos x="89" y="113"/>
                </a:cxn>
                <a:cxn ang="0">
                  <a:pos x="95" y="112"/>
                </a:cxn>
                <a:cxn ang="0">
                  <a:pos x="104" y="116"/>
                </a:cxn>
                <a:cxn ang="0">
                  <a:pos x="110" y="117"/>
                </a:cxn>
                <a:cxn ang="0">
                  <a:pos x="117" y="99"/>
                </a:cxn>
                <a:cxn ang="0">
                  <a:pos x="132" y="94"/>
                </a:cxn>
                <a:cxn ang="0">
                  <a:pos x="140" y="77"/>
                </a:cxn>
              </a:cxnLst>
              <a:rect l="0" t="0" r="r" b="b"/>
              <a:pathLst>
                <a:path w="141" h="119">
                  <a:moveTo>
                    <a:pt x="140" y="77"/>
                  </a:moveTo>
                  <a:cubicBezTo>
                    <a:pt x="140" y="74"/>
                    <a:pt x="141" y="71"/>
                    <a:pt x="140" y="68"/>
                  </a:cubicBezTo>
                  <a:cubicBezTo>
                    <a:pt x="139" y="65"/>
                    <a:pt x="135" y="62"/>
                    <a:pt x="133" y="62"/>
                  </a:cubicBezTo>
                  <a:cubicBezTo>
                    <a:pt x="132" y="57"/>
                    <a:pt x="137" y="53"/>
                    <a:pt x="135" y="48"/>
                  </a:cubicBezTo>
                  <a:cubicBezTo>
                    <a:pt x="134" y="48"/>
                    <a:pt x="132" y="48"/>
                    <a:pt x="131" y="47"/>
                  </a:cubicBezTo>
                  <a:cubicBezTo>
                    <a:pt x="128" y="46"/>
                    <a:pt x="129" y="47"/>
                    <a:pt x="127" y="45"/>
                  </a:cubicBezTo>
                  <a:cubicBezTo>
                    <a:pt x="126" y="43"/>
                    <a:pt x="125" y="41"/>
                    <a:pt x="122" y="41"/>
                  </a:cubicBezTo>
                  <a:cubicBezTo>
                    <a:pt x="120" y="41"/>
                    <a:pt x="120" y="43"/>
                    <a:pt x="118" y="42"/>
                  </a:cubicBezTo>
                  <a:cubicBezTo>
                    <a:pt x="118" y="38"/>
                    <a:pt x="114" y="34"/>
                    <a:pt x="112" y="30"/>
                  </a:cubicBezTo>
                  <a:cubicBezTo>
                    <a:pt x="109" y="25"/>
                    <a:pt x="107" y="22"/>
                    <a:pt x="107" y="16"/>
                  </a:cubicBezTo>
                  <a:cubicBezTo>
                    <a:pt x="109" y="14"/>
                    <a:pt x="109" y="14"/>
                    <a:pt x="109" y="14"/>
                  </a:cubicBezTo>
                  <a:cubicBezTo>
                    <a:pt x="106" y="6"/>
                    <a:pt x="97" y="5"/>
                    <a:pt x="90" y="6"/>
                  </a:cubicBezTo>
                  <a:cubicBezTo>
                    <a:pt x="86" y="6"/>
                    <a:pt x="85" y="8"/>
                    <a:pt x="82" y="8"/>
                  </a:cubicBezTo>
                  <a:cubicBezTo>
                    <a:pt x="77" y="9"/>
                    <a:pt x="78" y="4"/>
                    <a:pt x="78" y="1"/>
                  </a:cubicBezTo>
                  <a:cubicBezTo>
                    <a:pt x="76" y="0"/>
                    <a:pt x="75" y="0"/>
                    <a:pt x="73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1" y="2"/>
                    <a:pt x="68" y="2"/>
                    <a:pt x="66" y="3"/>
                  </a:cubicBezTo>
                  <a:cubicBezTo>
                    <a:pt x="64" y="3"/>
                    <a:pt x="63" y="5"/>
                    <a:pt x="61" y="6"/>
                  </a:cubicBezTo>
                  <a:cubicBezTo>
                    <a:pt x="60" y="7"/>
                    <a:pt x="58" y="9"/>
                    <a:pt x="58" y="10"/>
                  </a:cubicBezTo>
                  <a:cubicBezTo>
                    <a:pt x="58" y="11"/>
                    <a:pt x="58" y="12"/>
                    <a:pt x="58" y="13"/>
                  </a:cubicBezTo>
                  <a:cubicBezTo>
                    <a:pt x="57" y="13"/>
                    <a:pt x="57" y="13"/>
                    <a:pt x="56" y="13"/>
                  </a:cubicBezTo>
                  <a:cubicBezTo>
                    <a:pt x="56" y="14"/>
                    <a:pt x="56" y="15"/>
                    <a:pt x="55" y="16"/>
                  </a:cubicBezTo>
                  <a:cubicBezTo>
                    <a:pt x="55" y="16"/>
                    <a:pt x="54" y="18"/>
                    <a:pt x="54" y="18"/>
                  </a:cubicBezTo>
                  <a:cubicBezTo>
                    <a:pt x="53" y="19"/>
                    <a:pt x="51" y="20"/>
                    <a:pt x="50" y="21"/>
                  </a:cubicBezTo>
                  <a:cubicBezTo>
                    <a:pt x="48" y="22"/>
                    <a:pt x="48" y="23"/>
                    <a:pt x="46" y="23"/>
                  </a:cubicBezTo>
                  <a:cubicBezTo>
                    <a:pt x="43" y="24"/>
                    <a:pt x="42" y="22"/>
                    <a:pt x="41" y="26"/>
                  </a:cubicBezTo>
                  <a:cubicBezTo>
                    <a:pt x="41" y="29"/>
                    <a:pt x="40" y="29"/>
                    <a:pt x="38" y="31"/>
                  </a:cubicBezTo>
                  <a:cubicBezTo>
                    <a:pt x="37" y="33"/>
                    <a:pt x="36" y="34"/>
                    <a:pt x="35" y="36"/>
                  </a:cubicBezTo>
                  <a:cubicBezTo>
                    <a:pt x="34" y="38"/>
                    <a:pt x="34" y="40"/>
                    <a:pt x="33" y="41"/>
                  </a:cubicBezTo>
                  <a:cubicBezTo>
                    <a:pt x="33" y="43"/>
                    <a:pt x="32" y="43"/>
                    <a:pt x="31" y="44"/>
                  </a:cubicBezTo>
                  <a:cubicBezTo>
                    <a:pt x="29" y="46"/>
                    <a:pt x="28" y="49"/>
                    <a:pt x="28" y="51"/>
                  </a:cubicBezTo>
                  <a:cubicBezTo>
                    <a:pt x="27" y="53"/>
                    <a:pt x="27" y="53"/>
                    <a:pt x="24" y="53"/>
                  </a:cubicBezTo>
                  <a:cubicBezTo>
                    <a:pt x="22" y="53"/>
                    <a:pt x="20" y="53"/>
                    <a:pt x="17" y="53"/>
                  </a:cubicBezTo>
                  <a:cubicBezTo>
                    <a:pt x="15" y="53"/>
                    <a:pt x="12" y="53"/>
                    <a:pt x="11" y="55"/>
                  </a:cubicBezTo>
                  <a:cubicBezTo>
                    <a:pt x="11" y="56"/>
                    <a:pt x="10" y="58"/>
                    <a:pt x="10" y="59"/>
                  </a:cubicBezTo>
                  <a:cubicBezTo>
                    <a:pt x="10" y="60"/>
                    <a:pt x="10" y="60"/>
                    <a:pt x="11" y="61"/>
                  </a:cubicBezTo>
                  <a:cubicBezTo>
                    <a:pt x="13" y="62"/>
                    <a:pt x="14" y="62"/>
                    <a:pt x="16" y="62"/>
                  </a:cubicBezTo>
                  <a:cubicBezTo>
                    <a:pt x="17" y="62"/>
                    <a:pt x="18" y="63"/>
                    <a:pt x="19" y="63"/>
                  </a:cubicBezTo>
                  <a:cubicBezTo>
                    <a:pt x="18" y="63"/>
                    <a:pt x="17" y="64"/>
                    <a:pt x="16" y="65"/>
                  </a:cubicBezTo>
                  <a:cubicBezTo>
                    <a:pt x="16" y="66"/>
                    <a:pt x="15" y="67"/>
                    <a:pt x="14" y="68"/>
                  </a:cubicBezTo>
                  <a:cubicBezTo>
                    <a:pt x="13" y="69"/>
                    <a:pt x="10" y="71"/>
                    <a:pt x="8" y="72"/>
                  </a:cubicBezTo>
                  <a:cubicBezTo>
                    <a:pt x="6" y="73"/>
                    <a:pt x="5" y="74"/>
                    <a:pt x="3" y="76"/>
                  </a:cubicBezTo>
                  <a:cubicBezTo>
                    <a:pt x="2" y="78"/>
                    <a:pt x="0" y="78"/>
                    <a:pt x="0" y="80"/>
                  </a:cubicBezTo>
                  <a:cubicBezTo>
                    <a:pt x="0" y="82"/>
                    <a:pt x="0" y="84"/>
                    <a:pt x="1" y="86"/>
                  </a:cubicBezTo>
                  <a:cubicBezTo>
                    <a:pt x="2" y="87"/>
                    <a:pt x="3" y="88"/>
                    <a:pt x="5" y="89"/>
                  </a:cubicBezTo>
                  <a:cubicBezTo>
                    <a:pt x="5" y="89"/>
                    <a:pt x="6" y="90"/>
                    <a:pt x="6" y="90"/>
                  </a:cubicBezTo>
                  <a:cubicBezTo>
                    <a:pt x="7" y="91"/>
                    <a:pt x="6" y="91"/>
                    <a:pt x="6" y="92"/>
                  </a:cubicBezTo>
                  <a:cubicBezTo>
                    <a:pt x="7" y="92"/>
                    <a:pt x="7" y="93"/>
                    <a:pt x="7" y="94"/>
                  </a:cubicBezTo>
                  <a:cubicBezTo>
                    <a:pt x="8" y="95"/>
                    <a:pt x="9" y="95"/>
                    <a:pt x="10" y="97"/>
                  </a:cubicBezTo>
                  <a:cubicBezTo>
                    <a:pt x="10" y="98"/>
                    <a:pt x="10" y="99"/>
                    <a:pt x="11" y="100"/>
                  </a:cubicBezTo>
                  <a:cubicBezTo>
                    <a:pt x="12" y="101"/>
                    <a:pt x="15" y="102"/>
                    <a:pt x="17" y="102"/>
                  </a:cubicBezTo>
                  <a:cubicBezTo>
                    <a:pt x="18" y="102"/>
                    <a:pt x="21" y="102"/>
                    <a:pt x="22" y="103"/>
                  </a:cubicBezTo>
                  <a:cubicBezTo>
                    <a:pt x="23" y="104"/>
                    <a:pt x="22" y="104"/>
                    <a:pt x="23" y="104"/>
                  </a:cubicBezTo>
                  <a:cubicBezTo>
                    <a:pt x="24" y="105"/>
                    <a:pt x="24" y="105"/>
                    <a:pt x="25" y="106"/>
                  </a:cubicBezTo>
                  <a:cubicBezTo>
                    <a:pt x="26" y="106"/>
                    <a:pt x="27" y="107"/>
                    <a:pt x="28" y="108"/>
                  </a:cubicBezTo>
                  <a:cubicBezTo>
                    <a:pt x="30" y="109"/>
                    <a:pt x="33" y="108"/>
                    <a:pt x="35" y="109"/>
                  </a:cubicBezTo>
                  <a:cubicBezTo>
                    <a:pt x="36" y="109"/>
                    <a:pt x="39" y="110"/>
                    <a:pt x="41" y="110"/>
                  </a:cubicBezTo>
                  <a:cubicBezTo>
                    <a:pt x="43" y="109"/>
                    <a:pt x="41" y="106"/>
                    <a:pt x="42" y="104"/>
                  </a:cubicBezTo>
                  <a:cubicBezTo>
                    <a:pt x="43" y="102"/>
                    <a:pt x="47" y="104"/>
                    <a:pt x="48" y="103"/>
                  </a:cubicBezTo>
                  <a:cubicBezTo>
                    <a:pt x="50" y="102"/>
                    <a:pt x="50" y="99"/>
                    <a:pt x="49" y="97"/>
                  </a:cubicBezTo>
                  <a:cubicBezTo>
                    <a:pt x="48" y="96"/>
                    <a:pt x="48" y="95"/>
                    <a:pt x="48" y="94"/>
                  </a:cubicBezTo>
                  <a:cubicBezTo>
                    <a:pt x="48" y="92"/>
                    <a:pt x="49" y="91"/>
                    <a:pt x="50" y="89"/>
                  </a:cubicBezTo>
                  <a:cubicBezTo>
                    <a:pt x="51" y="88"/>
                    <a:pt x="52" y="85"/>
                    <a:pt x="54" y="85"/>
                  </a:cubicBezTo>
                  <a:cubicBezTo>
                    <a:pt x="55" y="84"/>
                    <a:pt x="57" y="85"/>
                    <a:pt x="58" y="84"/>
                  </a:cubicBezTo>
                  <a:cubicBezTo>
                    <a:pt x="60" y="86"/>
                    <a:pt x="61" y="88"/>
                    <a:pt x="62" y="90"/>
                  </a:cubicBezTo>
                  <a:cubicBezTo>
                    <a:pt x="64" y="92"/>
                    <a:pt x="65" y="93"/>
                    <a:pt x="66" y="95"/>
                  </a:cubicBezTo>
                  <a:cubicBezTo>
                    <a:pt x="67" y="97"/>
                    <a:pt x="66" y="98"/>
                    <a:pt x="66" y="100"/>
                  </a:cubicBezTo>
                  <a:cubicBezTo>
                    <a:pt x="66" y="102"/>
                    <a:pt x="69" y="102"/>
                    <a:pt x="71" y="102"/>
                  </a:cubicBezTo>
                  <a:cubicBezTo>
                    <a:pt x="73" y="103"/>
                    <a:pt x="74" y="104"/>
                    <a:pt x="74" y="105"/>
                  </a:cubicBezTo>
                  <a:cubicBezTo>
                    <a:pt x="75" y="108"/>
                    <a:pt x="76" y="110"/>
                    <a:pt x="76" y="113"/>
                  </a:cubicBezTo>
                  <a:cubicBezTo>
                    <a:pt x="76" y="115"/>
                    <a:pt x="76" y="117"/>
                    <a:pt x="79" y="117"/>
                  </a:cubicBezTo>
                  <a:cubicBezTo>
                    <a:pt x="81" y="117"/>
                    <a:pt x="83" y="117"/>
                    <a:pt x="85" y="116"/>
                  </a:cubicBezTo>
                  <a:cubicBezTo>
                    <a:pt x="86" y="115"/>
                    <a:pt x="87" y="115"/>
                    <a:pt x="88" y="113"/>
                  </a:cubicBezTo>
                  <a:cubicBezTo>
                    <a:pt x="88" y="113"/>
                    <a:pt x="88" y="113"/>
                    <a:pt x="89" y="113"/>
                  </a:cubicBezTo>
                  <a:cubicBezTo>
                    <a:pt x="89" y="112"/>
                    <a:pt x="89" y="111"/>
                    <a:pt x="90" y="110"/>
                  </a:cubicBezTo>
                  <a:cubicBezTo>
                    <a:pt x="92" y="111"/>
                    <a:pt x="93" y="111"/>
                    <a:pt x="95" y="112"/>
                  </a:cubicBezTo>
                  <a:cubicBezTo>
                    <a:pt x="97" y="113"/>
                    <a:pt x="98" y="115"/>
                    <a:pt x="100" y="115"/>
                  </a:cubicBezTo>
                  <a:cubicBezTo>
                    <a:pt x="102" y="115"/>
                    <a:pt x="102" y="115"/>
                    <a:pt x="104" y="116"/>
                  </a:cubicBezTo>
                  <a:cubicBezTo>
                    <a:pt x="106" y="117"/>
                    <a:pt x="108" y="118"/>
                    <a:pt x="109" y="119"/>
                  </a:cubicBezTo>
                  <a:cubicBezTo>
                    <a:pt x="110" y="118"/>
                    <a:pt x="110" y="118"/>
                    <a:pt x="110" y="117"/>
                  </a:cubicBezTo>
                  <a:cubicBezTo>
                    <a:pt x="113" y="114"/>
                    <a:pt x="114" y="111"/>
                    <a:pt x="114" y="107"/>
                  </a:cubicBezTo>
                  <a:cubicBezTo>
                    <a:pt x="114" y="103"/>
                    <a:pt x="113" y="100"/>
                    <a:pt x="117" y="99"/>
                  </a:cubicBezTo>
                  <a:cubicBezTo>
                    <a:pt x="120" y="99"/>
                    <a:pt x="123" y="99"/>
                    <a:pt x="125" y="99"/>
                  </a:cubicBezTo>
                  <a:cubicBezTo>
                    <a:pt x="130" y="99"/>
                    <a:pt x="130" y="98"/>
                    <a:pt x="132" y="94"/>
                  </a:cubicBezTo>
                  <a:cubicBezTo>
                    <a:pt x="134" y="92"/>
                    <a:pt x="136" y="90"/>
                    <a:pt x="138" y="87"/>
                  </a:cubicBezTo>
                  <a:cubicBezTo>
                    <a:pt x="139" y="84"/>
                    <a:pt x="139" y="80"/>
                    <a:pt x="140" y="77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0" name="Freeform 90"/>
            <p:cNvSpPr>
              <a:spLocks/>
            </p:cNvSpPr>
            <p:nvPr/>
          </p:nvSpPr>
          <p:spPr bwMode="auto">
            <a:xfrm>
              <a:off x="2930525" y="3887788"/>
              <a:ext cx="46038" cy="53975"/>
            </a:xfrm>
            <a:custGeom>
              <a:avLst/>
              <a:gdLst/>
              <a:ahLst/>
              <a:cxnLst>
                <a:cxn ang="0">
                  <a:pos x="21" y="1"/>
                </a:cxn>
                <a:cxn ang="0">
                  <a:pos x="21" y="1"/>
                </a:cxn>
                <a:cxn ang="0">
                  <a:pos x="19" y="0"/>
                </a:cxn>
                <a:cxn ang="0">
                  <a:pos x="11" y="3"/>
                </a:cxn>
                <a:cxn ang="0">
                  <a:pos x="8" y="7"/>
                </a:cxn>
                <a:cxn ang="0">
                  <a:pos x="6" y="10"/>
                </a:cxn>
                <a:cxn ang="0">
                  <a:pos x="1" y="19"/>
                </a:cxn>
                <a:cxn ang="0">
                  <a:pos x="1" y="25"/>
                </a:cxn>
                <a:cxn ang="0">
                  <a:pos x="2" y="27"/>
                </a:cxn>
                <a:cxn ang="0">
                  <a:pos x="4" y="28"/>
                </a:cxn>
                <a:cxn ang="0">
                  <a:pos x="10" y="28"/>
                </a:cxn>
                <a:cxn ang="0">
                  <a:pos x="15" y="27"/>
                </a:cxn>
                <a:cxn ang="0">
                  <a:pos x="18" y="24"/>
                </a:cxn>
                <a:cxn ang="0">
                  <a:pos x="21" y="21"/>
                </a:cxn>
                <a:cxn ang="0">
                  <a:pos x="24" y="14"/>
                </a:cxn>
                <a:cxn ang="0">
                  <a:pos x="22" y="6"/>
                </a:cxn>
                <a:cxn ang="0">
                  <a:pos x="20" y="4"/>
                </a:cxn>
                <a:cxn ang="0">
                  <a:pos x="18" y="2"/>
                </a:cxn>
                <a:cxn ang="0">
                  <a:pos x="21" y="1"/>
                </a:cxn>
              </a:cxnLst>
              <a:rect l="0" t="0" r="r" b="b"/>
              <a:pathLst>
                <a:path w="24" h="29">
                  <a:moveTo>
                    <a:pt x="21" y="1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21" y="0"/>
                    <a:pt x="19" y="0"/>
                    <a:pt x="19" y="0"/>
                  </a:cubicBezTo>
                  <a:cubicBezTo>
                    <a:pt x="16" y="0"/>
                    <a:pt x="13" y="0"/>
                    <a:pt x="11" y="3"/>
                  </a:cubicBezTo>
                  <a:cubicBezTo>
                    <a:pt x="10" y="4"/>
                    <a:pt x="9" y="6"/>
                    <a:pt x="8" y="7"/>
                  </a:cubicBezTo>
                  <a:cubicBezTo>
                    <a:pt x="8" y="8"/>
                    <a:pt x="7" y="9"/>
                    <a:pt x="6" y="10"/>
                  </a:cubicBezTo>
                  <a:cubicBezTo>
                    <a:pt x="4" y="13"/>
                    <a:pt x="2" y="16"/>
                    <a:pt x="1" y="19"/>
                  </a:cubicBezTo>
                  <a:cubicBezTo>
                    <a:pt x="0" y="21"/>
                    <a:pt x="0" y="23"/>
                    <a:pt x="1" y="25"/>
                  </a:cubicBezTo>
                  <a:cubicBezTo>
                    <a:pt x="1" y="26"/>
                    <a:pt x="1" y="27"/>
                    <a:pt x="2" y="27"/>
                  </a:cubicBezTo>
                  <a:cubicBezTo>
                    <a:pt x="2" y="28"/>
                    <a:pt x="3" y="28"/>
                    <a:pt x="4" y="28"/>
                  </a:cubicBezTo>
                  <a:cubicBezTo>
                    <a:pt x="6" y="28"/>
                    <a:pt x="8" y="29"/>
                    <a:pt x="10" y="28"/>
                  </a:cubicBezTo>
                  <a:cubicBezTo>
                    <a:pt x="12" y="28"/>
                    <a:pt x="13" y="28"/>
                    <a:pt x="15" y="27"/>
                  </a:cubicBezTo>
                  <a:cubicBezTo>
                    <a:pt x="16" y="26"/>
                    <a:pt x="17" y="25"/>
                    <a:pt x="18" y="24"/>
                  </a:cubicBezTo>
                  <a:cubicBezTo>
                    <a:pt x="19" y="23"/>
                    <a:pt x="20" y="22"/>
                    <a:pt x="21" y="21"/>
                  </a:cubicBezTo>
                  <a:cubicBezTo>
                    <a:pt x="23" y="19"/>
                    <a:pt x="23" y="16"/>
                    <a:pt x="24" y="14"/>
                  </a:cubicBezTo>
                  <a:cubicBezTo>
                    <a:pt x="24" y="11"/>
                    <a:pt x="24" y="9"/>
                    <a:pt x="22" y="6"/>
                  </a:cubicBezTo>
                  <a:cubicBezTo>
                    <a:pt x="21" y="6"/>
                    <a:pt x="20" y="5"/>
                    <a:pt x="20" y="4"/>
                  </a:cubicBezTo>
                  <a:cubicBezTo>
                    <a:pt x="19" y="4"/>
                    <a:pt x="18" y="3"/>
                    <a:pt x="18" y="2"/>
                  </a:cubicBezTo>
                  <a:lnTo>
                    <a:pt x="21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1" name="Freeform 91"/>
            <p:cNvSpPr>
              <a:spLocks/>
            </p:cNvSpPr>
            <p:nvPr/>
          </p:nvSpPr>
          <p:spPr bwMode="auto">
            <a:xfrm>
              <a:off x="3243263" y="4511675"/>
              <a:ext cx="71438" cy="30163"/>
            </a:xfrm>
            <a:custGeom>
              <a:avLst/>
              <a:gdLst/>
              <a:ahLst/>
              <a:cxnLst>
                <a:cxn ang="0">
                  <a:pos x="29" y="3"/>
                </a:cxn>
                <a:cxn ang="0">
                  <a:pos x="29" y="3"/>
                </a:cxn>
                <a:cxn ang="0">
                  <a:pos x="24" y="1"/>
                </a:cxn>
                <a:cxn ang="0">
                  <a:pos x="13" y="1"/>
                </a:cxn>
                <a:cxn ang="0">
                  <a:pos x="9" y="3"/>
                </a:cxn>
                <a:cxn ang="0">
                  <a:pos x="4" y="4"/>
                </a:cxn>
                <a:cxn ang="0">
                  <a:pos x="1" y="6"/>
                </a:cxn>
                <a:cxn ang="0">
                  <a:pos x="0" y="9"/>
                </a:cxn>
                <a:cxn ang="0">
                  <a:pos x="2" y="12"/>
                </a:cxn>
                <a:cxn ang="0">
                  <a:pos x="6" y="14"/>
                </a:cxn>
                <a:cxn ang="0">
                  <a:pos x="13" y="16"/>
                </a:cxn>
                <a:cxn ang="0">
                  <a:pos x="21" y="16"/>
                </a:cxn>
                <a:cxn ang="0">
                  <a:pos x="29" y="15"/>
                </a:cxn>
                <a:cxn ang="0">
                  <a:pos x="34" y="13"/>
                </a:cxn>
                <a:cxn ang="0">
                  <a:pos x="38" y="10"/>
                </a:cxn>
                <a:cxn ang="0">
                  <a:pos x="36" y="5"/>
                </a:cxn>
                <a:cxn ang="0">
                  <a:pos x="29" y="3"/>
                </a:cxn>
              </a:cxnLst>
              <a:rect l="0" t="0" r="r" b="b"/>
              <a:pathLst>
                <a:path w="38" h="16">
                  <a:moveTo>
                    <a:pt x="29" y="3"/>
                  </a:moveTo>
                  <a:cubicBezTo>
                    <a:pt x="29" y="3"/>
                    <a:pt x="29" y="3"/>
                    <a:pt x="29" y="3"/>
                  </a:cubicBezTo>
                  <a:cubicBezTo>
                    <a:pt x="28" y="2"/>
                    <a:pt x="26" y="1"/>
                    <a:pt x="24" y="1"/>
                  </a:cubicBezTo>
                  <a:cubicBezTo>
                    <a:pt x="21" y="0"/>
                    <a:pt x="17" y="0"/>
                    <a:pt x="13" y="1"/>
                  </a:cubicBezTo>
                  <a:cubicBezTo>
                    <a:pt x="12" y="1"/>
                    <a:pt x="10" y="2"/>
                    <a:pt x="9" y="3"/>
                  </a:cubicBezTo>
                  <a:cubicBezTo>
                    <a:pt x="7" y="3"/>
                    <a:pt x="6" y="4"/>
                    <a:pt x="4" y="4"/>
                  </a:cubicBezTo>
                  <a:cubicBezTo>
                    <a:pt x="3" y="5"/>
                    <a:pt x="2" y="6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0"/>
                    <a:pt x="1" y="11"/>
                    <a:pt x="2" y="12"/>
                  </a:cubicBezTo>
                  <a:cubicBezTo>
                    <a:pt x="3" y="13"/>
                    <a:pt x="4" y="14"/>
                    <a:pt x="6" y="14"/>
                  </a:cubicBezTo>
                  <a:cubicBezTo>
                    <a:pt x="8" y="15"/>
                    <a:pt x="10" y="16"/>
                    <a:pt x="13" y="16"/>
                  </a:cubicBezTo>
                  <a:cubicBezTo>
                    <a:pt x="16" y="16"/>
                    <a:pt x="19" y="16"/>
                    <a:pt x="21" y="16"/>
                  </a:cubicBezTo>
                  <a:cubicBezTo>
                    <a:pt x="24" y="16"/>
                    <a:pt x="27" y="16"/>
                    <a:pt x="29" y="15"/>
                  </a:cubicBezTo>
                  <a:cubicBezTo>
                    <a:pt x="31" y="15"/>
                    <a:pt x="33" y="14"/>
                    <a:pt x="34" y="13"/>
                  </a:cubicBezTo>
                  <a:cubicBezTo>
                    <a:pt x="36" y="12"/>
                    <a:pt x="37" y="11"/>
                    <a:pt x="38" y="10"/>
                  </a:cubicBezTo>
                  <a:cubicBezTo>
                    <a:pt x="38" y="8"/>
                    <a:pt x="37" y="6"/>
                    <a:pt x="36" y="5"/>
                  </a:cubicBezTo>
                  <a:lnTo>
                    <a:pt x="29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2" name="Freeform 92"/>
            <p:cNvSpPr>
              <a:spLocks/>
            </p:cNvSpPr>
            <p:nvPr/>
          </p:nvSpPr>
          <p:spPr bwMode="auto">
            <a:xfrm>
              <a:off x="2382838" y="5722938"/>
              <a:ext cx="365125" cy="711200"/>
            </a:xfrm>
            <a:custGeom>
              <a:avLst/>
              <a:gdLst/>
              <a:ahLst/>
              <a:cxnLst>
                <a:cxn ang="0">
                  <a:pos x="9" y="214"/>
                </a:cxn>
                <a:cxn ang="0">
                  <a:pos x="1" y="233"/>
                </a:cxn>
                <a:cxn ang="0">
                  <a:pos x="0" y="251"/>
                </a:cxn>
                <a:cxn ang="0">
                  <a:pos x="9" y="267"/>
                </a:cxn>
                <a:cxn ang="0">
                  <a:pos x="25" y="280"/>
                </a:cxn>
                <a:cxn ang="0">
                  <a:pos x="36" y="293"/>
                </a:cxn>
                <a:cxn ang="0">
                  <a:pos x="30" y="317"/>
                </a:cxn>
                <a:cxn ang="0">
                  <a:pos x="35" y="341"/>
                </a:cxn>
                <a:cxn ang="0">
                  <a:pos x="34" y="354"/>
                </a:cxn>
                <a:cxn ang="0">
                  <a:pos x="29" y="365"/>
                </a:cxn>
                <a:cxn ang="0">
                  <a:pos x="54" y="374"/>
                </a:cxn>
                <a:cxn ang="0">
                  <a:pos x="67" y="374"/>
                </a:cxn>
                <a:cxn ang="0">
                  <a:pos x="81" y="378"/>
                </a:cxn>
                <a:cxn ang="0">
                  <a:pos x="98" y="375"/>
                </a:cxn>
                <a:cxn ang="0">
                  <a:pos x="105" y="374"/>
                </a:cxn>
                <a:cxn ang="0">
                  <a:pos x="109" y="356"/>
                </a:cxn>
                <a:cxn ang="0">
                  <a:pos x="108" y="349"/>
                </a:cxn>
                <a:cxn ang="0">
                  <a:pos x="110" y="331"/>
                </a:cxn>
                <a:cxn ang="0">
                  <a:pos x="116" y="322"/>
                </a:cxn>
                <a:cxn ang="0">
                  <a:pos x="118" y="315"/>
                </a:cxn>
                <a:cxn ang="0">
                  <a:pos x="129" y="309"/>
                </a:cxn>
                <a:cxn ang="0">
                  <a:pos x="135" y="298"/>
                </a:cxn>
                <a:cxn ang="0">
                  <a:pos x="125" y="290"/>
                </a:cxn>
                <a:cxn ang="0">
                  <a:pos x="122" y="283"/>
                </a:cxn>
                <a:cxn ang="0">
                  <a:pos x="128" y="254"/>
                </a:cxn>
                <a:cxn ang="0">
                  <a:pos x="133" y="234"/>
                </a:cxn>
                <a:cxn ang="0">
                  <a:pos x="123" y="229"/>
                </a:cxn>
                <a:cxn ang="0">
                  <a:pos x="119" y="209"/>
                </a:cxn>
                <a:cxn ang="0">
                  <a:pos x="115" y="206"/>
                </a:cxn>
                <a:cxn ang="0">
                  <a:pos x="117" y="196"/>
                </a:cxn>
                <a:cxn ang="0">
                  <a:pos x="137" y="180"/>
                </a:cxn>
                <a:cxn ang="0">
                  <a:pos x="139" y="156"/>
                </a:cxn>
                <a:cxn ang="0">
                  <a:pos x="145" y="131"/>
                </a:cxn>
                <a:cxn ang="0">
                  <a:pos x="144" y="102"/>
                </a:cxn>
                <a:cxn ang="0">
                  <a:pos x="149" y="85"/>
                </a:cxn>
                <a:cxn ang="0">
                  <a:pos x="166" y="75"/>
                </a:cxn>
                <a:cxn ang="0">
                  <a:pos x="180" y="65"/>
                </a:cxn>
                <a:cxn ang="0">
                  <a:pos x="194" y="46"/>
                </a:cxn>
                <a:cxn ang="0">
                  <a:pos x="177" y="38"/>
                </a:cxn>
                <a:cxn ang="0">
                  <a:pos x="172" y="29"/>
                </a:cxn>
                <a:cxn ang="0">
                  <a:pos x="169" y="18"/>
                </a:cxn>
                <a:cxn ang="0">
                  <a:pos x="155" y="16"/>
                </a:cxn>
                <a:cxn ang="0">
                  <a:pos x="142" y="19"/>
                </a:cxn>
                <a:cxn ang="0">
                  <a:pos x="122" y="29"/>
                </a:cxn>
                <a:cxn ang="0">
                  <a:pos x="112" y="25"/>
                </a:cxn>
                <a:cxn ang="0">
                  <a:pos x="98" y="22"/>
                </a:cxn>
                <a:cxn ang="0">
                  <a:pos x="84" y="30"/>
                </a:cxn>
                <a:cxn ang="0">
                  <a:pos x="86" y="12"/>
                </a:cxn>
                <a:cxn ang="0">
                  <a:pos x="82" y="1"/>
                </a:cxn>
                <a:cxn ang="0">
                  <a:pos x="73" y="7"/>
                </a:cxn>
                <a:cxn ang="0">
                  <a:pos x="47" y="19"/>
                </a:cxn>
                <a:cxn ang="0">
                  <a:pos x="42" y="29"/>
                </a:cxn>
                <a:cxn ang="0">
                  <a:pos x="44" y="42"/>
                </a:cxn>
                <a:cxn ang="0">
                  <a:pos x="44" y="61"/>
                </a:cxn>
                <a:cxn ang="0">
                  <a:pos x="39" y="72"/>
                </a:cxn>
                <a:cxn ang="0">
                  <a:pos x="44" y="90"/>
                </a:cxn>
                <a:cxn ang="0">
                  <a:pos x="44" y="127"/>
                </a:cxn>
                <a:cxn ang="0">
                  <a:pos x="39" y="139"/>
                </a:cxn>
                <a:cxn ang="0">
                  <a:pos x="37" y="147"/>
                </a:cxn>
                <a:cxn ang="0">
                  <a:pos x="38" y="159"/>
                </a:cxn>
                <a:cxn ang="0">
                  <a:pos x="28" y="171"/>
                </a:cxn>
                <a:cxn ang="0">
                  <a:pos x="26" y="186"/>
                </a:cxn>
              </a:cxnLst>
              <a:rect l="0" t="0" r="r" b="b"/>
              <a:pathLst>
                <a:path w="195" h="380">
                  <a:moveTo>
                    <a:pt x="26" y="188"/>
                  </a:moveTo>
                  <a:cubicBezTo>
                    <a:pt x="25" y="192"/>
                    <a:pt x="23" y="197"/>
                    <a:pt x="20" y="200"/>
                  </a:cubicBezTo>
                  <a:cubicBezTo>
                    <a:pt x="17" y="205"/>
                    <a:pt x="13" y="210"/>
                    <a:pt x="9" y="214"/>
                  </a:cubicBezTo>
                  <a:cubicBezTo>
                    <a:pt x="7" y="216"/>
                    <a:pt x="6" y="218"/>
                    <a:pt x="5" y="220"/>
                  </a:cubicBezTo>
                  <a:cubicBezTo>
                    <a:pt x="4" y="222"/>
                    <a:pt x="5" y="224"/>
                    <a:pt x="4" y="226"/>
                  </a:cubicBezTo>
                  <a:cubicBezTo>
                    <a:pt x="4" y="228"/>
                    <a:pt x="2" y="231"/>
                    <a:pt x="1" y="233"/>
                  </a:cubicBezTo>
                  <a:cubicBezTo>
                    <a:pt x="1" y="237"/>
                    <a:pt x="0" y="241"/>
                    <a:pt x="0" y="245"/>
                  </a:cubicBezTo>
                  <a:cubicBezTo>
                    <a:pt x="0" y="246"/>
                    <a:pt x="0" y="247"/>
                    <a:pt x="0" y="249"/>
                  </a:cubicBezTo>
                  <a:cubicBezTo>
                    <a:pt x="0" y="249"/>
                    <a:pt x="0" y="250"/>
                    <a:pt x="0" y="251"/>
                  </a:cubicBezTo>
                  <a:cubicBezTo>
                    <a:pt x="0" y="252"/>
                    <a:pt x="0" y="253"/>
                    <a:pt x="1" y="254"/>
                  </a:cubicBezTo>
                  <a:cubicBezTo>
                    <a:pt x="3" y="255"/>
                    <a:pt x="7" y="253"/>
                    <a:pt x="9" y="256"/>
                  </a:cubicBezTo>
                  <a:cubicBezTo>
                    <a:pt x="10" y="259"/>
                    <a:pt x="8" y="264"/>
                    <a:pt x="9" y="267"/>
                  </a:cubicBezTo>
                  <a:cubicBezTo>
                    <a:pt x="11" y="272"/>
                    <a:pt x="17" y="271"/>
                    <a:pt x="16" y="277"/>
                  </a:cubicBezTo>
                  <a:cubicBezTo>
                    <a:pt x="16" y="280"/>
                    <a:pt x="15" y="278"/>
                    <a:pt x="14" y="281"/>
                  </a:cubicBezTo>
                  <a:cubicBezTo>
                    <a:pt x="12" y="285"/>
                    <a:pt x="22" y="282"/>
                    <a:pt x="25" y="280"/>
                  </a:cubicBezTo>
                  <a:cubicBezTo>
                    <a:pt x="26" y="279"/>
                    <a:pt x="30" y="277"/>
                    <a:pt x="32" y="279"/>
                  </a:cubicBezTo>
                  <a:cubicBezTo>
                    <a:pt x="33" y="279"/>
                    <a:pt x="37" y="284"/>
                    <a:pt x="37" y="285"/>
                  </a:cubicBezTo>
                  <a:cubicBezTo>
                    <a:pt x="38" y="287"/>
                    <a:pt x="36" y="290"/>
                    <a:pt x="36" y="293"/>
                  </a:cubicBezTo>
                  <a:cubicBezTo>
                    <a:pt x="35" y="296"/>
                    <a:pt x="35" y="300"/>
                    <a:pt x="35" y="303"/>
                  </a:cubicBezTo>
                  <a:cubicBezTo>
                    <a:pt x="35" y="306"/>
                    <a:pt x="35" y="307"/>
                    <a:pt x="34" y="310"/>
                  </a:cubicBezTo>
                  <a:cubicBezTo>
                    <a:pt x="33" y="312"/>
                    <a:pt x="30" y="315"/>
                    <a:pt x="30" y="317"/>
                  </a:cubicBezTo>
                  <a:cubicBezTo>
                    <a:pt x="30" y="321"/>
                    <a:pt x="36" y="322"/>
                    <a:pt x="38" y="325"/>
                  </a:cubicBezTo>
                  <a:cubicBezTo>
                    <a:pt x="39" y="327"/>
                    <a:pt x="40" y="330"/>
                    <a:pt x="39" y="332"/>
                  </a:cubicBezTo>
                  <a:cubicBezTo>
                    <a:pt x="38" y="335"/>
                    <a:pt x="36" y="338"/>
                    <a:pt x="35" y="341"/>
                  </a:cubicBezTo>
                  <a:cubicBezTo>
                    <a:pt x="34" y="343"/>
                    <a:pt x="34" y="345"/>
                    <a:pt x="34" y="347"/>
                  </a:cubicBezTo>
                  <a:cubicBezTo>
                    <a:pt x="34" y="348"/>
                    <a:pt x="34" y="348"/>
                    <a:pt x="34" y="349"/>
                  </a:cubicBezTo>
                  <a:cubicBezTo>
                    <a:pt x="34" y="351"/>
                    <a:pt x="34" y="353"/>
                    <a:pt x="34" y="354"/>
                  </a:cubicBezTo>
                  <a:cubicBezTo>
                    <a:pt x="34" y="355"/>
                    <a:pt x="33" y="356"/>
                    <a:pt x="33" y="357"/>
                  </a:cubicBezTo>
                  <a:cubicBezTo>
                    <a:pt x="33" y="358"/>
                    <a:pt x="32" y="360"/>
                    <a:pt x="31" y="361"/>
                  </a:cubicBezTo>
                  <a:cubicBezTo>
                    <a:pt x="30" y="362"/>
                    <a:pt x="30" y="364"/>
                    <a:pt x="29" y="365"/>
                  </a:cubicBezTo>
                  <a:cubicBezTo>
                    <a:pt x="28" y="370"/>
                    <a:pt x="29" y="375"/>
                    <a:pt x="26" y="379"/>
                  </a:cubicBezTo>
                  <a:cubicBezTo>
                    <a:pt x="31" y="380"/>
                    <a:pt x="37" y="375"/>
                    <a:pt x="41" y="374"/>
                  </a:cubicBezTo>
                  <a:cubicBezTo>
                    <a:pt x="45" y="373"/>
                    <a:pt x="50" y="373"/>
                    <a:pt x="54" y="374"/>
                  </a:cubicBezTo>
                  <a:cubicBezTo>
                    <a:pt x="56" y="374"/>
                    <a:pt x="57" y="374"/>
                    <a:pt x="59" y="374"/>
                  </a:cubicBezTo>
                  <a:cubicBezTo>
                    <a:pt x="60" y="374"/>
                    <a:pt x="62" y="374"/>
                    <a:pt x="63" y="374"/>
                  </a:cubicBezTo>
                  <a:cubicBezTo>
                    <a:pt x="65" y="374"/>
                    <a:pt x="66" y="374"/>
                    <a:pt x="67" y="374"/>
                  </a:cubicBezTo>
                  <a:cubicBezTo>
                    <a:pt x="69" y="375"/>
                    <a:pt x="70" y="376"/>
                    <a:pt x="72" y="376"/>
                  </a:cubicBezTo>
                  <a:cubicBezTo>
                    <a:pt x="74" y="377"/>
                    <a:pt x="76" y="378"/>
                    <a:pt x="78" y="379"/>
                  </a:cubicBezTo>
                  <a:cubicBezTo>
                    <a:pt x="80" y="379"/>
                    <a:pt x="80" y="379"/>
                    <a:pt x="81" y="378"/>
                  </a:cubicBezTo>
                  <a:cubicBezTo>
                    <a:pt x="84" y="378"/>
                    <a:pt x="84" y="377"/>
                    <a:pt x="85" y="377"/>
                  </a:cubicBezTo>
                  <a:cubicBezTo>
                    <a:pt x="89" y="375"/>
                    <a:pt x="92" y="375"/>
                    <a:pt x="95" y="375"/>
                  </a:cubicBezTo>
                  <a:cubicBezTo>
                    <a:pt x="96" y="375"/>
                    <a:pt x="97" y="375"/>
                    <a:pt x="98" y="375"/>
                  </a:cubicBezTo>
                  <a:cubicBezTo>
                    <a:pt x="98" y="375"/>
                    <a:pt x="99" y="375"/>
                    <a:pt x="99" y="375"/>
                  </a:cubicBezTo>
                  <a:cubicBezTo>
                    <a:pt x="101" y="375"/>
                    <a:pt x="103" y="374"/>
                    <a:pt x="105" y="374"/>
                  </a:cubicBezTo>
                  <a:cubicBezTo>
                    <a:pt x="105" y="374"/>
                    <a:pt x="105" y="374"/>
                    <a:pt x="105" y="374"/>
                  </a:cubicBezTo>
                  <a:cubicBezTo>
                    <a:pt x="106" y="374"/>
                    <a:pt x="107" y="373"/>
                    <a:pt x="108" y="373"/>
                  </a:cubicBezTo>
                  <a:cubicBezTo>
                    <a:pt x="108" y="371"/>
                    <a:pt x="108" y="369"/>
                    <a:pt x="108" y="367"/>
                  </a:cubicBezTo>
                  <a:cubicBezTo>
                    <a:pt x="109" y="363"/>
                    <a:pt x="109" y="360"/>
                    <a:pt x="109" y="356"/>
                  </a:cubicBezTo>
                  <a:cubicBezTo>
                    <a:pt x="109" y="355"/>
                    <a:pt x="109" y="353"/>
                    <a:pt x="109" y="351"/>
                  </a:cubicBezTo>
                  <a:cubicBezTo>
                    <a:pt x="109" y="351"/>
                    <a:pt x="109" y="351"/>
                    <a:pt x="108" y="351"/>
                  </a:cubicBezTo>
                  <a:cubicBezTo>
                    <a:pt x="108" y="350"/>
                    <a:pt x="108" y="350"/>
                    <a:pt x="108" y="349"/>
                  </a:cubicBezTo>
                  <a:cubicBezTo>
                    <a:pt x="107" y="348"/>
                    <a:pt x="107" y="346"/>
                    <a:pt x="107" y="345"/>
                  </a:cubicBezTo>
                  <a:cubicBezTo>
                    <a:pt x="107" y="344"/>
                    <a:pt x="106" y="343"/>
                    <a:pt x="106" y="341"/>
                  </a:cubicBezTo>
                  <a:cubicBezTo>
                    <a:pt x="106" y="338"/>
                    <a:pt x="108" y="334"/>
                    <a:pt x="110" y="331"/>
                  </a:cubicBezTo>
                  <a:cubicBezTo>
                    <a:pt x="110" y="331"/>
                    <a:pt x="111" y="330"/>
                    <a:pt x="111" y="329"/>
                  </a:cubicBezTo>
                  <a:cubicBezTo>
                    <a:pt x="112" y="328"/>
                    <a:pt x="113" y="326"/>
                    <a:pt x="114" y="325"/>
                  </a:cubicBezTo>
                  <a:cubicBezTo>
                    <a:pt x="115" y="324"/>
                    <a:pt x="116" y="323"/>
                    <a:pt x="116" y="322"/>
                  </a:cubicBezTo>
                  <a:cubicBezTo>
                    <a:pt x="117" y="321"/>
                    <a:pt x="117" y="321"/>
                    <a:pt x="117" y="321"/>
                  </a:cubicBezTo>
                  <a:cubicBezTo>
                    <a:pt x="117" y="320"/>
                    <a:pt x="118" y="319"/>
                    <a:pt x="118" y="318"/>
                  </a:cubicBezTo>
                  <a:cubicBezTo>
                    <a:pt x="119" y="317"/>
                    <a:pt x="118" y="316"/>
                    <a:pt x="118" y="315"/>
                  </a:cubicBezTo>
                  <a:cubicBezTo>
                    <a:pt x="118" y="311"/>
                    <a:pt x="121" y="313"/>
                    <a:pt x="124" y="312"/>
                  </a:cubicBezTo>
                  <a:cubicBezTo>
                    <a:pt x="125" y="312"/>
                    <a:pt x="127" y="312"/>
                    <a:pt x="128" y="311"/>
                  </a:cubicBezTo>
                  <a:cubicBezTo>
                    <a:pt x="128" y="311"/>
                    <a:pt x="129" y="310"/>
                    <a:pt x="129" y="309"/>
                  </a:cubicBezTo>
                  <a:cubicBezTo>
                    <a:pt x="130" y="309"/>
                    <a:pt x="130" y="309"/>
                    <a:pt x="131" y="309"/>
                  </a:cubicBezTo>
                  <a:cubicBezTo>
                    <a:pt x="134" y="308"/>
                    <a:pt x="136" y="307"/>
                    <a:pt x="136" y="304"/>
                  </a:cubicBezTo>
                  <a:cubicBezTo>
                    <a:pt x="136" y="302"/>
                    <a:pt x="137" y="299"/>
                    <a:pt x="135" y="298"/>
                  </a:cubicBezTo>
                  <a:cubicBezTo>
                    <a:pt x="134" y="299"/>
                    <a:pt x="132" y="300"/>
                    <a:pt x="130" y="299"/>
                  </a:cubicBezTo>
                  <a:cubicBezTo>
                    <a:pt x="128" y="298"/>
                    <a:pt x="129" y="297"/>
                    <a:pt x="128" y="295"/>
                  </a:cubicBezTo>
                  <a:cubicBezTo>
                    <a:pt x="128" y="293"/>
                    <a:pt x="126" y="291"/>
                    <a:pt x="125" y="290"/>
                  </a:cubicBezTo>
                  <a:cubicBezTo>
                    <a:pt x="125" y="289"/>
                    <a:pt x="124" y="288"/>
                    <a:pt x="124" y="287"/>
                  </a:cubicBezTo>
                  <a:cubicBezTo>
                    <a:pt x="123" y="286"/>
                    <a:pt x="123" y="285"/>
                    <a:pt x="123" y="284"/>
                  </a:cubicBezTo>
                  <a:cubicBezTo>
                    <a:pt x="123" y="284"/>
                    <a:pt x="122" y="283"/>
                    <a:pt x="122" y="283"/>
                  </a:cubicBezTo>
                  <a:cubicBezTo>
                    <a:pt x="120" y="279"/>
                    <a:pt x="118" y="275"/>
                    <a:pt x="118" y="271"/>
                  </a:cubicBezTo>
                  <a:cubicBezTo>
                    <a:pt x="119" y="267"/>
                    <a:pt x="122" y="264"/>
                    <a:pt x="123" y="261"/>
                  </a:cubicBezTo>
                  <a:cubicBezTo>
                    <a:pt x="124" y="257"/>
                    <a:pt x="125" y="256"/>
                    <a:pt x="128" y="254"/>
                  </a:cubicBezTo>
                  <a:cubicBezTo>
                    <a:pt x="130" y="253"/>
                    <a:pt x="132" y="253"/>
                    <a:pt x="134" y="252"/>
                  </a:cubicBezTo>
                  <a:cubicBezTo>
                    <a:pt x="138" y="248"/>
                    <a:pt x="136" y="241"/>
                    <a:pt x="134" y="237"/>
                  </a:cubicBezTo>
                  <a:cubicBezTo>
                    <a:pt x="134" y="236"/>
                    <a:pt x="134" y="235"/>
                    <a:pt x="133" y="234"/>
                  </a:cubicBezTo>
                  <a:cubicBezTo>
                    <a:pt x="133" y="234"/>
                    <a:pt x="132" y="233"/>
                    <a:pt x="131" y="233"/>
                  </a:cubicBezTo>
                  <a:cubicBezTo>
                    <a:pt x="130" y="232"/>
                    <a:pt x="129" y="232"/>
                    <a:pt x="127" y="231"/>
                  </a:cubicBezTo>
                  <a:cubicBezTo>
                    <a:pt x="126" y="231"/>
                    <a:pt x="124" y="231"/>
                    <a:pt x="123" y="229"/>
                  </a:cubicBezTo>
                  <a:cubicBezTo>
                    <a:pt x="123" y="227"/>
                    <a:pt x="124" y="226"/>
                    <a:pt x="123" y="224"/>
                  </a:cubicBezTo>
                  <a:cubicBezTo>
                    <a:pt x="122" y="223"/>
                    <a:pt x="120" y="222"/>
                    <a:pt x="119" y="223"/>
                  </a:cubicBezTo>
                  <a:cubicBezTo>
                    <a:pt x="119" y="219"/>
                    <a:pt x="120" y="213"/>
                    <a:pt x="119" y="209"/>
                  </a:cubicBezTo>
                  <a:cubicBezTo>
                    <a:pt x="119" y="209"/>
                    <a:pt x="118" y="208"/>
                    <a:pt x="118" y="207"/>
                  </a:cubicBezTo>
                  <a:cubicBezTo>
                    <a:pt x="118" y="207"/>
                    <a:pt x="117" y="207"/>
                    <a:pt x="117" y="207"/>
                  </a:cubicBezTo>
                  <a:cubicBezTo>
                    <a:pt x="116" y="208"/>
                    <a:pt x="115" y="207"/>
                    <a:pt x="115" y="206"/>
                  </a:cubicBezTo>
                  <a:cubicBezTo>
                    <a:pt x="114" y="206"/>
                    <a:pt x="113" y="203"/>
                    <a:pt x="112" y="202"/>
                  </a:cubicBezTo>
                  <a:cubicBezTo>
                    <a:pt x="111" y="201"/>
                    <a:pt x="109" y="199"/>
                    <a:pt x="110" y="197"/>
                  </a:cubicBezTo>
                  <a:cubicBezTo>
                    <a:pt x="110" y="195"/>
                    <a:pt x="115" y="196"/>
                    <a:pt x="117" y="196"/>
                  </a:cubicBezTo>
                  <a:cubicBezTo>
                    <a:pt x="122" y="196"/>
                    <a:pt x="132" y="197"/>
                    <a:pt x="133" y="191"/>
                  </a:cubicBezTo>
                  <a:cubicBezTo>
                    <a:pt x="133" y="189"/>
                    <a:pt x="132" y="186"/>
                    <a:pt x="133" y="184"/>
                  </a:cubicBezTo>
                  <a:cubicBezTo>
                    <a:pt x="133" y="183"/>
                    <a:pt x="136" y="180"/>
                    <a:pt x="137" y="180"/>
                  </a:cubicBezTo>
                  <a:cubicBezTo>
                    <a:pt x="139" y="177"/>
                    <a:pt x="141" y="174"/>
                    <a:pt x="141" y="171"/>
                  </a:cubicBezTo>
                  <a:cubicBezTo>
                    <a:pt x="140" y="166"/>
                    <a:pt x="135" y="164"/>
                    <a:pt x="134" y="159"/>
                  </a:cubicBezTo>
                  <a:cubicBezTo>
                    <a:pt x="136" y="159"/>
                    <a:pt x="137" y="157"/>
                    <a:pt x="139" y="156"/>
                  </a:cubicBezTo>
                  <a:cubicBezTo>
                    <a:pt x="141" y="155"/>
                    <a:pt x="143" y="154"/>
                    <a:pt x="144" y="152"/>
                  </a:cubicBezTo>
                  <a:cubicBezTo>
                    <a:pt x="145" y="149"/>
                    <a:pt x="144" y="143"/>
                    <a:pt x="144" y="140"/>
                  </a:cubicBezTo>
                  <a:cubicBezTo>
                    <a:pt x="144" y="137"/>
                    <a:pt x="145" y="134"/>
                    <a:pt x="145" y="131"/>
                  </a:cubicBezTo>
                  <a:cubicBezTo>
                    <a:pt x="146" y="125"/>
                    <a:pt x="144" y="119"/>
                    <a:pt x="144" y="113"/>
                  </a:cubicBezTo>
                  <a:cubicBezTo>
                    <a:pt x="144" y="110"/>
                    <a:pt x="144" y="107"/>
                    <a:pt x="144" y="105"/>
                  </a:cubicBezTo>
                  <a:cubicBezTo>
                    <a:pt x="144" y="104"/>
                    <a:pt x="144" y="103"/>
                    <a:pt x="144" y="102"/>
                  </a:cubicBezTo>
                  <a:cubicBezTo>
                    <a:pt x="143" y="102"/>
                    <a:pt x="141" y="101"/>
                    <a:pt x="141" y="101"/>
                  </a:cubicBezTo>
                  <a:cubicBezTo>
                    <a:pt x="139" y="98"/>
                    <a:pt x="141" y="97"/>
                    <a:pt x="144" y="96"/>
                  </a:cubicBezTo>
                  <a:cubicBezTo>
                    <a:pt x="144" y="92"/>
                    <a:pt x="147" y="88"/>
                    <a:pt x="149" y="85"/>
                  </a:cubicBezTo>
                  <a:cubicBezTo>
                    <a:pt x="151" y="82"/>
                    <a:pt x="152" y="83"/>
                    <a:pt x="155" y="82"/>
                  </a:cubicBezTo>
                  <a:cubicBezTo>
                    <a:pt x="158" y="82"/>
                    <a:pt x="161" y="81"/>
                    <a:pt x="163" y="79"/>
                  </a:cubicBezTo>
                  <a:cubicBezTo>
                    <a:pt x="164" y="78"/>
                    <a:pt x="165" y="76"/>
                    <a:pt x="166" y="75"/>
                  </a:cubicBezTo>
                  <a:cubicBezTo>
                    <a:pt x="168" y="74"/>
                    <a:pt x="169" y="72"/>
                    <a:pt x="170" y="72"/>
                  </a:cubicBezTo>
                  <a:cubicBezTo>
                    <a:pt x="172" y="70"/>
                    <a:pt x="174" y="69"/>
                    <a:pt x="176" y="67"/>
                  </a:cubicBezTo>
                  <a:cubicBezTo>
                    <a:pt x="177" y="66"/>
                    <a:pt x="178" y="66"/>
                    <a:pt x="180" y="65"/>
                  </a:cubicBezTo>
                  <a:cubicBezTo>
                    <a:pt x="182" y="64"/>
                    <a:pt x="183" y="64"/>
                    <a:pt x="184" y="62"/>
                  </a:cubicBezTo>
                  <a:cubicBezTo>
                    <a:pt x="186" y="60"/>
                    <a:pt x="186" y="58"/>
                    <a:pt x="188" y="56"/>
                  </a:cubicBezTo>
                  <a:cubicBezTo>
                    <a:pt x="191" y="53"/>
                    <a:pt x="194" y="50"/>
                    <a:pt x="194" y="46"/>
                  </a:cubicBezTo>
                  <a:cubicBezTo>
                    <a:pt x="195" y="44"/>
                    <a:pt x="194" y="44"/>
                    <a:pt x="192" y="43"/>
                  </a:cubicBezTo>
                  <a:cubicBezTo>
                    <a:pt x="189" y="42"/>
                    <a:pt x="186" y="40"/>
                    <a:pt x="183" y="39"/>
                  </a:cubicBezTo>
                  <a:cubicBezTo>
                    <a:pt x="181" y="38"/>
                    <a:pt x="179" y="38"/>
                    <a:pt x="177" y="38"/>
                  </a:cubicBezTo>
                  <a:cubicBezTo>
                    <a:pt x="176" y="38"/>
                    <a:pt x="177" y="39"/>
                    <a:pt x="175" y="38"/>
                  </a:cubicBezTo>
                  <a:cubicBezTo>
                    <a:pt x="174" y="38"/>
                    <a:pt x="173" y="35"/>
                    <a:pt x="172" y="34"/>
                  </a:cubicBezTo>
                  <a:cubicBezTo>
                    <a:pt x="171" y="32"/>
                    <a:pt x="171" y="30"/>
                    <a:pt x="172" y="29"/>
                  </a:cubicBezTo>
                  <a:cubicBezTo>
                    <a:pt x="173" y="27"/>
                    <a:pt x="176" y="25"/>
                    <a:pt x="175" y="23"/>
                  </a:cubicBezTo>
                  <a:cubicBezTo>
                    <a:pt x="177" y="17"/>
                    <a:pt x="177" y="17"/>
                    <a:pt x="177" y="17"/>
                  </a:cubicBezTo>
                  <a:cubicBezTo>
                    <a:pt x="174" y="17"/>
                    <a:pt x="172" y="18"/>
                    <a:pt x="169" y="18"/>
                  </a:cubicBezTo>
                  <a:cubicBezTo>
                    <a:pt x="167" y="18"/>
                    <a:pt x="163" y="19"/>
                    <a:pt x="161" y="17"/>
                  </a:cubicBezTo>
                  <a:cubicBezTo>
                    <a:pt x="160" y="15"/>
                    <a:pt x="162" y="14"/>
                    <a:pt x="160" y="14"/>
                  </a:cubicBezTo>
                  <a:cubicBezTo>
                    <a:pt x="159" y="14"/>
                    <a:pt x="157" y="16"/>
                    <a:pt x="155" y="16"/>
                  </a:cubicBezTo>
                  <a:cubicBezTo>
                    <a:pt x="153" y="16"/>
                    <a:pt x="145" y="15"/>
                    <a:pt x="145" y="17"/>
                  </a:cubicBezTo>
                  <a:cubicBezTo>
                    <a:pt x="145" y="17"/>
                    <a:pt x="144" y="16"/>
                    <a:pt x="143" y="16"/>
                  </a:cubicBezTo>
                  <a:cubicBezTo>
                    <a:pt x="142" y="17"/>
                    <a:pt x="143" y="18"/>
                    <a:pt x="142" y="19"/>
                  </a:cubicBezTo>
                  <a:cubicBezTo>
                    <a:pt x="141" y="20"/>
                    <a:pt x="140" y="21"/>
                    <a:pt x="139" y="22"/>
                  </a:cubicBezTo>
                  <a:cubicBezTo>
                    <a:pt x="137" y="24"/>
                    <a:pt x="137" y="25"/>
                    <a:pt x="134" y="26"/>
                  </a:cubicBezTo>
                  <a:cubicBezTo>
                    <a:pt x="130" y="28"/>
                    <a:pt x="122" y="23"/>
                    <a:pt x="122" y="29"/>
                  </a:cubicBezTo>
                  <a:cubicBezTo>
                    <a:pt x="119" y="30"/>
                    <a:pt x="117" y="28"/>
                    <a:pt x="115" y="27"/>
                  </a:cubicBezTo>
                  <a:cubicBezTo>
                    <a:pt x="114" y="27"/>
                    <a:pt x="114" y="29"/>
                    <a:pt x="112" y="28"/>
                  </a:cubicBezTo>
                  <a:cubicBezTo>
                    <a:pt x="112" y="27"/>
                    <a:pt x="112" y="25"/>
                    <a:pt x="112" y="25"/>
                  </a:cubicBezTo>
                  <a:cubicBezTo>
                    <a:pt x="110" y="24"/>
                    <a:pt x="107" y="23"/>
                    <a:pt x="105" y="24"/>
                  </a:cubicBezTo>
                  <a:cubicBezTo>
                    <a:pt x="104" y="25"/>
                    <a:pt x="103" y="27"/>
                    <a:pt x="101" y="26"/>
                  </a:cubicBezTo>
                  <a:cubicBezTo>
                    <a:pt x="99" y="25"/>
                    <a:pt x="99" y="23"/>
                    <a:pt x="98" y="22"/>
                  </a:cubicBezTo>
                  <a:cubicBezTo>
                    <a:pt x="94" y="18"/>
                    <a:pt x="94" y="24"/>
                    <a:pt x="93" y="26"/>
                  </a:cubicBezTo>
                  <a:cubicBezTo>
                    <a:pt x="91" y="28"/>
                    <a:pt x="90" y="27"/>
                    <a:pt x="88" y="28"/>
                  </a:cubicBezTo>
                  <a:cubicBezTo>
                    <a:pt x="87" y="28"/>
                    <a:pt x="85" y="30"/>
                    <a:pt x="84" y="30"/>
                  </a:cubicBezTo>
                  <a:cubicBezTo>
                    <a:pt x="82" y="30"/>
                    <a:pt x="81" y="22"/>
                    <a:pt x="81" y="21"/>
                  </a:cubicBezTo>
                  <a:cubicBezTo>
                    <a:pt x="82" y="19"/>
                    <a:pt x="84" y="19"/>
                    <a:pt x="85" y="17"/>
                  </a:cubicBezTo>
                  <a:cubicBezTo>
                    <a:pt x="86" y="16"/>
                    <a:pt x="86" y="14"/>
                    <a:pt x="86" y="12"/>
                  </a:cubicBezTo>
                  <a:cubicBezTo>
                    <a:pt x="85" y="11"/>
                    <a:pt x="83" y="12"/>
                    <a:pt x="82" y="11"/>
                  </a:cubicBezTo>
                  <a:cubicBezTo>
                    <a:pt x="81" y="10"/>
                    <a:pt x="81" y="7"/>
                    <a:pt x="81" y="6"/>
                  </a:cubicBezTo>
                  <a:cubicBezTo>
                    <a:pt x="82" y="4"/>
                    <a:pt x="84" y="2"/>
                    <a:pt x="82" y="1"/>
                  </a:cubicBezTo>
                  <a:cubicBezTo>
                    <a:pt x="80" y="0"/>
                    <a:pt x="79" y="2"/>
                    <a:pt x="78" y="3"/>
                  </a:cubicBezTo>
                  <a:cubicBezTo>
                    <a:pt x="78" y="4"/>
                    <a:pt x="77" y="6"/>
                    <a:pt x="77" y="6"/>
                  </a:cubicBezTo>
                  <a:cubicBezTo>
                    <a:pt x="76" y="7"/>
                    <a:pt x="74" y="7"/>
                    <a:pt x="73" y="7"/>
                  </a:cubicBezTo>
                  <a:cubicBezTo>
                    <a:pt x="69" y="8"/>
                    <a:pt x="66" y="10"/>
                    <a:pt x="63" y="11"/>
                  </a:cubicBezTo>
                  <a:cubicBezTo>
                    <a:pt x="60" y="13"/>
                    <a:pt x="56" y="15"/>
                    <a:pt x="53" y="16"/>
                  </a:cubicBezTo>
                  <a:cubicBezTo>
                    <a:pt x="51" y="17"/>
                    <a:pt x="48" y="18"/>
                    <a:pt x="47" y="19"/>
                  </a:cubicBezTo>
                  <a:cubicBezTo>
                    <a:pt x="46" y="20"/>
                    <a:pt x="46" y="23"/>
                    <a:pt x="45" y="24"/>
                  </a:cubicBezTo>
                  <a:cubicBezTo>
                    <a:pt x="45" y="24"/>
                    <a:pt x="43" y="26"/>
                    <a:pt x="42" y="26"/>
                  </a:cubicBezTo>
                  <a:cubicBezTo>
                    <a:pt x="42" y="27"/>
                    <a:pt x="42" y="28"/>
                    <a:pt x="42" y="29"/>
                  </a:cubicBezTo>
                  <a:cubicBezTo>
                    <a:pt x="42" y="30"/>
                    <a:pt x="42" y="31"/>
                    <a:pt x="41" y="31"/>
                  </a:cubicBezTo>
                  <a:cubicBezTo>
                    <a:pt x="41" y="33"/>
                    <a:pt x="41" y="35"/>
                    <a:pt x="41" y="36"/>
                  </a:cubicBezTo>
                  <a:cubicBezTo>
                    <a:pt x="42" y="39"/>
                    <a:pt x="43" y="40"/>
                    <a:pt x="44" y="42"/>
                  </a:cubicBezTo>
                  <a:cubicBezTo>
                    <a:pt x="46" y="45"/>
                    <a:pt x="46" y="51"/>
                    <a:pt x="45" y="54"/>
                  </a:cubicBezTo>
                  <a:cubicBezTo>
                    <a:pt x="44" y="55"/>
                    <a:pt x="43" y="56"/>
                    <a:pt x="43" y="57"/>
                  </a:cubicBezTo>
                  <a:cubicBezTo>
                    <a:pt x="42" y="59"/>
                    <a:pt x="44" y="60"/>
                    <a:pt x="44" y="61"/>
                  </a:cubicBezTo>
                  <a:cubicBezTo>
                    <a:pt x="45" y="62"/>
                    <a:pt x="46" y="65"/>
                    <a:pt x="46" y="66"/>
                  </a:cubicBezTo>
                  <a:cubicBezTo>
                    <a:pt x="46" y="69"/>
                    <a:pt x="45" y="68"/>
                    <a:pt x="43" y="69"/>
                  </a:cubicBezTo>
                  <a:cubicBezTo>
                    <a:pt x="42" y="70"/>
                    <a:pt x="39" y="71"/>
                    <a:pt x="39" y="72"/>
                  </a:cubicBezTo>
                  <a:cubicBezTo>
                    <a:pt x="38" y="73"/>
                    <a:pt x="38" y="75"/>
                    <a:pt x="38" y="76"/>
                  </a:cubicBezTo>
                  <a:cubicBezTo>
                    <a:pt x="38" y="81"/>
                    <a:pt x="40" y="83"/>
                    <a:pt x="42" y="87"/>
                  </a:cubicBezTo>
                  <a:cubicBezTo>
                    <a:pt x="43" y="88"/>
                    <a:pt x="44" y="88"/>
                    <a:pt x="44" y="90"/>
                  </a:cubicBezTo>
                  <a:cubicBezTo>
                    <a:pt x="44" y="95"/>
                    <a:pt x="46" y="99"/>
                    <a:pt x="47" y="103"/>
                  </a:cubicBezTo>
                  <a:cubicBezTo>
                    <a:pt x="47" y="108"/>
                    <a:pt x="47" y="113"/>
                    <a:pt x="47" y="118"/>
                  </a:cubicBezTo>
                  <a:cubicBezTo>
                    <a:pt x="47" y="121"/>
                    <a:pt x="46" y="124"/>
                    <a:pt x="44" y="127"/>
                  </a:cubicBezTo>
                  <a:cubicBezTo>
                    <a:pt x="43" y="129"/>
                    <a:pt x="42" y="132"/>
                    <a:pt x="41" y="134"/>
                  </a:cubicBezTo>
                  <a:cubicBezTo>
                    <a:pt x="41" y="134"/>
                    <a:pt x="40" y="135"/>
                    <a:pt x="40" y="136"/>
                  </a:cubicBezTo>
                  <a:cubicBezTo>
                    <a:pt x="40" y="137"/>
                    <a:pt x="39" y="138"/>
                    <a:pt x="39" y="139"/>
                  </a:cubicBezTo>
                  <a:cubicBezTo>
                    <a:pt x="38" y="140"/>
                    <a:pt x="38" y="140"/>
                    <a:pt x="38" y="141"/>
                  </a:cubicBezTo>
                  <a:cubicBezTo>
                    <a:pt x="38" y="142"/>
                    <a:pt x="37" y="143"/>
                    <a:pt x="37" y="145"/>
                  </a:cubicBezTo>
                  <a:cubicBezTo>
                    <a:pt x="37" y="145"/>
                    <a:pt x="37" y="146"/>
                    <a:pt x="37" y="147"/>
                  </a:cubicBezTo>
                  <a:cubicBezTo>
                    <a:pt x="37" y="149"/>
                    <a:pt x="37" y="151"/>
                    <a:pt x="38" y="153"/>
                  </a:cubicBezTo>
                  <a:cubicBezTo>
                    <a:pt x="38" y="154"/>
                    <a:pt x="39" y="156"/>
                    <a:pt x="38" y="157"/>
                  </a:cubicBezTo>
                  <a:cubicBezTo>
                    <a:pt x="38" y="158"/>
                    <a:pt x="38" y="158"/>
                    <a:pt x="38" y="159"/>
                  </a:cubicBezTo>
                  <a:cubicBezTo>
                    <a:pt x="38" y="159"/>
                    <a:pt x="37" y="160"/>
                    <a:pt x="37" y="161"/>
                  </a:cubicBezTo>
                  <a:cubicBezTo>
                    <a:pt x="36" y="162"/>
                    <a:pt x="34" y="163"/>
                    <a:pt x="33" y="164"/>
                  </a:cubicBezTo>
                  <a:cubicBezTo>
                    <a:pt x="32" y="166"/>
                    <a:pt x="30" y="168"/>
                    <a:pt x="28" y="171"/>
                  </a:cubicBezTo>
                  <a:cubicBezTo>
                    <a:pt x="26" y="174"/>
                    <a:pt x="26" y="177"/>
                    <a:pt x="26" y="181"/>
                  </a:cubicBezTo>
                  <a:cubicBezTo>
                    <a:pt x="26" y="182"/>
                    <a:pt x="26" y="183"/>
                    <a:pt x="26" y="184"/>
                  </a:cubicBezTo>
                  <a:cubicBezTo>
                    <a:pt x="26" y="185"/>
                    <a:pt x="26" y="186"/>
                    <a:pt x="26" y="186"/>
                  </a:cubicBezTo>
                  <a:cubicBezTo>
                    <a:pt x="26" y="187"/>
                    <a:pt x="26" y="188"/>
                    <a:pt x="26" y="18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3" name="Freeform 93"/>
            <p:cNvSpPr>
              <a:spLocks noEditPoints="1"/>
            </p:cNvSpPr>
            <p:nvPr/>
          </p:nvSpPr>
          <p:spPr bwMode="auto">
            <a:xfrm>
              <a:off x="2382838" y="5495925"/>
              <a:ext cx="1368425" cy="1063625"/>
            </a:xfrm>
            <a:custGeom>
              <a:avLst/>
              <a:gdLst/>
              <a:ahLst/>
              <a:cxnLst>
                <a:cxn ang="0">
                  <a:pos x="99" y="497"/>
                </a:cxn>
                <a:cxn ang="0">
                  <a:pos x="34" y="469"/>
                </a:cxn>
                <a:cxn ang="0">
                  <a:pos x="34" y="466"/>
                </a:cxn>
                <a:cxn ang="0">
                  <a:pos x="33" y="479"/>
                </a:cxn>
                <a:cxn ang="0">
                  <a:pos x="35" y="465"/>
                </a:cxn>
                <a:cxn ang="0">
                  <a:pos x="37" y="282"/>
                </a:cxn>
                <a:cxn ang="0">
                  <a:pos x="38" y="276"/>
                </a:cxn>
                <a:cxn ang="0">
                  <a:pos x="38" y="457"/>
                </a:cxn>
                <a:cxn ang="0">
                  <a:pos x="26" y="306"/>
                </a:cxn>
                <a:cxn ang="0">
                  <a:pos x="34" y="285"/>
                </a:cxn>
                <a:cxn ang="0">
                  <a:pos x="40" y="258"/>
                </a:cxn>
                <a:cxn ang="0">
                  <a:pos x="45" y="246"/>
                </a:cxn>
                <a:cxn ang="0">
                  <a:pos x="48" y="495"/>
                </a:cxn>
                <a:cxn ang="0">
                  <a:pos x="52" y="496"/>
                </a:cxn>
                <a:cxn ang="0">
                  <a:pos x="0" y="373"/>
                </a:cxn>
                <a:cxn ang="0">
                  <a:pos x="0" y="375"/>
                </a:cxn>
                <a:cxn ang="0">
                  <a:pos x="1" y="359"/>
                </a:cxn>
                <a:cxn ang="0">
                  <a:pos x="499" y="314"/>
                </a:cxn>
                <a:cxn ang="0">
                  <a:pos x="672" y="99"/>
                </a:cxn>
                <a:cxn ang="0">
                  <a:pos x="648" y="101"/>
                </a:cxn>
                <a:cxn ang="0">
                  <a:pos x="621" y="96"/>
                </a:cxn>
                <a:cxn ang="0">
                  <a:pos x="617" y="77"/>
                </a:cxn>
                <a:cxn ang="0">
                  <a:pos x="577" y="77"/>
                </a:cxn>
                <a:cxn ang="0">
                  <a:pos x="490" y="58"/>
                </a:cxn>
                <a:cxn ang="0">
                  <a:pos x="456" y="31"/>
                </a:cxn>
                <a:cxn ang="0">
                  <a:pos x="373" y="28"/>
                </a:cxn>
                <a:cxn ang="0">
                  <a:pos x="285" y="25"/>
                </a:cxn>
                <a:cxn ang="0">
                  <a:pos x="205" y="15"/>
                </a:cxn>
                <a:cxn ang="0">
                  <a:pos x="83" y="15"/>
                </a:cxn>
                <a:cxn ang="0">
                  <a:pos x="63" y="39"/>
                </a:cxn>
                <a:cxn ang="0">
                  <a:pos x="27" y="69"/>
                </a:cxn>
                <a:cxn ang="0">
                  <a:pos x="53" y="92"/>
                </a:cxn>
                <a:cxn ang="0">
                  <a:pos x="24" y="129"/>
                </a:cxn>
                <a:cxn ang="0">
                  <a:pos x="47" y="141"/>
                </a:cxn>
                <a:cxn ang="0">
                  <a:pos x="82" y="133"/>
                </a:cxn>
                <a:cxn ang="0">
                  <a:pos x="101" y="148"/>
                </a:cxn>
                <a:cxn ang="0">
                  <a:pos x="142" y="141"/>
                </a:cxn>
                <a:cxn ang="0">
                  <a:pos x="175" y="145"/>
                </a:cxn>
                <a:cxn ang="0">
                  <a:pos x="188" y="178"/>
                </a:cxn>
                <a:cxn ang="0">
                  <a:pos x="149" y="207"/>
                </a:cxn>
                <a:cxn ang="0">
                  <a:pos x="144" y="274"/>
                </a:cxn>
                <a:cxn ang="0">
                  <a:pos x="110" y="319"/>
                </a:cxn>
                <a:cxn ang="0">
                  <a:pos x="123" y="351"/>
                </a:cxn>
                <a:cxn ang="0">
                  <a:pos x="118" y="393"/>
                </a:cxn>
                <a:cxn ang="0">
                  <a:pos x="136" y="426"/>
                </a:cxn>
                <a:cxn ang="0">
                  <a:pos x="116" y="444"/>
                </a:cxn>
                <a:cxn ang="0">
                  <a:pos x="109" y="473"/>
                </a:cxn>
                <a:cxn ang="0">
                  <a:pos x="159" y="506"/>
                </a:cxn>
                <a:cxn ang="0">
                  <a:pos x="205" y="564"/>
                </a:cxn>
                <a:cxn ang="0">
                  <a:pos x="263" y="534"/>
                </a:cxn>
                <a:cxn ang="0">
                  <a:pos x="351" y="521"/>
                </a:cxn>
                <a:cxn ang="0">
                  <a:pos x="399" y="517"/>
                </a:cxn>
                <a:cxn ang="0">
                  <a:pos x="438" y="466"/>
                </a:cxn>
                <a:cxn ang="0">
                  <a:pos x="472" y="442"/>
                </a:cxn>
                <a:cxn ang="0">
                  <a:pos x="513" y="394"/>
                </a:cxn>
                <a:cxn ang="0">
                  <a:pos x="493" y="328"/>
                </a:cxn>
                <a:cxn ang="0">
                  <a:pos x="547" y="255"/>
                </a:cxn>
                <a:cxn ang="0">
                  <a:pos x="619" y="203"/>
                </a:cxn>
                <a:cxn ang="0">
                  <a:pos x="671" y="178"/>
                </a:cxn>
                <a:cxn ang="0">
                  <a:pos x="731" y="134"/>
                </a:cxn>
              </a:cxnLst>
              <a:rect l="0" t="0" r="r" b="b"/>
              <a:pathLst>
                <a:path w="732" h="569">
                  <a:moveTo>
                    <a:pt x="108" y="495"/>
                  </a:moveTo>
                  <a:cubicBezTo>
                    <a:pt x="107" y="495"/>
                    <a:pt x="106" y="496"/>
                    <a:pt x="105" y="496"/>
                  </a:cubicBezTo>
                  <a:cubicBezTo>
                    <a:pt x="106" y="496"/>
                    <a:pt x="107" y="495"/>
                    <a:pt x="108" y="495"/>
                  </a:cubicBezTo>
                  <a:moveTo>
                    <a:pt x="98" y="497"/>
                  </a:moveTo>
                  <a:cubicBezTo>
                    <a:pt x="97" y="497"/>
                    <a:pt x="96" y="497"/>
                    <a:pt x="95" y="497"/>
                  </a:cubicBezTo>
                  <a:cubicBezTo>
                    <a:pt x="99" y="497"/>
                    <a:pt x="102" y="497"/>
                    <a:pt x="105" y="496"/>
                  </a:cubicBezTo>
                  <a:cubicBezTo>
                    <a:pt x="105" y="496"/>
                    <a:pt x="105" y="496"/>
                    <a:pt x="105" y="496"/>
                  </a:cubicBezTo>
                  <a:cubicBezTo>
                    <a:pt x="103" y="496"/>
                    <a:pt x="101" y="497"/>
                    <a:pt x="99" y="497"/>
                  </a:cubicBezTo>
                  <a:cubicBezTo>
                    <a:pt x="99" y="497"/>
                    <a:pt x="98" y="497"/>
                    <a:pt x="98" y="497"/>
                  </a:cubicBezTo>
                  <a:moveTo>
                    <a:pt x="59" y="496"/>
                  </a:moveTo>
                  <a:cubicBezTo>
                    <a:pt x="57" y="496"/>
                    <a:pt x="56" y="496"/>
                    <a:pt x="54" y="496"/>
                  </a:cubicBezTo>
                  <a:cubicBezTo>
                    <a:pt x="56" y="496"/>
                    <a:pt x="57" y="496"/>
                    <a:pt x="59" y="496"/>
                  </a:cubicBezTo>
                  <a:cubicBezTo>
                    <a:pt x="60" y="496"/>
                    <a:pt x="60" y="496"/>
                    <a:pt x="61" y="496"/>
                  </a:cubicBezTo>
                  <a:cubicBezTo>
                    <a:pt x="60" y="496"/>
                    <a:pt x="60" y="496"/>
                    <a:pt x="59" y="496"/>
                  </a:cubicBezTo>
                  <a:moveTo>
                    <a:pt x="34" y="471"/>
                  </a:moveTo>
                  <a:cubicBezTo>
                    <a:pt x="34" y="470"/>
                    <a:pt x="34" y="470"/>
                    <a:pt x="34" y="469"/>
                  </a:cubicBezTo>
                  <a:cubicBezTo>
                    <a:pt x="34" y="470"/>
                    <a:pt x="34" y="470"/>
                    <a:pt x="34" y="471"/>
                  </a:cubicBezTo>
                  <a:moveTo>
                    <a:pt x="34" y="472"/>
                  </a:moveTo>
                  <a:cubicBezTo>
                    <a:pt x="34" y="472"/>
                    <a:pt x="34" y="471"/>
                    <a:pt x="34" y="471"/>
                  </a:cubicBezTo>
                  <a:cubicBezTo>
                    <a:pt x="34" y="471"/>
                    <a:pt x="34" y="472"/>
                    <a:pt x="34" y="472"/>
                  </a:cubicBezTo>
                  <a:moveTo>
                    <a:pt x="34" y="473"/>
                  </a:moveTo>
                  <a:cubicBezTo>
                    <a:pt x="34" y="473"/>
                    <a:pt x="34" y="474"/>
                    <a:pt x="34" y="474"/>
                  </a:cubicBezTo>
                  <a:cubicBezTo>
                    <a:pt x="34" y="474"/>
                    <a:pt x="34" y="473"/>
                    <a:pt x="34" y="473"/>
                  </a:cubicBezTo>
                  <a:moveTo>
                    <a:pt x="34" y="466"/>
                  </a:moveTo>
                  <a:cubicBezTo>
                    <a:pt x="34" y="467"/>
                    <a:pt x="34" y="467"/>
                    <a:pt x="34" y="467"/>
                  </a:cubicBezTo>
                  <a:cubicBezTo>
                    <a:pt x="34" y="467"/>
                    <a:pt x="34" y="467"/>
                    <a:pt x="34" y="466"/>
                  </a:cubicBezTo>
                  <a:moveTo>
                    <a:pt x="34" y="476"/>
                  </a:moveTo>
                  <a:cubicBezTo>
                    <a:pt x="34" y="476"/>
                    <a:pt x="34" y="475"/>
                    <a:pt x="34" y="475"/>
                  </a:cubicBezTo>
                  <a:cubicBezTo>
                    <a:pt x="34" y="475"/>
                    <a:pt x="34" y="476"/>
                    <a:pt x="34" y="476"/>
                  </a:cubicBezTo>
                  <a:moveTo>
                    <a:pt x="33" y="479"/>
                  </a:moveTo>
                  <a:cubicBezTo>
                    <a:pt x="33" y="478"/>
                    <a:pt x="34" y="477"/>
                    <a:pt x="34" y="476"/>
                  </a:cubicBezTo>
                  <a:cubicBezTo>
                    <a:pt x="34" y="477"/>
                    <a:pt x="33" y="478"/>
                    <a:pt x="33" y="479"/>
                  </a:cubicBezTo>
                  <a:moveTo>
                    <a:pt x="30" y="485"/>
                  </a:moveTo>
                  <a:cubicBezTo>
                    <a:pt x="31" y="484"/>
                    <a:pt x="31" y="484"/>
                    <a:pt x="31" y="483"/>
                  </a:cubicBezTo>
                  <a:cubicBezTo>
                    <a:pt x="31" y="484"/>
                    <a:pt x="31" y="484"/>
                    <a:pt x="30" y="485"/>
                  </a:cubicBezTo>
                  <a:moveTo>
                    <a:pt x="32" y="481"/>
                  </a:moveTo>
                  <a:cubicBezTo>
                    <a:pt x="32" y="481"/>
                    <a:pt x="32" y="481"/>
                    <a:pt x="32" y="481"/>
                  </a:cubicBezTo>
                  <a:cubicBezTo>
                    <a:pt x="32" y="481"/>
                    <a:pt x="32" y="481"/>
                    <a:pt x="32" y="481"/>
                  </a:cubicBezTo>
                  <a:moveTo>
                    <a:pt x="34" y="465"/>
                  </a:moveTo>
                  <a:cubicBezTo>
                    <a:pt x="34" y="465"/>
                    <a:pt x="35" y="465"/>
                    <a:pt x="35" y="465"/>
                  </a:cubicBezTo>
                  <a:cubicBezTo>
                    <a:pt x="35" y="465"/>
                    <a:pt x="34" y="465"/>
                    <a:pt x="34" y="465"/>
                  </a:cubicBezTo>
                  <a:moveTo>
                    <a:pt x="35" y="463"/>
                  </a:moveTo>
                  <a:cubicBezTo>
                    <a:pt x="35" y="462"/>
                    <a:pt x="36" y="461"/>
                    <a:pt x="36" y="461"/>
                  </a:cubicBezTo>
                  <a:cubicBezTo>
                    <a:pt x="36" y="461"/>
                    <a:pt x="35" y="462"/>
                    <a:pt x="35" y="463"/>
                  </a:cubicBezTo>
                  <a:moveTo>
                    <a:pt x="37" y="460"/>
                  </a:moveTo>
                  <a:cubicBezTo>
                    <a:pt x="37" y="459"/>
                    <a:pt x="37" y="459"/>
                    <a:pt x="37" y="458"/>
                  </a:cubicBezTo>
                  <a:cubicBezTo>
                    <a:pt x="37" y="459"/>
                    <a:pt x="37" y="459"/>
                    <a:pt x="37" y="460"/>
                  </a:cubicBezTo>
                  <a:moveTo>
                    <a:pt x="37" y="282"/>
                  </a:moveTo>
                  <a:cubicBezTo>
                    <a:pt x="38" y="282"/>
                    <a:pt x="38" y="282"/>
                    <a:pt x="38" y="282"/>
                  </a:cubicBezTo>
                  <a:cubicBezTo>
                    <a:pt x="38" y="282"/>
                    <a:pt x="38" y="282"/>
                    <a:pt x="37" y="282"/>
                  </a:cubicBezTo>
                  <a:moveTo>
                    <a:pt x="38" y="281"/>
                  </a:moveTo>
                  <a:cubicBezTo>
                    <a:pt x="38" y="281"/>
                    <a:pt x="38" y="281"/>
                    <a:pt x="38" y="281"/>
                  </a:cubicBezTo>
                  <a:cubicBezTo>
                    <a:pt x="38" y="281"/>
                    <a:pt x="38" y="281"/>
                    <a:pt x="38" y="281"/>
                  </a:cubicBezTo>
                  <a:moveTo>
                    <a:pt x="38" y="275"/>
                  </a:moveTo>
                  <a:cubicBezTo>
                    <a:pt x="38" y="274"/>
                    <a:pt x="38" y="274"/>
                    <a:pt x="37" y="273"/>
                  </a:cubicBezTo>
                  <a:cubicBezTo>
                    <a:pt x="38" y="274"/>
                    <a:pt x="38" y="275"/>
                    <a:pt x="38" y="276"/>
                  </a:cubicBezTo>
                  <a:cubicBezTo>
                    <a:pt x="38" y="276"/>
                    <a:pt x="38" y="275"/>
                    <a:pt x="38" y="275"/>
                  </a:cubicBezTo>
                  <a:moveTo>
                    <a:pt x="38" y="278"/>
                  </a:moveTo>
                  <a:cubicBezTo>
                    <a:pt x="39" y="278"/>
                    <a:pt x="39" y="279"/>
                    <a:pt x="38" y="279"/>
                  </a:cubicBezTo>
                  <a:cubicBezTo>
                    <a:pt x="39" y="279"/>
                    <a:pt x="39" y="278"/>
                    <a:pt x="38" y="278"/>
                  </a:cubicBezTo>
                  <a:moveTo>
                    <a:pt x="38" y="278"/>
                  </a:moveTo>
                  <a:cubicBezTo>
                    <a:pt x="38" y="277"/>
                    <a:pt x="38" y="277"/>
                    <a:pt x="38" y="277"/>
                  </a:cubicBezTo>
                  <a:cubicBezTo>
                    <a:pt x="38" y="277"/>
                    <a:pt x="38" y="277"/>
                    <a:pt x="38" y="278"/>
                  </a:cubicBezTo>
                  <a:moveTo>
                    <a:pt x="38" y="457"/>
                  </a:moveTo>
                  <a:cubicBezTo>
                    <a:pt x="38" y="456"/>
                    <a:pt x="38" y="456"/>
                    <a:pt x="38" y="456"/>
                  </a:cubicBezTo>
                  <a:cubicBezTo>
                    <a:pt x="38" y="456"/>
                    <a:pt x="38" y="456"/>
                    <a:pt x="38" y="457"/>
                  </a:cubicBezTo>
                  <a:moveTo>
                    <a:pt x="30" y="485"/>
                  </a:moveTo>
                  <a:cubicBezTo>
                    <a:pt x="30" y="486"/>
                    <a:pt x="29" y="486"/>
                    <a:pt x="29" y="487"/>
                  </a:cubicBezTo>
                  <a:cubicBezTo>
                    <a:pt x="29" y="486"/>
                    <a:pt x="30" y="486"/>
                    <a:pt x="30" y="485"/>
                  </a:cubicBezTo>
                  <a:moveTo>
                    <a:pt x="26" y="306"/>
                  </a:moveTo>
                  <a:cubicBezTo>
                    <a:pt x="26" y="307"/>
                    <a:pt x="26" y="308"/>
                    <a:pt x="26" y="308"/>
                  </a:cubicBezTo>
                  <a:cubicBezTo>
                    <a:pt x="26" y="308"/>
                    <a:pt x="26" y="307"/>
                    <a:pt x="26" y="306"/>
                  </a:cubicBezTo>
                  <a:moveTo>
                    <a:pt x="26" y="303"/>
                  </a:moveTo>
                  <a:cubicBezTo>
                    <a:pt x="26" y="304"/>
                    <a:pt x="26" y="305"/>
                    <a:pt x="26" y="306"/>
                  </a:cubicBezTo>
                  <a:cubicBezTo>
                    <a:pt x="26" y="305"/>
                    <a:pt x="26" y="304"/>
                    <a:pt x="26" y="303"/>
                  </a:cubicBezTo>
                  <a:moveTo>
                    <a:pt x="36" y="284"/>
                  </a:moveTo>
                  <a:cubicBezTo>
                    <a:pt x="36" y="284"/>
                    <a:pt x="36" y="284"/>
                    <a:pt x="35" y="284"/>
                  </a:cubicBezTo>
                  <a:cubicBezTo>
                    <a:pt x="36" y="284"/>
                    <a:pt x="36" y="284"/>
                    <a:pt x="36" y="284"/>
                  </a:cubicBezTo>
                  <a:moveTo>
                    <a:pt x="35" y="285"/>
                  </a:moveTo>
                  <a:cubicBezTo>
                    <a:pt x="35" y="285"/>
                    <a:pt x="34" y="285"/>
                    <a:pt x="34" y="285"/>
                  </a:cubicBezTo>
                  <a:cubicBezTo>
                    <a:pt x="34" y="285"/>
                    <a:pt x="35" y="285"/>
                    <a:pt x="35" y="285"/>
                  </a:cubicBezTo>
                  <a:moveTo>
                    <a:pt x="33" y="286"/>
                  </a:moveTo>
                  <a:cubicBezTo>
                    <a:pt x="33" y="286"/>
                    <a:pt x="34" y="286"/>
                    <a:pt x="34" y="286"/>
                  </a:cubicBezTo>
                  <a:cubicBezTo>
                    <a:pt x="34" y="286"/>
                    <a:pt x="33" y="286"/>
                    <a:pt x="33" y="286"/>
                  </a:cubicBezTo>
                  <a:moveTo>
                    <a:pt x="37" y="282"/>
                  </a:moveTo>
                  <a:cubicBezTo>
                    <a:pt x="37" y="282"/>
                    <a:pt x="37" y="283"/>
                    <a:pt x="37" y="283"/>
                  </a:cubicBezTo>
                  <a:cubicBezTo>
                    <a:pt x="37" y="283"/>
                    <a:pt x="37" y="282"/>
                    <a:pt x="37" y="282"/>
                  </a:cubicBezTo>
                  <a:moveTo>
                    <a:pt x="40" y="258"/>
                  </a:moveTo>
                  <a:cubicBezTo>
                    <a:pt x="40" y="259"/>
                    <a:pt x="39" y="260"/>
                    <a:pt x="39" y="261"/>
                  </a:cubicBezTo>
                  <a:cubicBezTo>
                    <a:pt x="39" y="260"/>
                    <a:pt x="40" y="259"/>
                    <a:pt x="40" y="258"/>
                  </a:cubicBezTo>
                  <a:moveTo>
                    <a:pt x="41" y="153"/>
                  </a:moveTo>
                  <a:cubicBezTo>
                    <a:pt x="42" y="153"/>
                    <a:pt x="42" y="152"/>
                    <a:pt x="42" y="151"/>
                  </a:cubicBezTo>
                  <a:cubicBezTo>
                    <a:pt x="42" y="151"/>
                    <a:pt x="42" y="151"/>
                    <a:pt x="42" y="151"/>
                  </a:cubicBezTo>
                  <a:cubicBezTo>
                    <a:pt x="42" y="152"/>
                    <a:pt x="42" y="153"/>
                    <a:pt x="41" y="153"/>
                  </a:cubicBezTo>
                  <a:moveTo>
                    <a:pt x="45" y="247"/>
                  </a:moveTo>
                  <a:cubicBezTo>
                    <a:pt x="45" y="247"/>
                    <a:pt x="45" y="247"/>
                    <a:pt x="45" y="246"/>
                  </a:cubicBezTo>
                  <a:cubicBezTo>
                    <a:pt x="45" y="247"/>
                    <a:pt x="45" y="247"/>
                    <a:pt x="45" y="247"/>
                  </a:cubicBezTo>
                  <a:moveTo>
                    <a:pt x="46" y="245"/>
                  </a:moveTo>
                  <a:cubicBezTo>
                    <a:pt x="46" y="245"/>
                    <a:pt x="46" y="244"/>
                    <a:pt x="46" y="244"/>
                  </a:cubicBezTo>
                  <a:cubicBezTo>
                    <a:pt x="46" y="244"/>
                    <a:pt x="46" y="245"/>
                    <a:pt x="46" y="245"/>
                  </a:cubicBezTo>
                  <a:moveTo>
                    <a:pt x="46" y="243"/>
                  </a:moveTo>
                  <a:cubicBezTo>
                    <a:pt x="46" y="243"/>
                    <a:pt x="46" y="242"/>
                    <a:pt x="46" y="242"/>
                  </a:cubicBezTo>
                  <a:cubicBezTo>
                    <a:pt x="46" y="242"/>
                    <a:pt x="46" y="243"/>
                    <a:pt x="46" y="243"/>
                  </a:cubicBezTo>
                  <a:moveTo>
                    <a:pt x="48" y="495"/>
                  </a:moveTo>
                  <a:cubicBezTo>
                    <a:pt x="47" y="495"/>
                    <a:pt x="46" y="495"/>
                    <a:pt x="45" y="495"/>
                  </a:cubicBezTo>
                  <a:cubicBezTo>
                    <a:pt x="46" y="495"/>
                    <a:pt x="47" y="495"/>
                    <a:pt x="48" y="495"/>
                  </a:cubicBezTo>
                  <a:moveTo>
                    <a:pt x="43" y="496"/>
                  </a:moveTo>
                  <a:cubicBezTo>
                    <a:pt x="42" y="496"/>
                    <a:pt x="41" y="496"/>
                    <a:pt x="41" y="496"/>
                  </a:cubicBezTo>
                  <a:cubicBezTo>
                    <a:pt x="41" y="496"/>
                    <a:pt x="42" y="496"/>
                    <a:pt x="43" y="496"/>
                  </a:cubicBezTo>
                  <a:moveTo>
                    <a:pt x="52" y="496"/>
                  </a:moveTo>
                  <a:cubicBezTo>
                    <a:pt x="51" y="496"/>
                    <a:pt x="51" y="496"/>
                    <a:pt x="50" y="495"/>
                  </a:cubicBezTo>
                  <a:cubicBezTo>
                    <a:pt x="51" y="496"/>
                    <a:pt x="51" y="496"/>
                    <a:pt x="52" y="496"/>
                  </a:cubicBezTo>
                  <a:moveTo>
                    <a:pt x="50" y="495"/>
                  </a:moveTo>
                  <a:cubicBezTo>
                    <a:pt x="49" y="495"/>
                    <a:pt x="48" y="495"/>
                    <a:pt x="48" y="495"/>
                  </a:cubicBezTo>
                  <a:cubicBezTo>
                    <a:pt x="48" y="495"/>
                    <a:pt x="49" y="495"/>
                    <a:pt x="50" y="495"/>
                  </a:cubicBezTo>
                  <a:moveTo>
                    <a:pt x="45" y="495"/>
                  </a:moveTo>
                  <a:cubicBezTo>
                    <a:pt x="44" y="495"/>
                    <a:pt x="44" y="495"/>
                    <a:pt x="43" y="495"/>
                  </a:cubicBezTo>
                  <a:cubicBezTo>
                    <a:pt x="44" y="495"/>
                    <a:pt x="44" y="495"/>
                    <a:pt x="45" y="495"/>
                  </a:cubicBezTo>
                  <a:moveTo>
                    <a:pt x="0" y="373"/>
                  </a:moveTo>
                  <a:cubicBezTo>
                    <a:pt x="0" y="373"/>
                    <a:pt x="0" y="373"/>
                    <a:pt x="0" y="373"/>
                  </a:cubicBezTo>
                  <a:cubicBezTo>
                    <a:pt x="0" y="373"/>
                    <a:pt x="0" y="373"/>
                    <a:pt x="0" y="373"/>
                  </a:cubicBezTo>
                  <a:moveTo>
                    <a:pt x="0" y="372"/>
                  </a:moveTo>
                  <a:cubicBezTo>
                    <a:pt x="0" y="372"/>
                    <a:pt x="0" y="372"/>
                    <a:pt x="0" y="373"/>
                  </a:cubicBezTo>
                  <a:cubicBezTo>
                    <a:pt x="0" y="372"/>
                    <a:pt x="0" y="372"/>
                    <a:pt x="0" y="372"/>
                  </a:cubicBezTo>
                  <a:moveTo>
                    <a:pt x="1" y="376"/>
                  </a:moveTo>
                  <a:cubicBezTo>
                    <a:pt x="1" y="375"/>
                    <a:pt x="0" y="375"/>
                    <a:pt x="0" y="375"/>
                  </a:cubicBezTo>
                  <a:cubicBezTo>
                    <a:pt x="0" y="375"/>
                    <a:pt x="1" y="375"/>
                    <a:pt x="1" y="376"/>
                  </a:cubicBezTo>
                  <a:moveTo>
                    <a:pt x="0" y="375"/>
                  </a:moveTo>
                  <a:cubicBezTo>
                    <a:pt x="0" y="375"/>
                    <a:pt x="0" y="375"/>
                    <a:pt x="0" y="374"/>
                  </a:cubicBezTo>
                  <a:cubicBezTo>
                    <a:pt x="0" y="375"/>
                    <a:pt x="0" y="375"/>
                    <a:pt x="0" y="375"/>
                  </a:cubicBezTo>
                  <a:moveTo>
                    <a:pt x="0" y="374"/>
                  </a:moveTo>
                  <a:cubicBezTo>
                    <a:pt x="0" y="374"/>
                    <a:pt x="0" y="374"/>
                    <a:pt x="0" y="374"/>
                  </a:cubicBezTo>
                  <a:cubicBezTo>
                    <a:pt x="0" y="374"/>
                    <a:pt x="0" y="374"/>
                    <a:pt x="0" y="374"/>
                  </a:cubicBezTo>
                  <a:moveTo>
                    <a:pt x="1" y="359"/>
                  </a:moveTo>
                  <a:cubicBezTo>
                    <a:pt x="1" y="359"/>
                    <a:pt x="1" y="360"/>
                    <a:pt x="1" y="360"/>
                  </a:cubicBezTo>
                  <a:cubicBezTo>
                    <a:pt x="1" y="360"/>
                    <a:pt x="1" y="359"/>
                    <a:pt x="1" y="359"/>
                  </a:cubicBezTo>
                  <a:moveTo>
                    <a:pt x="0" y="362"/>
                  </a:moveTo>
                  <a:cubicBezTo>
                    <a:pt x="0" y="363"/>
                    <a:pt x="0" y="363"/>
                    <a:pt x="0" y="363"/>
                  </a:cubicBezTo>
                  <a:cubicBezTo>
                    <a:pt x="0" y="363"/>
                    <a:pt x="0" y="363"/>
                    <a:pt x="0" y="362"/>
                  </a:cubicBezTo>
                  <a:moveTo>
                    <a:pt x="447" y="26"/>
                  </a:moveTo>
                  <a:cubicBezTo>
                    <a:pt x="447" y="26"/>
                    <a:pt x="448" y="26"/>
                    <a:pt x="448" y="26"/>
                  </a:cubicBezTo>
                  <a:cubicBezTo>
                    <a:pt x="448" y="26"/>
                    <a:pt x="448" y="26"/>
                    <a:pt x="448" y="26"/>
                  </a:cubicBezTo>
                  <a:cubicBezTo>
                    <a:pt x="451" y="24"/>
                    <a:pt x="447" y="26"/>
                    <a:pt x="447" y="26"/>
                  </a:cubicBezTo>
                  <a:moveTo>
                    <a:pt x="499" y="314"/>
                  </a:moveTo>
                  <a:cubicBezTo>
                    <a:pt x="499" y="313"/>
                    <a:pt x="500" y="313"/>
                    <a:pt x="500" y="313"/>
                  </a:cubicBezTo>
                  <a:cubicBezTo>
                    <a:pt x="500" y="313"/>
                    <a:pt x="499" y="313"/>
                    <a:pt x="499" y="314"/>
                  </a:cubicBezTo>
                  <a:moveTo>
                    <a:pt x="731" y="104"/>
                  </a:moveTo>
                  <a:cubicBezTo>
                    <a:pt x="732" y="100"/>
                    <a:pt x="727" y="98"/>
                    <a:pt x="724" y="97"/>
                  </a:cubicBezTo>
                  <a:cubicBezTo>
                    <a:pt x="719" y="96"/>
                    <a:pt x="714" y="96"/>
                    <a:pt x="709" y="96"/>
                  </a:cubicBezTo>
                  <a:cubicBezTo>
                    <a:pt x="705" y="96"/>
                    <a:pt x="703" y="97"/>
                    <a:pt x="699" y="98"/>
                  </a:cubicBezTo>
                  <a:cubicBezTo>
                    <a:pt x="695" y="100"/>
                    <a:pt x="694" y="103"/>
                    <a:pt x="689" y="102"/>
                  </a:cubicBezTo>
                  <a:cubicBezTo>
                    <a:pt x="684" y="101"/>
                    <a:pt x="677" y="98"/>
                    <a:pt x="672" y="99"/>
                  </a:cubicBezTo>
                  <a:cubicBezTo>
                    <a:pt x="671" y="99"/>
                    <a:pt x="670" y="100"/>
                    <a:pt x="669" y="100"/>
                  </a:cubicBezTo>
                  <a:cubicBezTo>
                    <a:pt x="669" y="101"/>
                    <a:pt x="669" y="101"/>
                    <a:pt x="668" y="102"/>
                  </a:cubicBezTo>
                  <a:cubicBezTo>
                    <a:pt x="668" y="102"/>
                    <a:pt x="667" y="102"/>
                    <a:pt x="667" y="102"/>
                  </a:cubicBezTo>
                  <a:cubicBezTo>
                    <a:pt x="665" y="103"/>
                    <a:pt x="665" y="104"/>
                    <a:pt x="663" y="104"/>
                  </a:cubicBezTo>
                  <a:cubicBezTo>
                    <a:pt x="661" y="105"/>
                    <a:pt x="661" y="104"/>
                    <a:pt x="659" y="103"/>
                  </a:cubicBezTo>
                  <a:cubicBezTo>
                    <a:pt x="659" y="103"/>
                    <a:pt x="659" y="103"/>
                    <a:pt x="659" y="103"/>
                  </a:cubicBezTo>
                  <a:cubicBezTo>
                    <a:pt x="658" y="104"/>
                    <a:pt x="656" y="104"/>
                    <a:pt x="655" y="103"/>
                  </a:cubicBezTo>
                  <a:cubicBezTo>
                    <a:pt x="652" y="103"/>
                    <a:pt x="650" y="102"/>
                    <a:pt x="648" y="101"/>
                  </a:cubicBezTo>
                  <a:cubicBezTo>
                    <a:pt x="647" y="100"/>
                    <a:pt x="646" y="99"/>
                    <a:pt x="645" y="99"/>
                  </a:cubicBezTo>
                  <a:cubicBezTo>
                    <a:pt x="644" y="99"/>
                    <a:pt x="643" y="98"/>
                    <a:pt x="641" y="98"/>
                  </a:cubicBezTo>
                  <a:cubicBezTo>
                    <a:pt x="640" y="98"/>
                    <a:pt x="639" y="98"/>
                    <a:pt x="638" y="98"/>
                  </a:cubicBezTo>
                  <a:cubicBezTo>
                    <a:pt x="637" y="98"/>
                    <a:pt x="636" y="98"/>
                    <a:pt x="636" y="98"/>
                  </a:cubicBezTo>
                  <a:cubicBezTo>
                    <a:pt x="635" y="99"/>
                    <a:pt x="635" y="99"/>
                    <a:pt x="634" y="99"/>
                  </a:cubicBezTo>
                  <a:cubicBezTo>
                    <a:pt x="633" y="100"/>
                    <a:pt x="632" y="100"/>
                    <a:pt x="631" y="99"/>
                  </a:cubicBezTo>
                  <a:cubicBezTo>
                    <a:pt x="629" y="99"/>
                    <a:pt x="627" y="99"/>
                    <a:pt x="625" y="99"/>
                  </a:cubicBezTo>
                  <a:cubicBezTo>
                    <a:pt x="623" y="98"/>
                    <a:pt x="622" y="97"/>
                    <a:pt x="621" y="96"/>
                  </a:cubicBezTo>
                  <a:cubicBezTo>
                    <a:pt x="619" y="94"/>
                    <a:pt x="617" y="93"/>
                    <a:pt x="617" y="91"/>
                  </a:cubicBezTo>
                  <a:cubicBezTo>
                    <a:pt x="616" y="90"/>
                    <a:pt x="616" y="88"/>
                    <a:pt x="617" y="87"/>
                  </a:cubicBezTo>
                  <a:cubicBezTo>
                    <a:pt x="618" y="85"/>
                    <a:pt x="621" y="85"/>
                    <a:pt x="623" y="84"/>
                  </a:cubicBezTo>
                  <a:cubicBezTo>
                    <a:pt x="623" y="83"/>
                    <a:pt x="623" y="83"/>
                    <a:pt x="623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3" y="80"/>
                    <a:pt x="620" y="78"/>
                    <a:pt x="617" y="77"/>
                  </a:cubicBezTo>
                  <a:cubicBezTo>
                    <a:pt x="615" y="76"/>
                    <a:pt x="614" y="75"/>
                    <a:pt x="611" y="74"/>
                  </a:cubicBezTo>
                  <a:cubicBezTo>
                    <a:pt x="609" y="73"/>
                    <a:pt x="607" y="73"/>
                    <a:pt x="605" y="73"/>
                  </a:cubicBezTo>
                  <a:cubicBezTo>
                    <a:pt x="600" y="72"/>
                    <a:pt x="596" y="69"/>
                    <a:pt x="592" y="68"/>
                  </a:cubicBezTo>
                  <a:cubicBezTo>
                    <a:pt x="589" y="68"/>
                    <a:pt x="587" y="66"/>
                    <a:pt x="584" y="65"/>
                  </a:cubicBezTo>
                  <a:cubicBezTo>
                    <a:pt x="584" y="67"/>
                    <a:pt x="584" y="69"/>
                    <a:pt x="583" y="70"/>
                  </a:cubicBezTo>
                  <a:cubicBezTo>
                    <a:pt x="583" y="71"/>
                    <a:pt x="582" y="71"/>
                    <a:pt x="582" y="73"/>
                  </a:cubicBezTo>
                  <a:cubicBezTo>
                    <a:pt x="581" y="74"/>
                    <a:pt x="582" y="75"/>
                    <a:pt x="581" y="76"/>
                  </a:cubicBezTo>
                  <a:cubicBezTo>
                    <a:pt x="580" y="78"/>
                    <a:pt x="579" y="77"/>
                    <a:pt x="577" y="77"/>
                  </a:cubicBezTo>
                  <a:cubicBezTo>
                    <a:pt x="569" y="78"/>
                    <a:pt x="560" y="77"/>
                    <a:pt x="552" y="77"/>
                  </a:cubicBezTo>
                  <a:cubicBezTo>
                    <a:pt x="549" y="77"/>
                    <a:pt x="547" y="78"/>
                    <a:pt x="545" y="78"/>
                  </a:cubicBezTo>
                  <a:cubicBezTo>
                    <a:pt x="543" y="78"/>
                    <a:pt x="541" y="77"/>
                    <a:pt x="540" y="76"/>
                  </a:cubicBezTo>
                  <a:cubicBezTo>
                    <a:pt x="538" y="75"/>
                    <a:pt x="536" y="74"/>
                    <a:pt x="534" y="73"/>
                  </a:cubicBezTo>
                  <a:cubicBezTo>
                    <a:pt x="534" y="72"/>
                    <a:pt x="532" y="70"/>
                    <a:pt x="531" y="70"/>
                  </a:cubicBezTo>
                  <a:cubicBezTo>
                    <a:pt x="529" y="69"/>
                    <a:pt x="525" y="71"/>
                    <a:pt x="522" y="70"/>
                  </a:cubicBezTo>
                  <a:cubicBezTo>
                    <a:pt x="517" y="70"/>
                    <a:pt x="512" y="68"/>
                    <a:pt x="506" y="67"/>
                  </a:cubicBezTo>
                  <a:cubicBezTo>
                    <a:pt x="504" y="58"/>
                    <a:pt x="497" y="61"/>
                    <a:pt x="490" y="58"/>
                  </a:cubicBezTo>
                  <a:cubicBezTo>
                    <a:pt x="488" y="57"/>
                    <a:pt x="486" y="56"/>
                    <a:pt x="484" y="54"/>
                  </a:cubicBezTo>
                  <a:cubicBezTo>
                    <a:pt x="481" y="52"/>
                    <a:pt x="475" y="50"/>
                    <a:pt x="475" y="46"/>
                  </a:cubicBezTo>
                  <a:cubicBezTo>
                    <a:pt x="472" y="45"/>
                    <a:pt x="471" y="48"/>
                    <a:pt x="469" y="49"/>
                  </a:cubicBezTo>
                  <a:cubicBezTo>
                    <a:pt x="467" y="51"/>
                    <a:pt x="465" y="50"/>
                    <a:pt x="464" y="46"/>
                  </a:cubicBezTo>
                  <a:cubicBezTo>
                    <a:pt x="463" y="42"/>
                    <a:pt x="469" y="39"/>
                    <a:pt x="466" y="35"/>
                  </a:cubicBezTo>
                  <a:cubicBezTo>
                    <a:pt x="465" y="33"/>
                    <a:pt x="463" y="34"/>
                    <a:pt x="462" y="33"/>
                  </a:cubicBezTo>
                  <a:cubicBezTo>
                    <a:pt x="461" y="33"/>
                    <a:pt x="460" y="33"/>
                    <a:pt x="459" y="33"/>
                  </a:cubicBezTo>
                  <a:cubicBezTo>
                    <a:pt x="458" y="32"/>
                    <a:pt x="457" y="32"/>
                    <a:pt x="456" y="31"/>
                  </a:cubicBezTo>
                  <a:cubicBezTo>
                    <a:pt x="456" y="31"/>
                    <a:pt x="455" y="30"/>
                    <a:pt x="453" y="30"/>
                  </a:cubicBezTo>
                  <a:cubicBezTo>
                    <a:pt x="453" y="30"/>
                    <a:pt x="452" y="29"/>
                    <a:pt x="451" y="28"/>
                  </a:cubicBezTo>
                  <a:cubicBezTo>
                    <a:pt x="450" y="27"/>
                    <a:pt x="449" y="27"/>
                    <a:pt x="448" y="26"/>
                  </a:cubicBezTo>
                  <a:cubicBezTo>
                    <a:pt x="444" y="29"/>
                    <a:pt x="439" y="31"/>
                    <a:pt x="434" y="31"/>
                  </a:cubicBezTo>
                  <a:cubicBezTo>
                    <a:pt x="429" y="31"/>
                    <a:pt x="424" y="32"/>
                    <a:pt x="419" y="31"/>
                  </a:cubicBezTo>
                  <a:cubicBezTo>
                    <a:pt x="413" y="31"/>
                    <a:pt x="406" y="29"/>
                    <a:pt x="400" y="28"/>
                  </a:cubicBezTo>
                  <a:cubicBezTo>
                    <a:pt x="393" y="28"/>
                    <a:pt x="386" y="27"/>
                    <a:pt x="379" y="27"/>
                  </a:cubicBezTo>
                  <a:cubicBezTo>
                    <a:pt x="377" y="27"/>
                    <a:pt x="375" y="27"/>
                    <a:pt x="373" y="28"/>
                  </a:cubicBezTo>
                  <a:cubicBezTo>
                    <a:pt x="372" y="29"/>
                    <a:pt x="372" y="31"/>
                    <a:pt x="371" y="31"/>
                  </a:cubicBezTo>
                  <a:cubicBezTo>
                    <a:pt x="369" y="32"/>
                    <a:pt x="367" y="29"/>
                    <a:pt x="365" y="28"/>
                  </a:cubicBezTo>
                  <a:cubicBezTo>
                    <a:pt x="363" y="27"/>
                    <a:pt x="362" y="27"/>
                    <a:pt x="360" y="26"/>
                  </a:cubicBezTo>
                  <a:cubicBezTo>
                    <a:pt x="355" y="24"/>
                    <a:pt x="350" y="24"/>
                    <a:pt x="346" y="24"/>
                  </a:cubicBezTo>
                  <a:cubicBezTo>
                    <a:pt x="340" y="23"/>
                    <a:pt x="334" y="24"/>
                    <a:pt x="328" y="24"/>
                  </a:cubicBezTo>
                  <a:cubicBezTo>
                    <a:pt x="319" y="24"/>
                    <a:pt x="311" y="23"/>
                    <a:pt x="303" y="26"/>
                  </a:cubicBezTo>
                  <a:cubicBezTo>
                    <a:pt x="299" y="28"/>
                    <a:pt x="296" y="27"/>
                    <a:pt x="292" y="27"/>
                  </a:cubicBezTo>
                  <a:cubicBezTo>
                    <a:pt x="288" y="27"/>
                    <a:pt x="288" y="27"/>
                    <a:pt x="285" y="25"/>
                  </a:cubicBezTo>
                  <a:cubicBezTo>
                    <a:pt x="279" y="23"/>
                    <a:pt x="272" y="23"/>
                    <a:pt x="266" y="22"/>
                  </a:cubicBezTo>
                  <a:cubicBezTo>
                    <a:pt x="263" y="22"/>
                    <a:pt x="259" y="21"/>
                    <a:pt x="256" y="21"/>
                  </a:cubicBezTo>
                  <a:cubicBezTo>
                    <a:pt x="252" y="20"/>
                    <a:pt x="249" y="20"/>
                    <a:pt x="246" y="20"/>
                  </a:cubicBezTo>
                  <a:cubicBezTo>
                    <a:pt x="244" y="19"/>
                    <a:pt x="242" y="18"/>
                    <a:pt x="240" y="18"/>
                  </a:cubicBezTo>
                  <a:cubicBezTo>
                    <a:pt x="236" y="16"/>
                    <a:pt x="231" y="17"/>
                    <a:pt x="227" y="16"/>
                  </a:cubicBezTo>
                  <a:cubicBezTo>
                    <a:pt x="226" y="11"/>
                    <a:pt x="220" y="12"/>
                    <a:pt x="216" y="12"/>
                  </a:cubicBezTo>
                  <a:cubicBezTo>
                    <a:pt x="214" y="13"/>
                    <a:pt x="212" y="14"/>
                    <a:pt x="209" y="15"/>
                  </a:cubicBezTo>
                  <a:cubicBezTo>
                    <a:pt x="208" y="15"/>
                    <a:pt x="207" y="15"/>
                    <a:pt x="205" y="15"/>
                  </a:cubicBezTo>
                  <a:cubicBezTo>
                    <a:pt x="204" y="16"/>
                    <a:pt x="203" y="16"/>
                    <a:pt x="201" y="16"/>
                  </a:cubicBezTo>
                  <a:cubicBezTo>
                    <a:pt x="194" y="18"/>
                    <a:pt x="185" y="17"/>
                    <a:pt x="178" y="17"/>
                  </a:cubicBezTo>
                  <a:cubicBezTo>
                    <a:pt x="157" y="17"/>
                    <a:pt x="157" y="17"/>
                    <a:pt x="157" y="17"/>
                  </a:cubicBezTo>
                  <a:cubicBezTo>
                    <a:pt x="153" y="17"/>
                    <a:pt x="148" y="18"/>
                    <a:pt x="144" y="15"/>
                  </a:cubicBezTo>
                  <a:cubicBezTo>
                    <a:pt x="139" y="13"/>
                    <a:pt x="135" y="10"/>
                    <a:pt x="130" y="8"/>
                  </a:cubicBezTo>
                  <a:cubicBezTo>
                    <a:pt x="125" y="5"/>
                    <a:pt x="121" y="4"/>
                    <a:pt x="116" y="3"/>
                  </a:cubicBezTo>
                  <a:cubicBezTo>
                    <a:pt x="109" y="2"/>
                    <a:pt x="101" y="0"/>
                    <a:pt x="95" y="2"/>
                  </a:cubicBezTo>
                  <a:cubicBezTo>
                    <a:pt x="88" y="4"/>
                    <a:pt x="87" y="10"/>
                    <a:pt x="83" y="15"/>
                  </a:cubicBezTo>
                  <a:cubicBezTo>
                    <a:pt x="82" y="17"/>
                    <a:pt x="80" y="17"/>
                    <a:pt x="80" y="19"/>
                  </a:cubicBezTo>
                  <a:cubicBezTo>
                    <a:pt x="80" y="20"/>
                    <a:pt x="81" y="22"/>
                    <a:pt x="81" y="23"/>
                  </a:cubicBezTo>
                  <a:cubicBezTo>
                    <a:pt x="82" y="25"/>
                    <a:pt x="83" y="31"/>
                    <a:pt x="81" y="33"/>
                  </a:cubicBezTo>
                  <a:cubicBezTo>
                    <a:pt x="80" y="33"/>
                    <a:pt x="77" y="33"/>
                    <a:pt x="76" y="33"/>
                  </a:cubicBezTo>
                  <a:cubicBezTo>
                    <a:pt x="73" y="33"/>
                    <a:pt x="73" y="33"/>
                    <a:pt x="72" y="35"/>
                  </a:cubicBezTo>
                  <a:cubicBezTo>
                    <a:pt x="71" y="36"/>
                    <a:pt x="70" y="37"/>
                    <a:pt x="68" y="38"/>
                  </a:cubicBezTo>
                  <a:cubicBezTo>
                    <a:pt x="67" y="38"/>
                    <a:pt x="66" y="38"/>
                    <a:pt x="65" y="38"/>
                  </a:cubicBezTo>
                  <a:cubicBezTo>
                    <a:pt x="64" y="38"/>
                    <a:pt x="64" y="39"/>
                    <a:pt x="63" y="39"/>
                  </a:cubicBezTo>
                  <a:cubicBezTo>
                    <a:pt x="59" y="41"/>
                    <a:pt x="54" y="39"/>
                    <a:pt x="49" y="39"/>
                  </a:cubicBezTo>
                  <a:cubicBezTo>
                    <a:pt x="47" y="39"/>
                    <a:pt x="45" y="39"/>
                    <a:pt x="43" y="40"/>
                  </a:cubicBezTo>
                  <a:cubicBezTo>
                    <a:pt x="41" y="40"/>
                    <a:pt x="39" y="42"/>
                    <a:pt x="37" y="43"/>
                  </a:cubicBezTo>
                  <a:cubicBezTo>
                    <a:pt x="33" y="45"/>
                    <a:pt x="30" y="48"/>
                    <a:pt x="27" y="51"/>
                  </a:cubicBezTo>
                  <a:cubicBezTo>
                    <a:pt x="26" y="52"/>
                    <a:pt x="24" y="54"/>
                    <a:pt x="24" y="55"/>
                  </a:cubicBezTo>
                  <a:cubicBezTo>
                    <a:pt x="23" y="56"/>
                    <a:pt x="23" y="58"/>
                    <a:pt x="23" y="60"/>
                  </a:cubicBezTo>
                  <a:cubicBezTo>
                    <a:pt x="23" y="62"/>
                    <a:pt x="23" y="64"/>
                    <a:pt x="23" y="66"/>
                  </a:cubicBezTo>
                  <a:cubicBezTo>
                    <a:pt x="24" y="69"/>
                    <a:pt x="24" y="68"/>
                    <a:pt x="27" y="69"/>
                  </a:cubicBezTo>
                  <a:cubicBezTo>
                    <a:pt x="29" y="70"/>
                    <a:pt x="29" y="70"/>
                    <a:pt x="29" y="73"/>
                  </a:cubicBezTo>
                  <a:cubicBezTo>
                    <a:pt x="29" y="74"/>
                    <a:pt x="29" y="75"/>
                    <a:pt x="30" y="77"/>
                  </a:cubicBezTo>
                  <a:cubicBezTo>
                    <a:pt x="30" y="78"/>
                    <a:pt x="31" y="82"/>
                    <a:pt x="32" y="82"/>
                  </a:cubicBezTo>
                  <a:cubicBezTo>
                    <a:pt x="34" y="84"/>
                    <a:pt x="34" y="81"/>
                    <a:pt x="35" y="80"/>
                  </a:cubicBezTo>
                  <a:cubicBezTo>
                    <a:pt x="40" y="86"/>
                    <a:pt x="32" y="89"/>
                    <a:pt x="34" y="96"/>
                  </a:cubicBezTo>
                  <a:cubicBezTo>
                    <a:pt x="35" y="101"/>
                    <a:pt x="42" y="98"/>
                    <a:pt x="45" y="96"/>
                  </a:cubicBezTo>
                  <a:cubicBezTo>
                    <a:pt x="46" y="94"/>
                    <a:pt x="46" y="90"/>
                    <a:pt x="48" y="89"/>
                  </a:cubicBezTo>
                  <a:cubicBezTo>
                    <a:pt x="49" y="89"/>
                    <a:pt x="52" y="90"/>
                    <a:pt x="53" y="92"/>
                  </a:cubicBezTo>
                  <a:cubicBezTo>
                    <a:pt x="53" y="93"/>
                    <a:pt x="52" y="93"/>
                    <a:pt x="51" y="95"/>
                  </a:cubicBezTo>
                  <a:cubicBezTo>
                    <a:pt x="51" y="96"/>
                    <a:pt x="51" y="99"/>
                    <a:pt x="51" y="101"/>
                  </a:cubicBezTo>
                  <a:cubicBezTo>
                    <a:pt x="51" y="105"/>
                    <a:pt x="49" y="108"/>
                    <a:pt x="48" y="112"/>
                  </a:cubicBezTo>
                  <a:cubicBezTo>
                    <a:pt x="48" y="114"/>
                    <a:pt x="48" y="114"/>
                    <a:pt x="47" y="116"/>
                  </a:cubicBezTo>
                  <a:cubicBezTo>
                    <a:pt x="47" y="117"/>
                    <a:pt x="45" y="118"/>
                    <a:pt x="44" y="119"/>
                  </a:cubicBezTo>
                  <a:cubicBezTo>
                    <a:pt x="43" y="121"/>
                    <a:pt x="45" y="124"/>
                    <a:pt x="44" y="126"/>
                  </a:cubicBezTo>
                  <a:cubicBezTo>
                    <a:pt x="40" y="127"/>
                    <a:pt x="36" y="127"/>
                    <a:pt x="32" y="127"/>
                  </a:cubicBezTo>
                  <a:cubicBezTo>
                    <a:pt x="30" y="127"/>
                    <a:pt x="26" y="128"/>
                    <a:pt x="24" y="129"/>
                  </a:cubicBezTo>
                  <a:cubicBezTo>
                    <a:pt x="23" y="129"/>
                    <a:pt x="23" y="129"/>
                    <a:pt x="22" y="130"/>
                  </a:cubicBezTo>
                  <a:cubicBezTo>
                    <a:pt x="22" y="132"/>
                    <a:pt x="25" y="135"/>
                    <a:pt x="26" y="136"/>
                  </a:cubicBezTo>
                  <a:cubicBezTo>
                    <a:pt x="27" y="138"/>
                    <a:pt x="28" y="139"/>
                    <a:pt x="31" y="139"/>
                  </a:cubicBezTo>
                  <a:cubicBezTo>
                    <a:pt x="34" y="140"/>
                    <a:pt x="36" y="140"/>
                    <a:pt x="38" y="141"/>
                  </a:cubicBezTo>
                  <a:cubicBezTo>
                    <a:pt x="41" y="142"/>
                    <a:pt x="42" y="142"/>
                    <a:pt x="42" y="145"/>
                  </a:cubicBezTo>
                  <a:cubicBezTo>
                    <a:pt x="42" y="146"/>
                    <a:pt x="42" y="147"/>
                    <a:pt x="42" y="148"/>
                  </a:cubicBezTo>
                  <a:cubicBezTo>
                    <a:pt x="43" y="148"/>
                    <a:pt x="45" y="146"/>
                    <a:pt x="45" y="146"/>
                  </a:cubicBezTo>
                  <a:cubicBezTo>
                    <a:pt x="46" y="145"/>
                    <a:pt x="46" y="142"/>
                    <a:pt x="47" y="141"/>
                  </a:cubicBezTo>
                  <a:cubicBezTo>
                    <a:pt x="48" y="140"/>
                    <a:pt x="51" y="139"/>
                    <a:pt x="53" y="138"/>
                  </a:cubicBezTo>
                  <a:cubicBezTo>
                    <a:pt x="56" y="137"/>
                    <a:pt x="60" y="135"/>
                    <a:pt x="63" y="133"/>
                  </a:cubicBezTo>
                  <a:cubicBezTo>
                    <a:pt x="66" y="132"/>
                    <a:pt x="69" y="130"/>
                    <a:pt x="73" y="129"/>
                  </a:cubicBezTo>
                  <a:cubicBezTo>
                    <a:pt x="74" y="129"/>
                    <a:pt x="76" y="129"/>
                    <a:pt x="77" y="128"/>
                  </a:cubicBezTo>
                  <a:cubicBezTo>
                    <a:pt x="77" y="128"/>
                    <a:pt x="78" y="126"/>
                    <a:pt x="78" y="125"/>
                  </a:cubicBezTo>
                  <a:cubicBezTo>
                    <a:pt x="79" y="124"/>
                    <a:pt x="80" y="122"/>
                    <a:pt x="82" y="123"/>
                  </a:cubicBezTo>
                  <a:cubicBezTo>
                    <a:pt x="84" y="124"/>
                    <a:pt x="82" y="126"/>
                    <a:pt x="81" y="128"/>
                  </a:cubicBezTo>
                  <a:cubicBezTo>
                    <a:pt x="81" y="129"/>
                    <a:pt x="81" y="132"/>
                    <a:pt x="82" y="133"/>
                  </a:cubicBezTo>
                  <a:cubicBezTo>
                    <a:pt x="83" y="134"/>
                    <a:pt x="85" y="133"/>
                    <a:pt x="86" y="134"/>
                  </a:cubicBezTo>
                  <a:cubicBezTo>
                    <a:pt x="86" y="136"/>
                    <a:pt x="86" y="138"/>
                    <a:pt x="85" y="139"/>
                  </a:cubicBezTo>
                  <a:cubicBezTo>
                    <a:pt x="84" y="141"/>
                    <a:pt x="82" y="141"/>
                    <a:pt x="81" y="143"/>
                  </a:cubicBezTo>
                  <a:cubicBezTo>
                    <a:pt x="81" y="144"/>
                    <a:pt x="82" y="152"/>
                    <a:pt x="84" y="152"/>
                  </a:cubicBezTo>
                  <a:cubicBezTo>
                    <a:pt x="85" y="152"/>
                    <a:pt x="87" y="150"/>
                    <a:pt x="88" y="150"/>
                  </a:cubicBezTo>
                  <a:cubicBezTo>
                    <a:pt x="90" y="149"/>
                    <a:pt x="91" y="150"/>
                    <a:pt x="93" y="148"/>
                  </a:cubicBezTo>
                  <a:cubicBezTo>
                    <a:pt x="94" y="146"/>
                    <a:pt x="94" y="140"/>
                    <a:pt x="98" y="144"/>
                  </a:cubicBezTo>
                  <a:cubicBezTo>
                    <a:pt x="99" y="145"/>
                    <a:pt x="99" y="147"/>
                    <a:pt x="101" y="148"/>
                  </a:cubicBezTo>
                  <a:cubicBezTo>
                    <a:pt x="103" y="149"/>
                    <a:pt x="104" y="147"/>
                    <a:pt x="105" y="146"/>
                  </a:cubicBezTo>
                  <a:cubicBezTo>
                    <a:pt x="107" y="145"/>
                    <a:pt x="110" y="146"/>
                    <a:pt x="112" y="147"/>
                  </a:cubicBezTo>
                  <a:cubicBezTo>
                    <a:pt x="112" y="147"/>
                    <a:pt x="112" y="149"/>
                    <a:pt x="112" y="150"/>
                  </a:cubicBezTo>
                  <a:cubicBezTo>
                    <a:pt x="114" y="151"/>
                    <a:pt x="114" y="149"/>
                    <a:pt x="115" y="149"/>
                  </a:cubicBezTo>
                  <a:cubicBezTo>
                    <a:pt x="117" y="150"/>
                    <a:pt x="119" y="152"/>
                    <a:pt x="122" y="151"/>
                  </a:cubicBezTo>
                  <a:cubicBezTo>
                    <a:pt x="122" y="145"/>
                    <a:pt x="130" y="150"/>
                    <a:pt x="134" y="148"/>
                  </a:cubicBezTo>
                  <a:cubicBezTo>
                    <a:pt x="137" y="147"/>
                    <a:pt x="137" y="146"/>
                    <a:pt x="139" y="144"/>
                  </a:cubicBezTo>
                  <a:cubicBezTo>
                    <a:pt x="140" y="143"/>
                    <a:pt x="141" y="142"/>
                    <a:pt x="142" y="141"/>
                  </a:cubicBezTo>
                  <a:cubicBezTo>
                    <a:pt x="143" y="140"/>
                    <a:pt x="142" y="139"/>
                    <a:pt x="143" y="138"/>
                  </a:cubicBezTo>
                  <a:cubicBezTo>
                    <a:pt x="144" y="138"/>
                    <a:pt x="144" y="139"/>
                    <a:pt x="145" y="139"/>
                  </a:cubicBezTo>
                  <a:cubicBezTo>
                    <a:pt x="145" y="137"/>
                    <a:pt x="153" y="138"/>
                    <a:pt x="155" y="138"/>
                  </a:cubicBezTo>
                  <a:cubicBezTo>
                    <a:pt x="157" y="138"/>
                    <a:pt x="159" y="136"/>
                    <a:pt x="160" y="136"/>
                  </a:cubicBezTo>
                  <a:cubicBezTo>
                    <a:pt x="162" y="136"/>
                    <a:pt x="160" y="137"/>
                    <a:pt x="161" y="139"/>
                  </a:cubicBezTo>
                  <a:cubicBezTo>
                    <a:pt x="163" y="141"/>
                    <a:pt x="167" y="140"/>
                    <a:pt x="169" y="140"/>
                  </a:cubicBezTo>
                  <a:cubicBezTo>
                    <a:pt x="172" y="140"/>
                    <a:pt x="174" y="139"/>
                    <a:pt x="177" y="139"/>
                  </a:cubicBezTo>
                  <a:cubicBezTo>
                    <a:pt x="175" y="145"/>
                    <a:pt x="175" y="145"/>
                    <a:pt x="175" y="145"/>
                  </a:cubicBezTo>
                  <a:cubicBezTo>
                    <a:pt x="176" y="147"/>
                    <a:pt x="173" y="149"/>
                    <a:pt x="172" y="151"/>
                  </a:cubicBezTo>
                  <a:cubicBezTo>
                    <a:pt x="171" y="152"/>
                    <a:pt x="171" y="154"/>
                    <a:pt x="172" y="156"/>
                  </a:cubicBezTo>
                  <a:cubicBezTo>
                    <a:pt x="173" y="157"/>
                    <a:pt x="174" y="160"/>
                    <a:pt x="175" y="160"/>
                  </a:cubicBezTo>
                  <a:cubicBezTo>
                    <a:pt x="177" y="161"/>
                    <a:pt x="176" y="160"/>
                    <a:pt x="177" y="160"/>
                  </a:cubicBezTo>
                  <a:cubicBezTo>
                    <a:pt x="179" y="160"/>
                    <a:pt x="181" y="160"/>
                    <a:pt x="183" y="161"/>
                  </a:cubicBezTo>
                  <a:cubicBezTo>
                    <a:pt x="186" y="162"/>
                    <a:pt x="189" y="164"/>
                    <a:pt x="192" y="165"/>
                  </a:cubicBezTo>
                  <a:cubicBezTo>
                    <a:pt x="194" y="166"/>
                    <a:pt x="195" y="166"/>
                    <a:pt x="194" y="168"/>
                  </a:cubicBezTo>
                  <a:cubicBezTo>
                    <a:pt x="194" y="172"/>
                    <a:pt x="191" y="175"/>
                    <a:pt x="188" y="178"/>
                  </a:cubicBezTo>
                  <a:cubicBezTo>
                    <a:pt x="186" y="180"/>
                    <a:pt x="186" y="182"/>
                    <a:pt x="184" y="184"/>
                  </a:cubicBezTo>
                  <a:cubicBezTo>
                    <a:pt x="183" y="186"/>
                    <a:pt x="182" y="186"/>
                    <a:pt x="180" y="187"/>
                  </a:cubicBezTo>
                  <a:cubicBezTo>
                    <a:pt x="178" y="188"/>
                    <a:pt x="177" y="188"/>
                    <a:pt x="176" y="189"/>
                  </a:cubicBezTo>
                  <a:cubicBezTo>
                    <a:pt x="174" y="191"/>
                    <a:pt x="172" y="192"/>
                    <a:pt x="170" y="194"/>
                  </a:cubicBezTo>
                  <a:cubicBezTo>
                    <a:pt x="169" y="194"/>
                    <a:pt x="168" y="196"/>
                    <a:pt x="166" y="197"/>
                  </a:cubicBezTo>
                  <a:cubicBezTo>
                    <a:pt x="165" y="198"/>
                    <a:pt x="164" y="200"/>
                    <a:pt x="163" y="201"/>
                  </a:cubicBezTo>
                  <a:cubicBezTo>
                    <a:pt x="161" y="203"/>
                    <a:pt x="158" y="204"/>
                    <a:pt x="155" y="204"/>
                  </a:cubicBezTo>
                  <a:cubicBezTo>
                    <a:pt x="152" y="205"/>
                    <a:pt x="151" y="204"/>
                    <a:pt x="149" y="207"/>
                  </a:cubicBezTo>
                  <a:cubicBezTo>
                    <a:pt x="147" y="210"/>
                    <a:pt x="144" y="214"/>
                    <a:pt x="144" y="218"/>
                  </a:cubicBezTo>
                  <a:cubicBezTo>
                    <a:pt x="141" y="219"/>
                    <a:pt x="139" y="220"/>
                    <a:pt x="141" y="223"/>
                  </a:cubicBezTo>
                  <a:cubicBezTo>
                    <a:pt x="141" y="223"/>
                    <a:pt x="143" y="224"/>
                    <a:pt x="144" y="224"/>
                  </a:cubicBezTo>
                  <a:cubicBezTo>
                    <a:pt x="144" y="225"/>
                    <a:pt x="144" y="226"/>
                    <a:pt x="144" y="227"/>
                  </a:cubicBezTo>
                  <a:cubicBezTo>
                    <a:pt x="144" y="229"/>
                    <a:pt x="144" y="232"/>
                    <a:pt x="144" y="235"/>
                  </a:cubicBezTo>
                  <a:cubicBezTo>
                    <a:pt x="144" y="241"/>
                    <a:pt x="146" y="247"/>
                    <a:pt x="145" y="253"/>
                  </a:cubicBezTo>
                  <a:cubicBezTo>
                    <a:pt x="145" y="256"/>
                    <a:pt x="144" y="259"/>
                    <a:pt x="144" y="262"/>
                  </a:cubicBezTo>
                  <a:cubicBezTo>
                    <a:pt x="144" y="265"/>
                    <a:pt x="145" y="271"/>
                    <a:pt x="144" y="274"/>
                  </a:cubicBezTo>
                  <a:cubicBezTo>
                    <a:pt x="143" y="276"/>
                    <a:pt x="141" y="277"/>
                    <a:pt x="139" y="278"/>
                  </a:cubicBezTo>
                  <a:cubicBezTo>
                    <a:pt x="137" y="279"/>
                    <a:pt x="136" y="281"/>
                    <a:pt x="134" y="281"/>
                  </a:cubicBezTo>
                  <a:cubicBezTo>
                    <a:pt x="135" y="286"/>
                    <a:pt x="140" y="288"/>
                    <a:pt x="141" y="293"/>
                  </a:cubicBezTo>
                  <a:cubicBezTo>
                    <a:pt x="141" y="296"/>
                    <a:pt x="139" y="299"/>
                    <a:pt x="137" y="302"/>
                  </a:cubicBezTo>
                  <a:cubicBezTo>
                    <a:pt x="136" y="302"/>
                    <a:pt x="133" y="305"/>
                    <a:pt x="133" y="306"/>
                  </a:cubicBezTo>
                  <a:cubicBezTo>
                    <a:pt x="132" y="308"/>
                    <a:pt x="133" y="311"/>
                    <a:pt x="133" y="313"/>
                  </a:cubicBezTo>
                  <a:cubicBezTo>
                    <a:pt x="132" y="319"/>
                    <a:pt x="122" y="318"/>
                    <a:pt x="117" y="318"/>
                  </a:cubicBezTo>
                  <a:cubicBezTo>
                    <a:pt x="115" y="318"/>
                    <a:pt x="110" y="317"/>
                    <a:pt x="110" y="319"/>
                  </a:cubicBezTo>
                  <a:cubicBezTo>
                    <a:pt x="109" y="321"/>
                    <a:pt x="111" y="323"/>
                    <a:pt x="112" y="324"/>
                  </a:cubicBezTo>
                  <a:cubicBezTo>
                    <a:pt x="113" y="325"/>
                    <a:pt x="114" y="328"/>
                    <a:pt x="115" y="328"/>
                  </a:cubicBezTo>
                  <a:cubicBezTo>
                    <a:pt x="115" y="329"/>
                    <a:pt x="116" y="330"/>
                    <a:pt x="117" y="329"/>
                  </a:cubicBezTo>
                  <a:cubicBezTo>
                    <a:pt x="117" y="329"/>
                    <a:pt x="118" y="329"/>
                    <a:pt x="118" y="329"/>
                  </a:cubicBezTo>
                  <a:cubicBezTo>
                    <a:pt x="118" y="330"/>
                    <a:pt x="119" y="331"/>
                    <a:pt x="119" y="331"/>
                  </a:cubicBezTo>
                  <a:cubicBezTo>
                    <a:pt x="120" y="335"/>
                    <a:pt x="119" y="341"/>
                    <a:pt x="119" y="345"/>
                  </a:cubicBezTo>
                  <a:cubicBezTo>
                    <a:pt x="120" y="344"/>
                    <a:pt x="122" y="345"/>
                    <a:pt x="123" y="346"/>
                  </a:cubicBezTo>
                  <a:cubicBezTo>
                    <a:pt x="124" y="348"/>
                    <a:pt x="123" y="349"/>
                    <a:pt x="123" y="351"/>
                  </a:cubicBezTo>
                  <a:cubicBezTo>
                    <a:pt x="124" y="353"/>
                    <a:pt x="126" y="353"/>
                    <a:pt x="127" y="353"/>
                  </a:cubicBezTo>
                  <a:cubicBezTo>
                    <a:pt x="129" y="354"/>
                    <a:pt x="130" y="354"/>
                    <a:pt x="131" y="355"/>
                  </a:cubicBezTo>
                  <a:cubicBezTo>
                    <a:pt x="132" y="355"/>
                    <a:pt x="133" y="356"/>
                    <a:pt x="133" y="356"/>
                  </a:cubicBezTo>
                  <a:cubicBezTo>
                    <a:pt x="134" y="357"/>
                    <a:pt x="134" y="358"/>
                    <a:pt x="134" y="359"/>
                  </a:cubicBezTo>
                  <a:cubicBezTo>
                    <a:pt x="136" y="363"/>
                    <a:pt x="138" y="370"/>
                    <a:pt x="134" y="374"/>
                  </a:cubicBezTo>
                  <a:cubicBezTo>
                    <a:pt x="132" y="375"/>
                    <a:pt x="130" y="375"/>
                    <a:pt x="128" y="376"/>
                  </a:cubicBezTo>
                  <a:cubicBezTo>
                    <a:pt x="125" y="378"/>
                    <a:pt x="124" y="379"/>
                    <a:pt x="123" y="383"/>
                  </a:cubicBezTo>
                  <a:cubicBezTo>
                    <a:pt x="122" y="386"/>
                    <a:pt x="119" y="389"/>
                    <a:pt x="118" y="393"/>
                  </a:cubicBezTo>
                  <a:cubicBezTo>
                    <a:pt x="118" y="397"/>
                    <a:pt x="120" y="401"/>
                    <a:pt x="122" y="405"/>
                  </a:cubicBezTo>
                  <a:cubicBezTo>
                    <a:pt x="122" y="405"/>
                    <a:pt x="123" y="406"/>
                    <a:pt x="123" y="406"/>
                  </a:cubicBezTo>
                  <a:cubicBezTo>
                    <a:pt x="123" y="407"/>
                    <a:pt x="123" y="408"/>
                    <a:pt x="124" y="409"/>
                  </a:cubicBezTo>
                  <a:cubicBezTo>
                    <a:pt x="124" y="410"/>
                    <a:pt x="125" y="411"/>
                    <a:pt x="125" y="412"/>
                  </a:cubicBezTo>
                  <a:cubicBezTo>
                    <a:pt x="126" y="413"/>
                    <a:pt x="128" y="415"/>
                    <a:pt x="128" y="417"/>
                  </a:cubicBezTo>
                  <a:cubicBezTo>
                    <a:pt x="129" y="419"/>
                    <a:pt x="128" y="420"/>
                    <a:pt x="130" y="421"/>
                  </a:cubicBezTo>
                  <a:cubicBezTo>
                    <a:pt x="132" y="422"/>
                    <a:pt x="134" y="421"/>
                    <a:pt x="135" y="420"/>
                  </a:cubicBezTo>
                  <a:cubicBezTo>
                    <a:pt x="137" y="421"/>
                    <a:pt x="136" y="424"/>
                    <a:pt x="136" y="426"/>
                  </a:cubicBezTo>
                  <a:cubicBezTo>
                    <a:pt x="136" y="429"/>
                    <a:pt x="134" y="430"/>
                    <a:pt x="131" y="431"/>
                  </a:cubicBezTo>
                  <a:cubicBezTo>
                    <a:pt x="130" y="431"/>
                    <a:pt x="130" y="431"/>
                    <a:pt x="129" y="431"/>
                  </a:cubicBezTo>
                  <a:cubicBezTo>
                    <a:pt x="129" y="432"/>
                    <a:pt x="128" y="433"/>
                    <a:pt x="128" y="433"/>
                  </a:cubicBezTo>
                  <a:cubicBezTo>
                    <a:pt x="127" y="434"/>
                    <a:pt x="125" y="434"/>
                    <a:pt x="124" y="434"/>
                  </a:cubicBezTo>
                  <a:cubicBezTo>
                    <a:pt x="121" y="435"/>
                    <a:pt x="118" y="433"/>
                    <a:pt x="118" y="437"/>
                  </a:cubicBezTo>
                  <a:cubicBezTo>
                    <a:pt x="118" y="438"/>
                    <a:pt x="119" y="439"/>
                    <a:pt x="118" y="440"/>
                  </a:cubicBezTo>
                  <a:cubicBezTo>
                    <a:pt x="118" y="441"/>
                    <a:pt x="117" y="442"/>
                    <a:pt x="117" y="443"/>
                  </a:cubicBezTo>
                  <a:cubicBezTo>
                    <a:pt x="117" y="443"/>
                    <a:pt x="117" y="443"/>
                    <a:pt x="116" y="444"/>
                  </a:cubicBezTo>
                  <a:cubicBezTo>
                    <a:pt x="116" y="445"/>
                    <a:pt x="115" y="446"/>
                    <a:pt x="114" y="447"/>
                  </a:cubicBezTo>
                  <a:cubicBezTo>
                    <a:pt x="113" y="448"/>
                    <a:pt x="112" y="450"/>
                    <a:pt x="111" y="451"/>
                  </a:cubicBezTo>
                  <a:cubicBezTo>
                    <a:pt x="111" y="452"/>
                    <a:pt x="110" y="453"/>
                    <a:pt x="110" y="453"/>
                  </a:cubicBezTo>
                  <a:cubicBezTo>
                    <a:pt x="108" y="456"/>
                    <a:pt x="106" y="460"/>
                    <a:pt x="106" y="463"/>
                  </a:cubicBezTo>
                  <a:cubicBezTo>
                    <a:pt x="106" y="465"/>
                    <a:pt x="107" y="466"/>
                    <a:pt x="107" y="467"/>
                  </a:cubicBezTo>
                  <a:cubicBezTo>
                    <a:pt x="107" y="468"/>
                    <a:pt x="107" y="470"/>
                    <a:pt x="108" y="471"/>
                  </a:cubicBezTo>
                  <a:cubicBezTo>
                    <a:pt x="108" y="472"/>
                    <a:pt x="108" y="472"/>
                    <a:pt x="108" y="473"/>
                  </a:cubicBezTo>
                  <a:cubicBezTo>
                    <a:pt x="109" y="473"/>
                    <a:pt x="109" y="473"/>
                    <a:pt x="109" y="473"/>
                  </a:cubicBezTo>
                  <a:cubicBezTo>
                    <a:pt x="109" y="475"/>
                    <a:pt x="109" y="477"/>
                    <a:pt x="109" y="478"/>
                  </a:cubicBezTo>
                  <a:cubicBezTo>
                    <a:pt x="109" y="482"/>
                    <a:pt x="109" y="485"/>
                    <a:pt x="108" y="489"/>
                  </a:cubicBezTo>
                  <a:cubicBezTo>
                    <a:pt x="108" y="491"/>
                    <a:pt x="108" y="493"/>
                    <a:pt x="108" y="495"/>
                  </a:cubicBezTo>
                  <a:cubicBezTo>
                    <a:pt x="109" y="495"/>
                    <a:pt x="111" y="494"/>
                    <a:pt x="113" y="493"/>
                  </a:cubicBezTo>
                  <a:cubicBezTo>
                    <a:pt x="118" y="490"/>
                    <a:pt x="124" y="492"/>
                    <a:pt x="130" y="492"/>
                  </a:cubicBezTo>
                  <a:cubicBezTo>
                    <a:pt x="137" y="491"/>
                    <a:pt x="145" y="493"/>
                    <a:pt x="150" y="497"/>
                  </a:cubicBezTo>
                  <a:cubicBezTo>
                    <a:pt x="153" y="499"/>
                    <a:pt x="154" y="501"/>
                    <a:pt x="157" y="503"/>
                  </a:cubicBezTo>
                  <a:cubicBezTo>
                    <a:pt x="158" y="504"/>
                    <a:pt x="159" y="504"/>
                    <a:pt x="159" y="506"/>
                  </a:cubicBezTo>
                  <a:cubicBezTo>
                    <a:pt x="161" y="510"/>
                    <a:pt x="162" y="512"/>
                    <a:pt x="163" y="516"/>
                  </a:cubicBezTo>
                  <a:cubicBezTo>
                    <a:pt x="164" y="519"/>
                    <a:pt x="165" y="523"/>
                    <a:pt x="165" y="526"/>
                  </a:cubicBezTo>
                  <a:cubicBezTo>
                    <a:pt x="165" y="530"/>
                    <a:pt x="165" y="531"/>
                    <a:pt x="169" y="533"/>
                  </a:cubicBezTo>
                  <a:cubicBezTo>
                    <a:pt x="173" y="535"/>
                    <a:pt x="175" y="534"/>
                    <a:pt x="176" y="538"/>
                  </a:cubicBezTo>
                  <a:cubicBezTo>
                    <a:pt x="177" y="541"/>
                    <a:pt x="176" y="540"/>
                    <a:pt x="178" y="542"/>
                  </a:cubicBezTo>
                  <a:cubicBezTo>
                    <a:pt x="179" y="544"/>
                    <a:pt x="181" y="546"/>
                    <a:pt x="182" y="548"/>
                  </a:cubicBezTo>
                  <a:cubicBezTo>
                    <a:pt x="184" y="552"/>
                    <a:pt x="186" y="555"/>
                    <a:pt x="190" y="557"/>
                  </a:cubicBezTo>
                  <a:cubicBezTo>
                    <a:pt x="196" y="560"/>
                    <a:pt x="202" y="559"/>
                    <a:pt x="205" y="564"/>
                  </a:cubicBezTo>
                  <a:cubicBezTo>
                    <a:pt x="208" y="567"/>
                    <a:pt x="208" y="568"/>
                    <a:pt x="212" y="568"/>
                  </a:cubicBezTo>
                  <a:cubicBezTo>
                    <a:pt x="216" y="568"/>
                    <a:pt x="219" y="569"/>
                    <a:pt x="221" y="566"/>
                  </a:cubicBezTo>
                  <a:cubicBezTo>
                    <a:pt x="222" y="564"/>
                    <a:pt x="222" y="563"/>
                    <a:pt x="224" y="562"/>
                  </a:cubicBezTo>
                  <a:cubicBezTo>
                    <a:pt x="225" y="561"/>
                    <a:pt x="226" y="560"/>
                    <a:pt x="227" y="559"/>
                  </a:cubicBezTo>
                  <a:cubicBezTo>
                    <a:pt x="229" y="557"/>
                    <a:pt x="230" y="554"/>
                    <a:pt x="232" y="552"/>
                  </a:cubicBezTo>
                  <a:cubicBezTo>
                    <a:pt x="236" y="548"/>
                    <a:pt x="242" y="546"/>
                    <a:pt x="247" y="543"/>
                  </a:cubicBezTo>
                  <a:cubicBezTo>
                    <a:pt x="249" y="542"/>
                    <a:pt x="250" y="541"/>
                    <a:pt x="252" y="540"/>
                  </a:cubicBezTo>
                  <a:cubicBezTo>
                    <a:pt x="256" y="538"/>
                    <a:pt x="260" y="536"/>
                    <a:pt x="263" y="534"/>
                  </a:cubicBezTo>
                  <a:cubicBezTo>
                    <a:pt x="265" y="532"/>
                    <a:pt x="266" y="531"/>
                    <a:pt x="268" y="530"/>
                  </a:cubicBezTo>
                  <a:cubicBezTo>
                    <a:pt x="272" y="529"/>
                    <a:pt x="275" y="527"/>
                    <a:pt x="279" y="526"/>
                  </a:cubicBezTo>
                  <a:cubicBezTo>
                    <a:pt x="282" y="525"/>
                    <a:pt x="285" y="525"/>
                    <a:pt x="288" y="524"/>
                  </a:cubicBezTo>
                  <a:cubicBezTo>
                    <a:pt x="290" y="523"/>
                    <a:pt x="292" y="522"/>
                    <a:pt x="295" y="522"/>
                  </a:cubicBezTo>
                  <a:cubicBezTo>
                    <a:pt x="298" y="521"/>
                    <a:pt x="302" y="522"/>
                    <a:pt x="305" y="522"/>
                  </a:cubicBezTo>
                  <a:cubicBezTo>
                    <a:pt x="313" y="522"/>
                    <a:pt x="322" y="523"/>
                    <a:pt x="330" y="522"/>
                  </a:cubicBezTo>
                  <a:cubicBezTo>
                    <a:pt x="333" y="521"/>
                    <a:pt x="336" y="521"/>
                    <a:pt x="339" y="521"/>
                  </a:cubicBezTo>
                  <a:cubicBezTo>
                    <a:pt x="341" y="521"/>
                    <a:pt x="348" y="522"/>
                    <a:pt x="351" y="521"/>
                  </a:cubicBezTo>
                  <a:cubicBezTo>
                    <a:pt x="352" y="523"/>
                    <a:pt x="356" y="522"/>
                    <a:pt x="359" y="522"/>
                  </a:cubicBezTo>
                  <a:cubicBezTo>
                    <a:pt x="362" y="522"/>
                    <a:pt x="363" y="523"/>
                    <a:pt x="366" y="524"/>
                  </a:cubicBezTo>
                  <a:cubicBezTo>
                    <a:pt x="367" y="524"/>
                    <a:pt x="368" y="524"/>
                    <a:pt x="369" y="524"/>
                  </a:cubicBezTo>
                  <a:cubicBezTo>
                    <a:pt x="369" y="524"/>
                    <a:pt x="369" y="525"/>
                    <a:pt x="370" y="526"/>
                  </a:cubicBezTo>
                  <a:cubicBezTo>
                    <a:pt x="372" y="526"/>
                    <a:pt x="373" y="525"/>
                    <a:pt x="374" y="523"/>
                  </a:cubicBezTo>
                  <a:cubicBezTo>
                    <a:pt x="376" y="520"/>
                    <a:pt x="373" y="518"/>
                    <a:pt x="378" y="517"/>
                  </a:cubicBezTo>
                  <a:cubicBezTo>
                    <a:pt x="381" y="516"/>
                    <a:pt x="385" y="516"/>
                    <a:pt x="389" y="517"/>
                  </a:cubicBezTo>
                  <a:cubicBezTo>
                    <a:pt x="392" y="517"/>
                    <a:pt x="396" y="518"/>
                    <a:pt x="399" y="517"/>
                  </a:cubicBezTo>
                  <a:cubicBezTo>
                    <a:pt x="401" y="517"/>
                    <a:pt x="405" y="517"/>
                    <a:pt x="406" y="516"/>
                  </a:cubicBezTo>
                  <a:cubicBezTo>
                    <a:pt x="409" y="513"/>
                    <a:pt x="410" y="508"/>
                    <a:pt x="411" y="505"/>
                  </a:cubicBezTo>
                  <a:cubicBezTo>
                    <a:pt x="413" y="499"/>
                    <a:pt x="415" y="494"/>
                    <a:pt x="416" y="488"/>
                  </a:cubicBezTo>
                  <a:cubicBezTo>
                    <a:pt x="416" y="484"/>
                    <a:pt x="418" y="481"/>
                    <a:pt x="421" y="479"/>
                  </a:cubicBezTo>
                  <a:cubicBezTo>
                    <a:pt x="423" y="477"/>
                    <a:pt x="424" y="477"/>
                    <a:pt x="426" y="477"/>
                  </a:cubicBezTo>
                  <a:cubicBezTo>
                    <a:pt x="428" y="477"/>
                    <a:pt x="432" y="477"/>
                    <a:pt x="433" y="476"/>
                  </a:cubicBezTo>
                  <a:cubicBezTo>
                    <a:pt x="434" y="476"/>
                    <a:pt x="437" y="473"/>
                    <a:pt x="437" y="473"/>
                  </a:cubicBezTo>
                  <a:cubicBezTo>
                    <a:pt x="438" y="471"/>
                    <a:pt x="436" y="467"/>
                    <a:pt x="438" y="466"/>
                  </a:cubicBezTo>
                  <a:cubicBezTo>
                    <a:pt x="440" y="463"/>
                    <a:pt x="447" y="463"/>
                    <a:pt x="451" y="463"/>
                  </a:cubicBezTo>
                  <a:cubicBezTo>
                    <a:pt x="453" y="462"/>
                    <a:pt x="455" y="462"/>
                    <a:pt x="458" y="462"/>
                  </a:cubicBezTo>
                  <a:cubicBezTo>
                    <a:pt x="461" y="462"/>
                    <a:pt x="464" y="461"/>
                    <a:pt x="467" y="460"/>
                  </a:cubicBezTo>
                  <a:cubicBezTo>
                    <a:pt x="470" y="458"/>
                    <a:pt x="474" y="457"/>
                    <a:pt x="476" y="455"/>
                  </a:cubicBezTo>
                  <a:cubicBezTo>
                    <a:pt x="479" y="453"/>
                    <a:pt x="477" y="453"/>
                    <a:pt x="475" y="452"/>
                  </a:cubicBezTo>
                  <a:cubicBezTo>
                    <a:pt x="474" y="451"/>
                    <a:pt x="472" y="449"/>
                    <a:pt x="472" y="448"/>
                  </a:cubicBezTo>
                  <a:cubicBezTo>
                    <a:pt x="471" y="446"/>
                    <a:pt x="471" y="446"/>
                    <a:pt x="471" y="445"/>
                  </a:cubicBezTo>
                  <a:cubicBezTo>
                    <a:pt x="471" y="444"/>
                    <a:pt x="471" y="443"/>
                    <a:pt x="472" y="442"/>
                  </a:cubicBezTo>
                  <a:cubicBezTo>
                    <a:pt x="472" y="439"/>
                    <a:pt x="472" y="439"/>
                    <a:pt x="475" y="437"/>
                  </a:cubicBezTo>
                  <a:cubicBezTo>
                    <a:pt x="477" y="435"/>
                    <a:pt x="478" y="432"/>
                    <a:pt x="480" y="429"/>
                  </a:cubicBezTo>
                  <a:cubicBezTo>
                    <a:pt x="481" y="427"/>
                    <a:pt x="483" y="426"/>
                    <a:pt x="484" y="424"/>
                  </a:cubicBezTo>
                  <a:cubicBezTo>
                    <a:pt x="486" y="421"/>
                    <a:pt x="487" y="420"/>
                    <a:pt x="487" y="417"/>
                  </a:cubicBezTo>
                  <a:cubicBezTo>
                    <a:pt x="487" y="414"/>
                    <a:pt x="486" y="412"/>
                    <a:pt x="489" y="409"/>
                  </a:cubicBezTo>
                  <a:cubicBezTo>
                    <a:pt x="493" y="407"/>
                    <a:pt x="497" y="404"/>
                    <a:pt x="502" y="403"/>
                  </a:cubicBezTo>
                  <a:cubicBezTo>
                    <a:pt x="506" y="402"/>
                    <a:pt x="511" y="404"/>
                    <a:pt x="515" y="403"/>
                  </a:cubicBezTo>
                  <a:cubicBezTo>
                    <a:pt x="516" y="400"/>
                    <a:pt x="513" y="397"/>
                    <a:pt x="513" y="394"/>
                  </a:cubicBezTo>
                  <a:cubicBezTo>
                    <a:pt x="513" y="389"/>
                    <a:pt x="518" y="390"/>
                    <a:pt x="521" y="387"/>
                  </a:cubicBezTo>
                  <a:cubicBezTo>
                    <a:pt x="525" y="385"/>
                    <a:pt x="524" y="381"/>
                    <a:pt x="522" y="378"/>
                  </a:cubicBezTo>
                  <a:cubicBezTo>
                    <a:pt x="519" y="373"/>
                    <a:pt x="511" y="373"/>
                    <a:pt x="507" y="369"/>
                  </a:cubicBezTo>
                  <a:cubicBezTo>
                    <a:pt x="506" y="368"/>
                    <a:pt x="506" y="367"/>
                    <a:pt x="505" y="366"/>
                  </a:cubicBezTo>
                  <a:cubicBezTo>
                    <a:pt x="503" y="364"/>
                    <a:pt x="500" y="363"/>
                    <a:pt x="499" y="360"/>
                  </a:cubicBezTo>
                  <a:cubicBezTo>
                    <a:pt x="496" y="356"/>
                    <a:pt x="496" y="351"/>
                    <a:pt x="496" y="346"/>
                  </a:cubicBezTo>
                  <a:cubicBezTo>
                    <a:pt x="497" y="344"/>
                    <a:pt x="496" y="342"/>
                    <a:pt x="496" y="341"/>
                  </a:cubicBezTo>
                  <a:cubicBezTo>
                    <a:pt x="494" y="337"/>
                    <a:pt x="494" y="333"/>
                    <a:pt x="493" y="328"/>
                  </a:cubicBezTo>
                  <a:cubicBezTo>
                    <a:pt x="493" y="326"/>
                    <a:pt x="494" y="323"/>
                    <a:pt x="494" y="321"/>
                  </a:cubicBezTo>
                  <a:cubicBezTo>
                    <a:pt x="495" y="318"/>
                    <a:pt x="498" y="311"/>
                    <a:pt x="500" y="309"/>
                  </a:cubicBezTo>
                  <a:cubicBezTo>
                    <a:pt x="500" y="311"/>
                    <a:pt x="501" y="312"/>
                    <a:pt x="500" y="313"/>
                  </a:cubicBezTo>
                  <a:cubicBezTo>
                    <a:pt x="504" y="310"/>
                    <a:pt x="507" y="306"/>
                    <a:pt x="509" y="301"/>
                  </a:cubicBezTo>
                  <a:cubicBezTo>
                    <a:pt x="510" y="298"/>
                    <a:pt x="512" y="293"/>
                    <a:pt x="514" y="290"/>
                  </a:cubicBezTo>
                  <a:cubicBezTo>
                    <a:pt x="518" y="285"/>
                    <a:pt x="524" y="279"/>
                    <a:pt x="529" y="275"/>
                  </a:cubicBezTo>
                  <a:cubicBezTo>
                    <a:pt x="533" y="272"/>
                    <a:pt x="535" y="269"/>
                    <a:pt x="538" y="265"/>
                  </a:cubicBezTo>
                  <a:cubicBezTo>
                    <a:pt x="541" y="262"/>
                    <a:pt x="545" y="259"/>
                    <a:pt x="547" y="255"/>
                  </a:cubicBezTo>
                  <a:cubicBezTo>
                    <a:pt x="551" y="251"/>
                    <a:pt x="555" y="246"/>
                    <a:pt x="557" y="241"/>
                  </a:cubicBezTo>
                  <a:cubicBezTo>
                    <a:pt x="557" y="240"/>
                    <a:pt x="558" y="240"/>
                    <a:pt x="558" y="238"/>
                  </a:cubicBezTo>
                  <a:cubicBezTo>
                    <a:pt x="558" y="236"/>
                    <a:pt x="556" y="237"/>
                    <a:pt x="555" y="235"/>
                  </a:cubicBezTo>
                  <a:cubicBezTo>
                    <a:pt x="555" y="232"/>
                    <a:pt x="561" y="230"/>
                    <a:pt x="563" y="228"/>
                  </a:cubicBezTo>
                  <a:cubicBezTo>
                    <a:pt x="568" y="226"/>
                    <a:pt x="573" y="223"/>
                    <a:pt x="578" y="221"/>
                  </a:cubicBezTo>
                  <a:cubicBezTo>
                    <a:pt x="583" y="218"/>
                    <a:pt x="588" y="215"/>
                    <a:pt x="593" y="213"/>
                  </a:cubicBezTo>
                  <a:cubicBezTo>
                    <a:pt x="598" y="211"/>
                    <a:pt x="602" y="209"/>
                    <a:pt x="606" y="206"/>
                  </a:cubicBezTo>
                  <a:cubicBezTo>
                    <a:pt x="610" y="204"/>
                    <a:pt x="615" y="204"/>
                    <a:pt x="619" y="203"/>
                  </a:cubicBezTo>
                  <a:cubicBezTo>
                    <a:pt x="623" y="202"/>
                    <a:pt x="627" y="200"/>
                    <a:pt x="631" y="200"/>
                  </a:cubicBezTo>
                  <a:cubicBezTo>
                    <a:pt x="635" y="199"/>
                    <a:pt x="638" y="196"/>
                    <a:pt x="639" y="192"/>
                  </a:cubicBezTo>
                  <a:cubicBezTo>
                    <a:pt x="639" y="191"/>
                    <a:pt x="639" y="187"/>
                    <a:pt x="637" y="187"/>
                  </a:cubicBezTo>
                  <a:cubicBezTo>
                    <a:pt x="640" y="187"/>
                    <a:pt x="643" y="187"/>
                    <a:pt x="646" y="187"/>
                  </a:cubicBezTo>
                  <a:cubicBezTo>
                    <a:pt x="647" y="187"/>
                    <a:pt x="649" y="187"/>
                    <a:pt x="650" y="187"/>
                  </a:cubicBezTo>
                  <a:cubicBezTo>
                    <a:pt x="652" y="187"/>
                    <a:pt x="652" y="186"/>
                    <a:pt x="654" y="186"/>
                  </a:cubicBezTo>
                  <a:cubicBezTo>
                    <a:pt x="657" y="185"/>
                    <a:pt x="661" y="184"/>
                    <a:pt x="664" y="183"/>
                  </a:cubicBezTo>
                  <a:cubicBezTo>
                    <a:pt x="666" y="181"/>
                    <a:pt x="670" y="180"/>
                    <a:pt x="671" y="178"/>
                  </a:cubicBezTo>
                  <a:cubicBezTo>
                    <a:pt x="673" y="175"/>
                    <a:pt x="670" y="172"/>
                    <a:pt x="674" y="171"/>
                  </a:cubicBezTo>
                  <a:cubicBezTo>
                    <a:pt x="677" y="170"/>
                    <a:pt x="681" y="172"/>
                    <a:pt x="684" y="172"/>
                  </a:cubicBezTo>
                  <a:cubicBezTo>
                    <a:pt x="688" y="172"/>
                    <a:pt x="692" y="170"/>
                    <a:pt x="696" y="169"/>
                  </a:cubicBezTo>
                  <a:cubicBezTo>
                    <a:pt x="698" y="169"/>
                    <a:pt x="701" y="169"/>
                    <a:pt x="703" y="169"/>
                  </a:cubicBezTo>
                  <a:cubicBezTo>
                    <a:pt x="704" y="166"/>
                    <a:pt x="703" y="164"/>
                    <a:pt x="703" y="161"/>
                  </a:cubicBezTo>
                  <a:cubicBezTo>
                    <a:pt x="703" y="156"/>
                    <a:pt x="710" y="154"/>
                    <a:pt x="715" y="152"/>
                  </a:cubicBezTo>
                  <a:cubicBezTo>
                    <a:pt x="720" y="149"/>
                    <a:pt x="728" y="146"/>
                    <a:pt x="731" y="142"/>
                  </a:cubicBezTo>
                  <a:cubicBezTo>
                    <a:pt x="732" y="139"/>
                    <a:pt x="731" y="136"/>
                    <a:pt x="731" y="134"/>
                  </a:cubicBezTo>
                  <a:cubicBezTo>
                    <a:pt x="730" y="132"/>
                    <a:pt x="730" y="129"/>
                    <a:pt x="729" y="126"/>
                  </a:cubicBezTo>
                  <a:cubicBezTo>
                    <a:pt x="729" y="125"/>
                    <a:pt x="728" y="123"/>
                    <a:pt x="728" y="122"/>
                  </a:cubicBezTo>
                  <a:cubicBezTo>
                    <a:pt x="727" y="120"/>
                    <a:pt x="726" y="120"/>
                    <a:pt x="725" y="119"/>
                  </a:cubicBezTo>
                  <a:cubicBezTo>
                    <a:pt x="722" y="116"/>
                    <a:pt x="727" y="100"/>
                    <a:pt x="731" y="104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4" name="Freeform 94"/>
            <p:cNvSpPr>
              <a:spLocks/>
            </p:cNvSpPr>
            <p:nvPr/>
          </p:nvSpPr>
          <p:spPr bwMode="auto">
            <a:xfrm>
              <a:off x="3575050" y="6048375"/>
              <a:ext cx="119063" cy="93663"/>
            </a:xfrm>
            <a:custGeom>
              <a:avLst/>
              <a:gdLst/>
              <a:ahLst/>
              <a:cxnLst>
                <a:cxn ang="0">
                  <a:pos x="45" y="13"/>
                </a:cxn>
                <a:cxn ang="0">
                  <a:pos x="41" y="6"/>
                </a:cxn>
                <a:cxn ang="0">
                  <a:pos x="40" y="5"/>
                </a:cxn>
                <a:cxn ang="0">
                  <a:pos x="43" y="2"/>
                </a:cxn>
                <a:cxn ang="0">
                  <a:pos x="43" y="1"/>
                </a:cxn>
                <a:cxn ang="0">
                  <a:pos x="32" y="5"/>
                </a:cxn>
                <a:cxn ang="0">
                  <a:pos x="27" y="8"/>
                </a:cxn>
                <a:cxn ang="0">
                  <a:pos x="22" y="10"/>
                </a:cxn>
                <a:cxn ang="0">
                  <a:pos x="17" y="14"/>
                </a:cxn>
                <a:cxn ang="0">
                  <a:pos x="8" y="19"/>
                </a:cxn>
                <a:cxn ang="0">
                  <a:pos x="4" y="22"/>
                </a:cxn>
                <a:cxn ang="0">
                  <a:pos x="1" y="25"/>
                </a:cxn>
                <a:cxn ang="0">
                  <a:pos x="0" y="27"/>
                </a:cxn>
                <a:cxn ang="0">
                  <a:pos x="1" y="30"/>
                </a:cxn>
                <a:cxn ang="0">
                  <a:pos x="5" y="32"/>
                </a:cxn>
                <a:cxn ang="0">
                  <a:pos x="9" y="33"/>
                </a:cxn>
                <a:cxn ang="0">
                  <a:pos x="12" y="29"/>
                </a:cxn>
                <a:cxn ang="0">
                  <a:pos x="13" y="27"/>
                </a:cxn>
                <a:cxn ang="0">
                  <a:pos x="17" y="30"/>
                </a:cxn>
                <a:cxn ang="0">
                  <a:pos x="19" y="32"/>
                </a:cxn>
                <a:cxn ang="0">
                  <a:pos x="20" y="34"/>
                </a:cxn>
                <a:cxn ang="0">
                  <a:pos x="21" y="35"/>
                </a:cxn>
                <a:cxn ang="0">
                  <a:pos x="21" y="38"/>
                </a:cxn>
                <a:cxn ang="0">
                  <a:pos x="23" y="40"/>
                </a:cxn>
                <a:cxn ang="0">
                  <a:pos x="24" y="41"/>
                </a:cxn>
                <a:cxn ang="0">
                  <a:pos x="24" y="41"/>
                </a:cxn>
                <a:cxn ang="0">
                  <a:pos x="27" y="44"/>
                </a:cxn>
                <a:cxn ang="0">
                  <a:pos x="31" y="43"/>
                </a:cxn>
                <a:cxn ang="0">
                  <a:pos x="34" y="44"/>
                </a:cxn>
                <a:cxn ang="0">
                  <a:pos x="35" y="45"/>
                </a:cxn>
                <a:cxn ang="0">
                  <a:pos x="37" y="47"/>
                </a:cxn>
                <a:cxn ang="0">
                  <a:pos x="38" y="49"/>
                </a:cxn>
                <a:cxn ang="0">
                  <a:pos x="39" y="50"/>
                </a:cxn>
                <a:cxn ang="0">
                  <a:pos x="40" y="50"/>
                </a:cxn>
                <a:cxn ang="0">
                  <a:pos x="41" y="47"/>
                </a:cxn>
                <a:cxn ang="0">
                  <a:pos x="45" y="44"/>
                </a:cxn>
                <a:cxn ang="0">
                  <a:pos x="48" y="44"/>
                </a:cxn>
                <a:cxn ang="0">
                  <a:pos x="51" y="42"/>
                </a:cxn>
                <a:cxn ang="0">
                  <a:pos x="51" y="37"/>
                </a:cxn>
                <a:cxn ang="0">
                  <a:pos x="52" y="34"/>
                </a:cxn>
                <a:cxn ang="0">
                  <a:pos x="54" y="30"/>
                </a:cxn>
                <a:cxn ang="0">
                  <a:pos x="58" y="28"/>
                </a:cxn>
                <a:cxn ang="0">
                  <a:pos x="60" y="24"/>
                </a:cxn>
                <a:cxn ang="0">
                  <a:pos x="62" y="18"/>
                </a:cxn>
                <a:cxn ang="0">
                  <a:pos x="53" y="14"/>
                </a:cxn>
                <a:cxn ang="0">
                  <a:pos x="52" y="15"/>
                </a:cxn>
                <a:cxn ang="0">
                  <a:pos x="50" y="16"/>
                </a:cxn>
                <a:cxn ang="0">
                  <a:pos x="49" y="17"/>
                </a:cxn>
                <a:cxn ang="0">
                  <a:pos x="47" y="15"/>
                </a:cxn>
                <a:cxn ang="0">
                  <a:pos x="46" y="13"/>
                </a:cxn>
                <a:cxn ang="0">
                  <a:pos x="45" y="13"/>
                </a:cxn>
              </a:cxnLst>
              <a:rect l="0" t="0" r="r" b="b"/>
              <a:pathLst>
                <a:path w="63" h="50">
                  <a:moveTo>
                    <a:pt x="45" y="13"/>
                  </a:moveTo>
                  <a:cubicBezTo>
                    <a:pt x="45" y="11"/>
                    <a:pt x="45" y="6"/>
                    <a:pt x="41" y="6"/>
                  </a:cubicBezTo>
                  <a:cubicBezTo>
                    <a:pt x="41" y="6"/>
                    <a:pt x="40" y="6"/>
                    <a:pt x="40" y="5"/>
                  </a:cubicBezTo>
                  <a:cubicBezTo>
                    <a:pt x="41" y="3"/>
                    <a:pt x="42" y="3"/>
                    <a:pt x="43" y="2"/>
                  </a:cubicBezTo>
                  <a:cubicBezTo>
                    <a:pt x="43" y="2"/>
                    <a:pt x="44" y="2"/>
                    <a:pt x="43" y="1"/>
                  </a:cubicBezTo>
                  <a:cubicBezTo>
                    <a:pt x="39" y="0"/>
                    <a:pt x="36" y="2"/>
                    <a:pt x="32" y="5"/>
                  </a:cubicBezTo>
                  <a:cubicBezTo>
                    <a:pt x="31" y="6"/>
                    <a:pt x="29" y="7"/>
                    <a:pt x="27" y="8"/>
                  </a:cubicBezTo>
                  <a:cubicBezTo>
                    <a:pt x="25" y="9"/>
                    <a:pt x="23" y="9"/>
                    <a:pt x="22" y="10"/>
                  </a:cubicBezTo>
                  <a:cubicBezTo>
                    <a:pt x="20" y="11"/>
                    <a:pt x="19" y="13"/>
                    <a:pt x="17" y="14"/>
                  </a:cubicBezTo>
                  <a:cubicBezTo>
                    <a:pt x="14" y="15"/>
                    <a:pt x="11" y="17"/>
                    <a:pt x="8" y="19"/>
                  </a:cubicBezTo>
                  <a:cubicBezTo>
                    <a:pt x="6" y="20"/>
                    <a:pt x="5" y="20"/>
                    <a:pt x="4" y="22"/>
                  </a:cubicBezTo>
                  <a:cubicBezTo>
                    <a:pt x="3" y="23"/>
                    <a:pt x="2" y="23"/>
                    <a:pt x="1" y="25"/>
                  </a:cubicBezTo>
                  <a:cubicBezTo>
                    <a:pt x="1" y="26"/>
                    <a:pt x="0" y="26"/>
                    <a:pt x="0" y="27"/>
                  </a:cubicBezTo>
                  <a:cubicBezTo>
                    <a:pt x="0" y="28"/>
                    <a:pt x="1" y="29"/>
                    <a:pt x="1" y="30"/>
                  </a:cubicBezTo>
                  <a:cubicBezTo>
                    <a:pt x="2" y="31"/>
                    <a:pt x="3" y="31"/>
                    <a:pt x="5" y="32"/>
                  </a:cubicBezTo>
                  <a:cubicBezTo>
                    <a:pt x="6" y="32"/>
                    <a:pt x="7" y="34"/>
                    <a:pt x="9" y="33"/>
                  </a:cubicBezTo>
                  <a:cubicBezTo>
                    <a:pt x="10" y="32"/>
                    <a:pt x="11" y="31"/>
                    <a:pt x="12" y="29"/>
                  </a:cubicBezTo>
                  <a:cubicBezTo>
                    <a:pt x="12" y="29"/>
                    <a:pt x="13" y="28"/>
                    <a:pt x="13" y="27"/>
                  </a:cubicBezTo>
                  <a:cubicBezTo>
                    <a:pt x="16" y="26"/>
                    <a:pt x="16" y="28"/>
                    <a:pt x="17" y="30"/>
                  </a:cubicBezTo>
                  <a:cubicBezTo>
                    <a:pt x="18" y="30"/>
                    <a:pt x="18" y="31"/>
                    <a:pt x="19" y="32"/>
                  </a:cubicBezTo>
                  <a:cubicBezTo>
                    <a:pt x="20" y="32"/>
                    <a:pt x="20" y="33"/>
                    <a:pt x="20" y="34"/>
                  </a:cubicBezTo>
                  <a:cubicBezTo>
                    <a:pt x="21" y="34"/>
                    <a:pt x="21" y="35"/>
                    <a:pt x="21" y="35"/>
                  </a:cubicBezTo>
                  <a:cubicBezTo>
                    <a:pt x="21" y="36"/>
                    <a:pt x="21" y="37"/>
                    <a:pt x="21" y="38"/>
                  </a:cubicBezTo>
                  <a:cubicBezTo>
                    <a:pt x="21" y="39"/>
                    <a:pt x="22" y="39"/>
                    <a:pt x="23" y="40"/>
                  </a:cubicBezTo>
                  <a:cubicBezTo>
                    <a:pt x="23" y="40"/>
                    <a:pt x="24" y="40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5" y="42"/>
                    <a:pt x="26" y="43"/>
                    <a:pt x="27" y="44"/>
                  </a:cubicBezTo>
                  <a:cubicBezTo>
                    <a:pt x="28" y="44"/>
                    <a:pt x="29" y="43"/>
                    <a:pt x="31" y="43"/>
                  </a:cubicBezTo>
                  <a:cubicBezTo>
                    <a:pt x="32" y="43"/>
                    <a:pt x="33" y="43"/>
                    <a:pt x="34" y="44"/>
                  </a:cubicBezTo>
                  <a:cubicBezTo>
                    <a:pt x="34" y="44"/>
                    <a:pt x="34" y="45"/>
                    <a:pt x="35" y="45"/>
                  </a:cubicBezTo>
                  <a:cubicBezTo>
                    <a:pt x="36" y="46"/>
                    <a:pt x="36" y="46"/>
                    <a:pt x="37" y="47"/>
                  </a:cubicBezTo>
                  <a:cubicBezTo>
                    <a:pt x="37" y="48"/>
                    <a:pt x="37" y="49"/>
                    <a:pt x="38" y="49"/>
                  </a:cubicBezTo>
                  <a:cubicBezTo>
                    <a:pt x="38" y="50"/>
                    <a:pt x="38" y="50"/>
                    <a:pt x="39" y="50"/>
                  </a:cubicBezTo>
                  <a:cubicBezTo>
                    <a:pt x="39" y="50"/>
                    <a:pt x="40" y="50"/>
                    <a:pt x="40" y="50"/>
                  </a:cubicBezTo>
                  <a:cubicBezTo>
                    <a:pt x="40" y="49"/>
                    <a:pt x="41" y="48"/>
                    <a:pt x="41" y="47"/>
                  </a:cubicBezTo>
                  <a:cubicBezTo>
                    <a:pt x="42" y="46"/>
                    <a:pt x="44" y="45"/>
                    <a:pt x="45" y="44"/>
                  </a:cubicBezTo>
                  <a:cubicBezTo>
                    <a:pt x="46" y="44"/>
                    <a:pt x="47" y="44"/>
                    <a:pt x="48" y="44"/>
                  </a:cubicBezTo>
                  <a:cubicBezTo>
                    <a:pt x="49" y="44"/>
                    <a:pt x="50" y="43"/>
                    <a:pt x="51" y="42"/>
                  </a:cubicBezTo>
                  <a:cubicBezTo>
                    <a:pt x="53" y="41"/>
                    <a:pt x="52" y="39"/>
                    <a:pt x="51" y="37"/>
                  </a:cubicBezTo>
                  <a:cubicBezTo>
                    <a:pt x="50" y="36"/>
                    <a:pt x="51" y="35"/>
                    <a:pt x="52" y="34"/>
                  </a:cubicBezTo>
                  <a:cubicBezTo>
                    <a:pt x="53" y="33"/>
                    <a:pt x="53" y="31"/>
                    <a:pt x="54" y="30"/>
                  </a:cubicBezTo>
                  <a:cubicBezTo>
                    <a:pt x="55" y="29"/>
                    <a:pt x="57" y="29"/>
                    <a:pt x="58" y="28"/>
                  </a:cubicBezTo>
                  <a:cubicBezTo>
                    <a:pt x="59" y="27"/>
                    <a:pt x="59" y="25"/>
                    <a:pt x="60" y="24"/>
                  </a:cubicBezTo>
                  <a:cubicBezTo>
                    <a:pt x="61" y="22"/>
                    <a:pt x="63" y="20"/>
                    <a:pt x="62" y="18"/>
                  </a:cubicBezTo>
                  <a:cubicBezTo>
                    <a:pt x="61" y="14"/>
                    <a:pt x="56" y="12"/>
                    <a:pt x="53" y="14"/>
                  </a:cubicBezTo>
                  <a:cubicBezTo>
                    <a:pt x="53" y="14"/>
                    <a:pt x="53" y="15"/>
                    <a:pt x="52" y="15"/>
                  </a:cubicBezTo>
                  <a:cubicBezTo>
                    <a:pt x="51" y="15"/>
                    <a:pt x="51" y="16"/>
                    <a:pt x="50" y="16"/>
                  </a:cubicBezTo>
                  <a:cubicBezTo>
                    <a:pt x="50" y="17"/>
                    <a:pt x="50" y="17"/>
                    <a:pt x="49" y="17"/>
                  </a:cubicBezTo>
                  <a:cubicBezTo>
                    <a:pt x="48" y="17"/>
                    <a:pt x="48" y="16"/>
                    <a:pt x="47" y="15"/>
                  </a:cubicBezTo>
                  <a:cubicBezTo>
                    <a:pt x="47" y="14"/>
                    <a:pt x="46" y="13"/>
                    <a:pt x="46" y="13"/>
                  </a:cubicBezTo>
                  <a:lnTo>
                    <a:pt x="45" y="1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5" name="Freeform 95"/>
            <p:cNvSpPr>
              <a:spLocks/>
            </p:cNvSpPr>
            <p:nvPr/>
          </p:nvSpPr>
          <p:spPr bwMode="auto">
            <a:xfrm>
              <a:off x="3721100" y="6029325"/>
              <a:ext cx="57150" cy="41275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1" y="11"/>
                </a:cxn>
                <a:cxn ang="0">
                  <a:pos x="1" y="13"/>
                </a:cxn>
                <a:cxn ang="0">
                  <a:pos x="4" y="12"/>
                </a:cxn>
                <a:cxn ang="0">
                  <a:pos x="8" y="12"/>
                </a:cxn>
                <a:cxn ang="0">
                  <a:pos x="9" y="12"/>
                </a:cxn>
                <a:cxn ang="0">
                  <a:pos x="12" y="14"/>
                </a:cxn>
                <a:cxn ang="0">
                  <a:pos x="24" y="20"/>
                </a:cxn>
                <a:cxn ang="0">
                  <a:pos x="27" y="21"/>
                </a:cxn>
                <a:cxn ang="0">
                  <a:pos x="28" y="21"/>
                </a:cxn>
                <a:cxn ang="0">
                  <a:pos x="29" y="16"/>
                </a:cxn>
                <a:cxn ang="0">
                  <a:pos x="27" y="12"/>
                </a:cxn>
                <a:cxn ang="0">
                  <a:pos x="25" y="9"/>
                </a:cxn>
                <a:cxn ang="0">
                  <a:pos x="24" y="5"/>
                </a:cxn>
                <a:cxn ang="0">
                  <a:pos x="21" y="3"/>
                </a:cxn>
                <a:cxn ang="0">
                  <a:pos x="16" y="0"/>
                </a:cxn>
                <a:cxn ang="0">
                  <a:pos x="4" y="3"/>
                </a:cxn>
              </a:cxnLst>
              <a:rect l="0" t="0" r="r" b="b"/>
              <a:pathLst>
                <a:path w="30" h="22">
                  <a:moveTo>
                    <a:pt x="4" y="3"/>
                  </a:moveTo>
                  <a:cubicBezTo>
                    <a:pt x="3" y="3"/>
                    <a:pt x="0" y="3"/>
                    <a:pt x="0" y="4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1" y="7"/>
                    <a:pt x="1" y="9"/>
                    <a:pt x="1" y="11"/>
                  </a:cubicBezTo>
                  <a:cubicBezTo>
                    <a:pt x="1" y="12"/>
                    <a:pt x="1" y="12"/>
                    <a:pt x="1" y="13"/>
                  </a:cubicBezTo>
                  <a:cubicBezTo>
                    <a:pt x="2" y="14"/>
                    <a:pt x="3" y="13"/>
                    <a:pt x="4" y="12"/>
                  </a:cubicBezTo>
                  <a:cubicBezTo>
                    <a:pt x="6" y="12"/>
                    <a:pt x="7" y="12"/>
                    <a:pt x="8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10" y="13"/>
                    <a:pt x="11" y="13"/>
                    <a:pt x="12" y="14"/>
                  </a:cubicBezTo>
                  <a:cubicBezTo>
                    <a:pt x="15" y="18"/>
                    <a:pt x="20" y="18"/>
                    <a:pt x="24" y="20"/>
                  </a:cubicBezTo>
                  <a:cubicBezTo>
                    <a:pt x="25" y="20"/>
                    <a:pt x="26" y="21"/>
                    <a:pt x="27" y="21"/>
                  </a:cubicBezTo>
                  <a:cubicBezTo>
                    <a:pt x="27" y="21"/>
                    <a:pt x="28" y="22"/>
                    <a:pt x="28" y="21"/>
                  </a:cubicBezTo>
                  <a:cubicBezTo>
                    <a:pt x="30" y="21"/>
                    <a:pt x="30" y="17"/>
                    <a:pt x="29" y="16"/>
                  </a:cubicBezTo>
                  <a:cubicBezTo>
                    <a:pt x="29" y="14"/>
                    <a:pt x="28" y="13"/>
                    <a:pt x="27" y="12"/>
                  </a:cubicBezTo>
                  <a:cubicBezTo>
                    <a:pt x="26" y="11"/>
                    <a:pt x="26" y="10"/>
                    <a:pt x="25" y="9"/>
                  </a:cubicBezTo>
                  <a:cubicBezTo>
                    <a:pt x="25" y="8"/>
                    <a:pt x="24" y="7"/>
                    <a:pt x="24" y="5"/>
                  </a:cubicBezTo>
                  <a:cubicBezTo>
                    <a:pt x="23" y="4"/>
                    <a:pt x="22" y="4"/>
                    <a:pt x="21" y="3"/>
                  </a:cubicBezTo>
                  <a:cubicBezTo>
                    <a:pt x="19" y="1"/>
                    <a:pt x="18" y="0"/>
                    <a:pt x="16" y="0"/>
                  </a:cubicBezTo>
                  <a:lnTo>
                    <a:pt x="4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6" name="Freeform 96"/>
            <p:cNvSpPr>
              <a:spLocks/>
            </p:cNvSpPr>
            <p:nvPr/>
          </p:nvSpPr>
          <p:spPr bwMode="auto">
            <a:xfrm>
              <a:off x="3455988" y="6162675"/>
              <a:ext cx="47625" cy="38100"/>
            </a:xfrm>
            <a:custGeom>
              <a:avLst/>
              <a:gdLst/>
              <a:ahLst/>
              <a:cxnLst>
                <a:cxn ang="0">
                  <a:pos x="25" y="2"/>
                </a:cxn>
                <a:cxn ang="0">
                  <a:pos x="24" y="1"/>
                </a:cxn>
                <a:cxn ang="0">
                  <a:pos x="18" y="1"/>
                </a:cxn>
                <a:cxn ang="0">
                  <a:pos x="16" y="2"/>
                </a:cxn>
                <a:cxn ang="0">
                  <a:pos x="13" y="4"/>
                </a:cxn>
                <a:cxn ang="0">
                  <a:pos x="8" y="7"/>
                </a:cxn>
                <a:cxn ang="0">
                  <a:pos x="4" y="10"/>
                </a:cxn>
                <a:cxn ang="0">
                  <a:pos x="1" y="17"/>
                </a:cxn>
                <a:cxn ang="0">
                  <a:pos x="12" y="18"/>
                </a:cxn>
                <a:cxn ang="0">
                  <a:pos x="21" y="13"/>
                </a:cxn>
                <a:cxn ang="0">
                  <a:pos x="24" y="8"/>
                </a:cxn>
                <a:cxn ang="0">
                  <a:pos x="23" y="5"/>
                </a:cxn>
                <a:cxn ang="0">
                  <a:pos x="22" y="2"/>
                </a:cxn>
                <a:cxn ang="0">
                  <a:pos x="25" y="2"/>
                </a:cxn>
              </a:cxnLst>
              <a:rect l="0" t="0" r="r" b="b"/>
              <a:pathLst>
                <a:path w="25" h="20">
                  <a:moveTo>
                    <a:pt x="25" y="2"/>
                  </a:moveTo>
                  <a:cubicBezTo>
                    <a:pt x="25" y="1"/>
                    <a:pt x="25" y="1"/>
                    <a:pt x="24" y="1"/>
                  </a:cubicBezTo>
                  <a:cubicBezTo>
                    <a:pt x="22" y="0"/>
                    <a:pt x="20" y="1"/>
                    <a:pt x="18" y="1"/>
                  </a:cubicBezTo>
                  <a:cubicBezTo>
                    <a:pt x="17" y="1"/>
                    <a:pt x="17" y="1"/>
                    <a:pt x="16" y="2"/>
                  </a:cubicBezTo>
                  <a:cubicBezTo>
                    <a:pt x="15" y="3"/>
                    <a:pt x="14" y="4"/>
                    <a:pt x="13" y="4"/>
                  </a:cubicBezTo>
                  <a:cubicBezTo>
                    <a:pt x="12" y="5"/>
                    <a:pt x="10" y="6"/>
                    <a:pt x="8" y="7"/>
                  </a:cubicBezTo>
                  <a:cubicBezTo>
                    <a:pt x="7" y="8"/>
                    <a:pt x="5" y="9"/>
                    <a:pt x="4" y="10"/>
                  </a:cubicBezTo>
                  <a:cubicBezTo>
                    <a:pt x="2" y="11"/>
                    <a:pt x="0" y="15"/>
                    <a:pt x="1" y="17"/>
                  </a:cubicBezTo>
                  <a:cubicBezTo>
                    <a:pt x="4" y="20"/>
                    <a:pt x="9" y="19"/>
                    <a:pt x="12" y="18"/>
                  </a:cubicBezTo>
                  <a:cubicBezTo>
                    <a:pt x="15" y="16"/>
                    <a:pt x="18" y="16"/>
                    <a:pt x="21" y="13"/>
                  </a:cubicBezTo>
                  <a:cubicBezTo>
                    <a:pt x="22" y="11"/>
                    <a:pt x="24" y="10"/>
                    <a:pt x="24" y="8"/>
                  </a:cubicBezTo>
                  <a:cubicBezTo>
                    <a:pt x="24" y="7"/>
                    <a:pt x="23" y="6"/>
                    <a:pt x="23" y="5"/>
                  </a:cubicBezTo>
                  <a:cubicBezTo>
                    <a:pt x="23" y="4"/>
                    <a:pt x="23" y="3"/>
                    <a:pt x="22" y="2"/>
                  </a:cubicBezTo>
                  <a:lnTo>
                    <a:pt x="25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7" name="Freeform 97"/>
            <p:cNvSpPr>
              <a:spLocks/>
            </p:cNvSpPr>
            <p:nvPr/>
          </p:nvSpPr>
          <p:spPr bwMode="auto">
            <a:xfrm>
              <a:off x="3803650" y="3973513"/>
              <a:ext cx="403225" cy="454025"/>
            </a:xfrm>
            <a:custGeom>
              <a:avLst/>
              <a:gdLst/>
              <a:ahLst/>
              <a:cxnLst>
                <a:cxn ang="0">
                  <a:pos x="180" y="6"/>
                </a:cxn>
                <a:cxn ang="0">
                  <a:pos x="144" y="10"/>
                </a:cxn>
                <a:cxn ang="0">
                  <a:pos x="119" y="23"/>
                </a:cxn>
                <a:cxn ang="0">
                  <a:pos x="116" y="34"/>
                </a:cxn>
                <a:cxn ang="0">
                  <a:pos x="109" y="42"/>
                </a:cxn>
                <a:cxn ang="0">
                  <a:pos x="121" y="55"/>
                </a:cxn>
                <a:cxn ang="0">
                  <a:pos x="126" y="74"/>
                </a:cxn>
                <a:cxn ang="0">
                  <a:pos x="117" y="83"/>
                </a:cxn>
                <a:cxn ang="0">
                  <a:pos x="109" y="93"/>
                </a:cxn>
                <a:cxn ang="0">
                  <a:pos x="114" y="112"/>
                </a:cxn>
                <a:cxn ang="0">
                  <a:pos x="98" y="105"/>
                </a:cxn>
                <a:cxn ang="0">
                  <a:pos x="96" y="89"/>
                </a:cxn>
                <a:cxn ang="0">
                  <a:pos x="97" y="78"/>
                </a:cxn>
                <a:cxn ang="0">
                  <a:pos x="113" y="75"/>
                </a:cxn>
                <a:cxn ang="0">
                  <a:pos x="102" y="58"/>
                </a:cxn>
                <a:cxn ang="0">
                  <a:pos x="100" y="46"/>
                </a:cxn>
                <a:cxn ang="0">
                  <a:pos x="82" y="47"/>
                </a:cxn>
                <a:cxn ang="0">
                  <a:pos x="69" y="71"/>
                </a:cxn>
                <a:cxn ang="0">
                  <a:pos x="70" y="90"/>
                </a:cxn>
                <a:cxn ang="0">
                  <a:pos x="65" y="96"/>
                </a:cxn>
                <a:cxn ang="0">
                  <a:pos x="54" y="122"/>
                </a:cxn>
                <a:cxn ang="0">
                  <a:pos x="39" y="133"/>
                </a:cxn>
                <a:cxn ang="0">
                  <a:pos x="34" y="147"/>
                </a:cxn>
                <a:cxn ang="0">
                  <a:pos x="22" y="158"/>
                </a:cxn>
                <a:cxn ang="0">
                  <a:pos x="29" y="164"/>
                </a:cxn>
                <a:cxn ang="0">
                  <a:pos x="40" y="176"/>
                </a:cxn>
                <a:cxn ang="0">
                  <a:pos x="25" y="167"/>
                </a:cxn>
                <a:cxn ang="0">
                  <a:pos x="6" y="179"/>
                </a:cxn>
                <a:cxn ang="0">
                  <a:pos x="35" y="182"/>
                </a:cxn>
                <a:cxn ang="0">
                  <a:pos x="44" y="190"/>
                </a:cxn>
                <a:cxn ang="0">
                  <a:pos x="11" y="186"/>
                </a:cxn>
                <a:cxn ang="0">
                  <a:pos x="6" y="197"/>
                </a:cxn>
                <a:cxn ang="0">
                  <a:pos x="38" y="203"/>
                </a:cxn>
                <a:cxn ang="0">
                  <a:pos x="49" y="193"/>
                </a:cxn>
                <a:cxn ang="0">
                  <a:pos x="61" y="183"/>
                </a:cxn>
                <a:cxn ang="0">
                  <a:pos x="92" y="184"/>
                </a:cxn>
                <a:cxn ang="0">
                  <a:pos x="97" y="192"/>
                </a:cxn>
                <a:cxn ang="0">
                  <a:pos x="113" y="199"/>
                </a:cxn>
                <a:cxn ang="0">
                  <a:pos x="132" y="204"/>
                </a:cxn>
                <a:cxn ang="0">
                  <a:pos x="132" y="216"/>
                </a:cxn>
                <a:cxn ang="0">
                  <a:pos x="126" y="239"/>
                </a:cxn>
                <a:cxn ang="0">
                  <a:pos x="149" y="239"/>
                </a:cxn>
                <a:cxn ang="0">
                  <a:pos x="151" y="226"/>
                </a:cxn>
                <a:cxn ang="0">
                  <a:pos x="146" y="219"/>
                </a:cxn>
                <a:cxn ang="0">
                  <a:pos x="152" y="205"/>
                </a:cxn>
                <a:cxn ang="0">
                  <a:pos x="158" y="188"/>
                </a:cxn>
                <a:cxn ang="0">
                  <a:pos x="155" y="168"/>
                </a:cxn>
                <a:cxn ang="0">
                  <a:pos x="148" y="146"/>
                </a:cxn>
                <a:cxn ang="0">
                  <a:pos x="171" y="145"/>
                </a:cxn>
                <a:cxn ang="0">
                  <a:pos x="188" y="133"/>
                </a:cxn>
                <a:cxn ang="0">
                  <a:pos x="197" y="117"/>
                </a:cxn>
                <a:cxn ang="0">
                  <a:pos x="204" y="97"/>
                </a:cxn>
                <a:cxn ang="0">
                  <a:pos x="182" y="80"/>
                </a:cxn>
                <a:cxn ang="0">
                  <a:pos x="195" y="72"/>
                </a:cxn>
                <a:cxn ang="0">
                  <a:pos x="209" y="57"/>
                </a:cxn>
                <a:cxn ang="0">
                  <a:pos x="215" y="31"/>
                </a:cxn>
                <a:cxn ang="0">
                  <a:pos x="207" y="10"/>
                </a:cxn>
              </a:cxnLst>
              <a:rect l="0" t="0" r="r" b="b"/>
              <a:pathLst>
                <a:path w="216" h="243">
                  <a:moveTo>
                    <a:pt x="206" y="9"/>
                  </a:moveTo>
                  <a:cubicBezTo>
                    <a:pt x="204" y="9"/>
                    <a:pt x="202" y="9"/>
                    <a:pt x="201" y="9"/>
                  </a:cubicBezTo>
                  <a:cubicBezTo>
                    <a:pt x="199" y="9"/>
                    <a:pt x="199" y="9"/>
                    <a:pt x="198" y="8"/>
                  </a:cubicBezTo>
                  <a:cubicBezTo>
                    <a:pt x="198" y="5"/>
                    <a:pt x="200" y="2"/>
                    <a:pt x="197" y="1"/>
                  </a:cubicBezTo>
                  <a:cubicBezTo>
                    <a:pt x="194" y="0"/>
                    <a:pt x="192" y="2"/>
                    <a:pt x="190" y="2"/>
                  </a:cubicBezTo>
                  <a:cubicBezTo>
                    <a:pt x="187" y="4"/>
                    <a:pt x="183" y="4"/>
                    <a:pt x="180" y="6"/>
                  </a:cubicBezTo>
                  <a:cubicBezTo>
                    <a:pt x="180" y="6"/>
                    <a:pt x="179" y="6"/>
                    <a:pt x="179" y="6"/>
                  </a:cubicBezTo>
                  <a:cubicBezTo>
                    <a:pt x="179" y="7"/>
                    <a:pt x="179" y="7"/>
                    <a:pt x="179" y="7"/>
                  </a:cubicBezTo>
                  <a:cubicBezTo>
                    <a:pt x="177" y="9"/>
                    <a:pt x="173" y="8"/>
                    <a:pt x="170" y="8"/>
                  </a:cubicBezTo>
                  <a:cubicBezTo>
                    <a:pt x="166" y="8"/>
                    <a:pt x="162" y="5"/>
                    <a:pt x="158" y="5"/>
                  </a:cubicBezTo>
                  <a:cubicBezTo>
                    <a:pt x="154" y="5"/>
                    <a:pt x="153" y="6"/>
                    <a:pt x="150" y="8"/>
                  </a:cubicBezTo>
                  <a:cubicBezTo>
                    <a:pt x="148" y="8"/>
                    <a:pt x="146" y="9"/>
                    <a:pt x="144" y="10"/>
                  </a:cubicBezTo>
                  <a:cubicBezTo>
                    <a:pt x="140" y="10"/>
                    <a:pt x="137" y="10"/>
                    <a:pt x="135" y="12"/>
                  </a:cubicBezTo>
                  <a:cubicBezTo>
                    <a:pt x="134" y="13"/>
                    <a:pt x="134" y="13"/>
                    <a:pt x="134" y="13"/>
                  </a:cubicBezTo>
                  <a:cubicBezTo>
                    <a:pt x="133" y="14"/>
                    <a:pt x="132" y="14"/>
                    <a:pt x="131" y="15"/>
                  </a:cubicBezTo>
                  <a:cubicBezTo>
                    <a:pt x="129" y="16"/>
                    <a:pt x="127" y="16"/>
                    <a:pt x="125" y="18"/>
                  </a:cubicBezTo>
                  <a:cubicBezTo>
                    <a:pt x="124" y="18"/>
                    <a:pt x="123" y="20"/>
                    <a:pt x="122" y="21"/>
                  </a:cubicBezTo>
                  <a:cubicBezTo>
                    <a:pt x="121" y="21"/>
                    <a:pt x="119" y="22"/>
                    <a:pt x="119" y="23"/>
                  </a:cubicBezTo>
                  <a:cubicBezTo>
                    <a:pt x="119" y="24"/>
                    <a:pt x="119" y="25"/>
                    <a:pt x="119" y="25"/>
                  </a:cubicBezTo>
                  <a:cubicBezTo>
                    <a:pt x="119" y="26"/>
                    <a:pt x="118" y="27"/>
                    <a:pt x="118" y="27"/>
                  </a:cubicBezTo>
                  <a:cubicBezTo>
                    <a:pt x="118" y="27"/>
                    <a:pt x="117" y="28"/>
                    <a:pt x="117" y="29"/>
                  </a:cubicBezTo>
                  <a:cubicBezTo>
                    <a:pt x="117" y="30"/>
                    <a:pt x="117" y="31"/>
                    <a:pt x="117" y="31"/>
                  </a:cubicBezTo>
                  <a:cubicBezTo>
                    <a:pt x="117" y="32"/>
                    <a:pt x="116" y="32"/>
                    <a:pt x="116" y="32"/>
                  </a:cubicBezTo>
                  <a:cubicBezTo>
                    <a:pt x="116" y="33"/>
                    <a:pt x="117" y="33"/>
                    <a:pt x="116" y="34"/>
                  </a:cubicBezTo>
                  <a:cubicBezTo>
                    <a:pt x="116" y="34"/>
                    <a:pt x="114" y="35"/>
                    <a:pt x="113" y="35"/>
                  </a:cubicBezTo>
                  <a:cubicBezTo>
                    <a:pt x="111" y="36"/>
                    <a:pt x="109" y="36"/>
                    <a:pt x="109" y="33"/>
                  </a:cubicBezTo>
                  <a:cubicBezTo>
                    <a:pt x="108" y="32"/>
                    <a:pt x="108" y="31"/>
                    <a:pt x="107" y="30"/>
                  </a:cubicBezTo>
                  <a:cubicBezTo>
                    <a:pt x="105" y="29"/>
                    <a:pt x="103" y="36"/>
                    <a:pt x="103" y="38"/>
                  </a:cubicBezTo>
                  <a:cubicBezTo>
                    <a:pt x="104" y="39"/>
                    <a:pt x="104" y="40"/>
                    <a:pt x="104" y="41"/>
                  </a:cubicBezTo>
                  <a:cubicBezTo>
                    <a:pt x="105" y="43"/>
                    <a:pt x="107" y="43"/>
                    <a:pt x="109" y="42"/>
                  </a:cubicBezTo>
                  <a:cubicBezTo>
                    <a:pt x="110" y="41"/>
                    <a:pt x="110" y="39"/>
                    <a:pt x="112" y="41"/>
                  </a:cubicBezTo>
                  <a:cubicBezTo>
                    <a:pt x="112" y="41"/>
                    <a:pt x="113" y="42"/>
                    <a:pt x="113" y="42"/>
                  </a:cubicBezTo>
                  <a:cubicBezTo>
                    <a:pt x="113" y="43"/>
                    <a:pt x="114" y="43"/>
                    <a:pt x="114" y="43"/>
                  </a:cubicBezTo>
                  <a:cubicBezTo>
                    <a:pt x="116" y="46"/>
                    <a:pt x="115" y="51"/>
                    <a:pt x="115" y="54"/>
                  </a:cubicBezTo>
                  <a:cubicBezTo>
                    <a:pt x="115" y="56"/>
                    <a:pt x="115" y="56"/>
                    <a:pt x="118" y="56"/>
                  </a:cubicBezTo>
                  <a:cubicBezTo>
                    <a:pt x="119" y="56"/>
                    <a:pt x="120" y="55"/>
                    <a:pt x="121" y="55"/>
                  </a:cubicBezTo>
                  <a:cubicBezTo>
                    <a:pt x="123" y="56"/>
                    <a:pt x="124" y="57"/>
                    <a:pt x="125" y="57"/>
                  </a:cubicBezTo>
                  <a:cubicBezTo>
                    <a:pt x="126" y="60"/>
                    <a:pt x="130" y="56"/>
                    <a:pt x="131" y="57"/>
                  </a:cubicBezTo>
                  <a:cubicBezTo>
                    <a:pt x="132" y="58"/>
                    <a:pt x="132" y="59"/>
                    <a:pt x="131" y="60"/>
                  </a:cubicBezTo>
                  <a:cubicBezTo>
                    <a:pt x="129" y="62"/>
                    <a:pt x="126" y="61"/>
                    <a:pt x="125" y="63"/>
                  </a:cubicBezTo>
                  <a:cubicBezTo>
                    <a:pt x="124" y="65"/>
                    <a:pt x="125" y="68"/>
                    <a:pt x="125" y="70"/>
                  </a:cubicBezTo>
                  <a:cubicBezTo>
                    <a:pt x="125" y="72"/>
                    <a:pt x="125" y="72"/>
                    <a:pt x="126" y="74"/>
                  </a:cubicBezTo>
                  <a:cubicBezTo>
                    <a:pt x="126" y="74"/>
                    <a:pt x="127" y="75"/>
                    <a:pt x="127" y="75"/>
                  </a:cubicBezTo>
                  <a:cubicBezTo>
                    <a:pt x="127" y="76"/>
                    <a:pt x="127" y="77"/>
                    <a:pt x="127" y="78"/>
                  </a:cubicBezTo>
                  <a:cubicBezTo>
                    <a:pt x="129" y="78"/>
                    <a:pt x="130" y="77"/>
                    <a:pt x="129" y="80"/>
                  </a:cubicBezTo>
                  <a:cubicBezTo>
                    <a:pt x="129" y="81"/>
                    <a:pt x="129" y="81"/>
                    <a:pt x="127" y="81"/>
                  </a:cubicBezTo>
                  <a:cubicBezTo>
                    <a:pt x="124" y="82"/>
                    <a:pt x="122" y="81"/>
                    <a:pt x="119" y="82"/>
                  </a:cubicBezTo>
                  <a:cubicBezTo>
                    <a:pt x="118" y="82"/>
                    <a:pt x="118" y="83"/>
                    <a:pt x="117" y="83"/>
                  </a:cubicBezTo>
                  <a:cubicBezTo>
                    <a:pt x="116" y="83"/>
                    <a:pt x="116" y="83"/>
                    <a:pt x="115" y="83"/>
                  </a:cubicBezTo>
                  <a:cubicBezTo>
                    <a:pt x="113" y="83"/>
                    <a:pt x="113" y="83"/>
                    <a:pt x="112" y="84"/>
                  </a:cubicBezTo>
                  <a:cubicBezTo>
                    <a:pt x="110" y="85"/>
                    <a:pt x="110" y="85"/>
                    <a:pt x="110" y="87"/>
                  </a:cubicBezTo>
                  <a:cubicBezTo>
                    <a:pt x="110" y="87"/>
                    <a:pt x="109" y="88"/>
                    <a:pt x="109" y="88"/>
                  </a:cubicBezTo>
                  <a:cubicBezTo>
                    <a:pt x="109" y="89"/>
                    <a:pt x="109" y="90"/>
                    <a:pt x="109" y="91"/>
                  </a:cubicBezTo>
                  <a:cubicBezTo>
                    <a:pt x="109" y="92"/>
                    <a:pt x="109" y="92"/>
                    <a:pt x="109" y="93"/>
                  </a:cubicBezTo>
                  <a:cubicBezTo>
                    <a:pt x="110" y="94"/>
                    <a:pt x="110" y="94"/>
                    <a:pt x="110" y="95"/>
                  </a:cubicBezTo>
                  <a:cubicBezTo>
                    <a:pt x="110" y="96"/>
                    <a:pt x="109" y="97"/>
                    <a:pt x="108" y="98"/>
                  </a:cubicBezTo>
                  <a:cubicBezTo>
                    <a:pt x="107" y="101"/>
                    <a:pt x="109" y="101"/>
                    <a:pt x="110" y="104"/>
                  </a:cubicBezTo>
                  <a:cubicBezTo>
                    <a:pt x="110" y="105"/>
                    <a:pt x="110" y="106"/>
                    <a:pt x="111" y="107"/>
                  </a:cubicBezTo>
                  <a:cubicBezTo>
                    <a:pt x="111" y="108"/>
                    <a:pt x="112" y="109"/>
                    <a:pt x="113" y="109"/>
                  </a:cubicBezTo>
                  <a:cubicBezTo>
                    <a:pt x="114" y="110"/>
                    <a:pt x="115" y="111"/>
                    <a:pt x="114" y="112"/>
                  </a:cubicBezTo>
                  <a:cubicBezTo>
                    <a:pt x="114" y="112"/>
                    <a:pt x="114" y="112"/>
                    <a:pt x="113" y="112"/>
                  </a:cubicBezTo>
                  <a:cubicBezTo>
                    <a:pt x="113" y="112"/>
                    <a:pt x="112" y="111"/>
                    <a:pt x="112" y="111"/>
                  </a:cubicBezTo>
                  <a:cubicBezTo>
                    <a:pt x="111" y="110"/>
                    <a:pt x="110" y="109"/>
                    <a:pt x="109" y="108"/>
                  </a:cubicBezTo>
                  <a:cubicBezTo>
                    <a:pt x="108" y="107"/>
                    <a:pt x="108" y="107"/>
                    <a:pt x="107" y="106"/>
                  </a:cubicBezTo>
                  <a:cubicBezTo>
                    <a:pt x="105" y="105"/>
                    <a:pt x="104" y="106"/>
                    <a:pt x="103" y="106"/>
                  </a:cubicBezTo>
                  <a:cubicBezTo>
                    <a:pt x="101" y="106"/>
                    <a:pt x="99" y="105"/>
                    <a:pt x="98" y="105"/>
                  </a:cubicBezTo>
                  <a:cubicBezTo>
                    <a:pt x="96" y="104"/>
                    <a:pt x="95" y="104"/>
                    <a:pt x="94" y="104"/>
                  </a:cubicBezTo>
                  <a:cubicBezTo>
                    <a:pt x="92" y="103"/>
                    <a:pt x="91" y="100"/>
                    <a:pt x="93" y="99"/>
                  </a:cubicBezTo>
                  <a:cubicBezTo>
                    <a:pt x="94" y="98"/>
                    <a:pt x="100" y="100"/>
                    <a:pt x="99" y="97"/>
                  </a:cubicBezTo>
                  <a:cubicBezTo>
                    <a:pt x="98" y="95"/>
                    <a:pt x="97" y="96"/>
                    <a:pt x="97" y="95"/>
                  </a:cubicBezTo>
                  <a:cubicBezTo>
                    <a:pt x="97" y="94"/>
                    <a:pt x="97" y="92"/>
                    <a:pt x="97" y="91"/>
                  </a:cubicBezTo>
                  <a:cubicBezTo>
                    <a:pt x="97" y="90"/>
                    <a:pt x="96" y="90"/>
                    <a:pt x="96" y="89"/>
                  </a:cubicBezTo>
                  <a:cubicBezTo>
                    <a:pt x="96" y="89"/>
                    <a:pt x="97" y="88"/>
                    <a:pt x="97" y="88"/>
                  </a:cubicBezTo>
                  <a:cubicBezTo>
                    <a:pt x="97" y="88"/>
                    <a:pt x="97" y="87"/>
                    <a:pt x="97" y="86"/>
                  </a:cubicBezTo>
                  <a:cubicBezTo>
                    <a:pt x="96" y="84"/>
                    <a:pt x="95" y="83"/>
                    <a:pt x="94" y="82"/>
                  </a:cubicBezTo>
                  <a:cubicBezTo>
                    <a:pt x="94" y="81"/>
                    <a:pt x="94" y="81"/>
                    <a:pt x="94" y="80"/>
                  </a:cubicBezTo>
                  <a:cubicBezTo>
                    <a:pt x="93" y="80"/>
                    <a:pt x="93" y="80"/>
                    <a:pt x="93" y="79"/>
                  </a:cubicBezTo>
                  <a:cubicBezTo>
                    <a:pt x="93" y="77"/>
                    <a:pt x="95" y="78"/>
                    <a:pt x="97" y="78"/>
                  </a:cubicBezTo>
                  <a:cubicBezTo>
                    <a:pt x="98" y="78"/>
                    <a:pt x="98" y="78"/>
                    <a:pt x="100" y="78"/>
                  </a:cubicBezTo>
                  <a:cubicBezTo>
                    <a:pt x="101" y="78"/>
                    <a:pt x="102" y="77"/>
                    <a:pt x="102" y="77"/>
                  </a:cubicBezTo>
                  <a:cubicBezTo>
                    <a:pt x="103" y="77"/>
                    <a:pt x="104" y="77"/>
                    <a:pt x="105" y="77"/>
                  </a:cubicBezTo>
                  <a:cubicBezTo>
                    <a:pt x="107" y="76"/>
                    <a:pt x="106" y="76"/>
                    <a:pt x="107" y="75"/>
                  </a:cubicBezTo>
                  <a:cubicBezTo>
                    <a:pt x="108" y="72"/>
                    <a:pt x="109" y="75"/>
                    <a:pt x="111" y="75"/>
                  </a:cubicBezTo>
                  <a:cubicBezTo>
                    <a:pt x="111" y="75"/>
                    <a:pt x="112" y="75"/>
                    <a:pt x="113" y="75"/>
                  </a:cubicBezTo>
                  <a:cubicBezTo>
                    <a:pt x="113" y="74"/>
                    <a:pt x="113" y="72"/>
                    <a:pt x="112" y="72"/>
                  </a:cubicBezTo>
                  <a:cubicBezTo>
                    <a:pt x="112" y="71"/>
                    <a:pt x="111" y="71"/>
                    <a:pt x="110" y="71"/>
                  </a:cubicBezTo>
                  <a:cubicBezTo>
                    <a:pt x="110" y="70"/>
                    <a:pt x="108" y="69"/>
                    <a:pt x="108" y="68"/>
                  </a:cubicBezTo>
                  <a:cubicBezTo>
                    <a:pt x="107" y="68"/>
                    <a:pt x="108" y="67"/>
                    <a:pt x="108" y="66"/>
                  </a:cubicBezTo>
                  <a:cubicBezTo>
                    <a:pt x="108" y="64"/>
                    <a:pt x="107" y="64"/>
                    <a:pt x="105" y="63"/>
                  </a:cubicBezTo>
                  <a:cubicBezTo>
                    <a:pt x="103" y="62"/>
                    <a:pt x="103" y="60"/>
                    <a:pt x="102" y="58"/>
                  </a:cubicBezTo>
                  <a:cubicBezTo>
                    <a:pt x="101" y="57"/>
                    <a:pt x="99" y="56"/>
                    <a:pt x="98" y="55"/>
                  </a:cubicBezTo>
                  <a:cubicBezTo>
                    <a:pt x="97" y="54"/>
                    <a:pt x="97" y="55"/>
                    <a:pt x="97" y="53"/>
                  </a:cubicBezTo>
                  <a:cubicBezTo>
                    <a:pt x="97" y="52"/>
                    <a:pt x="98" y="51"/>
                    <a:pt x="99" y="50"/>
                  </a:cubicBezTo>
                  <a:cubicBezTo>
                    <a:pt x="100" y="49"/>
                    <a:pt x="101" y="48"/>
                    <a:pt x="102" y="47"/>
                  </a:cubicBezTo>
                  <a:cubicBezTo>
                    <a:pt x="104" y="47"/>
                    <a:pt x="105" y="46"/>
                    <a:pt x="106" y="45"/>
                  </a:cubicBezTo>
                  <a:cubicBezTo>
                    <a:pt x="104" y="45"/>
                    <a:pt x="102" y="45"/>
                    <a:pt x="100" y="46"/>
                  </a:cubicBezTo>
                  <a:cubicBezTo>
                    <a:pt x="99" y="47"/>
                    <a:pt x="98" y="48"/>
                    <a:pt x="97" y="49"/>
                  </a:cubicBezTo>
                  <a:cubicBezTo>
                    <a:pt x="95" y="51"/>
                    <a:pt x="93" y="53"/>
                    <a:pt x="92" y="53"/>
                  </a:cubicBezTo>
                  <a:cubicBezTo>
                    <a:pt x="90" y="53"/>
                    <a:pt x="86" y="53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4" y="50"/>
                    <a:pt x="84" y="49"/>
                  </a:cubicBezTo>
                  <a:cubicBezTo>
                    <a:pt x="84" y="48"/>
                    <a:pt x="83" y="47"/>
                    <a:pt x="82" y="47"/>
                  </a:cubicBezTo>
                  <a:cubicBezTo>
                    <a:pt x="78" y="47"/>
                    <a:pt x="77" y="50"/>
                    <a:pt x="77" y="53"/>
                  </a:cubicBezTo>
                  <a:cubicBezTo>
                    <a:pt x="77" y="56"/>
                    <a:pt x="77" y="57"/>
                    <a:pt x="75" y="60"/>
                  </a:cubicBezTo>
                  <a:cubicBezTo>
                    <a:pt x="75" y="60"/>
                    <a:pt x="74" y="62"/>
                    <a:pt x="73" y="62"/>
                  </a:cubicBezTo>
                  <a:cubicBezTo>
                    <a:pt x="72" y="63"/>
                    <a:pt x="69" y="61"/>
                    <a:pt x="67" y="60"/>
                  </a:cubicBezTo>
                  <a:cubicBezTo>
                    <a:pt x="67" y="61"/>
                    <a:pt x="67" y="62"/>
                    <a:pt x="67" y="63"/>
                  </a:cubicBezTo>
                  <a:cubicBezTo>
                    <a:pt x="66" y="66"/>
                    <a:pt x="68" y="68"/>
                    <a:pt x="69" y="71"/>
                  </a:cubicBezTo>
                  <a:cubicBezTo>
                    <a:pt x="69" y="72"/>
                    <a:pt x="68" y="73"/>
                    <a:pt x="69" y="74"/>
                  </a:cubicBezTo>
                  <a:cubicBezTo>
                    <a:pt x="69" y="75"/>
                    <a:pt x="72" y="75"/>
                    <a:pt x="73" y="77"/>
                  </a:cubicBezTo>
                  <a:cubicBezTo>
                    <a:pt x="73" y="79"/>
                    <a:pt x="72" y="80"/>
                    <a:pt x="72" y="81"/>
                  </a:cubicBezTo>
                  <a:cubicBezTo>
                    <a:pt x="72" y="83"/>
                    <a:pt x="72" y="84"/>
                    <a:pt x="72" y="85"/>
                  </a:cubicBezTo>
                  <a:cubicBezTo>
                    <a:pt x="72" y="86"/>
                    <a:pt x="71" y="87"/>
                    <a:pt x="71" y="88"/>
                  </a:cubicBezTo>
                  <a:cubicBezTo>
                    <a:pt x="71" y="89"/>
                    <a:pt x="70" y="90"/>
                    <a:pt x="70" y="90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70" y="92"/>
                    <a:pt x="70" y="92"/>
                    <a:pt x="70" y="92"/>
                  </a:cubicBezTo>
                  <a:cubicBezTo>
                    <a:pt x="70" y="92"/>
                    <a:pt x="69" y="93"/>
                    <a:pt x="69" y="93"/>
                  </a:cubicBezTo>
                  <a:cubicBezTo>
                    <a:pt x="69" y="94"/>
                    <a:pt x="68" y="93"/>
                    <a:pt x="68" y="94"/>
                  </a:cubicBezTo>
                  <a:cubicBezTo>
                    <a:pt x="67" y="94"/>
                    <a:pt x="66" y="95"/>
                    <a:pt x="66" y="95"/>
                  </a:cubicBezTo>
                  <a:cubicBezTo>
                    <a:pt x="65" y="95"/>
                    <a:pt x="65" y="95"/>
                    <a:pt x="65" y="96"/>
                  </a:cubicBezTo>
                  <a:cubicBezTo>
                    <a:pt x="64" y="97"/>
                    <a:pt x="65" y="97"/>
                    <a:pt x="65" y="98"/>
                  </a:cubicBezTo>
                  <a:cubicBezTo>
                    <a:pt x="65" y="98"/>
                    <a:pt x="64" y="99"/>
                    <a:pt x="64" y="99"/>
                  </a:cubicBezTo>
                  <a:cubicBezTo>
                    <a:pt x="63" y="100"/>
                    <a:pt x="63" y="102"/>
                    <a:pt x="63" y="103"/>
                  </a:cubicBezTo>
                  <a:cubicBezTo>
                    <a:pt x="63" y="104"/>
                    <a:pt x="63" y="106"/>
                    <a:pt x="62" y="107"/>
                  </a:cubicBezTo>
                  <a:cubicBezTo>
                    <a:pt x="62" y="109"/>
                    <a:pt x="60" y="110"/>
                    <a:pt x="60" y="111"/>
                  </a:cubicBezTo>
                  <a:cubicBezTo>
                    <a:pt x="58" y="114"/>
                    <a:pt x="55" y="117"/>
                    <a:pt x="54" y="122"/>
                  </a:cubicBezTo>
                  <a:cubicBezTo>
                    <a:pt x="53" y="121"/>
                    <a:pt x="51" y="123"/>
                    <a:pt x="50" y="124"/>
                  </a:cubicBezTo>
                  <a:cubicBezTo>
                    <a:pt x="49" y="125"/>
                    <a:pt x="49" y="126"/>
                    <a:pt x="49" y="127"/>
                  </a:cubicBezTo>
                  <a:cubicBezTo>
                    <a:pt x="49" y="127"/>
                    <a:pt x="49" y="128"/>
                    <a:pt x="48" y="128"/>
                  </a:cubicBezTo>
                  <a:cubicBezTo>
                    <a:pt x="48" y="126"/>
                    <a:pt x="43" y="126"/>
                    <a:pt x="42" y="127"/>
                  </a:cubicBezTo>
                  <a:cubicBezTo>
                    <a:pt x="41" y="128"/>
                    <a:pt x="41" y="128"/>
                    <a:pt x="41" y="129"/>
                  </a:cubicBezTo>
                  <a:cubicBezTo>
                    <a:pt x="40" y="130"/>
                    <a:pt x="40" y="131"/>
                    <a:pt x="39" y="133"/>
                  </a:cubicBezTo>
                  <a:cubicBezTo>
                    <a:pt x="39" y="134"/>
                    <a:pt x="38" y="134"/>
                    <a:pt x="38" y="135"/>
                  </a:cubicBezTo>
                  <a:cubicBezTo>
                    <a:pt x="38" y="136"/>
                    <a:pt x="38" y="137"/>
                    <a:pt x="38" y="138"/>
                  </a:cubicBezTo>
                  <a:cubicBezTo>
                    <a:pt x="38" y="140"/>
                    <a:pt x="39" y="140"/>
                    <a:pt x="39" y="141"/>
                  </a:cubicBezTo>
                  <a:cubicBezTo>
                    <a:pt x="40" y="143"/>
                    <a:pt x="39" y="144"/>
                    <a:pt x="40" y="145"/>
                  </a:cubicBezTo>
                  <a:cubicBezTo>
                    <a:pt x="39" y="145"/>
                    <a:pt x="39" y="145"/>
                    <a:pt x="38" y="146"/>
                  </a:cubicBezTo>
                  <a:cubicBezTo>
                    <a:pt x="36" y="146"/>
                    <a:pt x="36" y="146"/>
                    <a:pt x="34" y="147"/>
                  </a:cubicBezTo>
                  <a:cubicBezTo>
                    <a:pt x="34" y="147"/>
                    <a:pt x="33" y="147"/>
                    <a:pt x="32" y="147"/>
                  </a:cubicBezTo>
                  <a:cubicBezTo>
                    <a:pt x="32" y="148"/>
                    <a:pt x="32" y="148"/>
                    <a:pt x="32" y="149"/>
                  </a:cubicBezTo>
                  <a:cubicBezTo>
                    <a:pt x="30" y="150"/>
                    <a:pt x="30" y="149"/>
                    <a:pt x="29" y="151"/>
                  </a:cubicBezTo>
                  <a:cubicBezTo>
                    <a:pt x="29" y="152"/>
                    <a:pt x="29" y="154"/>
                    <a:pt x="29" y="156"/>
                  </a:cubicBezTo>
                  <a:cubicBezTo>
                    <a:pt x="29" y="158"/>
                    <a:pt x="28" y="157"/>
                    <a:pt x="26" y="157"/>
                  </a:cubicBezTo>
                  <a:cubicBezTo>
                    <a:pt x="25" y="157"/>
                    <a:pt x="23" y="158"/>
                    <a:pt x="22" y="158"/>
                  </a:cubicBezTo>
                  <a:cubicBezTo>
                    <a:pt x="20" y="159"/>
                    <a:pt x="15" y="162"/>
                    <a:pt x="16" y="164"/>
                  </a:cubicBezTo>
                  <a:cubicBezTo>
                    <a:pt x="17" y="165"/>
                    <a:pt x="19" y="165"/>
                    <a:pt x="20" y="164"/>
                  </a:cubicBezTo>
                  <a:cubicBezTo>
                    <a:pt x="20" y="164"/>
                    <a:pt x="21" y="163"/>
                    <a:pt x="21" y="163"/>
                  </a:cubicBezTo>
                  <a:cubicBezTo>
                    <a:pt x="22" y="162"/>
                    <a:pt x="24" y="162"/>
                    <a:pt x="24" y="162"/>
                  </a:cubicBezTo>
                  <a:cubicBezTo>
                    <a:pt x="26" y="161"/>
                    <a:pt x="26" y="161"/>
                    <a:pt x="28" y="162"/>
                  </a:cubicBezTo>
                  <a:cubicBezTo>
                    <a:pt x="28" y="162"/>
                    <a:pt x="29" y="163"/>
                    <a:pt x="29" y="164"/>
                  </a:cubicBezTo>
                  <a:cubicBezTo>
                    <a:pt x="30" y="164"/>
                    <a:pt x="32" y="164"/>
                    <a:pt x="33" y="164"/>
                  </a:cubicBezTo>
                  <a:cubicBezTo>
                    <a:pt x="34" y="164"/>
                    <a:pt x="40" y="161"/>
                    <a:pt x="40" y="163"/>
                  </a:cubicBezTo>
                  <a:cubicBezTo>
                    <a:pt x="41" y="164"/>
                    <a:pt x="37" y="167"/>
                    <a:pt x="36" y="167"/>
                  </a:cubicBezTo>
                  <a:cubicBezTo>
                    <a:pt x="35" y="168"/>
                    <a:pt x="35" y="169"/>
                    <a:pt x="35" y="170"/>
                  </a:cubicBezTo>
                  <a:cubicBezTo>
                    <a:pt x="37" y="170"/>
                    <a:pt x="39" y="171"/>
                    <a:pt x="40" y="172"/>
                  </a:cubicBezTo>
                  <a:cubicBezTo>
                    <a:pt x="40" y="173"/>
                    <a:pt x="40" y="175"/>
                    <a:pt x="40" y="176"/>
                  </a:cubicBezTo>
                  <a:cubicBezTo>
                    <a:pt x="41" y="177"/>
                    <a:pt x="44" y="177"/>
                    <a:pt x="44" y="178"/>
                  </a:cubicBezTo>
                  <a:cubicBezTo>
                    <a:pt x="45" y="179"/>
                    <a:pt x="44" y="180"/>
                    <a:pt x="44" y="181"/>
                  </a:cubicBezTo>
                  <a:cubicBezTo>
                    <a:pt x="39" y="181"/>
                    <a:pt x="36" y="176"/>
                    <a:pt x="34" y="172"/>
                  </a:cubicBezTo>
                  <a:cubicBezTo>
                    <a:pt x="33" y="171"/>
                    <a:pt x="31" y="170"/>
                    <a:pt x="30" y="169"/>
                  </a:cubicBezTo>
                  <a:cubicBezTo>
                    <a:pt x="29" y="169"/>
                    <a:pt x="28" y="169"/>
                    <a:pt x="28" y="168"/>
                  </a:cubicBezTo>
                  <a:cubicBezTo>
                    <a:pt x="27" y="167"/>
                    <a:pt x="27" y="167"/>
                    <a:pt x="25" y="167"/>
                  </a:cubicBezTo>
                  <a:cubicBezTo>
                    <a:pt x="23" y="167"/>
                    <a:pt x="23" y="168"/>
                    <a:pt x="22" y="169"/>
                  </a:cubicBezTo>
                  <a:cubicBezTo>
                    <a:pt x="20" y="170"/>
                    <a:pt x="17" y="169"/>
                    <a:pt x="15" y="169"/>
                  </a:cubicBezTo>
                  <a:cubicBezTo>
                    <a:pt x="13" y="169"/>
                    <a:pt x="13" y="169"/>
                    <a:pt x="12" y="169"/>
                  </a:cubicBezTo>
                  <a:cubicBezTo>
                    <a:pt x="12" y="170"/>
                    <a:pt x="11" y="170"/>
                    <a:pt x="11" y="171"/>
                  </a:cubicBezTo>
                  <a:cubicBezTo>
                    <a:pt x="10" y="171"/>
                    <a:pt x="10" y="171"/>
                    <a:pt x="9" y="172"/>
                  </a:cubicBezTo>
                  <a:cubicBezTo>
                    <a:pt x="8" y="173"/>
                    <a:pt x="5" y="177"/>
                    <a:pt x="6" y="179"/>
                  </a:cubicBezTo>
                  <a:cubicBezTo>
                    <a:pt x="8" y="179"/>
                    <a:pt x="12" y="178"/>
                    <a:pt x="13" y="180"/>
                  </a:cubicBezTo>
                  <a:cubicBezTo>
                    <a:pt x="14" y="180"/>
                    <a:pt x="14" y="181"/>
                    <a:pt x="14" y="182"/>
                  </a:cubicBezTo>
                  <a:cubicBezTo>
                    <a:pt x="15" y="183"/>
                    <a:pt x="16" y="183"/>
                    <a:pt x="18" y="184"/>
                  </a:cubicBezTo>
                  <a:cubicBezTo>
                    <a:pt x="22" y="184"/>
                    <a:pt x="23" y="187"/>
                    <a:pt x="27" y="185"/>
                  </a:cubicBezTo>
                  <a:cubicBezTo>
                    <a:pt x="29" y="184"/>
                    <a:pt x="31" y="183"/>
                    <a:pt x="33" y="182"/>
                  </a:cubicBezTo>
                  <a:cubicBezTo>
                    <a:pt x="34" y="182"/>
                    <a:pt x="34" y="182"/>
                    <a:pt x="35" y="182"/>
                  </a:cubicBezTo>
                  <a:cubicBezTo>
                    <a:pt x="36" y="182"/>
                    <a:pt x="37" y="181"/>
                    <a:pt x="37" y="181"/>
                  </a:cubicBezTo>
                  <a:cubicBezTo>
                    <a:pt x="38" y="181"/>
                    <a:pt x="39" y="182"/>
                    <a:pt x="40" y="183"/>
                  </a:cubicBezTo>
                  <a:cubicBezTo>
                    <a:pt x="40" y="185"/>
                    <a:pt x="39" y="186"/>
                    <a:pt x="41" y="186"/>
                  </a:cubicBezTo>
                  <a:cubicBezTo>
                    <a:pt x="42" y="187"/>
                    <a:pt x="46" y="184"/>
                    <a:pt x="47" y="186"/>
                  </a:cubicBezTo>
                  <a:cubicBezTo>
                    <a:pt x="48" y="186"/>
                    <a:pt x="48" y="190"/>
                    <a:pt x="48" y="190"/>
                  </a:cubicBezTo>
                  <a:cubicBezTo>
                    <a:pt x="47" y="191"/>
                    <a:pt x="45" y="190"/>
                    <a:pt x="44" y="190"/>
                  </a:cubicBezTo>
                  <a:cubicBezTo>
                    <a:pt x="41" y="189"/>
                    <a:pt x="39" y="189"/>
                    <a:pt x="36" y="188"/>
                  </a:cubicBezTo>
                  <a:cubicBezTo>
                    <a:pt x="35" y="188"/>
                    <a:pt x="34" y="187"/>
                    <a:pt x="33" y="188"/>
                  </a:cubicBezTo>
                  <a:cubicBezTo>
                    <a:pt x="32" y="188"/>
                    <a:pt x="31" y="188"/>
                    <a:pt x="30" y="188"/>
                  </a:cubicBezTo>
                  <a:cubicBezTo>
                    <a:pt x="27" y="189"/>
                    <a:pt x="24" y="188"/>
                    <a:pt x="21" y="188"/>
                  </a:cubicBezTo>
                  <a:cubicBezTo>
                    <a:pt x="18" y="188"/>
                    <a:pt x="16" y="188"/>
                    <a:pt x="13" y="187"/>
                  </a:cubicBezTo>
                  <a:cubicBezTo>
                    <a:pt x="12" y="187"/>
                    <a:pt x="11" y="186"/>
                    <a:pt x="11" y="186"/>
                  </a:cubicBezTo>
                  <a:cubicBezTo>
                    <a:pt x="9" y="185"/>
                    <a:pt x="8" y="183"/>
                    <a:pt x="6" y="183"/>
                  </a:cubicBezTo>
                  <a:cubicBezTo>
                    <a:pt x="3" y="182"/>
                    <a:pt x="1" y="184"/>
                    <a:pt x="1" y="187"/>
                  </a:cubicBezTo>
                  <a:cubicBezTo>
                    <a:pt x="1" y="188"/>
                    <a:pt x="1" y="189"/>
                    <a:pt x="0" y="190"/>
                  </a:cubicBezTo>
                  <a:cubicBezTo>
                    <a:pt x="0" y="192"/>
                    <a:pt x="1" y="192"/>
                    <a:pt x="1" y="193"/>
                  </a:cubicBezTo>
                  <a:cubicBezTo>
                    <a:pt x="2" y="194"/>
                    <a:pt x="2" y="195"/>
                    <a:pt x="3" y="196"/>
                  </a:cubicBezTo>
                  <a:cubicBezTo>
                    <a:pt x="4" y="197"/>
                    <a:pt x="5" y="197"/>
                    <a:pt x="6" y="197"/>
                  </a:cubicBezTo>
                  <a:cubicBezTo>
                    <a:pt x="7" y="198"/>
                    <a:pt x="9" y="199"/>
                    <a:pt x="11" y="198"/>
                  </a:cubicBezTo>
                  <a:cubicBezTo>
                    <a:pt x="12" y="197"/>
                    <a:pt x="12" y="196"/>
                    <a:pt x="12" y="196"/>
                  </a:cubicBezTo>
                  <a:cubicBezTo>
                    <a:pt x="13" y="195"/>
                    <a:pt x="17" y="194"/>
                    <a:pt x="18" y="194"/>
                  </a:cubicBezTo>
                  <a:cubicBezTo>
                    <a:pt x="21" y="194"/>
                    <a:pt x="22" y="196"/>
                    <a:pt x="23" y="198"/>
                  </a:cubicBezTo>
                  <a:cubicBezTo>
                    <a:pt x="25" y="200"/>
                    <a:pt x="30" y="201"/>
                    <a:pt x="33" y="202"/>
                  </a:cubicBezTo>
                  <a:cubicBezTo>
                    <a:pt x="35" y="203"/>
                    <a:pt x="36" y="204"/>
                    <a:pt x="38" y="203"/>
                  </a:cubicBezTo>
                  <a:cubicBezTo>
                    <a:pt x="39" y="203"/>
                    <a:pt x="40" y="202"/>
                    <a:pt x="41" y="201"/>
                  </a:cubicBezTo>
                  <a:cubicBezTo>
                    <a:pt x="41" y="200"/>
                    <a:pt x="42" y="199"/>
                    <a:pt x="42" y="199"/>
                  </a:cubicBezTo>
                  <a:cubicBezTo>
                    <a:pt x="42" y="198"/>
                    <a:pt x="43" y="197"/>
                    <a:pt x="44" y="196"/>
                  </a:cubicBezTo>
                  <a:cubicBezTo>
                    <a:pt x="44" y="195"/>
                    <a:pt x="44" y="195"/>
                    <a:pt x="46" y="194"/>
                  </a:cubicBezTo>
                  <a:cubicBezTo>
                    <a:pt x="47" y="194"/>
                    <a:pt x="48" y="194"/>
                    <a:pt x="49" y="193"/>
                  </a:cubicBezTo>
                  <a:cubicBezTo>
                    <a:pt x="49" y="193"/>
                    <a:pt x="49" y="193"/>
                    <a:pt x="49" y="193"/>
                  </a:cubicBezTo>
                  <a:cubicBezTo>
                    <a:pt x="49" y="192"/>
                    <a:pt x="49" y="192"/>
                    <a:pt x="50" y="192"/>
                  </a:cubicBezTo>
                  <a:cubicBezTo>
                    <a:pt x="51" y="191"/>
                    <a:pt x="51" y="191"/>
                    <a:pt x="51" y="190"/>
                  </a:cubicBezTo>
                  <a:cubicBezTo>
                    <a:pt x="52" y="189"/>
                    <a:pt x="53" y="188"/>
                    <a:pt x="54" y="188"/>
                  </a:cubicBezTo>
                  <a:cubicBezTo>
                    <a:pt x="55" y="187"/>
                    <a:pt x="55" y="187"/>
                    <a:pt x="56" y="187"/>
                  </a:cubicBezTo>
                  <a:cubicBezTo>
                    <a:pt x="57" y="186"/>
                    <a:pt x="58" y="186"/>
                    <a:pt x="59" y="185"/>
                  </a:cubicBezTo>
                  <a:cubicBezTo>
                    <a:pt x="60" y="185"/>
                    <a:pt x="60" y="184"/>
                    <a:pt x="61" y="183"/>
                  </a:cubicBezTo>
                  <a:cubicBezTo>
                    <a:pt x="62" y="183"/>
                    <a:pt x="63" y="183"/>
                    <a:pt x="64" y="183"/>
                  </a:cubicBezTo>
                  <a:cubicBezTo>
                    <a:pt x="65" y="183"/>
                    <a:pt x="66" y="182"/>
                    <a:pt x="67" y="182"/>
                  </a:cubicBezTo>
                  <a:cubicBezTo>
                    <a:pt x="70" y="182"/>
                    <a:pt x="73" y="182"/>
                    <a:pt x="76" y="182"/>
                  </a:cubicBezTo>
                  <a:cubicBezTo>
                    <a:pt x="79" y="182"/>
                    <a:pt x="80" y="184"/>
                    <a:pt x="82" y="184"/>
                  </a:cubicBezTo>
                  <a:cubicBezTo>
                    <a:pt x="84" y="185"/>
                    <a:pt x="86" y="184"/>
                    <a:pt x="88" y="184"/>
                  </a:cubicBezTo>
                  <a:cubicBezTo>
                    <a:pt x="89" y="184"/>
                    <a:pt x="91" y="184"/>
                    <a:pt x="92" y="184"/>
                  </a:cubicBezTo>
                  <a:cubicBezTo>
                    <a:pt x="93" y="184"/>
                    <a:pt x="94" y="183"/>
                    <a:pt x="96" y="182"/>
                  </a:cubicBezTo>
                  <a:cubicBezTo>
                    <a:pt x="96" y="182"/>
                    <a:pt x="97" y="182"/>
                    <a:pt x="98" y="182"/>
                  </a:cubicBezTo>
                  <a:cubicBezTo>
                    <a:pt x="99" y="182"/>
                    <a:pt x="100" y="182"/>
                    <a:pt x="100" y="182"/>
                  </a:cubicBezTo>
                  <a:cubicBezTo>
                    <a:pt x="103" y="182"/>
                    <a:pt x="104" y="185"/>
                    <a:pt x="103" y="187"/>
                  </a:cubicBezTo>
                  <a:cubicBezTo>
                    <a:pt x="103" y="188"/>
                    <a:pt x="100" y="190"/>
                    <a:pt x="98" y="191"/>
                  </a:cubicBezTo>
                  <a:cubicBezTo>
                    <a:pt x="98" y="191"/>
                    <a:pt x="97" y="191"/>
                    <a:pt x="97" y="192"/>
                  </a:cubicBezTo>
                  <a:cubicBezTo>
                    <a:pt x="97" y="193"/>
                    <a:pt x="98" y="193"/>
                    <a:pt x="99" y="193"/>
                  </a:cubicBezTo>
                  <a:cubicBezTo>
                    <a:pt x="101" y="194"/>
                    <a:pt x="102" y="194"/>
                    <a:pt x="104" y="195"/>
                  </a:cubicBezTo>
                  <a:cubicBezTo>
                    <a:pt x="106" y="196"/>
                    <a:pt x="106" y="196"/>
                    <a:pt x="107" y="197"/>
                  </a:cubicBezTo>
                  <a:cubicBezTo>
                    <a:pt x="107" y="197"/>
                    <a:pt x="108" y="198"/>
                    <a:pt x="108" y="198"/>
                  </a:cubicBezTo>
                  <a:cubicBezTo>
                    <a:pt x="109" y="198"/>
                    <a:pt x="109" y="199"/>
                    <a:pt x="109" y="199"/>
                  </a:cubicBezTo>
                  <a:cubicBezTo>
                    <a:pt x="111" y="200"/>
                    <a:pt x="112" y="200"/>
                    <a:pt x="113" y="199"/>
                  </a:cubicBezTo>
                  <a:cubicBezTo>
                    <a:pt x="116" y="198"/>
                    <a:pt x="118" y="197"/>
                    <a:pt x="121" y="197"/>
                  </a:cubicBezTo>
                  <a:cubicBezTo>
                    <a:pt x="123" y="197"/>
                    <a:pt x="123" y="197"/>
                    <a:pt x="124" y="199"/>
                  </a:cubicBezTo>
                  <a:cubicBezTo>
                    <a:pt x="124" y="199"/>
                    <a:pt x="125" y="200"/>
                    <a:pt x="125" y="200"/>
                  </a:cubicBezTo>
                  <a:cubicBezTo>
                    <a:pt x="126" y="201"/>
                    <a:pt x="126" y="201"/>
                    <a:pt x="127" y="202"/>
                  </a:cubicBezTo>
                  <a:cubicBezTo>
                    <a:pt x="127" y="202"/>
                    <a:pt x="128" y="203"/>
                    <a:pt x="129" y="203"/>
                  </a:cubicBezTo>
                  <a:cubicBezTo>
                    <a:pt x="130" y="204"/>
                    <a:pt x="131" y="204"/>
                    <a:pt x="132" y="204"/>
                  </a:cubicBezTo>
                  <a:cubicBezTo>
                    <a:pt x="133" y="205"/>
                    <a:pt x="135" y="205"/>
                    <a:pt x="136" y="205"/>
                  </a:cubicBezTo>
                  <a:cubicBezTo>
                    <a:pt x="136" y="206"/>
                    <a:pt x="137" y="207"/>
                    <a:pt x="137" y="208"/>
                  </a:cubicBezTo>
                  <a:cubicBezTo>
                    <a:pt x="136" y="209"/>
                    <a:pt x="136" y="209"/>
                    <a:pt x="135" y="210"/>
                  </a:cubicBezTo>
                  <a:cubicBezTo>
                    <a:pt x="135" y="211"/>
                    <a:pt x="134" y="212"/>
                    <a:pt x="134" y="213"/>
                  </a:cubicBezTo>
                  <a:cubicBezTo>
                    <a:pt x="133" y="214"/>
                    <a:pt x="133" y="214"/>
                    <a:pt x="132" y="214"/>
                  </a:cubicBezTo>
                  <a:cubicBezTo>
                    <a:pt x="132" y="215"/>
                    <a:pt x="132" y="215"/>
                    <a:pt x="132" y="216"/>
                  </a:cubicBezTo>
                  <a:cubicBezTo>
                    <a:pt x="131" y="218"/>
                    <a:pt x="130" y="219"/>
                    <a:pt x="129" y="221"/>
                  </a:cubicBezTo>
                  <a:cubicBezTo>
                    <a:pt x="129" y="222"/>
                    <a:pt x="129" y="223"/>
                    <a:pt x="128" y="224"/>
                  </a:cubicBezTo>
                  <a:cubicBezTo>
                    <a:pt x="128" y="226"/>
                    <a:pt x="128" y="227"/>
                    <a:pt x="127" y="228"/>
                  </a:cubicBezTo>
                  <a:cubicBezTo>
                    <a:pt x="126" y="229"/>
                    <a:pt x="126" y="229"/>
                    <a:pt x="126" y="231"/>
                  </a:cubicBezTo>
                  <a:cubicBezTo>
                    <a:pt x="126" y="231"/>
                    <a:pt x="126" y="232"/>
                    <a:pt x="126" y="233"/>
                  </a:cubicBezTo>
                  <a:cubicBezTo>
                    <a:pt x="126" y="234"/>
                    <a:pt x="125" y="238"/>
                    <a:pt x="126" y="239"/>
                  </a:cubicBezTo>
                  <a:cubicBezTo>
                    <a:pt x="127" y="241"/>
                    <a:pt x="131" y="240"/>
                    <a:pt x="133" y="240"/>
                  </a:cubicBezTo>
                  <a:cubicBezTo>
                    <a:pt x="134" y="240"/>
                    <a:pt x="135" y="241"/>
                    <a:pt x="137" y="241"/>
                  </a:cubicBezTo>
                  <a:cubicBezTo>
                    <a:pt x="139" y="243"/>
                    <a:pt x="142" y="243"/>
                    <a:pt x="145" y="243"/>
                  </a:cubicBezTo>
                  <a:cubicBezTo>
                    <a:pt x="145" y="243"/>
                    <a:pt x="145" y="243"/>
                    <a:pt x="145" y="243"/>
                  </a:cubicBezTo>
                  <a:cubicBezTo>
                    <a:pt x="146" y="242"/>
                    <a:pt x="146" y="241"/>
                    <a:pt x="146" y="241"/>
                  </a:cubicBezTo>
                  <a:cubicBezTo>
                    <a:pt x="147" y="240"/>
                    <a:pt x="148" y="240"/>
                    <a:pt x="149" y="239"/>
                  </a:cubicBezTo>
                  <a:cubicBezTo>
                    <a:pt x="149" y="239"/>
                    <a:pt x="148" y="239"/>
                    <a:pt x="148" y="238"/>
                  </a:cubicBezTo>
                  <a:cubicBezTo>
                    <a:pt x="148" y="238"/>
                    <a:pt x="148" y="237"/>
                    <a:pt x="149" y="236"/>
                  </a:cubicBezTo>
                  <a:cubicBezTo>
                    <a:pt x="149" y="235"/>
                    <a:pt x="149" y="235"/>
                    <a:pt x="149" y="233"/>
                  </a:cubicBezTo>
                  <a:cubicBezTo>
                    <a:pt x="149" y="233"/>
                    <a:pt x="149" y="233"/>
                    <a:pt x="149" y="232"/>
                  </a:cubicBezTo>
                  <a:cubicBezTo>
                    <a:pt x="149" y="232"/>
                    <a:pt x="149" y="231"/>
                    <a:pt x="149" y="230"/>
                  </a:cubicBezTo>
                  <a:cubicBezTo>
                    <a:pt x="150" y="229"/>
                    <a:pt x="150" y="227"/>
                    <a:pt x="151" y="226"/>
                  </a:cubicBezTo>
                  <a:cubicBezTo>
                    <a:pt x="151" y="224"/>
                    <a:pt x="151" y="222"/>
                    <a:pt x="151" y="221"/>
                  </a:cubicBezTo>
                  <a:cubicBezTo>
                    <a:pt x="151" y="220"/>
                    <a:pt x="150" y="219"/>
                    <a:pt x="150" y="219"/>
                  </a:cubicBezTo>
                  <a:cubicBezTo>
                    <a:pt x="149" y="219"/>
                    <a:pt x="149" y="219"/>
                    <a:pt x="149" y="219"/>
                  </a:cubicBezTo>
                  <a:cubicBezTo>
                    <a:pt x="149" y="219"/>
                    <a:pt x="149" y="219"/>
                    <a:pt x="149" y="219"/>
                  </a:cubicBezTo>
                  <a:cubicBezTo>
                    <a:pt x="149" y="219"/>
                    <a:pt x="148" y="219"/>
                    <a:pt x="147" y="219"/>
                  </a:cubicBezTo>
                  <a:cubicBezTo>
                    <a:pt x="146" y="219"/>
                    <a:pt x="146" y="219"/>
                    <a:pt x="146" y="219"/>
                  </a:cubicBezTo>
                  <a:cubicBezTo>
                    <a:pt x="145" y="217"/>
                    <a:pt x="146" y="215"/>
                    <a:pt x="146" y="213"/>
                  </a:cubicBezTo>
                  <a:cubicBezTo>
                    <a:pt x="147" y="212"/>
                    <a:pt x="146" y="212"/>
                    <a:pt x="148" y="212"/>
                  </a:cubicBezTo>
                  <a:cubicBezTo>
                    <a:pt x="149" y="211"/>
                    <a:pt x="149" y="211"/>
                    <a:pt x="150" y="210"/>
                  </a:cubicBezTo>
                  <a:cubicBezTo>
                    <a:pt x="150" y="209"/>
                    <a:pt x="152" y="209"/>
                    <a:pt x="153" y="208"/>
                  </a:cubicBezTo>
                  <a:cubicBezTo>
                    <a:pt x="152" y="207"/>
                    <a:pt x="152" y="207"/>
                    <a:pt x="152" y="206"/>
                  </a:cubicBezTo>
                  <a:cubicBezTo>
                    <a:pt x="152" y="206"/>
                    <a:pt x="152" y="205"/>
                    <a:pt x="152" y="205"/>
                  </a:cubicBezTo>
                  <a:cubicBezTo>
                    <a:pt x="152" y="204"/>
                    <a:pt x="152" y="204"/>
                    <a:pt x="151" y="204"/>
                  </a:cubicBezTo>
                  <a:cubicBezTo>
                    <a:pt x="151" y="203"/>
                    <a:pt x="152" y="203"/>
                    <a:pt x="153" y="202"/>
                  </a:cubicBezTo>
                  <a:cubicBezTo>
                    <a:pt x="154" y="199"/>
                    <a:pt x="152" y="196"/>
                    <a:pt x="154" y="194"/>
                  </a:cubicBezTo>
                  <a:cubicBezTo>
                    <a:pt x="154" y="193"/>
                    <a:pt x="155" y="193"/>
                    <a:pt x="155" y="192"/>
                  </a:cubicBezTo>
                  <a:cubicBezTo>
                    <a:pt x="156" y="191"/>
                    <a:pt x="157" y="191"/>
                    <a:pt x="157" y="190"/>
                  </a:cubicBezTo>
                  <a:cubicBezTo>
                    <a:pt x="158" y="189"/>
                    <a:pt x="158" y="190"/>
                    <a:pt x="158" y="188"/>
                  </a:cubicBezTo>
                  <a:cubicBezTo>
                    <a:pt x="158" y="187"/>
                    <a:pt x="158" y="185"/>
                    <a:pt x="158" y="184"/>
                  </a:cubicBezTo>
                  <a:cubicBezTo>
                    <a:pt x="157" y="182"/>
                    <a:pt x="157" y="179"/>
                    <a:pt x="157" y="177"/>
                  </a:cubicBezTo>
                  <a:cubicBezTo>
                    <a:pt x="156" y="176"/>
                    <a:pt x="156" y="176"/>
                    <a:pt x="156" y="175"/>
                  </a:cubicBezTo>
                  <a:cubicBezTo>
                    <a:pt x="156" y="174"/>
                    <a:pt x="156" y="173"/>
                    <a:pt x="156" y="172"/>
                  </a:cubicBezTo>
                  <a:cubicBezTo>
                    <a:pt x="156" y="171"/>
                    <a:pt x="155" y="170"/>
                    <a:pt x="155" y="169"/>
                  </a:cubicBezTo>
                  <a:cubicBezTo>
                    <a:pt x="155" y="169"/>
                    <a:pt x="155" y="169"/>
                    <a:pt x="155" y="168"/>
                  </a:cubicBezTo>
                  <a:cubicBezTo>
                    <a:pt x="154" y="167"/>
                    <a:pt x="152" y="167"/>
                    <a:pt x="151" y="165"/>
                  </a:cubicBezTo>
                  <a:cubicBezTo>
                    <a:pt x="150" y="164"/>
                    <a:pt x="151" y="162"/>
                    <a:pt x="150" y="160"/>
                  </a:cubicBezTo>
                  <a:cubicBezTo>
                    <a:pt x="150" y="158"/>
                    <a:pt x="147" y="157"/>
                    <a:pt x="146" y="156"/>
                  </a:cubicBezTo>
                  <a:cubicBezTo>
                    <a:pt x="145" y="155"/>
                    <a:pt x="145" y="155"/>
                    <a:pt x="145" y="153"/>
                  </a:cubicBezTo>
                  <a:cubicBezTo>
                    <a:pt x="145" y="153"/>
                    <a:pt x="145" y="152"/>
                    <a:pt x="145" y="151"/>
                  </a:cubicBezTo>
                  <a:cubicBezTo>
                    <a:pt x="145" y="149"/>
                    <a:pt x="146" y="146"/>
                    <a:pt x="148" y="146"/>
                  </a:cubicBezTo>
                  <a:cubicBezTo>
                    <a:pt x="150" y="146"/>
                    <a:pt x="151" y="146"/>
                    <a:pt x="153" y="146"/>
                  </a:cubicBezTo>
                  <a:cubicBezTo>
                    <a:pt x="153" y="146"/>
                    <a:pt x="153" y="145"/>
                    <a:pt x="153" y="144"/>
                  </a:cubicBezTo>
                  <a:cubicBezTo>
                    <a:pt x="153" y="141"/>
                    <a:pt x="156" y="141"/>
                    <a:pt x="158" y="141"/>
                  </a:cubicBezTo>
                  <a:cubicBezTo>
                    <a:pt x="160" y="142"/>
                    <a:pt x="162" y="143"/>
                    <a:pt x="164" y="144"/>
                  </a:cubicBezTo>
                  <a:cubicBezTo>
                    <a:pt x="165" y="145"/>
                    <a:pt x="166" y="145"/>
                    <a:pt x="167" y="145"/>
                  </a:cubicBezTo>
                  <a:cubicBezTo>
                    <a:pt x="168" y="145"/>
                    <a:pt x="170" y="145"/>
                    <a:pt x="171" y="145"/>
                  </a:cubicBezTo>
                  <a:cubicBezTo>
                    <a:pt x="172" y="145"/>
                    <a:pt x="173" y="144"/>
                    <a:pt x="174" y="144"/>
                  </a:cubicBezTo>
                  <a:cubicBezTo>
                    <a:pt x="176" y="144"/>
                    <a:pt x="175" y="144"/>
                    <a:pt x="176" y="143"/>
                  </a:cubicBezTo>
                  <a:cubicBezTo>
                    <a:pt x="177" y="142"/>
                    <a:pt x="179" y="142"/>
                    <a:pt x="180" y="142"/>
                  </a:cubicBezTo>
                  <a:cubicBezTo>
                    <a:pt x="182" y="141"/>
                    <a:pt x="185" y="139"/>
                    <a:pt x="187" y="138"/>
                  </a:cubicBezTo>
                  <a:cubicBezTo>
                    <a:pt x="188" y="138"/>
                    <a:pt x="189" y="137"/>
                    <a:pt x="189" y="136"/>
                  </a:cubicBezTo>
                  <a:cubicBezTo>
                    <a:pt x="190" y="134"/>
                    <a:pt x="189" y="134"/>
                    <a:pt x="188" y="133"/>
                  </a:cubicBezTo>
                  <a:cubicBezTo>
                    <a:pt x="188" y="132"/>
                    <a:pt x="188" y="130"/>
                    <a:pt x="188" y="129"/>
                  </a:cubicBezTo>
                  <a:cubicBezTo>
                    <a:pt x="188" y="128"/>
                    <a:pt x="188" y="127"/>
                    <a:pt x="188" y="126"/>
                  </a:cubicBezTo>
                  <a:cubicBezTo>
                    <a:pt x="188" y="126"/>
                    <a:pt x="188" y="125"/>
                    <a:pt x="189" y="124"/>
                  </a:cubicBezTo>
                  <a:cubicBezTo>
                    <a:pt x="189" y="124"/>
                    <a:pt x="189" y="124"/>
                    <a:pt x="190" y="124"/>
                  </a:cubicBezTo>
                  <a:cubicBezTo>
                    <a:pt x="190" y="123"/>
                    <a:pt x="191" y="123"/>
                    <a:pt x="191" y="122"/>
                  </a:cubicBezTo>
                  <a:cubicBezTo>
                    <a:pt x="193" y="120"/>
                    <a:pt x="195" y="119"/>
                    <a:pt x="197" y="117"/>
                  </a:cubicBezTo>
                  <a:cubicBezTo>
                    <a:pt x="198" y="116"/>
                    <a:pt x="198" y="115"/>
                    <a:pt x="199" y="114"/>
                  </a:cubicBezTo>
                  <a:cubicBezTo>
                    <a:pt x="201" y="114"/>
                    <a:pt x="202" y="113"/>
                    <a:pt x="203" y="112"/>
                  </a:cubicBezTo>
                  <a:cubicBezTo>
                    <a:pt x="205" y="110"/>
                    <a:pt x="203" y="107"/>
                    <a:pt x="204" y="105"/>
                  </a:cubicBezTo>
                  <a:cubicBezTo>
                    <a:pt x="204" y="104"/>
                    <a:pt x="205" y="104"/>
                    <a:pt x="205" y="103"/>
                  </a:cubicBezTo>
                  <a:cubicBezTo>
                    <a:pt x="206" y="102"/>
                    <a:pt x="206" y="100"/>
                    <a:pt x="206" y="99"/>
                  </a:cubicBezTo>
                  <a:cubicBezTo>
                    <a:pt x="205" y="98"/>
                    <a:pt x="205" y="98"/>
                    <a:pt x="204" y="97"/>
                  </a:cubicBezTo>
                  <a:cubicBezTo>
                    <a:pt x="204" y="97"/>
                    <a:pt x="204" y="96"/>
                    <a:pt x="204" y="96"/>
                  </a:cubicBezTo>
                  <a:cubicBezTo>
                    <a:pt x="204" y="96"/>
                    <a:pt x="204" y="95"/>
                    <a:pt x="203" y="95"/>
                  </a:cubicBezTo>
                  <a:cubicBezTo>
                    <a:pt x="203" y="95"/>
                    <a:pt x="203" y="95"/>
                    <a:pt x="203" y="95"/>
                  </a:cubicBezTo>
                  <a:cubicBezTo>
                    <a:pt x="199" y="93"/>
                    <a:pt x="182" y="94"/>
                    <a:pt x="185" y="85"/>
                  </a:cubicBezTo>
                  <a:cubicBezTo>
                    <a:pt x="186" y="83"/>
                    <a:pt x="185" y="83"/>
                    <a:pt x="183" y="81"/>
                  </a:cubicBezTo>
                  <a:cubicBezTo>
                    <a:pt x="183" y="81"/>
                    <a:pt x="182" y="80"/>
                    <a:pt x="182" y="80"/>
                  </a:cubicBezTo>
                  <a:cubicBezTo>
                    <a:pt x="181" y="80"/>
                    <a:pt x="180" y="78"/>
                    <a:pt x="180" y="78"/>
                  </a:cubicBezTo>
                  <a:cubicBezTo>
                    <a:pt x="179" y="77"/>
                    <a:pt x="179" y="76"/>
                    <a:pt x="180" y="76"/>
                  </a:cubicBezTo>
                  <a:cubicBezTo>
                    <a:pt x="181" y="76"/>
                    <a:pt x="182" y="74"/>
                    <a:pt x="183" y="74"/>
                  </a:cubicBezTo>
                  <a:cubicBezTo>
                    <a:pt x="184" y="74"/>
                    <a:pt x="186" y="74"/>
                    <a:pt x="187" y="74"/>
                  </a:cubicBezTo>
                  <a:cubicBezTo>
                    <a:pt x="189" y="74"/>
                    <a:pt x="191" y="74"/>
                    <a:pt x="193" y="74"/>
                  </a:cubicBezTo>
                  <a:cubicBezTo>
                    <a:pt x="194" y="73"/>
                    <a:pt x="194" y="73"/>
                    <a:pt x="195" y="72"/>
                  </a:cubicBezTo>
                  <a:cubicBezTo>
                    <a:pt x="195" y="71"/>
                    <a:pt x="195" y="71"/>
                    <a:pt x="197" y="71"/>
                  </a:cubicBezTo>
                  <a:cubicBezTo>
                    <a:pt x="198" y="71"/>
                    <a:pt x="200" y="72"/>
                    <a:pt x="201" y="71"/>
                  </a:cubicBezTo>
                  <a:cubicBezTo>
                    <a:pt x="202" y="71"/>
                    <a:pt x="203" y="69"/>
                    <a:pt x="204" y="68"/>
                  </a:cubicBezTo>
                  <a:cubicBezTo>
                    <a:pt x="205" y="67"/>
                    <a:pt x="208" y="67"/>
                    <a:pt x="209" y="65"/>
                  </a:cubicBezTo>
                  <a:cubicBezTo>
                    <a:pt x="209" y="64"/>
                    <a:pt x="208" y="64"/>
                    <a:pt x="208" y="63"/>
                  </a:cubicBezTo>
                  <a:cubicBezTo>
                    <a:pt x="206" y="60"/>
                    <a:pt x="207" y="59"/>
                    <a:pt x="209" y="57"/>
                  </a:cubicBezTo>
                  <a:cubicBezTo>
                    <a:pt x="209" y="56"/>
                    <a:pt x="210" y="56"/>
                    <a:pt x="210" y="55"/>
                  </a:cubicBezTo>
                  <a:cubicBezTo>
                    <a:pt x="212" y="54"/>
                    <a:pt x="212" y="53"/>
                    <a:pt x="213" y="51"/>
                  </a:cubicBezTo>
                  <a:cubicBezTo>
                    <a:pt x="214" y="49"/>
                    <a:pt x="214" y="47"/>
                    <a:pt x="214" y="44"/>
                  </a:cubicBezTo>
                  <a:cubicBezTo>
                    <a:pt x="214" y="42"/>
                    <a:pt x="213" y="39"/>
                    <a:pt x="214" y="37"/>
                  </a:cubicBezTo>
                  <a:cubicBezTo>
                    <a:pt x="214" y="36"/>
                    <a:pt x="214" y="36"/>
                    <a:pt x="214" y="35"/>
                  </a:cubicBezTo>
                  <a:cubicBezTo>
                    <a:pt x="215" y="33"/>
                    <a:pt x="215" y="32"/>
                    <a:pt x="215" y="31"/>
                  </a:cubicBezTo>
                  <a:cubicBezTo>
                    <a:pt x="215" y="28"/>
                    <a:pt x="215" y="25"/>
                    <a:pt x="215" y="22"/>
                  </a:cubicBezTo>
                  <a:cubicBezTo>
                    <a:pt x="215" y="20"/>
                    <a:pt x="216" y="18"/>
                    <a:pt x="216" y="16"/>
                  </a:cubicBezTo>
                  <a:cubicBezTo>
                    <a:pt x="213" y="14"/>
                    <a:pt x="213" y="14"/>
                    <a:pt x="213" y="14"/>
                  </a:cubicBezTo>
                  <a:cubicBezTo>
                    <a:pt x="212" y="14"/>
                    <a:pt x="212" y="14"/>
                    <a:pt x="211" y="14"/>
                  </a:cubicBezTo>
                  <a:cubicBezTo>
                    <a:pt x="210" y="14"/>
                    <a:pt x="209" y="14"/>
                    <a:pt x="209" y="14"/>
                  </a:cubicBezTo>
                  <a:cubicBezTo>
                    <a:pt x="208" y="13"/>
                    <a:pt x="208" y="11"/>
                    <a:pt x="207" y="10"/>
                  </a:cubicBezTo>
                  <a:lnTo>
                    <a:pt x="206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8" name="Freeform 98"/>
            <p:cNvSpPr>
              <a:spLocks/>
            </p:cNvSpPr>
            <p:nvPr/>
          </p:nvSpPr>
          <p:spPr bwMode="auto">
            <a:xfrm>
              <a:off x="3946525" y="4025900"/>
              <a:ext cx="22225" cy="30163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1" y="10"/>
                </a:cxn>
                <a:cxn ang="0">
                  <a:pos x="1" y="14"/>
                </a:cxn>
                <a:cxn ang="0">
                  <a:pos x="5" y="16"/>
                </a:cxn>
                <a:cxn ang="0">
                  <a:pos x="12" y="6"/>
                </a:cxn>
                <a:cxn ang="0">
                  <a:pos x="10" y="1"/>
                </a:cxn>
                <a:cxn ang="0">
                  <a:pos x="7" y="0"/>
                </a:cxn>
                <a:cxn ang="0">
                  <a:pos x="6" y="0"/>
                </a:cxn>
                <a:cxn ang="0">
                  <a:pos x="4" y="5"/>
                </a:cxn>
              </a:cxnLst>
              <a:rect l="0" t="0" r="r" b="b"/>
              <a:pathLst>
                <a:path w="12" h="16">
                  <a:moveTo>
                    <a:pt x="4" y="5"/>
                  </a:moveTo>
                  <a:cubicBezTo>
                    <a:pt x="3" y="6"/>
                    <a:pt x="2" y="8"/>
                    <a:pt x="1" y="10"/>
                  </a:cubicBezTo>
                  <a:cubicBezTo>
                    <a:pt x="0" y="11"/>
                    <a:pt x="0" y="13"/>
                    <a:pt x="1" y="14"/>
                  </a:cubicBezTo>
                  <a:cubicBezTo>
                    <a:pt x="2" y="15"/>
                    <a:pt x="4" y="16"/>
                    <a:pt x="5" y="16"/>
                  </a:cubicBezTo>
                  <a:cubicBezTo>
                    <a:pt x="9" y="16"/>
                    <a:pt x="12" y="10"/>
                    <a:pt x="12" y="6"/>
                  </a:cubicBezTo>
                  <a:cubicBezTo>
                    <a:pt x="12" y="4"/>
                    <a:pt x="11" y="2"/>
                    <a:pt x="10" y="1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5" y="4"/>
                    <a:pt x="4" y="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9" name="Freeform 99"/>
            <p:cNvSpPr>
              <a:spLocks/>
            </p:cNvSpPr>
            <p:nvPr/>
          </p:nvSpPr>
          <p:spPr bwMode="auto">
            <a:xfrm>
              <a:off x="3970338" y="4002088"/>
              <a:ext cx="14288" cy="1270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3" y="3"/>
                </a:cxn>
                <a:cxn ang="0">
                  <a:pos x="2" y="5"/>
                </a:cxn>
                <a:cxn ang="0">
                  <a:pos x="2" y="7"/>
                </a:cxn>
                <a:cxn ang="0">
                  <a:pos x="4" y="6"/>
                </a:cxn>
                <a:cxn ang="0">
                  <a:pos x="5" y="5"/>
                </a:cxn>
                <a:cxn ang="0">
                  <a:pos x="7" y="3"/>
                </a:cxn>
                <a:cxn ang="0">
                  <a:pos x="8" y="2"/>
                </a:cxn>
                <a:cxn ang="0">
                  <a:pos x="8" y="1"/>
                </a:cxn>
                <a:cxn ang="0">
                  <a:pos x="7" y="0"/>
                </a:cxn>
              </a:cxnLst>
              <a:rect l="0" t="0" r="r" b="b"/>
              <a:pathLst>
                <a:path w="8" h="7">
                  <a:moveTo>
                    <a:pt x="7" y="0"/>
                  </a:moveTo>
                  <a:cubicBezTo>
                    <a:pt x="6" y="1"/>
                    <a:pt x="4" y="1"/>
                    <a:pt x="3" y="3"/>
                  </a:cubicBezTo>
                  <a:cubicBezTo>
                    <a:pt x="3" y="3"/>
                    <a:pt x="2" y="4"/>
                    <a:pt x="2" y="5"/>
                  </a:cubicBezTo>
                  <a:cubicBezTo>
                    <a:pt x="1" y="5"/>
                    <a:pt x="0" y="7"/>
                    <a:pt x="2" y="7"/>
                  </a:cubicBezTo>
                  <a:cubicBezTo>
                    <a:pt x="2" y="7"/>
                    <a:pt x="3" y="6"/>
                    <a:pt x="4" y="6"/>
                  </a:cubicBezTo>
                  <a:cubicBezTo>
                    <a:pt x="4" y="5"/>
                    <a:pt x="5" y="5"/>
                    <a:pt x="5" y="5"/>
                  </a:cubicBezTo>
                  <a:cubicBezTo>
                    <a:pt x="6" y="4"/>
                    <a:pt x="7" y="4"/>
                    <a:pt x="7" y="3"/>
                  </a:cubicBezTo>
                  <a:cubicBezTo>
                    <a:pt x="7" y="3"/>
                    <a:pt x="7" y="3"/>
                    <a:pt x="8" y="2"/>
                  </a:cubicBezTo>
                  <a:cubicBezTo>
                    <a:pt x="8" y="2"/>
                    <a:pt x="8" y="2"/>
                    <a:pt x="8" y="1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0" name="Freeform 100"/>
            <p:cNvSpPr>
              <a:spLocks/>
            </p:cNvSpPr>
            <p:nvPr/>
          </p:nvSpPr>
          <p:spPr bwMode="auto">
            <a:xfrm>
              <a:off x="3994150" y="3984625"/>
              <a:ext cx="26988" cy="14288"/>
            </a:xfrm>
            <a:custGeom>
              <a:avLst/>
              <a:gdLst/>
              <a:ahLst/>
              <a:cxnLst>
                <a:cxn ang="0">
                  <a:pos x="10" y="1"/>
                </a:cxn>
                <a:cxn ang="0">
                  <a:pos x="9" y="1"/>
                </a:cxn>
                <a:cxn ang="0">
                  <a:pos x="5" y="2"/>
                </a:cxn>
                <a:cxn ang="0">
                  <a:pos x="2" y="4"/>
                </a:cxn>
                <a:cxn ang="0">
                  <a:pos x="1" y="6"/>
                </a:cxn>
                <a:cxn ang="0">
                  <a:pos x="6" y="6"/>
                </a:cxn>
                <a:cxn ang="0">
                  <a:pos x="12" y="3"/>
                </a:cxn>
                <a:cxn ang="0">
                  <a:pos x="13" y="1"/>
                </a:cxn>
                <a:cxn ang="0">
                  <a:pos x="11" y="1"/>
                </a:cxn>
                <a:cxn ang="0">
                  <a:pos x="10" y="1"/>
                </a:cxn>
              </a:cxnLst>
              <a:rect l="0" t="0" r="r" b="b"/>
              <a:pathLst>
                <a:path w="14" h="7">
                  <a:moveTo>
                    <a:pt x="10" y="1"/>
                  </a:moveTo>
                  <a:cubicBezTo>
                    <a:pt x="10" y="1"/>
                    <a:pt x="9" y="1"/>
                    <a:pt x="9" y="1"/>
                  </a:cubicBezTo>
                  <a:cubicBezTo>
                    <a:pt x="8" y="2"/>
                    <a:pt x="6" y="2"/>
                    <a:pt x="5" y="2"/>
                  </a:cubicBezTo>
                  <a:cubicBezTo>
                    <a:pt x="4" y="3"/>
                    <a:pt x="3" y="3"/>
                    <a:pt x="2" y="4"/>
                  </a:cubicBezTo>
                  <a:cubicBezTo>
                    <a:pt x="1" y="5"/>
                    <a:pt x="0" y="6"/>
                    <a:pt x="1" y="6"/>
                  </a:cubicBezTo>
                  <a:cubicBezTo>
                    <a:pt x="3" y="7"/>
                    <a:pt x="4" y="7"/>
                    <a:pt x="6" y="6"/>
                  </a:cubicBezTo>
                  <a:cubicBezTo>
                    <a:pt x="8" y="6"/>
                    <a:pt x="10" y="5"/>
                    <a:pt x="12" y="3"/>
                  </a:cubicBezTo>
                  <a:cubicBezTo>
                    <a:pt x="12" y="3"/>
                    <a:pt x="14" y="2"/>
                    <a:pt x="13" y="1"/>
                  </a:cubicBezTo>
                  <a:cubicBezTo>
                    <a:pt x="13" y="0"/>
                    <a:pt x="12" y="1"/>
                    <a:pt x="11" y="1"/>
                  </a:cubicBez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1" name="Freeform 101"/>
            <p:cNvSpPr>
              <a:spLocks/>
            </p:cNvSpPr>
            <p:nvPr/>
          </p:nvSpPr>
          <p:spPr bwMode="auto">
            <a:xfrm>
              <a:off x="4046538" y="3973513"/>
              <a:ext cx="28575" cy="7938"/>
            </a:xfrm>
            <a:custGeom>
              <a:avLst/>
              <a:gdLst/>
              <a:ahLst/>
              <a:cxnLst>
                <a:cxn ang="0">
                  <a:pos x="9" y="1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4"/>
                </a:cxn>
                <a:cxn ang="0">
                  <a:pos x="4" y="4"/>
                </a:cxn>
                <a:cxn ang="0">
                  <a:pos x="11" y="3"/>
                </a:cxn>
                <a:cxn ang="0">
                  <a:pos x="14" y="1"/>
                </a:cxn>
                <a:cxn ang="0">
                  <a:pos x="12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5" y="1"/>
                </a:cxn>
                <a:cxn ang="0">
                  <a:pos x="9" y="1"/>
                </a:cxn>
              </a:cxnLst>
              <a:rect l="0" t="0" r="r" b="b"/>
              <a:pathLst>
                <a:path w="15" h="4">
                  <a:moveTo>
                    <a:pt x="9" y="1"/>
                  </a:moveTo>
                  <a:cubicBezTo>
                    <a:pt x="6" y="1"/>
                    <a:pt x="3" y="1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1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7" y="4"/>
                    <a:pt x="9" y="4"/>
                    <a:pt x="11" y="3"/>
                  </a:cubicBezTo>
                  <a:cubicBezTo>
                    <a:pt x="12" y="3"/>
                    <a:pt x="15" y="2"/>
                    <a:pt x="14" y="1"/>
                  </a:cubicBezTo>
                  <a:cubicBezTo>
                    <a:pt x="14" y="1"/>
                    <a:pt x="13" y="0"/>
                    <a:pt x="12" y="0"/>
                  </a:cubicBezTo>
                  <a:cubicBezTo>
                    <a:pt x="11" y="0"/>
                    <a:pt x="10" y="0"/>
                    <a:pt x="9" y="0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6" y="1"/>
                    <a:pt x="6" y="1"/>
                    <a:pt x="5" y="1"/>
                  </a:cubicBezTo>
                  <a:lnTo>
                    <a:pt x="9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2" name="Freeform 102"/>
            <p:cNvSpPr>
              <a:spLocks/>
            </p:cNvSpPr>
            <p:nvPr/>
          </p:nvSpPr>
          <p:spPr bwMode="auto">
            <a:xfrm>
              <a:off x="4095750" y="3968750"/>
              <a:ext cx="20638" cy="4763"/>
            </a:xfrm>
            <a:custGeom>
              <a:avLst/>
              <a:gdLst/>
              <a:ahLst/>
              <a:cxnLst>
                <a:cxn ang="0">
                  <a:pos x="9" y="1"/>
                </a:cxn>
                <a:cxn ang="0">
                  <a:pos x="9" y="0"/>
                </a:cxn>
                <a:cxn ang="0">
                  <a:pos x="5" y="1"/>
                </a:cxn>
                <a:cxn ang="0">
                  <a:pos x="1" y="1"/>
                </a:cxn>
                <a:cxn ang="0">
                  <a:pos x="2" y="2"/>
                </a:cxn>
                <a:cxn ang="0">
                  <a:pos x="5" y="3"/>
                </a:cxn>
                <a:cxn ang="0">
                  <a:pos x="9" y="3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9" y="1"/>
                </a:cxn>
              </a:cxnLst>
              <a:rect l="0" t="0" r="r" b="b"/>
              <a:pathLst>
                <a:path w="11" h="3">
                  <a:moveTo>
                    <a:pt x="9" y="1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4" y="1"/>
                    <a:pt x="2" y="1"/>
                    <a:pt x="1" y="1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3" y="2"/>
                    <a:pt x="4" y="3"/>
                    <a:pt x="5" y="3"/>
                  </a:cubicBezTo>
                  <a:cubicBezTo>
                    <a:pt x="6" y="3"/>
                    <a:pt x="7" y="3"/>
                    <a:pt x="9" y="3"/>
                  </a:cubicBezTo>
                  <a:cubicBezTo>
                    <a:pt x="9" y="3"/>
                    <a:pt x="10" y="3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lnTo>
                    <a:pt x="9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3" name="Freeform 103"/>
            <p:cNvSpPr>
              <a:spLocks/>
            </p:cNvSpPr>
            <p:nvPr/>
          </p:nvSpPr>
          <p:spPr bwMode="auto">
            <a:xfrm>
              <a:off x="2676525" y="2338388"/>
              <a:ext cx="114300" cy="109538"/>
            </a:xfrm>
            <a:custGeom>
              <a:avLst/>
              <a:gdLst/>
              <a:ahLst/>
              <a:cxnLst>
                <a:cxn ang="0">
                  <a:pos x="50" y="10"/>
                </a:cxn>
                <a:cxn ang="0">
                  <a:pos x="48" y="3"/>
                </a:cxn>
                <a:cxn ang="0">
                  <a:pos x="43" y="2"/>
                </a:cxn>
                <a:cxn ang="0">
                  <a:pos x="42" y="6"/>
                </a:cxn>
                <a:cxn ang="0">
                  <a:pos x="39" y="13"/>
                </a:cxn>
                <a:cxn ang="0">
                  <a:pos x="38" y="17"/>
                </a:cxn>
                <a:cxn ang="0">
                  <a:pos x="35" y="14"/>
                </a:cxn>
                <a:cxn ang="0">
                  <a:pos x="31" y="8"/>
                </a:cxn>
                <a:cxn ang="0">
                  <a:pos x="32" y="19"/>
                </a:cxn>
                <a:cxn ang="0">
                  <a:pos x="24" y="14"/>
                </a:cxn>
                <a:cxn ang="0">
                  <a:pos x="20" y="18"/>
                </a:cxn>
                <a:cxn ang="0">
                  <a:pos x="13" y="18"/>
                </a:cxn>
                <a:cxn ang="0">
                  <a:pos x="10" y="24"/>
                </a:cxn>
                <a:cxn ang="0">
                  <a:pos x="6" y="19"/>
                </a:cxn>
                <a:cxn ang="0">
                  <a:pos x="7" y="31"/>
                </a:cxn>
                <a:cxn ang="0">
                  <a:pos x="4" y="33"/>
                </a:cxn>
                <a:cxn ang="0">
                  <a:pos x="0" y="38"/>
                </a:cxn>
                <a:cxn ang="0">
                  <a:pos x="2" y="43"/>
                </a:cxn>
                <a:cxn ang="0">
                  <a:pos x="4" y="47"/>
                </a:cxn>
                <a:cxn ang="0">
                  <a:pos x="7" y="47"/>
                </a:cxn>
                <a:cxn ang="0">
                  <a:pos x="12" y="50"/>
                </a:cxn>
                <a:cxn ang="0">
                  <a:pos x="21" y="50"/>
                </a:cxn>
                <a:cxn ang="0">
                  <a:pos x="23" y="52"/>
                </a:cxn>
                <a:cxn ang="0">
                  <a:pos x="31" y="54"/>
                </a:cxn>
                <a:cxn ang="0">
                  <a:pos x="33" y="58"/>
                </a:cxn>
                <a:cxn ang="0">
                  <a:pos x="42" y="54"/>
                </a:cxn>
                <a:cxn ang="0">
                  <a:pos x="34" y="50"/>
                </a:cxn>
                <a:cxn ang="0">
                  <a:pos x="40" y="45"/>
                </a:cxn>
                <a:cxn ang="0">
                  <a:pos x="39" y="37"/>
                </a:cxn>
                <a:cxn ang="0">
                  <a:pos x="40" y="34"/>
                </a:cxn>
                <a:cxn ang="0">
                  <a:pos x="44" y="34"/>
                </a:cxn>
                <a:cxn ang="0">
                  <a:pos x="45" y="33"/>
                </a:cxn>
                <a:cxn ang="0">
                  <a:pos x="49" y="33"/>
                </a:cxn>
                <a:cxn ang="0">
                  <a:pos x="61" y="30"/>
                </a:cxn>
                <a:cxn ang="0">
                  <a:pos x="55" y="18"/>
                </a:cxn>
                <a:cxn ang="0">
                  <a:pos x="57" y="11"/>
                </a:cxn>
                <a:cxn ang="0">
                  <a:pos x="52" y="10"/>
                </a:cxn>
                <a:cxn ang="0">
                  <a:pos x="52" y="9"/>
                </a:cxn>
                <a:cxn ang="0">
                  <a:pos x="50" y="10"/>
                </a:cxn>
              </a:cxnLst>
              <a:rect l="0" t="0" r="r" b="b"/>
              <a:pathLst>
                <a:path w="61" h="59">
                  <a:moveTo>
                    <a:pt x="50" y="10"/>
                  </a:moveTo>
                  <a:cubicBezTo>
                    <a:pt x="50" y="7"/>
                    <a:pt x="50" y="5"/>
                    <a:pt x="48" y="3"/>
                  </a:cubicBezTo>
                  <a:cubicBezTo>
                    <a:pt x="47" y="2"/>
                    <a:pt x="45" y="0"/>
                    <a:pt x="43" y="2"/>
                  </a:cubicBezTo>
                  <a:cubicBezTo>
                    <a:pt x="43" y="2"/>
                    <a:pt x="43" y="5"/>
                    <a:pt x="42" y="6"/>
                  </a:cubicBezTo>
                  <a:cubicBezTo>
                    <a:pt x="41" y="8"/>
                    <a:pt x="39" y="10"/>
                    <a:pt x="39" y="13"/>
                  </a:cubicBezTo>
                  <a:cubicBezTo>
                    <a:pt x="37" y="13"/>
                    <a:pt x="36" y="16"/>
                    <a:pt x="38" y="17"/>
                  </a:cubicBezTo>
                  <a:cubicBezTo>
                    <a:pt x="41" y="15"/>
                    <a:pt x="35" y="9"/>
                    <a:pt x="35" y="14"/>
                  </a:cubicBezTo>
                  <a:cubicBezTo>
                    <a:pt x="35" y="11"/>
                    <a:pt x="33" y="9"/>
                    <a:pt x="31" y="8"/>
                  </a:cubicBezTo>
                  <a:cubicBezTo>
                    <a:pt x="29" y="11"/>
                    <a:pt x="33" y="16"/>
                    <a:pt x="32" y="19"/>
                  </a:cubicBezTo>
                  <a:cubicBezTo>
                    <a:pt x="29" y="19"/>
                    <a:pt x="27" y="14"/>
                    <a:pt x="24" y="14"/>
                  </a:cubicBezTo>
                  <a:cubicBezTo>
                    <a:pt x="21" y="14"/>
                    <a:pt x="20" y="15"/>
                    <a:pt x="20" y="18"/>
                  </a:cubicBezTo>
                  <a:cubicBezTo>
                    <a:pt x="18" y="19"/>
                    <a:pt x="15" y="18"/>
                    <a:pt x="13" y="18"/>
                  </a:cubicBezTo>
                  <a:cubicBezTo>
                    <a:pt x="13" y="19"/>
                    <a:pt x="12" y="24"/>
                    <a:pt x="10" y="24"/>
                  </a:cubicBezTo>
                  <a:cubicBezTo>
                    <a:pt x="9" y="22"/>
                    <a:pt x="8" y="19"/>
                    <a:pt x="6" y="19"/>
                  </a:cubicBezTo>
                  <a:cubicBezTo>
                    <a:pt x="5" y="23"/>
                    <a:pt x="8" y="27"/>
                    <a:pt x="7" y="31"/>
                  </a:cubicBezTo>
                  <a:cubicBezTo>
                    <a:pt x="5" y="31"/>
                    <a:pt x="5" y="32"/>
                    <a:pt x="4" y="33"/>
                  </a:cubicBezTo>
                  <a:cubicBezTo>
                    <a:pt x="2" y="35"/>
                    <a:pt x="0" y="36"/>
                    <a:pt x="0" y="38"/>
                  </a:cubicBezTo>
                  <a:cubicBezTo>
                    <a:pt x="0" y="41"/>
                    <a:pt x="1" y="41"/>
                    <a:pt x="2" y="43"/>
                  </a:cubicBezTo>
                  <a:cubicBezTo>
                    <a:pt x="3" y="44"/>
                    <a:pt x="3" y="46"/>
                    <a:pt x="4" y="47"/>
                  </a:cubicBezTo>
                  <a:cubicBezTo>
                    <a:pt x="5" y="48"/>
                    <a:pt x="6" y="47"/>
                    <a:pt x="7" y="47"/>
                  </a:cubicBezTo>
                  <a:cubicBezTo>
                    <a:pt x="10" y="48"/>
                    <a:pt x="8" y="50"/>
                    <a:pt x="12" y="50"/>
                  </a:cubicBezTo>
                  <a:cubicBezTo>
                    <a:pt x="14" y="50"/>
                    <a:pt x="19" y="49"/>
                    <a:pt x="21" y="50"/>
                  </a:cubicBezTo>
                  <a:cubicBezTo>
                    <a:pt x="22" y="50"/>
                    <a:pt x="22" y="52"/>
                    <a:pt x="23" y="52"/>
                  </a:cubicBezTo>
                  <a:cubicBezTo>
                    <a:pt x="25" y="53"/>
                    <a:pt x="29" y="52"/>
                    <a:pt x="31" y="54"/>
                  </a:cubicBezTo>
                  <a:cubicBezTo>
                    <a:pt x="32" y="54"/>
                    <a:pt x="33" y="56"/>
                    <a:pt x="33" y="58"/>
                  </a:cubicBezTo>
                  <a:cubicBezTo>
                    <a:pt x="36" y="59"/>
                    <a:pt x="40" y="56"/>
                    <a:pt x="42" y="54"/>
                  </a:cubicBezTo>
                  <a:cubicBezTo>
                    <a:pt x="39" y="54"/>
                    <a:pt x="36" y="51"/>
                    <a:pt x="34" y="50"/>
                  </a:cubicBezTo>
                  <a:cubicBezTo>
                    <a:pt x="36" y="49"/>
                    <a:pt x="39" y="48"/>
                    <a:pt x="40" y="45"/>
                  </a:cubicBezTo>
                  <a:cubicBezTo>
                    <a:pt x="47" y="45"/>
                    <a:pt x="39" y="40"/>
                    <a:pt x="39" y="37"/>
                  </a:cubicBezTo>
                  <a:cubicBezTo>
                    <a:pt x="39" y="36"/>
                    <a:pt x="40" y="34"/>
                    <a:pt x="40" y="34"/>
                  </a:cubicBezTo>
                  <a:cubicBezTo>
                    <a:pt x="42" y="33"/>
                    <a:pt x="42" y="34"/>
                    <a:pt x="44" y="34"/>
                  </a:cubicBezTo>
                  <a:cubicBezTo>
                    <a:pt x="45" y="34"/>
                    <a:pt x="45" y="33"/>
                    <a:pt x="45" y="33"/>
                  </a:cubicBezTo>
                  <a:cubicBezTo>
                    <a:pt x="46" y="32"/>
                    <a:pt x="47" y="33"/>
                    <a:pt x="49" y="33"/>
                  </a:cubicBezTo>
                  <a:cubicBezTo>
                    <a:pt x="52" y="33"/>
                    <a:pt x="61" y="35"/>
                    <a:pt x="61" y="30"/>
                  </a:cubicBezTo>
                  <a:cubicBezTo>
                    <a:pt x="60" y="25"/>
                    <a:pt x="55" y="23"/>
                    <a:pt x="55" y="18"/>
                  </a:cubicBezTo>
                  <a:cubicBezTo>
                    <a:pt x="55" y="15"/>
                    <a:pt x="57" y="13"/>
                    <a:pt x="57" y="11"/>
                  </a:cubicBezTo>
                  <a:cubicBezTo>
                    <a:pt x="55" y="10"/>
                    <a:pt x="54" y="11"/>
                    <a:pt x="52" y="10"/>
                  </a:cubicBezTo>
                  <a:cubicBezTo>
                    <a:pt x="52" y="10"/>
                    <a:pt x="52" y="9"/>
                    <a:pt x="52" y="9"/>
                  </a:cubicBezTo>
                  <a:lnTo>
                    <a:pt x="50" y="1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4" name="Freeform 104"/>
            <p:cNvSpPr>
              <a:spLocks/>
            </p:cNvSpPr>
            <p:nvPr/>
          </p:nvSpPr>
          <p:spPr bwMode="auto">
            <a:xfrm>
              <a:off x="2719388" y="2454275"/>
              <a:ext cx="31750" cy="31750"/>
            </a:xfrm>
            <a:custGeom>
              <a:avLst/>
              <a:gdLst/>
              <a:ahLst/>
              <a:cxnLst>
                <a:cxn ang="0">
                  <a:pos x="13" y="6"/>
                </a:cxn>
                <a:cxn ang="0">
                  <a:pos x="6" y="2"/>
                </a:cxn>
                <a:cxn ang="0">
                  <a:pos x="1" y="5"/>
                </a:cxn>
                <a:cxn ang="0">
                  <a:pos x="4" y="10"/>
                </a:cxn>
                <a:cxn ang="0">
                  <a:pos x="6" y="13"/>
                </a:cxn>
                <a:cxn ang="0">
                  <a:pos x="16" y="17"/>
                </a:cxn>
                <a:cxn ang="0">
                  <a:pos x="16" y="10"/>
                </a:cxn>
                <a:cxn ang="0">
                  <a:pos x="13" y="6"/>
                </a:cxn>
              </a:cxnLst>
              <a:rect l="0" t="0" r="r" b="b"/>
              <a:pathLst>
                <a:path w="17" h="17">
                  <a:moveTo>
                    <a:pt x="13" y="6"/>
                  </a:moveTo>
                  <a:cubicBezTo>
                    <a:pt x="10" y="6"/>
                    <a:pt x="8" y="3"/>
                    <a:pt x="6" y="2"/>
                  </a:cubicBezTo>
                  <a:cubicBezTo>
                    <a:pt x="3" y="0"/>
                    <a:pt x="0" y="0"/>
                    <a:pt x="1" y="5"/>
                  </a:cubicBezTo>
                  <a:cubicBezTo>
                    <a:pt x="1" y="8"/>
                    <a:pt x="2" y="7"/>
                    <a:pt x="4" y="10"/>
                  </a:cubicBezTo>
                  <a:cubicBezTo>
                    <a:pt x="5" y="11"/>
                    <a:pt x="5" y="12"/>
                    <a:pt x="6" y="13"/>
                  </a:cubicBezTo>
                  <a:cubicBezTo>
                    <a:pt x="7" y="15"/>
                    <a:pt x="14" y="17"/>
                    <a:pt x="16" y="17"/>
                  </a:cubicBezTo>
                  <a:cubicBezTo>
                    <a:pt x="16" y="15"/>
                    <a:pt x="17" y="12"/>
                    <a:pt x="16" y="10"/>
                  </a:cubicBezTo>
                  <a:lnTo>
                    <a:pt x="13" y="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5" name="Freeform 105"/>
            <p:cNvSpPr>
              <a:spLocks/>
            </p:cNvSpPr>
            <p:nvPr/>
          </p:nvSpPr>
          <p:spPr bwMode="auto">
            <a:xfrm>
              <a:off x="2716213" y="2506663"/>
              <a:ext cx="28575" cy="50800"/>
            </a:xfrm>
            <a:custGeom>
              <a:avLst/>
              <a:gdLst/>
              <a:ahLst/>
              <a:cxnLst>
                <a:cxn ang="0">
                  <a:pos x="11" y="4"/>
                </a:cxn>
                <a:cxn ang="0">
                  <a:pos x="2" y="2"/>
                </a:cxn>
                <a:cxn ang="0">
                  <a:pos x="2" y="9"/>
                </a:cxn>
                <a:cxn ang="0">
                  <a:pos x="9" y="16"/>
                </a:cxn>
                <a:cxn ang="0">
                  <a:pos x="7" y="21"/>
                </a:cxn>
                <a:cxn ang="0">
                  <a:pos x="9" y="26"/>
                </a:cxn>
                <a:cxn ang="0">
                  <a:pos x="12" y="27"/>
                </a:cxn>
                <a:cxn ang="0">
                  <a:pos x="12" y="16"/>
                </a:cxn>
                <a:cxn ang="0">
                  <a:pos x="13" y="10"/>
                </a:cxn>
                <a:cxn ang="0">
                  <a:pos x="11" y="4"/>
                </a:cxn>
              </a:cxnLst>
              <a:rect l="0" t="0" r="r" b="b"/>
              <a:pathLst>
                <a:path w="15" h="27">
                  <a:moveTo>
                    <a:pt x="11" y="4"/>
                  </a:moveTo>
                  <a:cubicBezTo>
                    <a:pt x="9" y="3"/>
                    <a:pt x="3" y="0"/>
                    <a:pt x="2" y="2"/>
                  </a:cubicBezTo>
                  <a:cubicBezTo>
                    <a:pt x="0" y="3"/>
                    <a:pt x="1" y="7"/>
                    <a:pt x="2" y="9"/>
                  </a:cubicBezTo>
                  <a:cubicBezTo>
                    <a:pt x="3" y="12"/>
                    <a:pt x="8" y="13"/>
                    <a:pt x="9" y="16"/>
                  </a:cubicBezTo>
                  <a:cubicBezTo>
                    <a:pt x="9" y="18"/>
                    <a:pt x="8" y="19"/>
                    <a:pt x="7" y="21"/>
                  </a:cubicBezTo>
                  <a:cubicBezTo>
                    <a:pt x="7" y="22"/>
                    <a:pt x="7" y="25"/>
                    <a:pt x="9" y="26"/>
                  </a:cubicBezTo>
                  <a:cubicBezTo>
                    <a:pt x="9" y="26"/>
                    <a:pt x="12" y="27"/>
                    <a:pt x="12" y="27"/>
                  </a:cubicBezTo>
                  <a:cubicBezTo>
                    <a:pt x="15" y="26"/>
                    <a:pt x="13" y="18"/>
                    <a:pt x="12" y="16"/>
                  </a:cubicBezTo>
                  <a:cubicBezTo>
                    <a:pt x="12" y="15"/>
                    <a:pt x="12" y="12"/>
                    <a:pt x="13" y="10"/>
                  </a:cubicBezTo>
                  <a:lnTo>
                    <a:pt x="11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6" name="Freeform 106"/>
            <p:cNvSpPr>
              <a:spLocks noEditPoints="1"/>
            </p:cNvSpPr>
            <p:nvPr/>
          </p:nvSpPr>
          <p:spPr bwMode="auto">
            <a:xfrm>
              <a:off x="4294188" y="3221038"/>
              <a:ext cx="300038" cy="554038"/>
            </a:xfrm>
            <a:custGeom>
              <a:avLst/>
              <a:gdLst/>
              <a:ahLst/>
              <a:cxnLst>
                <a:cxn ang="0">
                  <a:pos x="92" y="72"/>
                </a:cxn>
                <a:cxn ang="0">
                  <a:pos x="75" y="76"/>
                </a:cxn>
                <a:cxn ang="0">
                  <a:pos x="65" y="79"/>
                </a:cxn>
                <a:cxn ang="0">
                  <a:pos x="62" y="97"/>
                </a:cxn>
                <a:cxn ang="0">
                  <a:pos x="69" y="109"/>
                </a:cxn>
                <a:cxn ang="0">
                  <a:pos x="60" y="103"/>
                </a:cxn>
                <a:cxn ang="0">
                  <a:pos x="45" y="81"/>
                </a:cxn>
                <a:cxn ang="0">
                  <a:pos x="58" y="74"/>
                </a:cxn>
                <a:cxn ang="0">
                  <a:pos x="80" y="70"/>
                </a:cxn>
                <a:cxn ang="0">
                  <a:pos x="99" y="67"/>
                </a:cxn>
                <a:cxn ang="0">
                  <a:pos x="152" y="264"/>
                </a:cxn>
                <a:cxn ang="0">
                  <a:pos x="145" y="261"/>
                </a:cxn>
                <a:cxn ang="0">
                  <a:pos x="151" y="239"/>
                </a:cxn>
                <a:cxn ang="0">
                  <a:pos x="142" y="225"/>
                </a:cxn>
                <a:cxn ang="0">
                  <a:pos x="148" y="222"/>
                </a:cxn>
                <a:cxn ang="0">
                  <a:pos x="128" y="207"/>
                </a:cxn>
                <a:cxn ang="0">
                  <a:pos x="96" y="204"/>
                </a:cxn>
                <a:cxn ang="0">
                  <a:pos x="100" y="187"/>
                </a:cxn>
                <a:cxn ang="0">
                  <a:pos x="118" y="185"/>
                </a:cxn>
                <a:cxn ang="0">
                  <a:pos x="120" y="164"/>
                </a:cxn>
                <a:cxn ang="0">
                  <a:pos x="136" y="155"/>
                </a:cxn>
                <a:cxn ang="0">
                  <a:pos x="149" y="152"/>
                </a:cxn>
                <a:cxn ang="0">
                  <a:pos x="158" y="131"/>
                </a:cxn>
                <a:cxn ang="0">
                  <a:pos x="125" y="109"/>
                </a:cxn>
                <a:cxn ang="0">
                  <a:pos x="122" y="92"/>
                </a:cxn>
                <a:cxn ang="0">
                  <a:pos x="129" y="66"/>
                </a:cxn>
                <a:cxn ang="0">
                  <a:pos x="139" y="50"/>
                </a:cxn>
                <a:cxn ang="0">
                  <a:pos x="136" y="26"/>
                </a:cxn>
                <a:cxn ang="0">
                  <a:pos x="140" y="2"/>
                </a:cxn>
                <a:cxn ang="0">
                  <a:pos x="108" y="16"/>
                </a:cxn>
                <a:cxn ang="0">
                  <a:pos x="87" y="45"/>
                </a:cxn>
                <a:cxn ang="0">
                  <a:pos x="55" y="58"/>
                </a:cxn>
                <a:cxn ang="0">
                  <a:pos x="24" y="72"/>
                </a:cxn>
                <a:cxn ang="0">
                  <a:pos x="19" y="105"/>
                </a:cxn>
                <a:cxn ang="0">
                  <a:pos x="31" y="104"/>
                </a:cxn>
                <a:cxn ang="0">
                  <a:pos x="39" y="106"/>
                </a:cxn>
                <a:cxn ang="0">
                  <a:pos x="38" y="124"/>
                </a:cxn>
                <a:cxn ang="0">
                  <a:pos x="21" y="118"/>
                </a:cxn>
                <a:cxn ang="0">
                  <a:pos x="5" y="120"/>
                </a:cxn>
                <a:cxn ang="0">
                  <a:pos x="6" y="160"/>
                </a:cxn>
                <a:cxn ang="0">
                  <a:pos x="15" y="167"/>
                </a:cxn>
                <a:cxn ang="0">
                  <a:pos x="12" y="177"/>
                </a:cxn>
                <a:cxn ang="0">
                  <a:pos x="5" y="207"/>
                </a:cxn>
                <a:cxn ang="0">
                  <a:pos x="13" y="227"/>
                </a:cxn>
                <a:cxn ang="0">
                  <a:pos x="22" y="223"/>
                </a:cxn>
                <a:cxn ang="0">
                  <a:pos x="28" y="224"/>
                </a:cxn>
                <a:cxn ang="0">
                  <a:pos x="34" y="240"/>
                </a:cxn>
                <a:cxn ang="0">
                  <a:pos x="32" y="261"/>
                </a:cxn>
                <a:cxn ang="0">
                  <a:pos x="49" y="272"/>
                </a:cxn>
                <a:cxn ang="0">
                  <a:pos x="63" y="274"/>
                </a:cxn>
                <a:cxn ang="0">
                  <a:pos x="72" y="279"/>
                </a:cxn>
                <a:cxn ang="0">
                  <a:pos x="86" y="277"/>
                </a:cxn>
                <a:cxn ang="0">
                  <a:pos x="105" y="281"/>
                </a:cxn>
                <a:cxn ang="0">
                  <a:pos x="102" y="259"/>
                </a:cxn>
                <a:cxn ang="0">
                  <a:pos x="88" y="264"/>
                </a:cxn>
                <a:cxn ang="0">
                  <a:pos x="90" y="246"/>
                </a:cxn>
                <a:cxn ang="0">
                  <a:pos x="104" y="244"/>
                </a:cxn>
                <a:cxn ang="0">
                  <a:pos x="120" y="257"/>
                </a:cxn>
                <a:cxn ang="0">
                  <a:pos x="138" y="275"/>
                </a:cxn>
                <a:cxn ang="0">
                  <a:pos x="149" y="288"/>
                </a:cxn>
                <a:cxn ang="0">
                  <a:pos x="155" y="271"/>
                </a:cxn>
              </a:cxnLst>
              <a:rect l="0" t="0" r="r" b="b"/>
              <a:pathLst>
                <a:path w="161" h="297">
                  <a:moveTo>
                    <a:pt x="35" y="281"/>
                  </a:moveTo>
                  <a:cubicBezTo>
                    <a:pt x="35" y="281"/>
                    <a:pt x="35" y="281"/>
                    <a:pt x="36" y="281"/>
                  </a:cubicBezTo>
                  <a:cubicBezTo>
                    <a:pt x="36" y="281"/>
                    <a:pt x="36" y="281"/>
                    <a:pt x="36" y="280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80"/>
                    <a:pt x="35" y="281"/>
                    <a:pt x="35" y="281"/>
                  </a:cubicBezTo>
                  <a:moveTo>
                    <a:pt x="92" y="72"/>
                  </a:moveTo>
                  <a:cubicBezTo>
                    <a:pt x="90" y="72"/>
                    <a:pt x="90" y="72"/>
                    <a:pt x="89" y="74"/>
                  </a:cubicBezTo>
                  <a:cubicBezTo>
                    <a:pt x="88" y="75"/>
                    <a:pt x="88" y="76"/>
                    <a:pt x="87" y="77"/>
                  </a:cubicBezTo>
                  <a:cubicBezTo>
                    <a:pt x="86" y="77"/>
                    <a:pt x="85" y="77"/>
                    <a:pt x="85" y="77"/>
                  </a:cubicBezTo>
                  <a:cubicBezTo>
                    <a:pt x="84" y="77"/>
                    <a:pt x="84" y="78"/>
                    <a:pt x="83" y="78"/>
                  </a:cubicBezTo>
                  <a:cubicBezTo>
                    <a:pt x="81" y="78"/>
                    <a:pt x="80" y="78"/>
                    <a:pt x="79" y="77"/>
                  </a:cubicBezTo>
                  <a:cubicBezTo>
                    <a:pt x="77" y="76"/>
                    <a:pt x="77" y="76"/>
                    <a:pt x="75" y="76"/>
                  </a:cubicBezTo>
                  <a:cubicBezTo>
                    <a:pt x="73" y="76"/>
                    <a:pt x="72" y="78"/>
                    <a:pt x="71" y="78"/>
                  </a:cubicBezTo>
                  <a:cubicBezTo>
                    <a:pt x="69" y="78"/>
                    <a:pt x="69" y="78"/>
                    <a:pt x="68" y="79"/>
                  </a:cubicBezTo>
                  <a:cubicBezTo>
                    <a:pt x="67" y="79"/>
                    <a:pt x="67" y="79"/>
                    <a:pt x="66" y="79"/>
                  </a:cubicBezTo>
                  <a:cubicBezTo>
                    <a:pt x="66" y="80"/>
                    <a:pt x="67" y="81"/>
                    <a:pt x="65" y="80"/>
                  </a:cubicBezTo>
                  <a:cubicBezTo>
                    <a:pt x="68" y="76"/>
                    <a:pt x="68" y="76"/>
                    <a:pt x="68" y="76"/>
                  </a:cubicBezTo>
                  <a:cubicBezTo>
                    <a:pt x="66" y="77"/>
                    <a:pt x="66" y="78"/>
                    <a:pt x="65" y="79"/>
                  </a:cubicBezTo>
                  <a:cubicBezTo>
                    <a:pt x="64" y="80"/>
                    <a:pt x="62" y="81"/>
                    <a:pt x="61" y="82"/>
                  </a:cubicBezTo>
                  <a:cubicBezTo>
                    <a:pt x="61" y="83"/>
                    <a:pt x="61" y="84"/>
                    <a:pt x="61" y="84"/>
                  </a:cubicBezTo>
                  <a:cubicBezTo>
                    <a:pt x="61" y="85"/>
                    <a:pt x="60" y="85"/>
                    <a:pt x="60" y="85"/>
                  </a:cubicBezTo>
                  <a:cubicBezTo>
                    <a:pt x="60" y="88"/>
                    <a:pt x="64" y="88"/>
                    <a:pt x="63" y="91"/>
                  </a:cubicBezTo>
                  <a:cubicBezTo>
                    <a:pt x="62" y="92"/>
                    <a:pt x="62" y="93"/>
                    <a:pt x="62" y="94"/>
                  </a:cubicBezTo>
                  <a:cubicBezTo>
                    <a:pt x="61" y="95"/>
                    <a:pt x="62" y="96"/>
                    <a:pt x="62" y="97"/>
                  </a:cubicBezTo>
                  <a:cubicBezTo>
                    <a:pt x="62" y="98"/>
                    <a:pt x="62" y="99"/>
                    <a:pt x="62" y="100"/>
                  </a:cubicBezTo>
                  <a:cubicBezTo>
                    <a:pt x="62" y="101"/>
                    <a:pt x="63" y="101"/>
                    <a:pt x="63" y="102"/>
                  </a:cubicBezTo>
                  <a:cubicBezTo>
                    <a:pt x="63" y="102"/>
                    <a:pt x="63" y="103"/>
                    <a:pt x="63" y="104"/>
                  </a:cubicBezTo>
                  <a:cubicBezTo>
                    <a:pt x="64" y="104"/>
                    <a:pt x="65" y="104"/>
                    <a:pt x="66" y="104"/>
                  </a:cubicBezTo>
                  <a:cubicBezTo>
                    <a:pt x="67" y="104"/>
                    <a:pt x="67" y="104"/>
                    <a:pt x="68" y="104"/>
                  </a:cubicBezTo>
                  <a:cubicBezTo>
                    <a:pt x="69" y="105"/>
                    <a:pt x="70" y="108"/>
                    <a:pt x="69" y="109"/>
                  </a:cubicBezTo>
                  <a:cubicBezTo>
                    <a:pt x="69" y="110"/>
                    <a:pt x="66" y="111"/>
                    <a:pt x="65" y="111"/>
                  </a:cubicBezTo>
                  <a:cubicBezTo>
                    <a:pt x="62" y="111"/>
                    <a:pt x="60" y="110"/>
                    <a:pt x="57" y="110"/>
                  </a:cubicBezTo>
                  <a:cubicBezTo>
                    <a:pt x="54" y="109"/>
                    <a:pt x="55" y="112"/>
                    <a:pt x="54" y="115"/>
                  </a:cubicBezTo>
                  <a:cubicBezTo>
                    <a:pt x="53" y="113"/>
                    <a:pt x="54" y="110"/>
                    <a:pt x="55" y="108"/>
                  </a:cubicBezTo>
                  <a:cubicBezTo>
                    <a:pt x="55" y="107"/>
                    <a:pt x="58" y="107"/>
                    <a:pt x="58" y="107"/>
                  </a:cubicBezTo>
                  <a:cubicBezTo>
                    <a:pt x="58" y="106"/>
                    <a:pt x="60" y="103"/>
                    <a:pt x="60" y="103"/>
                  </a:cubicBezTo>
                  <a:cubicBezTo>
                    <a:pt x="60" y="99"/>
                    <a:pt x="56" y="98"/>
                    <a:pt x="56" y="94"/>
                  </a:cubicBezTo>
                  <a:cubicBezTo>
                    <a:pt x="55" y="92"/>
                    <a:pt x="51" y="91"/>
                    <a:pt x="51" y="88"/>
                  </a:cubicBezTo>
                  <a:cubicBezTo>
                    <a:pt x="50" y="88"/>
                    <a:pt x="49" y="89"/>
                    <a:pt x="48" y="90"/>
                  </a:cubicBezTo>
                  <a:cubicBezTo>
                    <a:pt x="47" y="92"/>
                    <a:pt x="47" y="92"/>
                    <a:pt x="46" y="91"/>
                  </a:cubicBezTo>
                  <a:cubicBezTo>
                    <a:pt x="43" y="90"/>
                    <a:pt x="41" y="85"/>
                    <a:pt x="45" y="84"/>
                  </a:cubicBezTo>
                  <a:cubicBezTo>
                    <a:pt x="45" y="83"/>
                    <a:pt x="45" y="82"/>
                    <a:pt x="45" y="81"/>
                  </a:cubicBezTo>
                  <a:cubicBezTo>
                    <a:pt x="44" y="81"/>
                    <a:pt x="44" y="82"/>
                    <a:pt x="43" y="82"/>
                  </a:cubicBezTo>
                  <a:cubicBezTo>
                    <a:pt x="42" y="83"/>
                    <a:pt x="41" y="84"/>
                    <a:pt x="40" y="84"/>
                  </a:cubicBezTo>
                  <a:cubicBezTo>
                    <a:pt x="36" y="85"/>
                    <a:pt x="37" y="81"/>
                    <a:pt x="36" y="79"/>
                  </a:cubicBezTo>
                  <a:cubicBezTo>
                    <a:pt x="39" y="77"/>
                    <a:pt x="43" y="79"/>
                    <a:pt x="46" y="78"/>
                  </a:cubicBezTo>
                  <a:cubicBezTo>
                    <a:pt x="49" y="78"/>
                    <a:pt x="50" y="76"/>
                    <a:pt x="52" y="75"/>
                  </a:cubicBezTo>
                  <a:cubicBezTo>
                    <a:pt x="53" y="74"/>
                    <a:pt x="56" y="74"/>
                    <a:pt x="58" y="74"/>
                  </a:cubicBezTo>
                  <a:cubicBezTo>
                    <a:pt x="59" y="74"/>
                    <a:pt x="61" y="74"/>
                    <a:pt x="62" y="73"/>
                  </a:cubicBezTo>
                  <a:cubicBezTo>
                    <a:pt x="63" y="73"/>
                    <a:pt x="64" y="74"/>
                    <a:pt x="64" y="76"/>
                  </a:cubicBezTo>
                  <a:cubicBezTo>
                    <a:pt x="66" y="76"/>
                    <a:pt x="67" y="75"/>
                    <a:pt x="68" y="74"/>
                  </a:cubicBezTo>
                  <a:cubicBezTo>
                    <a:pt x="69" y="74"/>
                    <a:pt x="70" y="73"/>
                    <a:pt x="71" y="73"/>
                  </a:cubicBezTo>
                  <a:cubicBezTo>
                    <a:pt x="73" y="73"/>
                    <a:pt x="74" y="73"/>
                    <a:pt x="75" y="72"/>
                  </a:cubicBezTo>
                  <a:cubicBezTo>
                    <a:pt x="77" y="71"/>
                    <a:pt x="78" y="70"/>
                    <a:pt x="80" y="70"/>
                  </a:cubicBezTo>
                  <a:cubicBezTo>
                    <a:pt x="81" y="70"/>
                    <a:pt x="82" y="71"/>
                    <a:pt x="83" y="70"/>
                  </a:cubicBezTo>
                  <a:cubicBezTo>
                    <a:pt x="83" y="69"/>
                    <a:pt x="83" y="67"/>
                    <a:pt x="83" y="67"/>
                  </a:cubicBezTo>
                  <a:cubicBezTo>
                    <a:pt x="84" y="64"/>
                    <a:pt x="85" y="63"/>
                    <a:pt x="88" y="63"/>
                  </a:cubicBezTo>
                  <a:cubicBezTo>
                    <a:pt x="88" y="65"/>
                    <a:pt x="88" y="66"/>
                    <a:pt x="89" y="66"/>
                  </a:cubicBezTo>
                  <a:cubicBezTo>
                    <a:pt x="90" y="67"/>
                    <a:pt x="93" y="66"/>
                    <a:pt x="94" y="66"/>
                  </a:cubicBezTo>
                  <a:cubicBezTo>
                    <a:pt x="97" y="65"/>
                    <a:pt x="98" y="64"/>
                    <a:pt x="99" y="67"/>
                  </a:cubicBezTo>
                  <a:cubicBezTo>
                    <a:pt x="99" y="68"/>
                    <a:pt x="100" y="70"/>
                    <a:pt x="99" y="71"/>
                  </a:cubicBezTo>
                  <a:cubicBezTo>
                    <a:pt x="99" y="72"/>
                    <a:pt x="94" y="72"/>
                    <a:pt x="92" y="72"/>
                  </a:cubicBezTo>
                  <a:moveTo>
                    <a:pt x="160" y="255"/>
                  </a:moveTo>
                  <a:cubicBezTo>
                    <a:pt x="160" y="254"/>
                    <a:pt x="161" y="254"/>
                    <a:pt x="160" y="253"/>
                  </a:cubicBezTo>
                  <a:cubicBezTo>
                    <a:pt x="159" y="251"/>
                    <a:pt x="156" y="254"/>
                    <a:pt x="155" y="255"/>
                  </a:cubicBezTo>
                  <a:cubicBezTo>
                    <a:pt x="153" y="258"/>
                    <a:pt x="153" y="261"/>
                    <a:pt x="152" y="264"/>
                  </a:cubicBezTo>
                  <a:cubicBezTo>
                    <a:pt x="151" y="266"/>
                    <a:pt x="150" y="268"/>
                    <a:pt x="148" y="269"/>
                  </a:cubicBezTo>
                  <a:cubicBezTo>
                    <a:pt x="147" y="270"/>
                    <a:pt x="146" y="271"/>
                    <a:pt x="145" y="271"/>
                  </a:cubicBezTo>
                  <a:cubicBezTo>
                    <a:pt x="144" y="271"/>
                    <a:pt x="145" y="270"/>
                    <a:pt x="144" y="270"/>
                  </a:cubicBezTo>
                  <a:cubicBezTo>
                    <a:pt x="144" y="269"/>
                    <a:pt x="143" y="270"/>
                    <a:pt x="143" y="270"/>
                  </a:cubicBezTo>
                  <a:cubicBezTo>
                    <a:pt x="141" y="269"/>
                    <a:pt x="142" y="265"/>
                    <a:pt x="142" y="263"/>
                  </a:cubicBezTo>
                  <a:cubicBezTo>
                    <a:pt x="143" y="262"/>
                    <a:pt x="144" y="262"/>
                    <a:pt x="145" y="261"/>
                  </a:cubicBezTo>
                  <a:cubicBezTo>
                    <a:pt x="146" y="260"/>
                    <a:pt x="146" y="259"/>
                    <a:pt x="146" y="259"/>
                  </a:cubicBezTo>
                  <a:cubicBezTo>
                    <a:pt x="148" y="257"/>
                    <a:pt x="149" y="256"/>
                    <a:pt x="150" y="254"/>
                  </a:cubicBezTo>
                  <a:cubicBezTo>
                    <a:pt x="150" y="253"/>
                    <a:pt x="151" y="251"/>
                    <a:pt x="152" y="249"/>
                  </a:cubicBezTo>
                  <a:cubicBezTo>
                    <a:pt x="152" y="248"/>
                    <a:pt x="152" y="248"/>
                    <a:pt x="152" y="247"/>
                  </a:cubicBezTo>
                  <a:cubicBezTo>
                    <a:pt x="152" y="245"/>
                    <a:pt x="153" y="242"/>
                    <a:pt x="152" y="241"/>
                  </a:cubicBezTo>
                  <a:cubicBezTo>
                    <a:pt x="152" y="240"/>
                    <a:pt x="151" y="240"/>
                    <a:pt x="151" y="239"/>
                  </a:cubicBezTo>
                  <a:cubicBezTo>
                    <a:pt x="151" y="239"/>
                    <a:pt x="150" y="238"/>
                    <a:pt x="150" y="238"/>
                  </a:cubicBezTo>
                  <a:cubicBezTo>
                    <a:pt x="150" y="237"/>
                    <a:pt x="150" y="236"/>
                    <a:pt x="150" y="235"/>
                  </a:cubicBezTo>
                  <a:cubicBezTo>
                    <a:pt x="150" y="234"/>
                    <a:pt x="150" y="234"/>
                    <a:pt x="150" y="233"/>
                  </a:cubicBezTo>
                  <a:cubicBezTo>
                    <a:pt x="149" y="232"/>
                    <a:pt x="149" y="231"/>
                    <a:pt x="148" y="230"/>
                  </a:cubicBezTo>
                  <a:cubicBezTo>
                    <a:pt x="147" y="229"/>
                    <a:pt x="145" y="228"/>
                    <a:pt x="144" y="227"/>
                  </a:cubicBezTo>
                  <a:cubicBezTo>
                    <a:pt x="144" y="226"/>
                    <a:pt x="144" y="226"/>
                    <a:pt x="142" y="225"/>
                  </a:cubicBezTo>
                  <a:cubicBezTo>
                    <a:pt x="141" y="225"/>
                    <a:pt x="139" y="225"/>
                    <a:pt x="137" y="224"/>
                  </a:cubicBezTo>
                  <a:cubicBezTo>
                    <a:pt x="136" y="224"/>
                    <a:pt x="136" y="223"/>
                    <a:pt x="135" y="223"/>
                  </a:cubicBezTo>
                  <a:cubicBezTo>
                    <a:pt x="136" y="222"/>
                    <a:pt x="136" y="221"/>
                    <a:pt x="138" y="220"/>
                  </a:cubicBezTo>
                  <a:cubicBezTo>
                    <a:pt x="140" y="219"/>
                    <a:pt x="139" y="220"/>
                    <a:pt x="140" y="221"/>
                  </a:cubicBezTo>
                  <a:cubicBezTo>
                    <a:pt x="142" y="224"/>
                    <a:pt x="145" y="225"/>
                    <a:pt x="148" y="225"/>
                  </a:cubicBezTo>
                  <a:cubicBezTo>
                    <a:pt x="148" y="224"/>
                    <a:pt x="149" y="223"/>
                    <a:pt x="148" y="222"/>
                  </a:cubicBezTo>
                  <a:cubicBezTo>
                    <a:pt x="148" y="220"/>
                    <a:pt x="147" y="220"/>
                    <a:pt x="147" y="218"/>
                  </a:cubicBezTo>
                  <a:cubicBezTo>
                    <a:pt x="146" y="218"/>
                    <a:pt x="147" y="216"/>
                    <a:pt x="147" y="215"/>
                  </a:cubicBezTo>
                  <a:cubicBezTo>
                    <a:pt x="146" y="214"/>
                    <a:pt x="146" y="212"/>
                    <a:pt x="145" y="211"/>
                  </a:cubicBezTo>
                  <a:cubicBezTo>
                    <a:pt x="145" y="208"/>
                    <a:pt x="144" y="207"/>
                    <a:pt x="141" y="207"/>
                  </a:cubicBezTo>
                  <a:cubicBezTo>
                    <a:pt x="139" y="207"/>
                    <a:pt x="137" y="208"/>
                    <a:pt x="136" y="208"/>
                  </a:cubicBezTo>
                  <a:cubicBezTo>
                    <a:pt x="133" y="208"/>
                    <a:pt x="130" y="208"/>
                    <a:pt x="128" y="207"/>
                  </a:cubicBezTo>
                  <a:cubicBezTo>
                    <a:pt x="127" y="206"/>
                    <a:pt x="125" y="205"/>
                    <a:pt x="124" y="205"/>
                  </a:cubicBezTo>
                  <a:cubicBezTo>
                    <a:pt x="122" y="205"/>
                    <a:pt x="119" y="205"/>
                    <a:pt x="117" y="205"/>
                  </a:cubicBezTo>
                  <a:cubicBezTo>
                    <a:pt x="114" y="205"/>
                    <a:pt x="111" y="207"/>
                    <a:pt x="108" y="207"/>
                  </a:cubicBezTo>
                  <a:cubicBezTo>
                    <a:pt x="106" y="207"/>
                    <a:pt x="103" y="207"/>
                    <a:pt x="101" y="207"/>
                  </a:cubicBezTo>
                  <a:cubicBezTo>
                    <a:pt x="99" y="206"/>
                    <a:pt x="95" y="207"/>
                    <a:pt x="94" y="206"/>
                  </a:cubicBezTo>
                  <a:cubicBezTo>
                    <a:pt x="95" y="206"/>
                    <a:pt x="95" y="204"/>
                    <a:pt x="96" y="204"/>
                  </a:cubicBezTo>
                  <a:cubicBezTo>
                    <a:pt x="96" y="204"/>
                    <a:pt x="98" y="204"/>
                    <a:pt x="98" y="204"/>
                  </a:cubicBezTo>
                  <a:cubicBezTo>
                    <a:pt x="100" y="203"/>
                    <a:pt x="101" y="201"/>
                    <a:pt x="102" y="200"/>
                  </a:cubicBezTo>
                  <a:cubicBezTo>
                    <a:pt x="104" y="199"/>
                    <a:pt x="107" y="200"/>
                    <a:pt x="108" y="198"/>
                  </a:cubicBezTo>
                  <a:cubicBezTo>
                    <a:pt x="108" y="197"/>
                    <a:pt x="108" y="195"/>
                    <a:pt x="108" y="193"/>
                  </a:cubicBezTo>
                  <a:cubicBezTo>
                    <a:pt x="108" y="192"/>
                    <a:pt x="108" y="191"/>
                    <a:pt x="107" y="191"/>
                  </a:cubicBezTo>
                  <a:cubicBezTo>
                    <a:pt x="105" y="189"/>
                    <a:pt x="101" y="191"/>
                    <a:pt x="100" y="187"/>
                  </a:cubicBezTo>
                  <a:cubicBezTo>
                    <a:pt x="99" y="183"/>
                    <a:pt x="102" y="185"/>
                    <a:pt x="105" y="185"/>
                  </a:cubicBezTo>
                  <a:cubicBezTo>
                    <a:pt x="106" y="185"/>
                    <a:pt x="107" y="185"/>
                    <a:pt x="108" y="185"/>
                  </a:cubicBezTo>
                  <a:cubicBezTo>
                    <a:pt x="109" y="185"/>
                    <a:pt x="110" y="184"/>
                    <a:pt x="111" y="184"/>
                  </a:cubicBezTo>
                  <a:cubicBezTo>
                    <a:pt x="112" y="184"/>
                    <a:pt x="112" y="184"/>
                    <a:pt x="114" y="186"/>
                  </a:cubicBezTo>
                  <a:cubicBezTo>
                    <a:pt x="114" y="186"/>
                    <a:pt x="115" y="189"/>
                    <a:pt x="117" y="189"/>
                  </a:cubicBezTo>
                  <a:cubicBezTo>
                    <a:pt x="117" y="187"/>
                    <a:pt x="116" y="186"/>
                    <a:pt x="118" y="185"/>
                  </a:cubicBezTo>
                  <a:cubicBezTo>
                    <a:pt x="119" y="184"/>
                    <a:pt x="119" y="185"/>
                    <a:pt x="120" y="184"/>
                  </a:cubicBezTo>
                  <a:cubicBezTo>
                    <a:pt x="120" y="184"/>
                    <a:pt x="120" y="182"/>
                    <a:pt x="120" y="182"/>
                  </a:cubicBezTo>
                  <a:cubicBezTo>
                    <a:pt x="121" y="178"/>
                    <a:pt x="122" y="175"/>
                    <a:pt x="121" y="172"/>
                  </a:cubicBezTo>
                  <a:cubicBezTo>
                    <a:pt x="121" y="171"/>
                    <a:pt x="121" y="169"/>
                    <a:pt x="121" y="168"/>
                  </a:cubicBezTo>
                  <a:cubicBezTo>
                    <a:pt x="121" y="168"/>
                    <a:pt x="121" y="167"/>
                    <a:pt x="120" y="167"/>
                  </a:cubicBezTo>
                  <a:cubicBezTo>
                    <a:pt x="120" y="166"/>
                    <a:pt x="120" y="165"/>
                    <a:pt x="120" y="164"/>
                  </a:cubicBezTo>
                  <a:cubicBezTo>
                    <a:pt x="120" y="162"/>
                    <a:pt x="119" y="162"/>
                    <a:pt x="119" y="160"/>
                  </a:cubicBezTo>
                  <a:cubicBezTo>
                    <a:pt x="119" y="159"/>
                    <a:pt x="119" y="158"/>
                    <a:pt x="120" y="157"/>
                  </a:cubicBezTo>
                  <a:cubicBezTo>
                    <a:pt x="121" y="154"/>
                    <a:pt x="121" y="152"/>
                    <a:pt x="124" y="151"/>
                  </a:cubicBezTo>
                  <a:cubicBezTo>
                    <a:pt x="127" y="151"/>
                    <a:pt x="129" y="152"/>
                    <a:pt x="130" y="154"/>
                  </a:cubicBezTo>
                  <a:cubicBezTo>
                    <a:pt x="131" y="156"/>
                    <a:pt x="130" y="156"/>
                    <a:pt x="132" y="156"/>
                  </a:cubicBezTo>
                  <a:cubicBezTo>
                    <a:pt x="134" y="156"/>
                    <a:pt x="135" y="156"/>
                    <a:pt x="136" y="155"/>
                  </a:cubicBezTo>
                  <a:cubicBezTo>
                    <a:pt x="138" y="153"/>
                    <a:pt x="138" y="151"/>
                    <a:pt x="141" y="151"/>
                  </a:cubicBezTo>
                  <a:cubicBezTo>
                    <a:pt x="141" y="153"/>
                    <a:pt x="139" y="156"/>
                    <a:pt x="140" y="158"/>
                  </a:cubicBezTo>
                  <a:cubicBezTo>
                    <a:pt x="141" y="159"/>
                    <a:pt x="143" y="158"/>
                    <a:pt x="145" y="158"/>
                  </a:cubicBezTo>
                  <a:cubicBezTo>
                    <a:pt x="146" y="158"/>
                    <a:pt x="147" y="159"/>
                    <a:pt x="147" y="157"/>
                  </a:cubicBezTo>
                  <a:cubicBezTo>
                    <a:pt x="147" y="157"/>
                    <a:pt x="147" y="156"/>
                    <a:pt x="148" y="155"/>
                  </a:cubicBezTo>
                  <a:cubicBezTo>
                    <a:pt x="148" y="154"/>
                    <a:pt x="148" y="153"/>
                    <a:pt x="149" y="152"/>
                  </a:cubicBezTo>
                  <a:cubicBezTo>
                    <a:pt x="149" y="151"/>
                    <a:pt x="151" y="151"/>
                    <a:pt x="151" y="150"/>
                  </a:cubicBezTo>
                  <a:cubicBezTo>
                    <a:pt x="152" y="149"/>
                    <a:pt x="152" y="147"/>
                    <a:pt x="152" y="146"/>
                  </a:cubicBezTo>
                  <a:cubicBezTo>
                    <a:pt x="152" y="146"/>
                    <a:pt x="152" y="145"/>
                    <a:pt x="152" y="144"/>
                  </a:cubicBezTo>
                  <a:cubicBezTo>
                    <a:pt x="152" y="143"/>
                    <a:pt x="153" y="142"/>
                    <a:pt x="154" y="141"/>
                  </a:cubicBezTo>
                  <a:cubicBezTo>
                    <a:pt x="155" y="139"/>
                    <a:pt x="155" y="137"/>
                    <a:pt x="157" y="135"/>
                  </a:cubicBezTo>
                  <a:cubicBezTo>
                    <a:pt x="157" y="133"/>
                    <a:pt x="158" y="132"/>
                    <a:pt x="158" y="131"/>
                  </a:cubicBezTo>
                  <a:cubicBezTo>
                    <a:pt x="158" y="128"/>
                    <a:pt x="158" y="126"/>
                    <a:pt x="156" y="124"/>
                  </a:cubicBezTo>
                  <a:cubicBezTo>
                    <a:pt x="154" y="122"/>
                    <a:pt x="150" y="123"/>
                    <a:pt x="147" y="123"/>
                  </a:cubicBezTo>
                  <a:cubicBezTo>
                    <a:pt x="143" y="124"/>
                    <a:pt x="139" y="125"/>
                    <a:pt x="135" y="124"/>
                  </a:cubicBezTo>
                  <a:cubicBezTo>
                    <a:pt x="133" y="123"/>
                    <a:pt x="131" y="121"/>
                    <a:pt x="129" y="119"/>
                  </a:cubicBezTo>
                  <a:cubicBezTo>
                    <a:pt x="127" y="118"/>
                    <a:pt x="127" y="118"/>
                    <a:pt x="126" y="117"/>
                  </a:cubicBezTo>
                  <a:cubicBezTo>
                    <a:pt x="126" y="114"/>
                    <a:pt x="125" y="111"/>
                    <a:pt x="125" y="109"/>
                  </a:cubicBezTo>
                  <a:cubicBezTo>
                    <a:pt x="125" y="107"/>
                    <a:pt x="125" y="106"/>
                    <a:pt x="125" y="104"/>
                  </a:cubicBezTo>
                  <a:cubicBezTo>
                    <a:pt x="124" y="103"/>
                    <a:pt x="124" y="101"/>
                    <a:pt x="123" y="100"/>
                  </a:cubicBezTo>
                  <a:cubicBezTo>
                    <a:pt x="123" y="99"/>
                    <a:pt x="123" y="98"/>
                    <a:pt x="123" y="97"/>
                  </a:cubicBezTo>
                  <a:cubicBezTo>
                    <a:pt x="123" y="96"/>
                    <a:pt x="123" y="95"/>
                    <a:pt x="123" y="94"/>
                  </a:cubicBezTo>
                  <a:cubicBezTo>
                    <a:pt x="123" y="94"/>
                    <a:pt x="122" y="94"/>
                    <a:pt x="122" y="93"/>
                  </a:cubicBezTo>
                  <a:cubicBezTo>
                    <a:pt x="122" y="93"/>
                    <a:pt x="122" y="92"/>
                    <a:pt x="122" y="92"/>
                  </a:cubicBezTo>
                  <a:cubicBezTo>
                    <a:pt x="122" y="90"/>
                    <a:pt x="122" y="87"/>
                    <a:pt x="122" y="85"/>
                  </a:cubicBezTo>
                  <a:cubicBezTo>
                    <a:pt x="122" y="83"/>
                    <a:pt x="122" y="82"/>
                    <a:pt x="122" y="80"/>
                  </a:cubicBezTo>
                  <a:cubicBezTo>
                    <a:pt x="122" y="79"/>
                    <a:pt x="121" y="78"/>
                    <a:pt x="122" y="77"/>
                  </a:cubicBezTo>
                  <a:cubicBezTo>
                    <a:pt x="123" y="76"/>
                    <a:pt x="124" y="76"/>
                    <a:pt x="125" y="75"/>
                  </a:cubicBezTo>
                  <a:cubicBezTo>
                    <a:pt x="126" y="74"/>
                    <a:pt x="128" y="72"/>
                    <a:pt x="128" y="71"/>
                  </a:cubicBezTo>
                  <a:cubicBezTo>
                    <a:pt x="129" y="70"/>
                    <a:pt x="129" y="67"/>
                    <a:pt x="129" y="66"/>
                  </a:cubicBezTo>
                  <a:cubicBezTo>
                    <a:pt x="129" y="63"/>
                    <a:pt x="129" y="63"/>
                    <a:pt x="130" y="62"/>
                  </a:cubicBezTo>
                  <a:cubicBezTo>
                    <a:pt x="130" y="61"/>
                    <a:pt x="130" y="60"/>
                    <a:pt x="131" y="59"/>
                  </a:cubicBezTo>
                  <a:cubicBezTo>
                    <a:pt x="132" y="58"/>
                    <a:pt x="133" y="58"/>
                    <a:pt x="134" y="57"/>
                  </a:cubicBezTo>
                  <a:cubicBezTo>
                    <a:pt x="135" y="56"/>
                    <a:pt x="135" y="55"/>
                    <a:pt x="136" y="55"/>
                  </a:cubicBezTo>
                  <a:cubicBezTo>
                    <a:pt x="136" y="54"/>
                    <a:pt x="138" y="54"/>
                    <a:pt x="138" y="53"/>
                  </a:cubicBezTo>
                  <a:cubicBezTo>
                    <a:pt x="139" y="52"/>
                    <a:pt x="139" y="51"/>
                    <a:pt x="139" y="50"/>
                  </a:cubicBezTo>
                  <a:cubicBezTo>
                    <a:pt x="139" y="48"/>
                    <a:pt x="138" y="47"/>
                    <a:pt x="138" y="45"/>
                  </a:cubicBezTo>
                  <a:cubicBezTo>
                    <a:pt x="138" y="43"/>
                    <a:pt x="138" y="42"/>
                    <a:pt x="138" y="40"/>
                  </a:cubicBezTo>
                  <a:cubicBezTo>
                    <a:pt x="138" y="38"/>
                    <a:pt x="138" y="35"/>
                    <a:pt x="138" y="33"/>
                  </a:cubicBezTo>
                  <a:cubicBezTo>
                    <a:pt x="138" y="32"/>
                    <a:pt x="137" y="30"/>
                    <a:pt x="137" y="29"/>
                  </a:cubicBezTo>
                  <a:cubicBezTo>
                    <a:pt x="137" y="28"/>
                    <a:pt x="136" y="28"/>
                    <a:pt x="136" y="28"/>
                  </a:cubicBezTo>
                  <a:cubicBezTo>
                    <a:pt x="136" y="27"/>
                    <a:pt x="136" y="26"/>
                    <a:pt x="136" y="26"/>
                  </a:cubicBezTo>
                  <a:cubicBezTo>
                    <a:pt x="136" y="24"/>
                    <a:pt x="134" y="22"/>
                    <a:pt x="133" y="21"/>
                  </a:cubicBezTo>
                  <a:cubicBezTo>
                    <a:pt x="131" y="20"/>
                    <a:pt x="131" y="19"/>
                    <a:pt x="130" y="16"/>
                  </a:cubicBezTo>
                  <a:cubicBezTo>
                    <a:pt x="130" y="15"/>
                    <a:pt x="130" y="13"/>
                    <a:pt x="130" y="11"/>
                  </a:cubicBezTo>
                  <a:cubicBezTo>
                    <a:pt x="131" y="9"/>
                    <a:pt x="133" y="8"/>
                    <a:pt x="134" y="6"/>
                  </a:cubicBezTo>
                  <a:cubicBezTo>
                    <a:pt x="136" y="5"/>
                    <a:pt x="141" y="3"/>
                    <a:pt x="142" y="0"/>
                  </a:cubicBezTo>
                  <a:cubicBezTo>
                    <a:pt x="140" y="2"/>
                    <a:pt x="140" y="2"/>
                    <a:pt x="140" y="2"/>
                  </a:cubicBezTo>
                  <a:cubicBezTo>
                    <a:pt x="139" y="2"/>
                    <a:pt x="138" y="2"/>
                    <a:pt x="137" y="2"/>
                  </a:cubicBezTo>
                  <a:cubicBezTo>
                    <a:pt x="135" y="3"/>
                    <a:pt x="135" y="3"/>
                    <a:pt x="134" y="5"/>
                  </a:cubicBezTo>
                  <a:cubicBezTo>
                    <a:pt x="133" y="5"/>
                    <a:pt x="131" y="6"/>
                    <a:pt x="130" y="7"/>
                  </a:cubicBezTo>
                  <a:cubicBezTo>
                    <a:pt x="128" y="7"/>
                    <a:pt x="127" y="9"/>
                    <a:pt x="125" y="10"/>
                  </a:cubicBezTo>
                  <a:cubicBezTo>
                    <a:pt x="123" y="10"/>
                    <a:pt x="122" y="11"/>
                    <a:pt x="120" y="11"/>
                  </a:cubicBezTo>
                  <a:cubicBezTo>
                    <a:pt x="116" y="12"/>
                    <a:pt x="112" y="16"/>
                    <a:pt x="108" y="16"/>
                  </a:cubicBezTo>
                  <a:cubicBezTo>
                    <a:pt x="105" y="16"/>
                    <a:pt x="102" y="16"/>
                    <a:pt x="99" y="16"/>
                  </a:cubicBezTo>
                  <a:cubicBezTo>
                    <a:pt x="99" y="17"/>
                    <a:pt x="99" y="18"/>
                    <a:pt x="98" y="20"/>
                  </a:cubicBezTo>
                  <a:cubicBezTo>
                    <a:pt x="98" y="22"/>
                    <a:pt x="96" y="23"/>
                    <a:pt x="95" y="25"/>
                  </a:cubicBezTo>
                  <a:cubicBezTo>
                    <a:pt x="93" y="28"/>
                    <a:pt x="91" y="30"/>
                    <a:pt x="90" y="33"/>
                  </a:cubicBezTo>
                  <a:cubicBezTo>
                    <a:pt x="90" y="35"/>
                    <a:pt x="89" y="37"/>
                    <a:pt x="89" y="39"/>
                  </a:cubicBezTo>
                  <a:cubicBezTo>
                    <a:pt x="89" y="42"/>
                    <a:pt x="89" y="44"/>
                    <a:pt x="87" y="45"/>
                  </a:cubicBezTo>
                  <a:cubicBezTo>
                    <a:pt x="85" y="47"/>
                    <a:pt x="84" y="48"/>
                    <a:pt x="83" y="49"/>
                  </a:cubicBezTo>
                  <a:cubicBezTo>
                    <a:pt x="81" y="50"/>
                    <a:pt x="80" y="51"/>
                    <a:pt x="79" y="52"/>
                  </a:cubicBezTo>
                  <a:cubicBezTo>
                    <a:pt x="77" y="54"/>
                    <a:pt x="76" y="54"/>
                    <a:pt x="73" y="55"/>
                  </a:cubicBezTo>
                  <a:cubicBezTo>
                    <a:pt x="70" y="55"/>
                    <a:pt x="68" y="56"/>
                    <a:pt x="66" y="58"/>
                  </a:cubicBezTo>
                  <a:cubicBezTo>
                    <a:pt x="65" y="58"/>
                    <a:pt x="65" y="58"/>
                    <a:pt x="64" y="58"/>
                  </a:cubicBezTo>
                  <a:cubicBezTo>
                    <a:pt x="61" y="58"/>
                    <a:pt x="58" y="58"/>
                    <a:pt x="55" y="58"/>
                  </a:cubicBezTo>
                  <a:cubicBezTo>
                    <a:pt x="52" y="58"/>
                    <a:pt x="50" y="59"/>
                    <a:pt x="47" y="60"/>
                  </a:cubicBezTo>
                  <a:cubicBezTo>
                    <a:pt x="46" y="60"/>
                    <a:pt x="44" y="60"/>
                    <a:pt x="43" y="61"/>
                  </a:cubicBezTo>
                  <a:cubicBezTo>
                    <a:pt x="42" y="61"/>
                    <a:pt x="41" y="62"/>
                    <a:pt x="41" y="63"/>
                  </a:cubicBezTo>
                  <a:cubicBezTo>
                    <a:pt x="39" y="65"/>
                    <a:pt x="36" y="66"/>
                    <a:pt x="33" y="66"/>
                  </a:cubicBezTo>
                  <a:cubicBezTo>
                    <a:pt x="32" y="66"/>
                    <a:pt x="31" y="66"/>
                    <a:pt x="30" y="66"/>
                  </a:cubicBezTo>
                  <a:cubicBezTo>
                    <a:pt x="27" y="68"/>
                    <a:pt x="24" y="72"/>
                    <a:pt x="24" y="72"/>
                  </a:cubicBezTo>
                  <a:cubicBezTo>
                    <a:pt x="24" y="73"/>
                    <a:pt x="20" y="77"/>
                    <a:pt x="20" y="78"/>
                  </a:cubicBezTo>
                  <a:cubicBezTo>
                    <a:pt x="18" y="80"/>
                    <a:pt x="17" y="80"/>
                    <a:pt x="14" y="85"/>
                  </a:cubicBezTo>
                  <a:cubicBezTo>
                    <a:pt x="12" y="86"/>
                    <a:pt x="12" y="88"/>
                    <a:pt x="12" y="90"/>
                  </a:cubicBezTo>
                  <a:cubicBezTo>
                    <a:pt x="12" y="93"/>
                    <a:pt x="12" y="96"/>
                    <a:pt x="14" y="98"/>
                  </a:cubicBezTo>
                  <a:cubicBezTo>
                    <a:pt x="15" y="99"/>
                    <a:pt x="16" y="100"/>
                    <a:pt x="17" y="101"/>
                  </a:cubicBezTo>
                  <a:cubicBezTo>
                    <a:pt x="18" y="101"/>
                    <a:pt x="19" y="105"/>
                    <a:pt x="19" y="105"/>
                  </a:cubicBezTo>
                  <a:cubicBezTo>
                    <a:pt x="21" y="107"/>
                    <a:pt x="24" y="107"/>
                    <a:pt x="25" y="109"/>
                  </a:cubicBezTo>
                  <a:cubicBezTo>
                    <a:pt x="26" y="110"/>
                    <a:pt x="26" y="114"/>
                    <a:pt x="28" y="115"/>
                  </a:cubicBezTo>
                  <a:cubicBezTo>
                    <a:pt x="31" y="116"/>
                    <a:pt x="31" y="113"/>
                    <a:pt x="31" y="112"/>
                  </a:cubicBezTo>
                  <a:cubicBezTo>
                    <a:pt x="31" y="111"/>
                    <a:pt x="31" y="110"/>
                    <a:pt x="31" y="109"/>
                  </a:cubicBezTo>
                  <a:cubicBezTo>
                    <a:pt x="31" y="108"/>
                    <a:pt x="32" y="108"/>
                    <a:pt x="32" y="107"/>
                  </a:cubicBezTo>
                  <a:cubicBezTo>
                    <a:pt x="32" y="106"/>
                    <a:pt x="32" y="105"/>
                    <a:pt x="31" y="104"/>
                  </a:cubicBezTo>
                  <a:cubicBezTo>
                    <a:pt x="31" y="103"/>
                    <a:pt x="29" y="103"/>
                    <a:pt x="29" y="103"/>
                  </a:cubicBezTo>
                  <a:cubicBezTo>
                    <a:pt x="28" y="100"/>
                    <a:pt x="29" y="98"/>
                    <a:pt x="31" y="98"/>
                  </a:cubicBezTo>
                  <a:cubicBezTo>
                    <a:pt x="33" y="98"/>
                    <a:pt x="33" y="98"/>
                    <a:pt x="34" y="99"/>
                  </a:cubicBezTo>
                  <a:cubicBezTo>
                    <a:pt x="34" y="100"/>
                    <a:pt x="34" y="100"/>
                    <a:pt x="34" y="101"/>
                  </a:cubicBezTo>
                  <a:cubicBezTo>
                    <a:pt x="34" y="102"/>
                    <a:pt x="35" y="103"/>
                    <a:pt x="36" y="103"/>
                  </a:cubicBezTo>
                  <a:cubicBezTo>
                    <a:pt x="36" y="104"/>
                    <a:pt x="37" y="106"/>
                    <a:pt x="39" y="106"/>
                  </a:cubicBezTo>
                  <a:cubicBezTo>
                    <a:pt x="40" y="106"/>
                    <a:pt x="41" y="105"/>
                    <a:pt x="43" y="106"/>
                  </a:cubicBezTo>
                  <a:cubicBezTo>
                    <a:pt x="42" y="107"/>
                    <a:pt x="40" y="108"/>
                    <a:pt x="39" y="109"/>
                  </a:cubicBezTo>
                  <a:cubicBezTo>
                    <a:pt x="38" y="110"/>
                    <a:pt x="38" y="111"/>
                    <a:pt x="38" y="113"/>
                  </a:cubicBezTo>
                  <a:cubicBezTo>
                    <a:pt x="39" y="114"/>
                    <a:pt x="39" y="115"/>
                    <a:pt x="40" y="116"/>
                  </a:cubicBezTo>
                  <a:cubicBezTo>
                    <a:pt x="41" y="117"/>
                    <a:pt x="42" y="116"/>
                    <a:pt x="43" y="116"/>
                  </a:cubicBezTo>
                  <a:cubicBezTo>
                    <a:pt x="46" y="117"/>
                    <a:pt x="41" y="125"/>
                    <a:pt x="38" y="124"/>
                  </a:cubicBezTo>
                  <a:cubicBezTo>
                    <a:pt x="37" y="124"/>
                    <a:pt x="36" y="124"/>
                    <a:pt x="35" y="123"/>
                  </a:cubicBezTo>
                  <a:cubicBezTo>
                    <a:pt x="34" y="123"/>
                    <a:pt x="32" y="124"/>
                    <a:pt x="31" y="123"/>
                  </a:cubicBezTo>
                  <a:cubicBezTo>
                    <a:pt x="30" y="123"/>
                    <a:pt x="31" y="123"/>
                    <a:pt x="30" y="122"/>
                  </a:cubicBezTo>
                  <a:cubicBezTo>
                    <a:pt x="30" y="122"/>
                    <a:pt x="30" y="121"/>
                    <a:pt x="30" y="121"/>
                  </a:cubicBezTo>
                  <a:cubicBezTo>
                    <a:pt x="29" y="121"/>
                    <a:pt x="27" y="121"/>
                    <a:pt x="27" y="121"/>
                  </a:cubicBezTo>
                  <a:cubicBezTo>
                    <a:pt x="25" y="121"/>
                    <a:pt x="22" y="120"/>
                    <a:pt x="21" y="118"/>
                  </a:cubicBezTo>
                  <a:cubicBezTo>
                    <a:pt x="19" y="117"/>
                    <a:pt x="20" y="116"/>
                    <a:pt x="18" y="116"/>
                  </a:cubicBezTo>
                  <a:cubicBezTo>
                    <a:pt x="16" y="116"/>
                    <a:pt x="14" y="118"/>
                    <a:pt x="11" y="117"/>
                  </a:cubicBezTo>
                  <a:cubicBezTo>
                    <a:pt x="9" y="117"/>
                    <a:pt x="12" y="116"/>
                    <a:pt x="12" y="114"/>
                  </a:cubicBezTo>
                  <a:cubicBezTo>
                    <a:pt x="11" y="113"/>
                    <a:pt x="8" y="111"/>
                    <a:pt x="7" y="112"/>
                  </a:cubicBezTo>
                  <a:cubicBezTo>
                    <a:pt x="6" y="112"/>
                    <a:pt x="5" y="116"/>
                    <a:pt x="5" y="118"/>
                  </a:cubicBezTo>
                  <a:cubicBezTo>
                    <a:pt x="5" y="118"/>
                    <a:pt x="5" y="119"/>
                    <a:pt x="5" y="120"/>
                  </a:cubicBezTo>
                  <a:cubicBezTo>
                    <a:pt x="5" y="121"/>
                    <a:pt x="4" y="121"/>
                    <a:pt x="4" y="122"/>
                  </a:cubicBezTo>
                  <a:cubicBezTo>
                    <a:pt x="4" y="123"/>
                    <a:pt x="4" y="125"/>
                    <a:pt x="4" y="126"/>
                  </a:cubicBezTo>
                  <a:cubicBezTo>
                    <a:pt x="4" y="128"/>
                    <a:pt x="4" y="129"/>
                    <a:pt x="4" y="131"/>
                  </a:cubicBezTo>
                  <a:cubicBezTo>
                    <a:pt x="4" y="135"/>
                    <a:pt x="4" y="139"/>
                    <a:pt x="5" y="143"/>
                  </a:cubicBezTo>
                  <a:cubicBezTo>
                    <a:pt x="6" y="146"/>
                    <a:pt x="5" y="150"/>
                    <a:pt x="5" y="153"/>
                  </a:cubicBezTo>
                  <a:cubicBezTo>
                    <a:pt x="6" y="155"/>
                    <a:pt x="6" y="158"/>
                    <a:pt x="6" y="160"/>
                  </a:cubicBezTo>
                  <a:cubicBezTo>
                    <a:pt x="6" y="164"/>
                    <a:pt x="6" y="167"/>
                    <a:pt x="6" y="171"/>
                  </a:cubicBezTo>
                  <a:cubicBezTo>
                    <a:pt x="7" y="170"/>
                    <a:pt x="8" y="170"/>
                    <a:pt x="9" y="170"/>
                  </a:cubicBezTo>
                  <a:cubicBezTo>
                    <a:pt x="10" y="169"/>
                    <a:pt x="10" y="169"/>
                    <a:pt x="9" y="167"/>
                  </a:cubicBezTo>
                  <a:cubicBezTo>
                    <a:pt x="9" y="165"/>
                    <a:pt x="9" y="163"/>
                    <a:pt x="11" y="163"/>
                  </a:cubicBezTo>
                  <a:cubicBezTo>
                    <a:pt x="13" y="162"/>
                    <a:pt x="15" y="164"/>
                    <a:pt x="14" y="165"/>
                  </a:cubicBezTo>
                  <a:cubicBezTo>
                    <a:pt x="15" y="167"/>
                    <a:pt x="15" y="167"/>
                    <a:pt x="15" y="167"/>
                  </a:cubicBezTo>
                  <a:cubicBezTo>
                    <a:pt x="15" y="169"/>
                    <a:pt x="13" y="169"/>
                    <a:pt x="13" y="171"/>
                  </a:cubicBezTo>
                  <a:cubicBezTo>
                    <a:pt x="13" y="173"/>
                    <a:pt x="13" y="174"/>
                    <a:pt x="14" y="175"/>
                  </a:cubicBezTo>
                  <a:cubicBezTo>
                    <a:pt x="17" y="177"/>
                    <a:pt x="23" y="180"/>
                    <a:pt x="19" y="183"/>
                  </a:cubicBezTo>
                  <a:cubicBezTo>
                    <a:pt x="17" y="184"/>
                    <a:pt x="14" y="186"/>
                    <a:pt x="13" y="184"/>
                  </a:cubicBezTo>
                  <a:cubicBezTo>
                    <a:pt x="13" y="183"/>
                    <a:pt x="13" y="181"/>
                    <a:pt x="13" y="180"/>
                  </a:cubicBezTo>
                  <a:cubicBezTo>
                    <a:pt x="13" y="179"/>
                    <a:pt x="13" y="177"/>
                    <a:pt x="12" y="177"/>
                  </a:cubicBezTo>
                  <a:cubicBezTo>
                    <a:pt x="11" y="176"/>
                    <a:pt x="7" y="178"/>
                    <a:pt x="7" y="178"/>
                  </a:cubicBezTo>
                  <a:cubicBezTo>
                    <a:pt x="7" y="178"/>
                    <a:pt x="6" y="178"/>
                    <a:pt x="6" y="178"/>
                  </a:cubicBezTo>
                  <a:cubicBezTo>
                    <a:pt x="7" y="181"/>
                    <a:pt x="7" y="185"/>
                    <a:pt x="8" y="188"/>
                  </a:cubicBezTo>
                  <a:cubicBezTo>
                    <a:pt x="8" y="190"/>
                    <a:pt x="8" y="192"/>
                    <a:pt x="8" y="195"/>
                  </a:cubicBezTo>
                  <a:cubicBezTo>
                    <a:pt x="8" y="196"/>
                    <a:pt x="8" y="198"/>
                    <a:pt x="8" y="199"/>
                  </a:cubicBezTo>
                  <a:cubicBezTo>
                    <a:pt x="8" y="202"/>
                    <a:pt x="7" y="205"/>
                    <a:pt x="5" y="207"/>
                  </a:cubicBezTo>
                  <a:cubicBezTo>
                    <a:pt x="5" y="208"/>
                    <a:pt x="4" y="209"/>
                    <a:pt x="3" y="209"/>
                  </a:cubicBezTo>
                  <a:cubicBezTo>
                    <a:pt x="2" y="211"/>
                    <a:pt x="2" y="212"/>
                    <a:pt x="0" y="213"/>
                  </a:cubicBezTo>
                  <a:cubicBezTo>
                    <a:pt x="1" y="214"/>
                    <a:pt x="2" y="214"/>
                    <a:pt x="3" y="215"/>
                  </a:cubicBezTo>
                  <a:cubicBezTo>
                    <a:pt x="5" y="216"/>
                    <a:pt x="6" y="218"/>
                    <a:pt x="8" y="220"/>
                  </a:cubicBezTo>
                  <a:cubicBezTo>
                    <a:pt x="9" y="222"/>
                    <a:pt x="11" y="223"/>
                    <a:pt x="12" y="224"/>
                  </a:cubicBezTo>
                  <a:cubicBezTo>
                    <a:pt x="12" y="225"/>
                    <a:pt x="12" y="226"/>
                    <a:pt x="13" y="227"/>
                  </a:cubicBezTo>
                  <a:cubicBezTo>
                    <a:pt x="15" y="230"/>
                    <a:pt x="17" y="231"/>
                    <a:pt x="20" y="233"/>
                  </a:cubicBezTo>
                  <a:cubicBezTo>
                    <a:pt x="21" y="234"/>
                    <a:pt x="22" y="235"/>
                    <a:pt x="23" y="235"/>
                  </a:cubicBezTo>
                  <a:cubicBezTo>
                    <a:pt x="26" y="234"/>
                    <a:pt x="26" y="231"/>
                    <a:pt x="26" y="229"/>
                  </a:cubicBezTo>
                  <a:cubicBezTo>
                    <a:pt x="25" y="228"/>
                    <a:pt x="25" y="228"/>
                    <a:pt x="24" y="227"/>
                  </a:cubicBezTo>
                  <a:cubicBezTo>
                    <a:pt x="24" y="226"/>
                    <a:pt x="24" y="226"/>
                    <a:pt x="24" y="226"/>
                  </a:cubicBezTo>
                  <a:cubicBezTo>
                    <a:pt x="23" y="225"/>
                    <a:pt x="23" y="224"/>
                    <a:pt x="22" y="223"/>
                  </a:cubicBezTo>
                  <a:cubicBezTo>
                    <a:pt x="21" y="222"/>
                    <a:pt x="19" y="221"/>
                    <a:pt x="18" y="220"/>
                  </a:cubicBezTo>
                  <a:cubicBezTo>
                    <a:pt x="17" y="218"/>
                    <a:pt x="14" y="218"/>
                    <a:pt x="16" y="215"/>
                  </a:cubicBezTo>
                  <a:cubicBezTo>
                    <a:pt x="17" y="212"/>
                    <a:pt x="19" y="214"/>
                    <a:pt x="21" y="215"/>
                  </a:cubicBezTo>
                  <a:cubicBezTo>
                    <a:pt x="22" y="216"/>
                    <a:pt x="23" y="220"/>
                    <a:pt x="24" y="220"/>
                  </a:cubicBezTo>
                  <a:cubicBezTo>
                    <a:pt x="24" y="221"/>
                    <a:pt x="26" y="221"/>
                    <a:pt x="26" y="222"/>
                  </a:cubicBezTo>
                  <a:cubicBezTo>
                    <a:pt x="27" y="223"/>
                    <a:pt x="27" y="223"/>
                    <a:pt x="28" y="224"/>
                  </a:cubicBezTo>
                  <a:cubicBezTo>
                    <a:pt x="29" y="225"/>
                    <a:pt x="31" y="226"/>
                    <a:pt x="32" y="227"/>
                  </a:cubicBezTo>
                  <a:cubicBezTo>
                    <a:pt x="32" y="227"/>
                    <a:pt x="34" y="228"/>
                    <a:pt x="34" y="228"/>
                  </a:cubicBezTo>
                  <a:cubicBezTo>
                    <a:pt x="34" y="228"/>
                    <a:pt x="34" y="228"/>
                    <a:pt x="34" y="229"/>
                  </a:cubicBezTo>
                  <a:cubicBezTo>
                    <a:pt x="35" y="231"/>
                    <a:pt x="36" y="232"/>
                    <a:pt x="35" y="234"/>
                  </a:cubicBezTo>
                  <a:cubicBezTo>
                    <a:pt x="35" y="236"/>
                    <a:pt x="34" y="235"/>
                    <a:pt x="34" y="237"/>
                  </a:cubicBezTo>
                  <a:cubicBezTo>
                    <a:pt x="33" y="238"/>
                    <a:pt x="34" y="239"/>
                    <a:pt x="34" y="240"/>
                  </a:cubicBezTo>
                  <a:cubicBezTo>
                    <a:pt x="34" y="241"/>
                    <a:pt x="33" y="244"/>
                    <a:pt x="34" y="245"/>
                  </a:cubicBezTo>
                  <a:cubicBezTo>
                    <a:pt x="34" y="246"/>
                    <a:pt x="35" y="246"/>
                    <a:pt x="35" y="247"/>
                  </a:cubicBezTo>
                  <a:cubicBezTo>
                    <a:pt x="37" y="250"/>
                    <a:pt x="35" y="252"/>
                    <a:pt x="34" y="254"/>
                  </a:cubicBezTo>
                  <a:cubicBezTo>
                    <a:pt x="34" y="255"/>
                    <a:pt x="34" y="255"/>
                    <a:pt x="33" y="256"/>
                  </a:cubicBezTo>
                  <a:cubicBezTo>
                    <a:pt x="33" y="257"/>
                    <a:pt x="32" y="257"/>
                    <a:pt x="32" y="258"/>
                  </a:cubicBezTo>
                  <a:cubicBezTo>
                    <a:pt x="32" y="259"/>
                    <a:pt x="32" y="260"/>
                    <a:pt x="32" y="261"/>
                  </a:cubicBezTo>
                  <a:cubicBezTo>
                    <a:pt x="32" y="263"/>
                    <a:pt x="32" y="266"/>
                    <a:pt x="32" y="268"/>
                  </a:cubicBezTo>
                  <a:cubicBezTo>
                    <a:pt x="32" y="269"/>
                    <a:pt x="32" y="270"/>
                    <a:pt x="32" y="272"/>
                  </a:cubicBezTo>
                  <a:cubicBezTo>
                    <a:pt x="32" y="271"/>
                    <a:pt x="32" y="271"/>
                    <a:pt x="32" y="271"/>
                  </a:cubicBezTo>
                  <a:cubicBezTo>
                    <a:pt x="35" y="271"/>
                    <a:pt x="37" y="272"/>
                    <a:pt x="40" y="272"/>
                  </a:cubicBezTo>
                  <a:cubicBezTo>
                    <a:pt x="41" y="272"/>
                    <a:pt x="43" y="272"/>
                    <a:pt x="45" y="272"/>
                  </a:cubicBezTo>
                  <a:cubicBezTo>
                    <a:pt x="46" y="272"/>
                    <a:pt x="48" y="272"/>
                    <a:pt x="49" y="272"/>
                  </a:cubicBezTo>
                  <a:cubicBezTo>
                    <a:pt x="50" y="273"/>
                    <a:pt x="51" y="274"/>
                    <a:pt x="52" y="274"/>
                  </a:cubicBezTo>
                  <a:cubicBezTo>
                    <a:pt x="53" y="274"/>
                    <a:pt x="55" y="274"/>
                    <a:pt x="56" y="274"/>
                  </a:cubicBezTo>
                  <a:cubicBezTo>
                    <a:pt x="56" y="274"/>
                    <a:pt x="57" y="274"/>
                    <a:pt x="58" y="274"/>
                  </a:cubicBezTo>
                  <a:cubicBezTo>
                    <a:pt x="58" y="273"/>
                    <a:pt x="58" y="273"/>
                    <a:pt x="59" y="272"/>
                  </a:cubicBezTo>
                  <a:cubicBezTo>
                    <a:pt x="59" y="272"/>
                    <a:pt x="61" y="272"/>
                    <a:pt x="62" y="272"/>
                  </a:cubicBezTo>
                  <a:cubicBezTo>
                    <a:pt x="62" y="273"/>
                    <a:pt x="62" y="274"/>
                    <a:pt x="63" y="274"/>
                  </a:cubicBezTo>
                  <a:cubicBezTo>
                    <a:pt x="62" y="275"/>
                    <a:pt x="63" y="275"/>
                    <a:pt x="63" y="275"/>
                  </a:cubicBezTo>
                  <a:cubicBezTo>
                    <a:pt x="63" y="276"/>
                    <a:pt x="63" y="276"/>
                    <a:pt x="63" y="276"/>
                  </a:cubicBezTo>
                  <a:cubicBezTo>
                    <a:pt x="64" y="277"/>
                    <a:pt x="64" y="278"/>
                    <a:pt x="64" y="280"/>
                  </a:cubicBezTo>
                  <a:cubicBezTo>
                    <a:pt x="64" y="282"/>
                    <a:pt x="65" y="282"/>
                    <a:pt x="67" y="282"/>
                  </a:cubicBezTo>
                  <a:cubicBezTo>
                    <a:pt x="68" y="282"/>
                    <a:pt x="69" y="282"/>
                    <a:pt x="70" y="282"/>
                  </a:cubicBezTo>
                  <a:cubicBezTo>
                    <a:pt x="71" y="281"/>
                    <a:pt x="71" y="280"/>
                    <a:pt x="72" y="279"/>
                  </a:cubicBezTo>
                  <a:cubicBezTo>
                    <a:pt x="74" y="279"/>
                    <a:pt x="74" y="279"/>
                    <a:pt x="75" y="278"/>
                  </a:cubicBezTo>
                  <a:cubicBezTo>
                    <a:pt x="76" y="277"/>
                    <a:pt x="76" y="276"/>
                    <a:pt x="77" y="276"/>
                  </a:cubicBezTo>
                  <a:cubicBezTo>
                    <a:pt x="78" y="275"/>
                    <a:pt x="79" y="276"/>
                    <a:pt x="79" y="276"/>
                  </a:cubicBezTo>
                  <a:cubicBezTo>
                    <a:pt x="80" y="276"/>
                    <a:pt x="81" y="276"/>
                    <a:pt x="81" y="276"/>
                  </a:cubicBezTo>
                  <a:cubicBezTo>
                    <a:pt x="82" y="276"/>
                    <a:pt x="82" y="276"/>
                    <a:pt x="83" y="276"/>
                  </a:cubicBezTo>
                  <a:cubicBezTo>
                    <a:pt x="84" y="276"/>
                    <a:pt x="85" y="277"/>
                    <a:pt x="86" y="277"/>
                  </a:cubicBezTo>
                  <a:cubicBezTo>
                    <a:pt x="87" y="279"/>
                    <a:pt x="87" y="280"/>
                    <a:pt x="89" y="280"/>
                  </a:cubicBezTo>
                  <a:cubicBezTo>
                    <a:pt x="91" y="280"/>
                    <a:pt x="92" y="280"/>
                    <a:pt x="94" y="281"/>
                  </a:cubicBezTo>
                  <a:cubicBezTo>
                    <a:pt x="95" y="282"/>
                    <a:pt x="95" y="282"/>
                    <a:pt x="96" y="283"/>
                  </a:cubicBezTo>
                  <a:cubicBezTo>
                    <a:pt x="97" y="283"/>
                    <a:pt x="98" y="284"/>
                    <a:pt x="99" y="284"/>
                  </a:cubicBezTo>
                  <a:cubicBezTo>
                    <a:pt x="100" y="284"/>
                    <a:pt x="100" y="283"/>
                    <a:pt x="101" y="282"/>
                  </a:cubicBezTo>
                  <a:cubicBezTo>
                    <a:pt x="102" y="282"/>
                    <a:pt x="104" y="280"/>
                    <a:pt x="105" y="281"/>
                  </a:cubicBezTo>
                  <a:cubicBezTo>
                    <a:pt x="106" y="281"/>
                    <a:pt x="106" y="282"/>
                    <a:pt x="106" y="282"/>
                  </a:cubicBezTo>
                  <a:cubicBezTo>
                    <a:pt x="107" y="282"/>
                    <a:pt x="107" y="281"/>
                    <a:pt x="108" y="280"/>
                  </a:cubicBezTo>
                  <a:cubicBezTo>
                    <a:pt x="109" y="279"/>
                    <a:pt x="111" y="277"/>
                    <a:pt x="112" y="275"/>
                  </a:cubicBezTo>
                  <a:cubicBezTo>
                    <a:pt x="113" y="272"/>
                    <a:pt x="114" y="267"/>
                    <a:pt x="111" y="264"/>
                  </a:cubicBezTo>
                  <a:cubicBezTo>
                    <a:pt x="108" y="262"/>
                    <a:pt x="105" y="264"/>
                    <a:pt x="103" y="261"/>
                  </a:cubicBezTo>
                  <a:cubicBezTo>
                    <a:pt x="103" y="260"/>
                    <a:pt x="103" y="259"/>
                    <a:pt x="102" y="259"/>
                  </a:cubicBezTo>
                  <a:cubicBezTo>
                    <a:pt x="102" y="258"/>
                    <a:pt x="101" y="258"/>
                    <a:pt x="100" y="258"/>
                  </a:cubicBezTo>
                  <a:cubicBezTo>
                    <a:pt x="99" y="257"/>
                    <a:pt x="99" y="257"/>
                    <a:pt x="98" y="256"/>
                  </a:cubicBezTo>
                  <a:cubicBezTo>
                    <a:pt x="96" y="255"/>
                    <a:pt x="91" y="254"/>
                    <a:pt x="89" y="256"/>
                  </a:cubicBezTo>
                  <a:cubicBezTo>
                    <a:pt x="86" y="258"/>
                    <a:pt x="95" y="263"/>
                    <a:pt x="94" y="267"/>
                  </a:cubicBezTo>
                  <a:cubicBezTo>
                    <a:pt x="92" y="267"/>
                    <a:pt x="93" y="266"/>
                    <a:pt x="92" y="266"/>
                  </a:cubicBezTo>
                  <a:cubicBezTo>
                    <a:pt x="91" y="265"/>
                    <a:pt x="89" y="265"/>
                    <a:pt x="88" y="264"/>
                  </a:cubicBezTo>
                  <a:cubicBezTo>
                    <a:pt x="87" y="263"/>
                    <a:pt x="86" y="262"/>
                    <a:pt x="84" y="261"/>
                  </a:cubicBezTo>
                  <a:cubicBezTo>
                    <a:pt x="82" y="260"/>
                    <a:pt x="81" y="261"/>
                    <a:pt x="81" y="258"/>
                  </a:cubicBezTo>
                  <a:cubicBezTo>
                    <a:pt x="81" y="256"/>
                    <a:pt x="81" y="254"/>
                    <a:pt x="82" y="253"/>
                  </a:cubicBezTo>
                  <a:cubicBezTo>
                    <a:pt x="83" y="252"/>
                    <a:pt x="84" y="251"/>
                    <a:pt x="84" y="250"/>
                  </a:cubicBezTo>
                  <a:cubicBezTo>
                    <a:pt x="85" y="250"/>
                    <a:pt x="88" y="250"/>
                    <a:pt x="89" y="250"/>
                  </a:cubicBezTo>
                  <a:cubicBezTo>
                    <a:pt x="92" y="249"/>
                    <a:pt x="89" y="248"/>
                    <a:pt x="90" y="246"/>
                  </a:cubicBezTo>
                  <a:cubicBezTo>
                    <a:pt x="91" y="244"/>
                    <a:pt x="94" y="244"/>
                    <a:pt x="92" y="242"/>
                  </a:cubicBezTo>
                  <a:cubicBezTo>
                    <a:pt x="92" y="241"/>
                    <a:pt x="91" y="242"/>
                    <a:pt x="90" y="241"/>
                  </a:cubicBezTo>
                  <a:cubicBezTo>
                    <a:pt x="90" y="240"/>
                    <a:pt x="90" y="239"/>
                    <a:pt x="90" y="239"/>
                  </a:cubicBezTo>
                  <a:cubicBezTo>
                    <a:pt x="91" y="233"/>
                    <a:pt x="99" y="237"/>
                    <a:pt x="101" y="239"/>
                  </a:cubicBezTo>
                  <a:cubicBezTo>
                    <a:pt x="102" y="239"/>
                    <a:pt x="103" y="240"/>
                    <a:pt x="103" y="241"/>
                  </a:cubicBezTo>
                  <a:cubicBezTo>
                    <a:pt x="104" y="242"/>
                    <a:pt x="104" y="243"/>
                    <a:pt x="104" y="244"/>
                  </a:cubicBezTo>
                  <a:cubicBezTo>
                    <a:pt x="104" y="245"/>
                    <a:pt x="104" y="244"/>
                    <a:pt x="105" y="245"/>
                  </a:cubicBezTo>
                  <a:cubicBezTo>
                    <a:pt x="107" y="247"/>
                    <a:pt x="109" y="248"/>
                    <a:pt x="111" y="250"/>
                  </a:cubicBezTo>
                  <a:cubicBezTo>
                    <a:pt x="112" y="252"/>
                    <a:pt x="111" y="253"/>
                    <a:pt x="111" y="255"/>
                  </a:cubicBezTo>
                  <a:cubicBezTo>
                    <a:pt x="111" y="257"/>
                    <a:pt x="112" y="257"/>
                    <a:pt x="114" y="257"/>
                  </a:cubicBezTo>
                  <a:cubicBezTo>
                    <a:pt x="115" y="257"/>
                    <a:pt x="117" y="256"/>
                    <a:pt x="117" y="255"/>
                  </a:cubicBezTo>
                  <a:cubicBezTo>
                    <a:pt x="118" y="255"/>
                    <a:pt x="120" y="255"/>
                    <a:pt x="120" y="257"/>
                  </a:cubicBezTo>
                  <a:cubicBezTo>
                    <a:pt x="121" y="258"/>
                    <a:pt x="120" y="259"/>
                    <a:pt x="121" y="259"/>
                  </a:cubicBezTo>
                  <a:cubicBezTo>
                    <a:pt x="122" y="260"/>
                    <a:pt x="125" y="260"/>
                    <a:pt x="126" y="261"/>
                  </a:cubicBezTo>
                  <a:cubicBezTo>
                    <a:pt x="127" y="261"/>
                    <a:pt x="129" y="262"/>
                    <a:pt x="130" y="263"/>
                  </a:cubicBezTo>
                  <a:cubicBezTo>
                    <a:pt x="131" y="263"/>
                    <a:pt x="132" y="264"/>
                    <a:pt x="133" y="264"/>
                  </a:cubicBezTo>
                  <a:cubicBezTo>
                    <a:pt x="136" y="266"/>
                    <a:pt x="137" y="268"/>
                    <a:pt x="137" y="272"/>
                  </a:cubicBezTo>
                  <a:cubicBezTo>
                    <a:pt x="137" y="273"/>
                    <a:pt x="137" y="274"/>
                    <a:pt x="138" y="275"/>
                  </a:cubicBezTo>
                  <a:cubicBezTo>
                    <a:pt x="139" y="276"/>
                    <a:pt x="140" y="277"/>
                    <a:pt x="141" y="278"/>
                  </a:cubicBezTo>
                  <a:cubicBezTo>
                    <a:pt x="142" y="279"/>
                    <a:pt x="142" y="278"/>
                    <a:pt x="143" y="280"/>
                  </a:cubicBezTo>
                  <a:cubicBezTo>
                    <a:pt x="143" y="281"/>
                    <a:pt x="143" y="283"/>
                    <a:pt x="143" y="284"/>
                  </a:cubicBezTo>
                  <a:cubicBezTo>
                    <a:pt x="143" y="286"/>
                    <a:pt x="143" y="297"/>
                    <a:pt x="146" y="296"/>
                  </a:cubicBezTo>
                  <a:cubicBezTo>
                    <a:pt x="147" y="296"/>
                    <a:pt x="147" y="294"/>
                    <a:pt x="148" y="293"/>
                  </a:cubicBezTo>
                  <a:cubicBezTo>
                    <a:pt x="148" y="292"/>
                    <a:pt x="149" y="290"/>
                    <a:pt x="149" y="288"/>
                  </a:cubicBezTo>
                  <a:cubicBezTo>
                    <a:pt x="150" y="286"/>
                    <a:pt x="150" y="284"/>
                    <a:pt x="151" y="282"/>
                  </a:cubicBezTo>
                  <a:cubicBezTo>
                    <a:pt x="152" y="281"/>
                    <a:pt x="152" y="280"/>
                    <a:pt x="152" y="279"/>
                  </a:cubicBezTo>
                  <a:cubicBezTo>
                    <a:pt x="153" y="279"/>
                    <a:pt x="154" y="278"/>
                    <a:pt x="154" y="278"/>
                  </a:cubicBezTo>
                  <a:cubicBezTo>
                    <a:pt x="154" y="277"/>
                    <a:pt x="154" y="276"/>
                    <a:pt x="154" y="275"/>
                  </a:cubicBezTo>
                  <a:cubicBezTo>
                    <a:pt x="154" y="274"/>
                    <a:pt x="155" y="275"/>
                    <a:pt x="155" y="274"/>
                  </a:cubicBezTo>
                  <a:cubicBezTo>
                    <a:pt x="155" y="273"/>
                    <a:pt x="155" y="272"/>
                    <a:pt x="155" y="271"/>
                  </a:cubicBezTo>
                  <a:cubicBezTo>
                    <a:pt x="155" y="268"/>
                    <a:pt x="156" y="265"/>
                    <a:pt x="157" y="261"/>
                  </a:cubicBezTo>
                  <a:cubicBezTo>
                    <a:pt x="157" y="259"/>
                    <a:pt x="159" y="257"/>
                    <a:pt x="160" y="25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7" name="Freeform 107"/>
            <p:cNvSpPr>
              <a:spLocks/>
            </p:cNvSpPr>
            <p:nvPr/>
          </p:nvSpPr>
          <p:spPr bwMode="auto">
            <a:xfrm>
              <a:off x="4589463" y="3495675"/>
              <a:ext cx="180975" cy="300038"/>
            </a:xfrm>
            <a:custGeom>
              <a:avLst/>
              <a:gdLst/>
              <a:ahLst/>
              <a:cxnLst>
                <a:cxn ang="0">
                  <a:pos x="44" y="49"/>
                </a:cxn>
                <a:cxn ang="0">
                  <a:pos x="52" y="51"/>
                </a:cxn>
                <a:cxn ang="0">
                  <a:pos x="63" y="54"/>
                </a:cxn>
                <a:cxn ang="0">
                  <a:pos x="57" y="52"/>
                </a:cxn>
                <a:cxn ang="0">
                  <a:pos x="53" y="43"/>
                </a:cxn>
                <a:cxn ang="0">
                  <a:pos x="54" y="32"/>
                </a:cxn>
                <a:cxn ang="0">
                  <a:pos x="60" y="34"/>
                </a:cxn>
                <a:cxn ang="0">
                  <a:pos x="51" y="33"/>
                </a:cxn>
                <a:cxn ang="0">
                  <a:pos x="59" y="19"/>
                </a:cxn>
                <a:cxn ang="0">
                  <a:pos x="68" y="14"/>
                </a:cxn>
                <a:cxn ang="0">
                  <a:pos x="73" y="3"/>
                </a:cxn>
                <a:cxn ang="0">
                  <a:pos x="80" y="11"/>
                </a:cxn>
                <a:cxn ang="0">
                  <a:pos x="89" y="19"/>
                </a:cxn>
                <a:cxn ang="0">
                  <a:pos x="86" y="29"/>
                </a:cxn>
                <a:cxn ang="0">
                  <a:pos x="93" y="34"/>
                </a:cxn>
                <a:cxn ang="0">
                  <a:pos x="96" y="43"/>
                </a:cxn>
                <a:cxn ang="0">
                  <a:pos x="93" y="48"/>
                </a:cxn>
                <a:cxn ang="0">
                  <a:pos x="95" y="59"/>
                </a:cxn>
                <a:cxn ang="0">
                  <a:pos x="94" y="65"/>
                </a:cxn>
                <a:cxn ang="0">
                  <a:pos x="78" y="67"/>
                </a:cxn>
                <a:cxn ang="0">
                  <a:pos x="75" y="79"/>
                </a:cxn>
                <a:cxn ang="0">
                  <a:pos x="82" y="91"/>
                </a:cxn>
                <a:cxn ang="0">
                  <a:pos x="71" y="99"/>
                </a:cxn>
                <a:cxn ang="0">
                  <a:pos x="60" y="108"/>
                </a:cxn>
                <a:cxn ang="0">
                  <a:pos x="66" y="125"/>
                </a:cxn>
                <a:cxn ang="0">
                  <a:pos x="75" y="117"/>
                </a:cxn>
                <a:cxn ang="0">
                  <a:pos x="81" y="124"/>
                </a:cxn>
                <a:cxn ang="0">
                  <a:pos x="72" y="130"/>
                </a:cxn>
                <a:cxn ang="0">
                  <a:pos x="67" y="131"/>
                </a:cxn>
                <a:cxn ang="0">
                  <a:pos x="62" y="141"/>
                </a:cxn>
                <a:cxn ang="0">
                  <a:pos x="50" y="153"/>
                </a:cxn>
                <a:cxn ang="0">
                  <a:pos x="50" y="158"/>
                </a:cxn>
                <a:cxn ang="0">
                  <a:pos x="42" y="154"/>
                </a:cxn>
                <a:cxn ang="0">
                  <a:pos x="34" y="155"/>
                </a:cxn>
                <a:cxn ang="0">
                  <a:pos x="25" y="151"/>
                </a:cxn>
                <a:cxn ang="0">
                  <a:pos x="7" y="139"/>
                </a:cxn>
                <a:cxn ang="0">
                  <a:pos x="10" y="135"/>
                </a:cxn>
                <a:cxn ang="0">
                  <a:pos x="9" y="129"/>
                </a:cxn>
                <a:cxn ang="0">
                  <a:pos x="16" y="126"/>
                </a:cxn>
                <a:cxn ang="0">
                  <a:pos x="23" y="128"/>
                </a:cxn>
                <a:cxn ang="0">
                  <a:pos x="33" y="133"/>
                </a:cxn>
                <a:cxn ang="0">
                  <a:pos x="42" y="132"/>
                </a:cxn>
                <a:cxn ang="0">
                  <a:pos x="49" y="127"/>
                </a:cxn>
                <a:cxn ang="0">
                  <a:pos x="56" y="124"/>
                </a:cxn>
                <a:cxn ang="0">
                  <a:pos x="51" y="119"/>
                </a:cxn>
                <a:cxn ang="0">
                  <a:pos x="41" y="104"/>
                </a:cxn>
                <a:cxn ang="0">
                  <a:pos x="29" y="102"/>
                </a:cxn>
                <a:cxn ang="0">
                  <a:pos x="18" y="98"/>
                </a:cxn>
                <a:cxn ang="0">
                  <a:pos x="13" y="84"/>
                </a:cxn>
                <a:cxn ang="0">
                  <a:pos x="10" y="68"/>
                </a:cxn>
                <a:cxn ang="0">
                  <a:pos x="3" y="56"/>
                </a:cxn>
                <a:cxn ang="0">
                  <a:pos x="4" y="50"/>
                </a:cxn>
                <a:cxn ang="0">
                  <a:pos x="18" y="50"/>
                </a:cxn>
                <a:cxn ang="0">
                  <a:pos x="34" y="37"/>
                </a:cxn>
                <a:cxn ang="0">
                  <a:pos x="21" y="30"/>
                </a:cxn>
                <a:cxn ang="0">
                  <a:pos x="34" y="31"/>
                </a:cxn>
                <a:cxn ang="0">
                  <a:pos x="49" y="35"/>
                </a:cxn>
                <a:cxn ang="0">
                  <a:pos x="45" y="42"/>
                </a:cxn>
              </a:cxnLst>
              <a:rect l="0" t="0" r="r" b="b"/>
              <a:pathLst>
                <a:path w="97" h="161">
                  <a:moveTo>
                    <a:pt x="45" y="42"/>
                  </a:moveTo>
                  <a:cubicBezTo>
                    <a:pt x="45" y="43"/>
                    <a:pt x="41" y="46"/>
                    <a:pt x="42" y="48"/>
                  </a:cubicBezTo>
                  <a:cubicBezTo>
                    <a:pt x="42" y="49"/>
                    <a:pt x="43" y="49"/>
                    <a:pt x="44" y="49"/>
                  </a:cubicBezTo>
                  <a:cubicBezTo>
                    <a:pt x="46" y="49"/>
                    <a:pt x="46" y="49"/>
                    <a:pt x="48" y="50"/>
                  </a:cubicBezTo>
                  <a:cubicBezTo>
                    <a:pt x="49" y="52"/>
                    <a:pt x="48" y="54"/>
                    <a:pt x="50" y="56"/>
                  </a:cubicBezTo>
                  <a:cubicBezTo>
                    <a:pt x="53" y="59"/>
                    <a:pt x="52" y="53"/>
                    <a:pt x="52" y="51"/>
                  </a:cubicBezTo>
                  <a:cubicBezTo>
                    <a:pt x="55" y="52"/>
                    <a:pt x="58" y="54"/>
                    <a:pt x="60" y="54"/>
                  </a:cubicBezTo>
                  <a:cubicBezTo>
                    <a:pt x="61" y="54"/>
                    <a:pt x="61" y="54"/>
                    <a:pt x="62" y="54"/>
                  </a:cubicBezTo>
                  <a:cubicBezTo>
                    <a:pt x="62" y="54"/>
                    <a:pt x="62" y="54"/>
                    <a:pt x="63" y="54"/>
                  </a:cubicBezTo>
                  <a:cubicBezTo>
                    <a:pt x="64" y="53"/>
                    <a:pt x="60" y="50"/>
                    <a:pt x="59" y="51"/>
                  </a:cubicBezTo>
                  <a:cubicBezTo>
                    <a:pt x="59" y="51"/>
                    <a:pt x="59" y="52"/>
                    <a:pt x="59" y="52"/>
                  </a:cubicBezTo>
                  <a:cubicBezTo>
                    <a:pt x="58" y="52"/>
                    <a:pt x="58" y="52"/>
                    <a:pt x="57" y="52"/>
                  </a:cubicBezTo>
                  <a:cubicBezTo>
                    <a:pt x="57" y="52"/>
                    <a:pt x="54" y="50"/>
                    <a:pt x="54" y="50"/>
                  </a:cubicBezTo>
                  <a:cubicBezTo>
                    <a:pt x="53" y="49"/>
                    <a:pt x="53" y="48"/>
                    <a:pt x="53" y="48"/>
                  </a:cubicBezTo>
                  <a:cubicBezTo>
                    <a:pt x="52" y="47"/>
                    <a:pt x="52" y="44"/>
                    <a:pt x="53" y="43"/>
                  </a:cubicBezTo>
                  <a:cubicBezTo>
                    <a:pt x="53" y="42"/>
                    <a:pt x="55" y="42"/>
                    <a:pt x="55" y="41"/>
                  </a:cubicBezTo>
                  <a:cubicBezTo>
                    <a:pt x="57" y="39"/>
                    <a:pt x="54" y="38"/>
                    <a:pt x="54" y="36"/>
                  </a:cubicBezTo>
                  <a:cubicBezTo>
                    <a:pt x="53" y="35"/>
                    <a:pt x="54" y="34"/>
                    <a:pt x="54" y="32"/>
                  </a:cubicBezTo>
                  <a:cubicBezTo>
                    <a:pt x="54" y="31"/>
                    <a:pt x="53" y="29"/>
                    <a:pt x="55" y="30"/>
                  </a:cubicBezTo>
                  <a:cubicBezTo>
                    <a:pt x="57" y="30"/>
                    <a:pt x="56" y="34"/>
                    <a:pt x="58" y="35"/>
                  </a:cubicBezTo>
                  <a:cubicBezTo>
                    <a:pt x="58" y="36"/>
                    <a:pt x="60" y="36"/>
                    <a:pt x="60" y="34"/>
                  </a:cubicBezTo>
                  <a:cubicBezTo>
                    <a:pt x="61" y="33"/>
                    <a:pt x="59" y="32"/>
                    <a:pt x="58" y="31"/>
                  </a:cubicBezTo>
                  <a:cubicBezTo>
                    <a:pt x="57" y="31"/>
                    <a:pt x="55" y="31"/>
                    <a:pt x="54" y="31"/>
                  </a:cubicBezTo>
                  <a:cubicBezTo>
                    <a:pt x="52" y="31"/>
                    <a:pt x="52" y="32"/>
                    <a:pt x="51" y="33"/>
                  </a:cubicBezTo>
                  <a:cubicBezTo>
                    <a:pt x="50" y="32"/>
                    <a:pt x="49" y="27"/>
                    <a:pt x="50" y="26"/>
                  </a:cubicBezTo>
                  <a:cubicBezTo>
                    <a:pt x="51" y="25"/>
                    <a:pt x="54" y="26"/>
                    <a:pt x="55" y="25"/>
                  </a:cubicBezTo>
                  <a:cubicBezTo>
                    <a:pt x="57" y="23"/>
                    <a:pt x="58" y="20"/>
                    <a:pt x="59" y="19"/>
                  </a:cubicBezTo>
                  <a:cubicBezTo>
                    <a:pt x="60" y="17"/>
                    <a:pt x="62" y="15"/>
                    <a:pt x="63" y="14"/>
                  </a:cubicBezTo>
                  <a:cubicBezTo>
                    <a:pt x="64" y="14"/>
                    <a:pt x="65" y="13"/>
                    <a:pt x="67" y="12"/>
                  </a:cubicBezTo>
                  <a:cubicBezTo>
                    <a:pt x="67" y="13"/>
                    <a:pt x="67" y="13"/>
                    <a:pt x="68" y="14"/>
                  </a:cubicBezTo>
                  <a:cubicBezTo>
                    <a:pt x="67" y="11"/>
                    <a:pt x="65" y="9"/>
                    <a:pt x="66" y="7"/>
                  </a:cubicBezTo>
                  <a:cubicBezTo>
                    <a:pt x="66" y="4"/>
                    <a:pt x="67" y="0"/>
                    <a:pt x="70" y="0"/>
                  </a:cubicBezTo>
                  <a:cubicBezTo>
                    <a:pt x="72" y="0"/>
                    <a:pt x="72" y="1"/>
                    <a:pt x="73" y="3"/>
                  </a:cubicBezTo>
                  <a:cubicBezTo>
                    <a:pt x="74" y="4"/>
                    <a:pt x="74" y="7"/>
                    <a:pt x="76" y="8"/>
                  </a:cubicBezTo>
                  <a:cubicBezTo>
                    <a:pt x="77" y="8"/>
                    <a:pt x="78" y="7"/>
                    <a:pt x="79" y="8"/>
                  </a:cubicBezTo>
                  <a:cubicBezTo>
                    <a:pt x="79" y="8"/>
                    <a:pt x="79" y="10"/>
                    <a:pt x="80" y="11"/>
                  </a:cubicBezTo>
                  <a:cubicBezTo>
                    <a:pt x="80" y="12"/>
                    <a:pt x="81" y="13"/>
                    <a:pt x="82" y="14"/>
                  </a:cubicBezTo>
                  <a:cubicBezTo>
                    <a:pt x="83" y="14"/>
                    <a:pt x="83" y="12"/>
                    <a:pt x="84" y="11"/>
                  </a:cubicBezTo>
                  <a:cubicBezTo>
                    <a:pt x="86" y="14"/>
                    <a:pt x="89" y="16"/>
                    <a:pt x="89" y="19"/>
                  </a:cubicBezTo>
                  <a:cubicBezTo>
                    <a:pt x="90" y="20"/>
                    <a:pt x="91" y="20"/>
                    <a:pt x="92" y="22"/>
                  </a:cubicBezTo>
                  <a:cubicBezTo>
                    <a:pt x="92" y="23"/>
                    <a:pt x="90" y="23"/>
                    <a:pt x="89" y="24"/>
                  </a:cubicBezTo>
                  <a:cubicBezTo>
                    <a:pt x="87" y="26"/>
                    <a:pt x="85" y="27"/>
                    <a:pt x="86" y="29"/>
                  </a:cubicBezTo>
                  <a:cubicBezTo>
                    <a:pt x="87" y="30"/>
                    <a:pt x="87" y="31"/>
                    <a:pt x="87" y="33"/>
                  </a:cubicBezTo>
                  <a:cubicBezTo>
                    <a:pt x="87" y="33"/>
                    <a:pt x="87" y="36"/>
                    <a:pt x="87" y="36"/>
                  </a:cubicBezTo>
                  <a:cubicBezTo>
                    <a:pt x="89" y="38"/>
                    <a:pt x="91" y="34"/>
                    <a:pt x="93" y="34"/>
                  </a:cubicBezTo>
                  <a:cubicBezTo>
                    <a:pt x="94" y="34"/>
                    <a:pt x="95" y="37"/>
                    <a:pt x="96" y="38"/>
                  </a:cubicBezTo>
                  <a:cubicBezTo>
                    <a:pt x="96" y="39"/>
                    <a:pt x="97" y="40"/>
                    <a:pt x="97" y="41"/>
                  </a:cubicBezTo>
                  <a:cubicBezTo>
                    <a:pt x="97" y="42"/>
                    <a:pt x="96" y="42"/>
                    <a:pt x="96" y="43"/>
                  </a:cubicBezTo>
                  <a:cubicBezTo>
                    <a:pt x="96" y="43"/>
                    <a:pt x="96" y="43"/>
                    <a:pt x="95" y="44"/>
                  </a:cubicBezTo>
                  <a:cubicBezTo>
                    <a:pt x="95" y="45"/>
                    <a:pt x="96" y="45"/>
                    <a:pt x="95" y="46"/>
                  </a:cubicBezTo>
                  <a:cubicBezTo>
                    <a:pt x="95" y="47"/>
                    <a:pt x="95" y="47"/>
                    <a:pt x="93" y="48"/>
                  </a:cubicBezTo>
                  <a:cubicBezTo>
                    <a:pt x="88" y="49"/>
                    <a:pt x="93" y="52"/>
                    <a:pt x="95" y="54"/>
                  </a:cubicBezTo>
                  <a:cubicBezTo>
                    <a:pt x="95" y="55"/>
                    <a:pt x="95" y="56"/>
                    <a:pt x="95" y="57"/>
                  </a:cubicBezTo>
                  <a:cubicBezTo>
                    <a:pt x="95" y="58"/>
                    <a:pt x="95" y="58"/>
                    <a:pt x="95" y="59"/>
                  </a:cubicBezTo>
                  <a:cubicBezTo>
                    <a:pt x="96" y="60"/>
                    <a:pt x="96" y="60"/>
                    <a:pt x="96" y="60"/>
                  </a:cubicBezTo>
                  <a:cubicBezTo>
                    <a:pt x="97" y="62"/>
                    <a:pt x="97" y="60"/>
                    <a:pt x="97" y="62"/>
                  </a:cubicBezTo>
                  <a:cubicBezTo>
                    <a:pt x="96" y="63"/>
                    <a:pt x="94" y="64"/>
                    <a:pt x="94" y="65"/>
                  </a:cubicBezTo>
                  <a:cubicBezTo>
                    <a:pt x="92" y="65"/>
                    <a:pt x="90" y="67"/>
                    <a:pt x="88" y="67"/>
                  </a:cubicBezTo>
                  <a:cubicBezTo>
                    <a:pt x="86" y="66"/>
                    <a:pt x="88" y="65"/>
                    <a:pt x="86" y="65"/>
                  </a:cubicBezTo>
                  <a:cubicBezTo>
                    <a:pt x="84" y="64"/>
                    <a:pt x="80" y="66"/>
                    <a:pt x="78" y="67"/>
                  </a:cubicBezTo>
                  <a:cubicBezTo>
                    <a:pt x="76" y="68"/>
                    <a:pt x="73" y="69"/>
                    <a:pt x="71" y="70"/>
                  </a:cubicBezTo>
                  <a:cubicBezTo>
                    <a:pt x="68" y="71"/>
                    <a:pt x="67" y="72"/>
                    <a:pt x="68" y="75"/>
                  </a:cubicBezTo>
                  <a:cubicBezTo>
                    <a:pt x="69" y="78"/>
                    <a:pt x="72" y="78"/>
                    <a:pt x="75" y="79"/>
                  </a:cubicBezTo>
                  <a:cubicBezTo>
                    <a:pt x="77" y="80"/>
                    <a:pt x="80" y="81"/>
                    <a:pt x="81" y="83"/>
                  </a:cubicBezTo>
                  <a:cubicBezTo>
                    <a:pt x="81" y="84"/>
                    <a:pt x="82" y="85"/>
                    <a:pt x="82" y="86"/>
                  </a:cubicBezTo>
                  <a:cubicBezTo>
                    <a:pt x="83" y="88"/>
                    <a:pt x="82" y="90"/>
                    <a:pt x="82" y="91"/>
                  </a:cubicBezTo>
                  <a:cubicBezTo>
                    <a:pt x="82" y="93"/>
                    <a:pt x="82" y="95"/>
                    <a:pt x="80" y="97"/>
                  </a:cubicBezTo>
                  <a:cubicBezTo>
                    <a:pt x="79" y="98"/>
                    <a:pt x="77" y="99"/>
                    <a:pt x="75" y="99"/>
                  </a:cubicBezTo>
                  <a:cubicBezTo>
                    <a:pt x="74" y="99"/>
                    <a:pt x="72" y="98"/>
                    <a:pt x="71" y="99"/>
                  </a:cubicBezTo>
                  <a:cubicBezTo>
                    <a:pt x="69" y="100"/>
                    <a:pt x="70" y="102"/>
                    <a:pt x="69" y="103"/>
                  </a:cubicBezTo>
                  <a:cubicBezTo>
                    <a:pt x="68" y="104"/>
                    <a:pt x="67" y="105"/>
                    <a:pt x="65" y="105"/>
                  </a:cubicBezTo>
                  <a:cubicBezTo>
                    <a:pt x="63" y="106"/>
                    <a:pt x="60" y="104"/>
                    <a:pt x="60" y="108"/>
                  </a:cubicBezTo>
                  <a:cubicBezTo>
                    <a:pt x="63" y="108"/>
                    <a:pt x="68" y="108"/>
                    <a:pt x="66" y="112"/>
                  </a:cubicBezTo>
                  <a:cubicBezTo>
                    <a:pt x="66" y="115"/>
                    <a:pt x="64" y="116"/>
                    <a:pt x="65" y="119"/>
                  </a:cubicBezTo>
                  <a:cubicBezTo>
                    <a:pt x="67" y="117"/>
                    <a:pt x="66" y="124"/>
                    <a:pt x="66" y="125"/>
                  </a:cubicBezTo>
                  <a:cubicBezTo>
                    <a:pt x="69" y="122"/>
                    <a:pt x="70" y="121"/>
                    <a:pt x="73" y="121"/>
                  </a:cubicBezTo>
                  <a:cubicBezTo>
                    <a:pt x="75" y="121"/>
                    <a:pt x="75" y="122"/>
                    <a:pt x="75" y="120"/>
                  </a:cubicBezTo>
                  <a:cubicBezTo>
                    <a:pt x="76" y="119"/>
                    <a:pt x="75" y="118"/>
                    <a:pt x="75" y="117"/>
                  </a:cubicBezTo>
                  <a:cubicBezTo>
                    <a:pt x="79" y="116"/>
                    <a:pt x="85" y="118"/>
                    <a:pt x="87" y="121"/>
                  </a:cubicBezTo>
                  <a:cubicBezTo>
                    <a:pt x="87" y="123"/>
                    <a:pt x="88" y="123"/>
                    <a:pt x="86" y="124"/>
                  </a:cubicBezTo>
                  <a:cubicBezTo>
                    <a:pt x="85" y="124"/>
                    <a:pt x="83" y="124"/>
                    <a:pt x="81" y="124"/>
                  </a:cubicBezTo>
                  <a:cubicBezTo>
                    <a:pt x="79" y="124"/>
                    <a:pt x="78" y="124"/>
                    <a:pt x="77" y="126"/>
                  </a:cubicBezTo>
                  <a:cubicBezTo>
                    <a:pt x="77" y="126"/>
                    <a:pt x="77" y="128"/>
                    <a:pt x="76" y="128"/>
                  </a:cubicBezTo>
                  <a:cubicBezTo>
                    <a:pt x="74" y="129"/>
                    <a:pt x="73" y="128"/>
                    <a:pt x="72" y="130"/>
                  </a:cubicBezTo>
                  <a:cubicBezTo>
                    <a:pt x="71" y="131"/>
                    <a:pt x="71" y="132"/>
                    <a:pt x="71" y="133"/>
                  </a:cubicBezTo>
                  <a:cubicBezTo>
                    <a:pt x="70" y="133"/>
                    <a:pt x="67" y="134"/>
                    <a:pt x="67" y="133"/>
                  </a:cubicBezTo>
                  <a:cubicBezTo>
                    <a:pt x="66" y="133"/>
                    <a:pt x="67" y="132"/>
                    <a:pt x="67" y="131"/>
                  </a:cubicBezTo>
                  <a:cubicBezTo>
                    <a:pt x="64" y="130"/>
                    <a:pt x="63" y="131"/>
                    <a:pt x="64" y="133"/>
                  </a:cubicBezTo>
                  <a:cubicBezTo>
                    <a:pt x="65" y="135"/>
                    <a:pt x="66" y="138"/>
                    <a:pt x="65" y="139"/>
                  </a:cubicBezTo>
                  <a:cubicBezTo>
                    <a:pt x="64" y="141"/>
                    <a:pt x="63" y="141"/>
                    <a:pt x="62" y="141"/>
                  </a:cubicBezTo>
                  <a:cubicBezTo>
                    <a:pt x="61" y="142"/>
                    <a:pt x="60" y="142"/>
                    <a:pt x="59" y="143"/>
                  </a:cubicBezTo>
                  <a:cubicBezTo>
                    <a:pt x="58" y="144"/>
                    <a:pt x="57" y="145"/>
                    <a:pt x="56" y="146"/>
                  </a:cubicBezTo>
                  <a:cubicBezTo>
                    <a:pt x="54" y="149"/>
                    <a:pt x="53" y="151"/>
                    <a:pt x="50" y="153"/>
                  </a:cubicBezTo>
                  <a:cubicBezTo>
                    <a:pt x="49" y="154"/>
                    <a:pt x="49" y="154"/>
                    <a:pt x="49" y="155"/>
                  </a:cubicBezTo>
                  <a:cubicBezTo>
                    <a:pt x="48" y="157"/>
                    <a:pt x="49" y="159"/>
                    <a:pt x="49" y="161"/>
                  </a:cubicBezTo>
                  <a:cubicBezTo>
                    <a:pt x="49" y="160"/>
                    <a:pt x="50" y="159"/>
                    <a:pt x="50" y="158"/>
                  </a:cubicBezTo>
                  <a:cubicBezTo>
                    <a:pt x="51" y="157"/>
                    <a:pt x="50" y="156"/>
                    <a:pt x="49" y="155"/>
                  </a:cubicBezTo>
                  <a:cubicBezTo>
                    <a:pt x="47" y="154"/>
                    <a:pt x="47" y="154"/>
                    <a:pt x="45" y="154"/>
                  </a:cubicBezTo>
                  <a:cubicBezTo>
                    <a:pt x="44" y="154"/>
                    <a:pt x="43" y="153"/>
                    <a:pt x="42" y="154"/>
                  </a:cubicBezTo>
                  <a:cubicBezTo>
                    <a:pt x="41" y="154"/>
                    <a:pt x="40" y="154"/>
                    <a:pt x="39" y="154"/>
                  </a:cubicBezTo>
                  <a:cubicBezTo>
                    <a:pt x="38" y="154"/>
                    <a:pt x="37" y="154"/>
                    <a:pt x="36" y="154"/>
                  </a:cubicBezTo>
                  <a:cubicBezTo>
                    <a:pt x="35" y="154"/>
                    <a:pt x="35" y="154"/>
                    <a:pt x="34" y="155"/>
                  </a:cubicBezTo>
                  <a:cubicBezTo>
                    <a:pt x="33" y="155"/>
                    <a:pt x="29" y="156"/>
                    <a:pt x="28" y="155"/>
                  </a:cubicBezTo>
                  <a:cubicBezTo>
                    <a:pt x="27" y="154"/>
                    <a:pt x="28" y="153"/>
                    <a:pt x="27" y="153"/>
                  </a:cubicBezTo>
                  <a:cubicBezTo>
                    <a:pt x="27" y="152"/>
                    <a:pt x="26" y="151"/>
                    <a:pt x="25" y="151"/>
                  </a:cubicBezTo>
                  <a:cubicBezTo>
                    <a:pt x="21" y="149"/>
                    <a:pt x="18" y="147"/>
                    <a:pt x="14" y="147"/>
                  </a:cubicBezTo>
                  <a:cubicBezTo>
                    <a:pt x="11" y="147"/>
                    <a:pt x="11" y="146"/>
                    <a:pt x="10" y="144"/>
                  </a:cubicBezTo>
                  <a:cubicBezTo>
                    <a:pt x="8" y="143"/>
                    <a:pt x="5" y="142"/>
                    <a:pt x="7" y="139"/>
                  </a:cubicBezTo>
                  <a:cubicBezTo>
                    <a:pt x="7" y="139"/>
                    <a:pt x="7" y="138"/>
                    <a:pt x="8" y="137"/>
                  </a:cubicBezTo>
                  <a:cubicBezTo>
                    <a:pt x="8" y="137"/>
                    <a:pt x="9" y="137"/>
                    <a:pt x="10" y="137"/>
                  </a:cubicBezTo>
                  <a:cubicBezTo>
                    <a:pt x="10" y="136"/>
                    <a:pt x="11" y="136"/>
                    <a:pt x="10" y="135"/>
                  </a:cubicBezTo>
                  <a:cubicBezTo>
                    <a:pt x="10" y="135"/>
                    <a:pt x="10" y="134"/>
                    <a:pt x="9" y="134"/>
                  </a:cubicBezTo>
                  <a:cubicBezTo>
                    <a:pt x="9" y="134"/>
                    <a:pt x="9" y="134"/>
                    <a:pt x="9" y="133"/>
                  </a:cubicBezTo>
                  <a:cubicBezTo>
                    <a:pt x="8" y="132"/>
                    <a:pt x="8" y="130"/>
                    <a:pt x="9" y="129"/>
                  </a:cubicBezTo>
                  <a:cubicBezTo>
                    <a:pt x="9" y="127"/>
                    <a:pt x="10" y="126"/>
                    <a:pt x="12" y="125"/>
                  </a:cubicBezTo>
                  <a:cubicBezTo>
                    <a:pt x="13" y="125"/>
                    <a:pt x="14" y="124"/>
                    <a:pt x="15" y="125"/>
                  </a:cubicBezTo>
                  <a:cubicBezTo>
                    <a:pt x="16" y="125"/>
                    <a:pt x="16" y="125"/>
                    <a:pt x="16" y="126"/>
                  </a:cubicBezTo>
                  <a:cubicBezTo>
                    <a:pt x="17" y="126"/>
                    <a:pt x="18" y="127"/>
                    <a:pt x="19" y="128"/>
                  </a:cubicBezTo>
                  <a:cubicBezTo>
                    <a:pt x="20" y="128"/>
                    <a:pt x="21" y="128"/>
                    <a:pt x="22" y="128"/>
                  </a:cubicBezTo>
                  <a:cubicBezTo>
                    <a:pt x="22" y="128"/>
                    <a:pt x="22" y="128"/>
                    <a:pt x="23" y="128"/>
                  </a:cubicBezTo>
                  <a:cubicBezTo>
                    <a:pt x="23" y="128"/>
                    <a:pt x="24" y="130"/>
                    <a:pt x="24" y="130"/>
                  </a:cubicBezTo>
                  <a:cubicBezTo>
                    <a:pt x="26" y="132"/>
                    <a:pt x="28" y="133"/>
                    <a:pt x="30" y="132"/>
                  </a:cubicBezTo>
                  <a:cubicBezTo>
                    <a:pt x="32" y="132"/>
                    <a:pt x="32" y="132"/>
                    <a:pt x="33" y="133"/>
                  </a:cubicBezTo>
                  <a:cubicBezTo>
                    <a:pt x="34" y="135"/>
                    <a:pt x="35" y="137"/>
                    <a:pt x="37" y="135"/>
                  </a:cubicBezTo>
                  <a:cubicBezTo>
                    <a:pt x="38" y="134"/>
                    <a:pt x="38" y="133"/>
                    <a:pt x="40" y="132"/>
                  </a:cubicBezTo>
                  <a:cubicBezTo>
                    <a:pt x="40" y="132"/>
                    <a:pt x="41" y="132"/>
                    <a:pt x="42" y="132"/>
                  </a:cubicBezTo>
                  <a:cubicBezTo>
                    <a:pt x="42" y="130"/>
                    <a:pt x="41" y="128"/>
                    <a:pt x="42" y="127"/>
                  </a:cubicBezTo>
                  <a:cubicBezTo>
                    <a:pt x="43" y="126"/>
                    <a:pt x="46" y="124"/>
                    <a:pt x="47" y="125"/>
                  </a:cubicBezTo>
                  <a:cubicBezTo>
                    <a:pt x="48" y="125"/>
                    <a:pt x="48" y="126"/>
                    <a:pt x="49" y="127"/>
                  </a:cubicBezTo>
                  <a:cubicBezTo>
                    <a:pt x="49" y="125"/>
                    <a:pt x="48" y="120"/>
                    <a:pt x="49" y="119"/>
                  </a:cubicBezTo>
                  <a:cubicBezTo>
                    <a:pt x="50" y="119"/>
                    <a:pt x="52" y="121"/>
                    <a:pt x="52" y="121"/>
                  </a:cubicBezTo>
                  <a:cubicBezTo>
                    <a:pt x="54" y="123"/>
                    <a:pt x="54" y="123"/>
                    <a:pt x="56" y="124"/>
                  </a:cubicBezTo>
                  <a:cubicBezTo>
                    <a:pt x="57" y="124"/>
                    <a:pt x="57" y="125"/>
                    <a:pt x="58" y="125"/>
                  </a:cubicBezTo>
                  <a:cubicBezTo>
                    <a:pt x="58" y="124"/>
                    <a:pt x="58" y="123"/>
                    <a:pt x="58" y="123"/>
                  </a:cubicBezTo>
                  <a:cubicBezTo>
                    <a:pt x="57" y="121"/>
                    <a:pt x="52" y="119"/>
                    <a:pt x="51" y="119"/>
                  </a:cubicBezTo>
                  <a:cubicBezTo>
                    <a:pt x="50" y="117"/>
                    <a:pt x="48" y="115"/>
                    <a:pt x="46" y="113"/>
                  </a:cubicBezTo>
                  <a:cubicBezTo>
                    <a:pt x="44" y="112"/>
                    <a:pt x="44" y="111"/>
                    <a:pt x="44" y="109"/>
                  </a:cubicBezTo>
                  <a:cubicBezTo>
                    <a:pt x="44" y="106"/>
                    <a:pt x="44" y="106"/>
                    <a:pt x="41" y="104"/>
                  </a:cubicBezTo>
                  <a:cubicBezTo>
                    <a:pt x="39" y="104"/>
                    <a:pt x="38" y="104"/>
                    <a:pt x="36" y="103"/>
                  </a:cubicBezTo>
                  <a:cubicBezTo>
                    <a:pt x="35" y="103"/>
                    <a:pt x="35" y="103"/>
                    <a:pt x="34" y="102"/>
                  </a:cubicBezTo>
                  <a:cubicBezTo>
                    <a:pt x="33" y="102"/>
                    <a:pt x="31" y="102"/>
                    <a:pt x="29" y="102"/>
                  </a:cubicBezTo>
                  <a:cubicBezTo>
                    <a:pt x="28" y="102"/>
                    <a:pt x="27" y="103"/>
                    <a:pt x="26" y="103"/>
                  </a:cubicBezTo>
                  <a:cubicBezTo>
                    <a:pt x="25" y="103"/>
                    <a:pt x="23" y="101"/>
                    <a:pt x="22" y="100"/>
                  </a:cubicBezTo>
                  <a:cubicBezTo>
                    <a:pt x="21" y="100"/>
                    <a:pt x="18" y="98"/>
                    <a:pt x="18" y="98"/>
                  </a:cubicBezTo>
                  <a:cubicBezTo>
                    <a:pt x="18" y="97"/>
                    <a:pt x="18" y="96"/>
                    <a:pt x="18" y="96"/>
                  </a:cubicBezTo>
                  <a:cubicBezTo>
                    <a:pt x="18" y="93"/>
                    <a:pt x="17" y="77"/>
                    <a:pt x="13" y="78"/>
                  </a:cubicBezTo>
                  <a:cubicBezTo>
                    <a:pt x="12" y="80"/>
                    <a:pt x="13" y="82"/>
                    <a:pt x="13" y="84"/>
                  </a:cubicBezTo>
                  <a:cubicBezTo>
                    <a:pt x="13" y="82"/>
                    <a:pt x="12" y="77"/>
                    <a:pt x="14" y="76"/>
                  </a:cubicBezTo>
                  <a:cubicBezTo>
                    <a:pt x="14" y="75"/>
                    <a:pt x="16" y="75"/>
                    <a:pt x="15" y="73"/>
                  </a:cubicBezTo>
                  <a:cubicBezTo>
                    <a:pt x="14" y="71"/>
                    <a:pt x="11" y="71"/>
                    <a:pt x="10" y="68"/>
                  </a:cubicBezTo>
                  <a:cubicBezTo>
                    <a:pt x="9" y="67"/>
                    <a:pt x="10" y="65"/>
                    <a:pt x="10" y="64"/>
                  </a:cubicBezTo>
                  <a:cubicBezTo>
                    <a:pt x="10" y="63"/>
                    <a:pt x="10" y="62"/>
                    <a:pt x="10" y="61"/>
                  </a:cubicBezTo>
                  <a:cubicBezTo>
                    <a:pt x="9" y="58"/>
                    <a:pt x="5" y="58"/>
                    <a:pt x="3" y="56"/>
                  </a:cubicBezTo>
                  <a:cubicBezTo>
                    <a:pt x="2" y="55"/>
                    <a:pt x="2" y="55"/>
                    <a:pt x="2" y="53"/>
                  </a:cubicBezTo>
                  <a:cubicBezTo>
                    <a:pt x="1" y="52"/>
                    <a:pt x="0" y="51"/>
                    <a:pt x="1" y="50"/>
                  </a:cubicBezTo>
                  <a:cubicBezTo>
                    <a:pt x="2" y="49"/>
                    <a:pt x="3" y="49"/>
                    <a:pt x="4" y="50"/>
                  </a:cubicBezTo>
                  <a:cubicBezTo>
                    <a:pt x="5" y="51"/>
                    <a:pt x="6" y="53"/>
                    <a:pt x="7" y="54"/>
                  </a:cubicBezTo>
                  <a:cubicBezTo>
                    <a:pt x="9" y="55"/>
                    <a:pt x="10" y="50"/>
                    <a:pt x="11" y="49"/>
                  </a:cubicBezTo>
                  <a:cubicBezTo>
                    <a:pt x="13" y="46"/>
                    <a:pt x="16" y="51"/>
                    <a:pt x="18" y="50"/>
                  </a:cubicBezTo>
                  <a:cubicBezTo>
                    <a:pt x="21" y="50"/>
                    <a:pt x="23" y="45"/>
                    <a:pt x="25" y="43"/>
                  </a:cubicBezTo>
                  <a:cubicBezTo>
                    <a:pt x="27" y="42"/>
                    <a:pt x="28" y="41"/>
                    <a:pt x="30" y="41"/>
                  </a:cubicBezTo>
                  <a:cubicBezTo>
                    <a:pt x="31" y="40"/>
                    <a:pt x="35" y="40"/>
                    <a:pt x="34" y="37"/>
                  </a:cubicBezTo>
                  <a:cubicBezTo>
                    <a:pt x="34" y="36"/>
                    <a:pt x="33" y="36"/>
                    <a:pt x="32" y="35"/>
                  </a:cubicBezTo>
                  <a:cubicBezTo>
                    <a:pt x="31" y="35"/>
                    <a:pt x="30" y="34"/>
                    <a:pt x="28" y="33"/>
                  </a:cubicBezTo>
                  <a:cubicBezTo>
                    <a:pt x="26" y="31"/>
                    <a:pt x="24" y="31"/>
                    <a:pt x="21" y="30"/>
                  </a:cubicBezTo>
                  <a:cubicBezTo>
                    <a:pt x="20" y="29"/>
                    <a:pt x="20" y="29"/>
                    <a:pt x="20" y="28"/>
                  </a:cubicBezTo>
                  <a:cubicBezTo>
                    <a:pt x="23" y="27"/>
                    <a:pt x="25" y="29"/>
                    <a:pt x="28" y="30"/>
                  </a:cubicBezTo>
                  <a:cubicBezTo>
                    <a:pt x="30" y="31"/>
                    <a:pt x="32" y="31"/>
                    <a:pt x="34" y="31"/>
                  </a:cubicBezTo>
                  <a:cubicBezTo>
                    <a:pt x="35" y="30"/>
                    <a:pt x="36" y="30"/>
                    <a:pt x="36" y="29"/>
                  </a:cubicBezTo>
                  <a:cubicBezTo>
                    <a:pt x="40" y="28"/>
                    <a:pt x="45" y="28"/>
                    <a:pt x="48" y="28"/>
                  </a:cubicBezTo>
                  <a:cubicBezTo>
                    <a:pt x="49" y="30"/>
                    <a:pt x="50" y="34"/>
                    <a:pt x="49" y="35"/>
                  </a:cubicBezTo>
                  <a:cubicBezTo>
                    <a:pt x="49" y="36"/>
                    <a:pt x="46" y="36"/>
                    <a:pt x="46" y="37"/>
                  </a:cubicBezTo>
                  <a:cubicBezTo>
                    <a:pt x="45" y="39"/>
                    <a:pt x="46" y="41"/>
                    <a:pt x="46" y="43"/>
                  </a:cubicBezTo>
                  <a:lnTo>
                    <a:pt x="45" y="4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8" name="Freeform 108"/>
            <p:cNvSpPr>
              <a:spLocks/>
            </p:cNvSpPr>
            <p:nvPr/>
          </p:nvSpPr>
          <p:spPr bwMode="auto">
            <a:xfrm>
              <a:off x="4960938" y="3663950"/>
              <a:ext cx="55563" cy="58738"/>
            </a:xfrm>
            <a:custGeom>
              <a:avLst/>
              <a:gdLst/>
              <a:ahLst/>
              <a:cxnLst>
                <a:cxn ang="0">
                  <a:pos x="26" y="15"/>
                </a:cxn>
                <a:cxn ang="0">
                  <a:pos x="20" y="8"/>
                </a:cxn>
                <a:cxn ang="0">
                  <a:pos x="9" y="0"/>
                </a:cxn>
                <a:cxn ang="0">
                  <a:pos x="2" y="5"/>
                </a:cxn>
                <a:cxn ang="0">
                  <a:pos x="3" y="18"/>
                </a:cxn>
                <a:cxn ang="0">
                  <a:pos x="10" y="29"/>
                </a:cxn>
                <a:cxn ang="0">
                  <a:pos x="19" y="31"/>
                </a:cxn>
                <a:cxn ang="0">
                  <a:pos x="28" y="28"/>
                </a:cxn>
                <a:cxn ang="0">
                  <a:pos x="28" y="16"/>
                </a:cxn>
              </a:cxnLst>
              <a:rect l="0" t="0" r="r" b="b"/>
              <a:pathLst>
                <a:path w="30" h="32">
                  <a:moveTo>
                    <a:pt x="26" y="15"/>
                  </a:moveTo>
                  <a:cubicBezTo>
                    <a:pt x="25" y="12"/>
                    <a:pt x="22" y="10"/>
                    <a:pt x="20" y="8"/>
                  </a:cubicBezTo>
                  <a:cubicBezTo>
                    <a:pt x="17" y="5"/>
                    <a:pt x="13" y="0"/>
                    <a:pt x="9" y="0"/>
                  </a:cubicBezTo>
                  <a:cubicBezTo>
                    <a:pt x="7" y="0"/>
                    <a:pt x="3" y="3"/>
                    <a:pt x="2" y="5"/>
                  </a:cubicBezTo>
                  <a:cubicBezTo>
                    <a:pt x="0" y="8"/>
                    <a:pt x="2" y="15"/>
                    <a:pt x="3" y="18"/>
                  </a:cubicBezTo>
                  <a:cubicBezTo>
                    <a:pt x="5" y="22"/>
                    <a:pt x="7" y="26"/>
                    <a:pt x="10" y="29"/>
                  </a:cubicBezTo>
                  <a:cubicBezTo>
                    <a:pt x="12" y="32"/>
                    <a:pt x="15" y="32"/>
                    <a:pt x="19" y="31"/>
                  </a:cubicBezTo>
                  <a:cubicBezTo>
                    <a:pt x="22" y="31"/>
                    <a:pt x="27" y="31"/>
                    <a:pt x="28" y="28"/>
                  </a:cubicBezTo>
                  <a:cubicBezTo>
                    <a:pt x="30" y="26"/>
                    <a:pt x="30" y="18"/>
                    <a:pt x="28" y="16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9" name="Freeform 109"/>
            <p:cNvSpPr>
              <a:spLocks/>
            </p:cNvSpPr>
            <p:nvPr/>
          </p:nvSpPr>
          <p:spPr bwMode="auto">
            <a:xfrm>
              <a:off x="4075113" y="3727450"/>
              <a:ext cx="927100" cy="1235075"/>
            </a:xfrm>
            <a:custGeom>
              <a:avLst/>
              <a:gdLst/>
              <a:ahLst/>
              <a:cxnLst>
                <a:cxn ang="0">
                  <a:pos x="480" y="297"/>
                </a:cxn>
                <a:cxn ang="0">
                  <a:pos x="483" y="257"/>
                </a:cxn>
                <a:cxn ang="0">
                  <a:pos x="476" y="216"/>
                </a:cxn>
                <a:cxn ang="0">
                  <a:pos x="458" y="173"/>
                </a:cxn>
                <a:cxn ang="0">
                  <a:pos x="446" y="106"/>
                </a:cxn>
                <a:cxn ang="0">
                  <a:pos x="445" y="78"/>
                </a:cxn>
                <a:cxn ang="0">
                  <a:pos x="401" y="61"/>
                </a:cxn>
                <a:cxn ang="0">
                  <a:pos x="426" y="54"/>
                </a:cxn>
                <a:cxn ang="0">
                  <a:pos x="419" y="31"/>
                </a:cxn>
                <a:cxn ang="0">
                  <a:pos x="405" y="38"/>
                </a:cxn>
                <a:cxn ang="0">
                  <a:pos x="398" y="38"/>
                </a:cxn>
                <a:cxn ang="0">
                  <a:pos x="390" y="49"/>
                </a:cxn>
                <a:cxn ang="0">
                  <a:pos x="352" y="57"/>
                </a:cxn>
                <a:cxn ang="0">
                  <a:pos x="321" y="60"/>
                </a:cxn>
                <a:cxn ang="0">
                  <a:pos x="304" y="84"/>
                </a:cxn>
                <a:cxn ang="0">
                  <a:pos x="286" y="66"/>
                </a:cxn>
                <a:cxn ang="0">
                  <a:pos x="282" y="34"/>
                </a:cxn>
                <a:cxn ang="0">
                  <a:pos x="256" y="48"/>
                </a:cxn>
                <a:cxn ang="0">
                  <a:pos x="223" y="42"/>
                </a:cxn>
                <a:cxn ang="0">
                  <a:pos x="222" y="10"/>
                </a:cxn>
                <a:cxn ang="0">
                  <a:pos x="187" y="11"/>
                </a:cxn>
                <a:cxn ang="0">
                  <a:pos x="157" y="1"/>
                </a:cxn>
                <a:cxn ang="0">
                  <a:pos x="163" y="30"/>
                </a:cxn>
                <a:cxn ang="0">
                  <a:pos x="173" y="41"/>
                </a:cxn>
                <a:cxn ang="0">
                  <a:pos x="155" y="59"/>
                </a:cxn>
                <a:cxn ang="0">
                  <a:pos x="158" y="74"/>
                </a:cxn>
                <a:cxn ang="0">
                  <a:pos x="169" y="96"/>
                </a:cxn>
                <a:cxn ang="0">
                  <a:pos x="169" y="101"/>
                </a:cxn>
                <a:cxn ang="0">
                  <a:pos x="138" y="113"/>
                </a:cxn>
                <a:cxn ang="0">
                  <a:pos x="123" y="134"/>
                </a:cxn>
                <a:cxn ang="0">
                  <a:pos x="96" y="112"/>
                </a:cxn>
                <a:cxn ang="0">
                  <a:pos x="66" y="146"/>
                </a:cxn>
                <a:cxn ang="0">
                  <a:pos x="56" y="203"/>
                </a:cxn>
                <a:cxn ang="0">
                  <a:pos x="59" y="228"/>
                </a:cxn>
                <a:cxn ang="0">
                  <a:pos x="43" y="265"/>
                </a:cxn>
                <a:cxn ang="0">
                  <a:pos x="0" y="283"/>
                </a:cxn>
                <a:cxn ang="0">
                  <a:pos x="10" y="324"/>
                </a:cxn>
                <a:cxn ang="0">
                  <a:pos x="4" y="351"/>
                </a:cxn>
                <a:cxn ang="0">
                  <a:pos x="1" y="377"/>
                </a:cxn>
                <a:cxn ang="0">
                  <a:pos x="13" y="414"/>
                </a:cxn>
                <a:cxn ang="0">
                  <a:pos x="28" y="457"/>
                </a:cxn>
                <a:cxn ang="0">
                  <a:pos x="79" y="505"/>
                </a:cxn>
                <a:cxn ang="0">
                  <a:pos x="95" y="563"/>
                </a:cxn>
                <a:cxn ang="0">
                  <a:pos x="110" y="637"/>
                </a:cxn>
                <a:cxn ang="0">
                  <a:pos x="147" y="627"/>
                </a:cxn>
                <a:cxn ang="0">
                  <a:pos x="189" y="640"/>
                </a:cxn>
                <a:cxn ang="0">
                  <a:pos x="233" y="655"/>
                </a:cxn>
                <a:cxn ang="0">
                  <a:pos x="289" y="643"/>
                </a:cxn>
                <a:cxn ang="0">
                  <a:pos x="341" y="629"/>
                </a:cxn>
                <a:cxn ang="0">
                  <a:pos x="375" y="634"/>
                </a:cxn>
                <a:cxn ang="0">
                  <a:pos x="364" y="603"/>
                </a:cxn>
                <a:cxn ang="0">
                  <a:pos x="398" y="571"/>
                </a:cxn>
                <a:cxn ang="0">
                  <a:pos x="418" y="552"/>
                </a:cxn>
                <a:cxn ang="0">
                  <a:pos x="398" y="517"/>
                </a:cxn>
                <a:cxn ang="0">
                  <a:pos x="365" y="488"/>
                </a:cxn>
                <a:cxn ang="0">
                  <a:pos x="354" y="445"/>
                </a:cxn>
                <a:cxn ang="0">
                  <a:pos x="339" y="413"/>
                </a:cxn>
                <a:cxn ang="0">
                  <a:pos x="361" y="401"/>
                </a:cxn>
                <a:cxn ang="0">
                  <a:pos x="392" y="392"/>
                </a:cxn>
                <a:cxn ang="0">
                  <a:pos x="412" y="380"/>
                </a:cxn>
                <a:cxn ang="0">
                  <a:pos x="446" y="363"/>
                </a:cxn>
                <a:cxn ang="0">
                  <a:pos x="472" y="359"/>
                </a:cxn>
                <a:cxn ang="0">
                  <a:pos x="496" y="326"/>
                </a:cxn>
              </a:cxnLst>
              <a:rect l="0" t="0" r="r" b="b"/>
              <a:pathLst>
                <a:path w="496" h="661">
                  <a:moveTo>
                    <a:pt x="496" y="323"/>
                  </a:moveTo>
                  <a:cubicBezTo>
                    <a:pt x="495" y="322"/>
                    <a:pt x="495" y="321"/>
                    <a:pt x="494" y="320"/>
                  </a:cubicBezTo>
                  <a:cubicBezTo>
                    <a:pt x="494" y="319"/>
                    <a:pt x="493" y="318"/>
                    <a:pt x="492" y="317"/>
                  </a:cubicBezTo>
                  <a:cubicBezTo>
                    <a:pt x="492" y="317"/>
                    <a:pt x="491" y="317"/>
                    <a:pt x="491" y="316"/>
                  </a:cubicBezTo>
                  <a:cubicBezTo>
                    <a:pt x="491" y="316"/>
                    <a:pt x="491" y="315"/>
                    <a:pt x="490" y="314"/>
                  </a:cubicBezTo>
                  <a:cubicBezTo>
                    <a:pt x="490" y="312"/>
                    <a:pt x="490" y="311"/>
                    <a:pt x="489" y="309"/>
                  </a:cubicBezTo>
                  <a:cubicBezTo>
                    <a:pt x="488" y="308"/>
                    <a:pt x="488" y="308"/>
                    <a:pt x="487" y="307"/>
                  </a:cubicBezTo>
                  <a:cubicBezTo>
                    <a:pt x="486" y="306"/>
                    <a:pt x="484" y="306"/>
                    <a:pt x="483" y="305"/>
                  </a:cubicBezTo>
                  <a:cubicBezTo>
                    <a:pt x="482" y="304"/>
                    <a:pt x="481" y="303"/>
                    <a:pt x="479" y="302"/>
                  </a:cubicBezTo>
                  <a:cubicBezTo>
                    <a:pt x="478" y="301"/>
                    <a:pt x="478" y="301"/>
                    <a:pt x="478" y="301"/>
                  </a:cubicBezTo>
                  <a:cubicBezTo>
                    <a:pt x="477" y="300"/>
                    <a:pt x="476" y="299"/>
                    <a:pt x="477" y="298"/>
                  </a:cubicBezTo>
                  <a:cubicBezTo>
                    <a:pt x="478" y="298"/>
                    <a:pt x="479" y="298"/>
                    <a:pt x="479" y="297"/>
                  </a:cubicBezTo>
                  <a:cubicBezTo>
                    <a:pt x="479" y="297"/>
                    <a:pt x="480" y="297"/>
                    <a:pt x="480" y="297"/>
                  </a:cubicBezTo>
                  <a:cubicBezTo>
                    <a:pt x="480" y="296"/>
                    <a:pt x="481" y="296"/>
                    <a:pt x="481" y="295"/>
                  </a:cubicBezTo>
                  <a:cubicBezTo>
                    <a:pt x="481" y="293"/>
                    <a:pt x="480" y="291"/>
                    <a:pt x="480" y="289"/>
                  </a:cubicBezTo>
                  <a:cubicBezTo>
                    <a:pt x="480" y="290"/>
                    <a:pt x="479" y="288"/>
                    <a:pt x="479" y="288"/>
                  </a:cubicBezTo>
                  <a:cubicBezTo>
                    <a:pt x="479" y="288"/>
                    <a:pt x="478" y="288"/>
                    <a:pt x="478" y="287"/>
                  </a:cubicBezTo>
                  <a:cubicBezTo>
                    <a:pt x="478" y="287"/>
                    <a:pt x="478" y="286"/>
                    <a:pt x="478" y="286"/>
                  </a:cubicBezTo>
                  <a:cubicBezTo>
                    <a:pt x="477" y="284"/>
                    <a:pt x="475" y="282"/>
                    <a:pt x="474" y="280"/>
                  </a:cubicBezTo>
                  <a:cubicBezTo>
                    <a:pt x="475" y="279"/>
                    <a:pt x="476" y="278"/>
                    <a:pt x="477" y="278"/>
                  </a:cubicBezTo>
                  <a:cubicBezTo>
                    <a:pt x="476" y="278"/>
                    <a:pt x="475" y="279"/>
                    <a:pt x="474" y="278"/>
                  </a:cubicBezTo>
                  <a:cubicBezTo>
                    <a:pt x="474" y="277"/>
                    <a:pt x="474" y="274"/>
                    <a:pt x="474" y="273"/>
                  </a:cubicBezTo>
                  <a:cubicBezTo>
                    <a:pt x="474" y="270"/>
                    <a:pt x="473" y="269"/>
                    <a:pt x="477" y="268"/>
                  </a:cubicBezTo>
                  <a:cubicBezTo>
                    <a:pt x="479" y="268"/>
                    <a:pt x="481" y="268"/>
                    <a:pt x="482" y="266"/>
                  </a:cubicBezTo>
                  <a:cubicBezTo>
                    <a:pt x="482" y="265"/>
                    <a:pt x="482" y="265"/>
                    <a:pt x="482" y="265"/>
                  </a:cubicBezTo>
                  <a:cubicBezTo>
                    <a:pt x="482" y="262"/>
                    <a:pt x="482" y="260"/>
                    <a:pt x="483" y="257"/>
                  </a:cubicBezTo>
                  <a:cubicBezTo>
                    <a:pt x="483" y="254"/>
                    <a:pt x="485" y="251"/>
                    <a:pt x="482" y="249"/>
                  </a:cubicBezTo>
                  <a:cubicBezTo>
                    <a:pt x="482" y="248"/>
                    <a:pt x="479" y="247"/>
                    <a:pt x="479" y="246"/>
                  </a:cubicBezTo>
                  <a:cubicBezTo>
                    <a:pt x="478" y="245"/>
                    <a:pt x="479" y="245"/>
                    <a:pt x="479" y="244"/>
                  </a:cubicBezTo>
                  <a:cubicBezTo>
                    <a:pt x="479" y="243"/>
                    <a:pt x="478" y="242"/>
                    <a:pt x="478" y="240"/>
                  </a:cubicBezTo>
                  <a:cubicBezTo>
                    <a:pt x="478" y="240"/>
                    <a:pt x="478" y="238"/>
                    <a:pt x="478" y="238"/>
                  </a:cubicBezTo>
                  <a:cubicBezTo>
                    <a:pt x="477" y="237"/>
                    <a:pt x="476" y="237"/>
                    <a:pt x="476" y="237"/>
                  </a:cubicBezTo>
                  <a:cubicBezTo>
                    <a:pt x="476" y="237"/>
                    <a:pt x="476" y="236"/>
                    <a:pt x="475" y="236"/>
                  </a:cubicBezTo>
                  <a:cubicBezTo>
                    <a:pt x="475" y="236"/>
                    <a:pt x="475" y="236"/>
                    <a:pt x="474" y="235"/>
                  </a:cubicBezTo>
                  <a:cubicBezTo>
                    <a:pt x="474" y="234"/>
                    <a:pt x="473" y="231"/>
                    <a:pt x="473" y="230"/>
                  </a:cubicBezTo>
                  <a:cubicBezTo>
                    <a:pt x="473" y="228"/>
                    <a:pt x="473" y="227"/>
                    <a:pt x="473" y="225"/>
                  </a:cubicBezTo>
                  <a:cubicBezTo>
                    <a:pt x="472" y="223"/>
                    <a:pt x="472" y="224"/>
                    <a:pt x="473" y="223"/>
                  </a:cubicBezTo>
                  <a:cubicBezTo>
                    <a:pt x="474" y="221"/>
                    <a:pt x="475" y="221"/>
                    <a:pt x="475" y="219"/>
                  </a:cubicBezTo>
                  <a:cubicBezTo>
                    <a:pt x="476" y="218"/>
                    <a:pt x="476" y="217"/>
                    <a:pt x="476" y="216"/>
                  </a:cubicBezTo>
                  <a:cubicBezTo>
                    <a:pt x="476" y="215"/>
                    <a:pt x="477" y="213"/>
                    <a:pt x="477" y="212"/>
                  </a:cubicBezTo>
                  <a:cubicBezTo>
                    <a:pt x="476" y="209"/>
                    <a:pt x="472" y="209"/>
                    <a:pt x="470" y="206"/>
                  </a:cubicBezTo>
                  <a:cubicBezTo>
                    <a:pt x="470" y="206"/>
                    <a:pt x="470" y="205"/>
                    <a:pt x="470" y="205"/>
                  </a:cubicBezTo>
                  <a:cubicBezTo>
                    <a:pt x="469" y="203"/>
                    <a:pt x="469" y="201"/>
                    <a:pt x="467" y="200"/>
                  </a:cubicBezTo>
                  <a:cubicBezTo>
                    <a:pt x="466" y="198"/>
                    <a:pt x="465" y="198"/>
                    <a:pt x="464" y="197"/>
                  </a:cubicBezTo>
                  <a:cubicBezTo>
                    <a:pt x="463" y="196"/>
                    <a:pt x="462" y="196"/>
                    <a:pt x="461" y="195"/>
                  </a:cubicBezTo>
                  <a:cubicBezTo>
                    <a:pt x="459" y="194"/>
                    <a:pt x="458" y="193"/>
                    <a:pt x="457" y="191"/>
                  </a:cubicBezTo>
                  <a:cubicBezTo>
                    <a:pt x="456" y="190"/>
                    <a:pt x="455" y="189"/>
                    <a:pt x="453" y="188"/>
                  </a:cubicBezTo>
                  <a:cubicBezTo>
                    <a:pt x="453" y="187"/>
                    <a:pt x="451" y="187"/>
                    <a:pt x="451" y="185"/>
                  </a:cubicBezTo>
                  <a:cubicBezTo>
                    <a:pt x="451" y="185"/>
                    <a:pt x="452" y="184"/>
                    <a:pt x="452" y="184"/>
                  </a:cubicBezTo>
                  <a:cubicBezTo>
                    <a:pt x="452" y="184"/>
                    <a:pt x="452" y="183"/>
                    <a:pt x="452" y="183"/>
                  </a:cubicBezTo>
                  <a:cubicBezTo>
                    <a:pt x="453" y="181"/>
                    <a:pt x="454" y="179"/>
                    <a:pt x="455" y="177"/>
                  </a:cubicBezTo>
                  <a:cubicBezTo>
                    <a:pt x="456" y="176"/>
                    <a:pt x="457" y="175"/>
                    <a:pt x="458" y="173"/>
                  </a:cubicBezTo>
                  <a:cubicBezTo>
                    <a:pt x="458" y="172"/>
                    <a:pt x="459" y="171"/>
                    <a:pt x="459" y="170"/>
                  </a:cubicBezTo>
                  <a:cubicBezTo>
                    <a:pt x="460" y="169"/>
                    <a:pt x="461" y="169"/>
                    <a:pt x="461" y="169"/>
                  </a:cubicBezTo>
                  <a:cubicBezTo>
                    <a:pt x="462" y="168"/>
                    <a:pt x="463" y="165"/>
                    <a:pt x="464" y="164"/>
                  </a:cubicBezTo>
                  <a:cubicBezTo>
                    <a:pt x="466" y="162"/>
                    <a:pt x="467" y="161"/>
                    <a:pt x="468" y="158"/>
                  </a:cubicBezTo>
                  <a:cubicBezTo>
                    <a:pt x="469" y="156"/>
                    <a:pt x="469" y="154"/>
                    <a:pt x="469" y="151"/>
                  </a:cubicBezTo>
                  <a:cubicBezTo>
                    <a:pt x="469" y="149"/>
                    <a:pt x="470" y="145"/>
                    <a:pt x="469" y="143"/>
                  </a:cubicBezTo>
                  <a:cubicBezTo>
                    <a:pt x="468" y="140"/>
                    <a:pt x="466" y="137"/>
                    <a:pt x="465" y="135"/>
                  </a:cubicBezTo>
                  <a:cubicBezTo>
                    <a:pt x="463" y="130"/>
                    <a:pt x="462" y="126"/>
                    <a:pt x="460" y="121"/>
                  </a:cubicBezTo>
                  <a:cubicBezTo>
                    <a:pt x="460" y="119"/>
                    <a:pt x="459" y="116"/>
                    <a:pt x="459" y="114"/>
                  </a:cubicBezTo>
                  <a:cubicBezTo>
                    <a:pt x="458" y="112"/>
                    <a:pt x="459" y="109"/>
                    <a:pt x="459" y="107"/>
                  </a:cubicBezTo>
                  <a:cubicBezTo>
                    <a:pt x="459" y="106"/>
                    <a:pt x="458" y="101"/>
                    <a:pt x="457" y="102"/>
                  </a:cubicBezTo>
                  <a:cubicBezTo>
                    <a:pt x="456" y="103"/>
                    <a:pt x="454" y="106"/>
                    <a:pt x="452" y="106"/>
                  </a:cubicBezTo>
                  <a:cubicBezTo>
                    <a:pt x="450" y="107"/>
                    <a:pt x="447" y="106"/>
                    <a:pt x="446" y="106"/>
                  </a:cubicBezTo>
                  <a:cubicBezTo>
                    <a:pt x="445" y="105"/>
                    <a:pt x="444" y="104"/>
                    <a:pt x="443" y="103"/>
                  </a:cubicBezTo>
                  <a:cubicBezTo>
                    <a:pt x="441" y="102"/>
                    <a:pt x="438" y="101"/>
                    <a:pt x="437" y="100"/>
                  </a:cubicBezTo>
                  <a:cubicBezTo>
                    <a:pt x="437" y="100"/>
                    <a:pt x="437" y="99"/>
                    <a:pt x="437" y="98"/>
                  </a:cubicBezTo>
                  <a:cubicBezTo>
                    <a:pt x="437" y="98"/>
                    <a:pt x="436" y="97"/>
                    <a:pt x="436" y="96"/>
                  </a:cubicBezTo>
                  <a:cubicBezTo>
                    <a:pt x="439" y="94"/>
                    <a:pt x="442" y="95"/>
                    <a:pt x="445" y="95"/>
                  </a:cubicBezTo>
                  <a:cubicBezTo>
                    <a:pt x="447" y="95"/>
                    <a:pt x="448" y="94"/>
                    <a:pt x="450" y="94"/>
                  </a:cubicBezTo>
                  <a:cubicBezTo>
                    <a:pt x="451" y="93"/>
                    <a:pt x="452" y="93"/>
                    <a:pt x="453" y="93"/>
                  </a:cubicBezTo>
                  <a:cubicBezTo>
                    <a:pt x="454" y="93"/>
                    <a:pt x="455" y="93"/>
                    <a:pt x="456" y="93"/>
                  </a:cubicBezTo>
                  <a:cubicBezTo>
                    <a:pt x="456" y="92"/>
                    <a:pt x="455" y="92"/>
                    <a:pt x="455" y="91"/>
                  </a:cubicBezTo>
                  <a:cubicBezTo>
                    <a:pt x="454" y="90"/>
                    <a:pt x="454" y="90"/>
                    <a:pt x="454" y="89"/>
                  </a:cubicBezTo>
                  <a:cubicBezTo>
                    <a:pt x="453" y="88"/>
                    <a:pt x="452" y="87"/>
                    <a:pt x="451" y="86"/>
                  </a:cubicBezTo>
                  <a:cubicBezTo>
                    <a:pt x="450" y="84"/>
                    <a:pt x="449" y="83"/>
                    <a:pt x="448" y="81"/>
                  </a:cubicBezTo>
                  <a:cubicBezTo>
                    <a:pt x="447" y="80"/>
                    <a:pt x="446" y="80"/>
                    <a:pt x="445" y="78"/>
                  </a:cubicBezTo>
                  <a:cubicBezTo>
                    <a:pt x="443" y="76"/>
                    <a:pt x="440" y="74"/>
                    <a:pt x="438" y="72"/>
                  </a:cubicBezTo>
                  <a:cubicBezTo>
                    <a:pt x="437" y="72"/>
                    <a:pt x="436" y="71"/>
                    <a:pt x="434" y="71"/>
                  </a:cubicBezTo>
                  <a:cubicBezTo>
                    <a:pt x="434" y="69"/>
                    <a:pt x="426" y="67"/>
                    <a:pt x="426" y="70"/>
                  </a:cubicBezTo>
                  <a:cubicBezTo>
                    <a:pt x="427" y="72"/>
                    <a:pt x="431" y="73"/>
                    <a:pt x="431" y="75"/>
                  </a:cubicBezTo>
                  <a:cubicBezTo>
                    <a:pt x="431" y="77"/>
                    <a:pt x="428" y="75"/>
                    <a:pt x="427" y="74"/>
                  </a:cubicBezTo>
                  <a:cubicBezTo>
                    <a:pt x="425" y="73"/>
                    <a:pt x="424" y="73"/>
                    <a:pt x="422" y="73"/>
                  </a:cubicBezTo>
                  <a:cubicBezTo>
                    <a:pt x="421" y="72"/>
                    <a:pt x="421" y="72"/>
                    <a:pt x="420" y="72"/>
                  </a:cubicBezTo>
                  <a:cubicBezTo>
                    <a:pt x="418" y="71"/>
                    <a:pt x="418" y="72"/>
                    <a:pt x="416" y="72"/>
                  </a:cubicBezTo>
                  <a:cubicBezTo>
                    <a:pt x="415" y="72"/>
                    <a:pt x="413" y="72"/>
                    <a:pt x="412" y="71"/>
                  </a:cubicBezTo>
                  <a:cubicBezTo>
                    <a:pt x="410" y="70"/>
                    <a:pt x="410" y="69"/>
                    <a:pt x="409" y="67"/>
                  </a:cubicBezTo>
                  <a:cubicBezTo>
                    <a:pt x="408" y="66"/>
                    <a:pt x="405" y="65"/>
                    <a:pt x="404" y="63"/>
                  </a:cubicBezTo>
                  <a:cubicBezTo>
                    <a:pt x="403" y="63"/>
                    <a:pt x="403" y="61"/>
                    <a:pt x="402" y="61"/>
                  </a:cubicBezTo>
                  <a:cubicBezTo>
                    <a:pt x="402" y="61"/>
                    <a:pt x="401" y="61"/>
                    <a:pt x="401" y="61"/>
                  </a:cubicBezTo>
                  <a:cubicBezTo>
                    <a:pt x="399" y="61"/>
                    <a:pt x="398" y="60"/>
                    <a:pt x="397" y="60"/>
                  </a:cubicBezTo>
                  <a:cubicBezTo>
                    <a:pt x="396" y="59"/>
                    <a:pt x="396" y="59"/>
                    <a:pt x="395" y="59"/>
                  </a:cubicBezTo>
                  <a:cubicBezTo>
                    <a:pt x="394" y="58"/>
                    <a:pt x="394" y="58"/>
                    <a:pt x="396" y="56"/>
                  </a:cubicBezTo>
                  <a:cubicBezTo>
                    <a:pt x="397" y="55"/>
                    <a:pt x="397" y="55"/>
                    <a:pt x="399" y="55"/>
                  </a:cubicBezTo>
                  <a:cubicBezTo>
                    <a:pt x="399" y="58"/>
                    <a:pt x="403" y="57"/>
                    <a:pt x="405" y="57"/>
                  </a:cubicBezTo>
                  <a:cubicBezTo>
                    <a:pt x="406" y="59"/>
                    <a:pt x="405" y="61"/>
                    <a:pt x="407" y="62"/>
                  </a:cubicBezTo>
                  <a:cubicBezTo>
                    <a:pt x="409" y="63"/>
                    <a:pt x="410" y="61"/>
                    <a:pt x="410" y="59"/>
                  </a:cubicBezTo>
                  <a:cubicBezTo>
                    <a:pt x="410" y="59"/>
                    <a:pt x="410" y="58"/>
                    <a:pt x="410" y="57"/>
                  </a:cubicBezTo>
                  <a:cubicBezTo>
                    <a:pt x="410" y="56"/>
                    <a:pt x="410" y="56"/>
                    <a:pt x="410" y="55"/>
                  </a:cubicBezTo>
                  <a:cubicBezTo>
                    <a:pt x="410" y="53"/>
                    <a:pt x="409" y="51"/>
                    <a:pt x="411" y="50"/>
                  </a:cubicBezTo>
                  <a:cubicBezTo>
                    <a:pt x="413" y="50"/>
                    <a:pt x="413" y="52"/>
                    <a:pt x="415" y="52"/>
                  </a:cubicBezTo>
                  <a:cubicBezTo>
                    <a:pt x="416" y="52"/>
                    <a:pt x="416" y="50"/>
                    <a:pt x="418" y="50"/>
                  </a:cubicBezTo>
                  <a:cubicBezTo>
                    <a:pt x="421" y="50"/>
                    <a:pt x="423" y="53"/>
                    <a:pt x="426" y="54"/>
                  </a:cubicBezTo>
                  <a:cubicBezTo>
                    <a:pt x="429" y="55"/>
                    <a:pt x="429" y="53"/>
                    <a:pt x="429" y="50"/>
                  </a:cubicBezTo>
                  <a:cubicBezTo>
                    <a:pt x="428" y="50"/>
                    <a:pt x="427" y="50"/>
                    <a:pt x="425" y="49"/>
                  </a:cubicBezTo>
                  <a:cubicBezTo>
                    <a:pt x="424" y="49"/>
                    <a:pt x="424" y="48"/>
                    <a:pt x="424" y="47"/>
                  </a:cubicBezTo>
                  <a:cubicBezTo>
                    <a:pt x="422" y="46"/>
                    <a:pt x="420" y="46"/>
                    <a:pt x="419" y="46"/>
                  </a:cubicBezTo>
                  <a:cubicBezTo>
                    <a:pt x="418" y="45"/>
                    <a:pt x="417" y="45"/>
                    <a:pt x="416" y="44"/>
                  </a:cubicBezTo>
                  <a:cubicBezTo>
                    <a:pt x="415" y="44"/>
                    <a:pt x="413" y="43"/>
                    <a:pt x="414" y="42"/>
                  </a:cubicBezTo>
                  <a:cubicBezTo>
                    <a:pt x="415" y="41"/>
                    <a:pt x="418" y="40"/>
                    <a:pt x="419" y="40"/>
                  </a:cubicBezTo>
                  <a:cubicBezTo>
                    <a:pt x="419" y="39"/>
                    <a:pt x="419" y="39"/>
                    <a:pt x="420" y="39"/>
                  </a:cubicBezTo>
                  <a:cubicBezTo>
                    <a:pt x="420" y="38"/>
                    <a:pt x="420" y="38"/>
                    <a:pt x="420" y="37"/>
                  </a:cubicBezTo>
                  <a:cubicBezTo>
                    <a:pt x="420" y="36"/>
                    <a:pt x="421" y="36"/>
                    <a:pt x="422" y="36"/>
                  </a:cubicBezTo>
                  <a:cubicBezTo>
                    <a:pt x="424" y="35"/>
                    <a:pt x="425" y="36"/>
                    <a:pt x="425" y="34"/>
                  </a:cubicBezTo>
                  <a:cubicBezTo>
                    <a:pt x="425" y="33"/>
                    <a:pt x="425" y="32"/>
                    <a:pt x="424" y="31"/>
                  </a:cubicBezTo>
                  <a:cubicBezTo>
                    <a:pt x="422" y="31"/>
                    <a:pt x="421" y="31"/>
                    <a:pt x="419" y="31"/>
                  </a:cubicBezTo>
                  <a:cubicBezTo>
                    <a:pt x="418" y="32"/>
                    <a:pt x="417" y="32"/>
                    <a:pt x="416" y="32"/>
                  </a:cubicBezTo>
                  <a:cubicBezTo>
                    <a:pt x="415" y="32"/>
                    <a:pt x="415" y="31"/>
                    <a:pt x="414" y="31"/>
                  </a:cubicBezTo>
                  <a:cubicBezTo>
                    <a:pt x="414" y="31"/>
                    <a:pt x="414" y="31"/>
                    <a:pt x="413" y="31"/>
                  </a:cubicBezTo>
                  <a:cubicBezTo>
                    <a:pt x="413" y="31"/>
                    <a:pt x="413" y="30"/>
                    <a:pt x="413" y="30"/>
                  </a:cubicBezTo>
                  <a:cubicBezTo>
                    <a:pt x="412" y="30"/>
                    <a:pt x="411" y="30"/>
                    <a:pt x="410" y="30"/>
                  </a:cubicBezTo>
                  <a:cubicBezTo>
                    <a:pt x="410" y="31"/>
                    <a:pt x="410" y="32"/>
                    <a:pt x="410" y="33"/>
                  </a:cubicBezTo>
                  <a:cubicBezTo>
                    <a:pt x="412" y="33"/>
                    <a:pt x="413" y="34"/>
                    <a:pt x="414" y="35"/>
                  </a:cubicBezTo>
                  <a:cubicBezTo>
                    <a:pt x="416" y="35"/>
                    <a:pt x="419" y="35"/>
                    <a:pt x="419" y="36"/>
                  </a:cubicBezTo>
                  <a:cubicBezTo>
                    <a:pt x="418" y="37"/>
                    <a:pt x="417" y="38"/>
                    <a:pt x="416" y="38"/>
                  </a:cubicBezTo>
                  <a:cubicBezTo>
                    <a:pt x="416" y="38"/>
                    <a:pt x="415" y="38"/>
                    <a:pt x="414" y="38"/>
                  </a:cubicBezTo>
                  <a:cubicBezTo>
                    <a:pt x="413" y="38"/>
                    <a:pt x="411" y="40"/>
                    <a:pt x="410" y="39"/>
                  </a:cubicBezTo>
                  <a:cubicBezTo>
                    <a:pt x="409" y="39"/>
                    <a:pt x="409" y="37"/>
                    <a:pt x="408" y="37"/>
                  </a:cubicBezTo>
                  <a:cubicBezTo>
                    <a:pt x="406" y="36"/>
                    <a:pt x="406" y="37"/>
                    <a:pt x="405" y="38"/>
                  </a:cubicBezTo>
                  <a:cubicBezTo>
                    <a:pt x="404" y="36"/>
                    <a:pt x="402" y="33"/>
                    <a:pt x="404" y="31"/>
                  </a:cubicBezTo>
                  <a:cubicBezTo>
                    <a:pt x="404" y="31"/>
                    <a:pt x="404" y="30"/>
                    <a:pt x="405" y="30"/>
                  </a:cubicBezTo>
                  <a:cubicBezTo>
                    <a:pt x="405" y="30"/>
                    <a:pt x="406" y="30"/>
                    <a:pt x="406" y="30"/>
                  </a:cubicBezTo>
                  <a:cubicBezTo>
                    <a:pt x="407" y="30"/>
                    <a:pt x="408" y="29"/>
                    <a:pt x="408" y="29"/>
                  </a:cubicBezTo>
                  <a:cubicBezTo>
                    <a:pt x="409" y="28"/>
                    <a:pt x="408" y="28"/>
                    <a:pt x="407" y="27"/>
                  </a:cubicBezTo>
                  <a:cubicBezTo>
                    <a:pt x="407" y="27"/>
                    <a:pt x="408" y="27"/>
                    <a:pt x="408" y="26"/>
                  </a:cubicBezTo>
                  <a:cubicBezTo>
                    <a:pt x="408" y="25"/>
                    <a:pt x="409" y="24"/>
                    <a:pt x="408" y="23"/>
                  </a:cubicBezTo>
                  <a:cubicBezTo>
                    <a:pt x="406" y="22"/>
                    <a:pt x="403" y="23"/>
                    <a:pt x="402" y="24"/>
                  </a:cubicBezTo>
                  <a:cubicBezTo>
                    <a:pt x="401" y="26"/>
                    <a:pt x="401" y="27"/>
                    <a:pt x="401" y="28"/>
                  </a:cubicBezTo>
                  <a:cubicBezTo>
                    <a:pt x="401" y="29"/>
                    <a:pt x="401" y="29"/>
                    <a:pt x="401" y="30"/>
                  </a:cubicBezTo>
                  <a:cubicBezTo>
                    <a:pt x="401" y="30"/>
                    <a:pt x="401" y="30"/>
                    <a:pt x="400" y="30"/>
                  </a:cubicBezTo>
                  <a:cubicBezTo>
                    <a:pt x="400" y="30"/>
                    <a:pt x="400" y="31"/>
                    <a:pt x="399" y="31"/>
                  </a:cubicBezTo>
                  <a:cubicBezTo>
                    <a:pt x="398" y="33"/>
                    <a:pt x="397" y="36"/>
                    <a:pt x="398" y="38"/>
                  </a:cubicBezTo>
                  <a:cubicBezTo>
                    <a:pt x="400" y="37"/>
                    <a:pt x="401" y="38"/>
                    <a:pt x="403" y="38"/>
                  </a:cubicBezTo>
                  <a:cubicBezTo>
                    <a:pt x="403" y="39"/>
                    <a:pt x="403" y="40"/>
                    <a:pt x="403" y="40"/>
                  </a:cubicBezTo>
                  <a:cubicBezTo>
                    <a:pt x="404" y="41"/>
                    <a:pt x="404" y="41"/>
                    <a:pt x="403" y="42"/>
                  </a:cubicBezTo>
                  <a:cubicBezTo>
                    <a:pt x="402" y="42"/>
                    <a:pt x="401" y="41"/>
                    <a:pt x="401" y="43"/>
                  </a:cubicBezTo>
                  <a:cubicBezTo>
                    <a:pt x="401" y="43"/>
                    <a:pt x="401" y="45"/>
                    <a:pt x="401" y="45"/>
                  </a:cubicBezTo>
                  <a:cubicBezTo>
                    <a:pt x="401" y="46"/>
                    <a:pt x="402" y="46"/>
                    <a:pt x="402" y="46"/>
                  </a:cubicBezTo>
                  <a:cubicBezTo>
                    <a:pt x="403" y="47"/>
                    <a:pt x="404" y="47"/>
                    <a:pt x="404" y="48"/>
                  </a:cubicBezTo>
                  <a:cubicBezTo>
                    <a:pt x="405" y="49"/>
                    <a:pt x="405" y="48"/>
                    <a:pt x="405" y="49"/>
                  </a:cubicBezTo>
                  <a:cubicBezTo>
                    <a:pt x="405" y="51"/>
                    <a:pt x="401" y="51"/>
                    <a:pt x="401" y="49"/>
                  </a:cubicBezTo>
                  <a:cubicBezTo>
                    <a:pt x="399" y="49"/>
                    <a:pt x="399" y="50"/>
                    <a:pt x="398" y="51"/>
                  </a:cubicBezTo>
                  <a:cubicBezTo>
                    <a:pt x="398" y="51"/>
                    <a:pt x="397" y="54"/>
                    <a:pt x="397" y="54"/>
                  </a:cubicBezTo>
                  <a:cubicBezTo>
                    <a:pt x="395" y="55"/>
                    <a:pt x="391" y="54"/>
                    <a:pt x="390" y="53"/>
                  </a:cubicBezTo>
                  <a:cubicBezTo>
                    <a:pt x="389" y="52"/>
                    <a:pt x="390" y="50"/>
                    <a:pt x="390" y="49"/>
                  </a:cubicBezTo>
                  <a:cubicBezTo>
                    <a:pt x="389" y="48"/>
                    <a:pt x="389" y="46"/>
                    <a:pt x="388" y="45"/>
                  </a:cubicBezTo>
                  <a:cubicBezTo>
                    <a:pt x="387" y="44"/>
                    <a:pt x="387" y="44"/>
                    <a:pt x="386" y="45"/>
                  </a:cubicBezTo>
                  <a:cubicBezTo>
                    <a:pt x="385" y="45"/>
                    <a:pt x="385" y="46"/>
                    <a:pt x="384" y="47"/>
                  </a:cubicBezTo>
                  <a:cubicBezTo>
                    <a:pt x="382" y="50"/>
                    <a:pt x="377" y="49"/>
                    <a:pt x="373" y="49"/>
                  </a:cubicBezTo>
                  <a:cubicBezTo>
                    <a:pt x="372" y="49"/>
                    <a:pt x="372" y="49"/>
                    <a:pt x="371" y="48"/>
                  </a:cubicBezTo>
                  <a:cubicBezTo>
                    <a:pt x="371" y="48"/>
                    <a:pt x="371" y="48"/>
                    <a:pt x="370" y="48"/>
                  </a:cubicBezTo>
                  <a:cubicBezTo>
                    <a:pt x="369" y="47"/>
                    <a:pt x="370" y="48"/>
                    <a:pt x="369" y="48"/>
                  </a:cubicBezTo>
                  <a:cubicBezTo>
                    <a:pt x="368" y="48"/>
                    <a:pt x="366" y="49"/>
                    <a:pt x="366" y="49"/>
                  </a:cubicBezTo>
                  <a:cubicBezTo>
                    <a:pt x="365" y="49"/>
                    <a:pt x="364" y="49"/>
                    <a:pt x="363" y="49"/>
                  </a:cubicBezTo>
                  <a:cubicBezTo>
                    <a:pt x="362" y="50"/>
                    <a:pt x="363" y="50"/>
                    <a:pt x="362" y="50"/>
                  </a:cubicBezTo>
                  <a:cubicBezTo>
                    <a:pt x="360" y="51"/>
                    <a:pt x="360" y="51"/>
                    <a:pt x="360" y="53"/>
                  </a:cubicBezTo>
                  <a:cubicBezTo>
                    <a:pt x="359" y="54"/>
                    <a:pt x="360" y="57"/>
                    <a:pt x="358" y="56"/>
                  </a:cubicBezTo>
                  <a:cubicBezTo>
                    <a:pt x="358" y="58"/>
                    <a:pt x="353" y="57"/>
                    <a:pt x="352" y="57"/>
                  </a:cubicBezTo>
                  <a:cubicBezTo>
                    <a:pt x="350" y="58"/>
                    <a:pt x="350" y="59"/>
                    <a:pt x="348" y="59"/>
                  </a:cubicBezTo>
                  <a:cubicBezTo>
                    <a:pt x="347" y="59"/>
                    <a:pt x="346" y="59"/>
                    <a:pt x="345" y="58"/>
                  </a:cubicBezTo>
                  <a:cubicBezTo>
                    <a:pt x="344" y="58"/>
                    <a:pt x="344" y="57"/>
                    <a:pt x="343" y="57"/>
                  </a:cubicBezTo>
                  <a:cubicBezTo>
                    <a:pt x="342" y="59"/>
                    <a:pt x="341" y="61"/>
                    <a:pt x="340" y="60"/>
                  </a:cubicBezTo>
                  <a:cubicBezTo>
                    <a:pt x="339" y="60"/>
                    <a:pt x="338" y="58"/>
                    <a:pt x="337" y="59"/>
                  </a:cubicBezTo>
                  <a:cubicBezTo>
                    <a:pt x="337" y="59"/>
                    <a:pt x="336" y="60"/>
                    <a:pt x="335" y="60"/>
                  </a:cubicBezTo>
                  <a:cubicBezTo>
                    <a:pt x="335" y="61"/>
                    <a:pt x="335" y="61"/>
                    <a:pt x="334" y="62"/>
                  </a:cubicBezTo>
                  <a:cubicBezTo>
                    <a:pt x="332" y="63"/>
                    <a:pt x="331" y="65"/>
                    <a:pt x="329" y="64"/>
                  </a:cubicBezTo>
                  <a:cubicBezTo>
                    <a:pt x="328" y="64"/>
                    <a:pt x="328" y="64"/>
                    <a:pt x="328" y="63"/>
                  </a:cubicBezTo>
                  <a:cubicBezTo>
                    <a:pt x="328" y="62"/>
                    <a:pt x="327" y="62"/>
                    <a:pt x="327" y="61"/>
                  </a:cubicBezTo>
                  <a:cubicBezTo>
                    <a:pt x="325" y="61"/>
                    <a:pt x="325" y="60"/>
                    <a:pt x="323" y="60"/>
                  </a:cubicBezTo>
                  <a:cubicBezTo>
                    <a:pt x="323" y="60"/>
                    <a:pt x="322" y="60"/>
                    <a:pt x="322" y="60"/>
                  </a:cubicBezTo>
                  <a:cubicBezTo>
                    <a:pt x="322" y="60"/>
                    <a:pt x="321" y="60"/>
                    <a:pt x="321" y="60"/>
                  </a:cubicBezTo>
                  <a:cubicBezTo>
                    <a:pt x="320" y="61"/>
                    <a:pt x="319" y="61"/>
                    <a:pt x="318" y="62"/>
                  </a:cubicBezTo>
                  <a:cubicBezTo>
                    <a:pt x="317" y="63"/>
                    <a:pt x="316" y="65"/>
                    <a:pt x="317" y="67"/>
                  </a:cubicBezTo>
                  <a:cubicBezTo>
                    <a:pt x="317" y="68"/>
                    <a:pt x="319" y="69"/>
                    <a:pt x="318" y="70"/>
                  </a:cubicBezTo>
                  <a:cubicBezTo>
                    <a:pt x="318" y="70"/>
                    <a:pt x="317" y="71"/>
                    <a:pt x="316" y="71"/>
                  </a:cubicBezTo>
                  <a:cubicBezTo>
                    <a:pt x="316" y="72"/>
                    <a:pt x="315" y="73"/>
                    <a:pt x="315" y="73"/>
                  </a:cubicBezTo>
                  <a:cubicBezTo>
                    <a:pt x="314" y="74"/>
                    <a:pt x="314" y="74"/>
                    <a:pt x="312" y="74"/>
                  </a:cubicBezTo>
                  <a:cubicBezTo>
                    <a:pt x="310" y="75"/>
                    <a:pt x="309" y="76"/>
                    <a:pt x="308" y="77"/>
                  </a:cubicBezTo>
                  <a:cubicBezTo>
                    <a:pt x="308" y="78"/>
                    <a:pt x="307" y="78"/>
                    <a:pt x="308" y="79"/>
                  </a:cubicBezTo>
                  <a:cubicBezTo>
                    <a:pt x="308" y="80"/>
                    <a:pt x="311" y="80"/>
                    <a:pt x="311" y="80"/>
                  </a:cubicBezTo>
                  <a:cubicBezTo>
                    <a:pt x="311" y="81"/>
                    <a:pt x="311" y="82"/>
                    <a:pt x="310" y="83"/>
                  </a:cubicBezTo>
                  <a:cubicBezTo>
                    <a:pt x="309" y="83"/>
                    <a:pt x="308" y="83"/>
                    <a:pt x="307" y="83"/>
                  </a:cubicBezTo>
                  <a:cubicBezTo>
                    <a:pt x="306" y="83"/>
                    <a:pt x="305" y="82"/>
                    <a:pt x="304" y="83"/>
                  </a:cubicBezTo>
                  <a:cubicBezTo>
                    <a:pt x="304" y="83"/>
                    <a:pt x="304" y="84"/>
                    <a:pt x="304" y="84"/>
                  </a:cubicBezTo>
                  <a:cubicBezTo>
                    <a:pt x="303" y="84"/>
                    <a:pt x="303" y="84"/>
                    <a:pt x="303" y="84"/>
                  </a:cubicBezTo>
                  <a:cubicBezTo>
                    <a:pt x="302" y="84"/>
                    <a:pt x="302" y="84"/>
                    <a:pt x="301" y="85"/>
                  </a:cubicBezTo>
                  <a:cubicBezTo>
                    <a:pt x="301" y="85"/>
                    <a:pt x="300" y="86"/>
                    <a:pt x="299" y="87"/>
                  </a:cubicBezTo>
                  <a:cubicBezTo>
                    <a:pt x="298" y="87"/>
                    <a:pt x="296" y="87"/>
                    <a:pt x="295" y="85"/>
                  </a:cubicBezTo>
                  <a:cubicBezTo>
                    <a:pt x="292" y="83"/>
                    <a:pt x="289" y="80"/>
                    <a:pt x="285" y="80"/>
                  </a:cubicBezTo>
                  <a:cubicBezTo>
                    <a:pt x="283" y="79"/>
                    <a:pt x="283" y="80"/>
                    <a:pt x="281" y="80"/>
                  </a:cubicBezTo>
                  <a:cubicBezTo>
                    <a:pt x="278" y="81"/>
                    <a:pt x="275" y="78"/>
                    <a:pt x="272" y="78"/>
                  </a:cubicBezTo>
                  <a:cubicBezTo>
                    <a:pt x="272" y="77"/>
                    <a:pt x="273" y="76"/>
                    <a:pt x="273" y="76"/>
                  </a:cubicBezTo>
                  <a:cubicBezTo>
                    <a:pt x="274" y="75"/>
                    <a:pt x="275" y="75"/>
                    <a:pt x="275" y="75"/>
                  </a:cubicBezTo>
                  <a:cubicBezTo>
                    <a:pt x="275" y="75"/>
                    <a:pt x="276" y="73"/>
                    <a:pt x="276" y="73"/>
                  </a:cubicBezTo>
                  <a:cubicBezTo>
                    <a:pt x="278" y="71"/>
                    <a:pt x="280" y="70"/>
                    <a:pt x="281" y="69"/>
                  </a:cubicBezTo>
                  <a:cubicBezTo>
                    <a:pt x="282" y="68"/>
                    <a:pt x="282" y="68"/>
                    <a:pt x="283" y="67"/>
                  </a:cubicBezTo>
                  <a:cubicBezTo>
                    <a:pt x="284" y="66"/>
                    <a:pt x="285" y="67"/>
                    <a:pt x="286" y="66"/>
                  </a:cubicBezTo>
                  <a:cubicBezTo>
                    <a:pt x="288" y="65"/>
                    <a:pt x="286" y="63"/>
                    <a:pt x="285" y="61"/>
                  </a:cubicBezTo>
                  <a:cubicBezTo>
                    <a:pt x="284" y="61"/>
                    <a:pt x="284" y="61"/>
                    <a:pt x="284" y="59"/>
                  </a:cubicBezTo>
                  <a:cubicBezTo>
                    <a:pt x="284" y="59"/>
                    <a:pt x="284" y="57"/>
                    <a:pt x="284" y="57"/>
                  </a:cubicBezTo>
                  <a:cubicBezTo>
                    <a:pt x="285" y="54"/>
                    <a:pt x="284" y="50"/>
                    <a:pt x="285" y="48"/>
                  </a:cubicBezTo>
                  <a:cubicBezTo>
                    <a:pt x="286" y="47"/>
                    <a:pt x="289" y="48"/>
                    <a:pt x="290" y="48"/>
                  </a:cubicBezTo>
                  <a:cubicBezTo>
                    <a:pt x="292" y="48"/>
                    <a:pt x="294" y="48"/>
                    <a:pt x="295" y="48"/>
                  </a:cubicBezTo>
                  <a:cubicBezTo>
                    <a:pt x="298" y="47"/>
                    <a:pt x="298" y="46"/>
                    <a:pt x="297" y="43"/>
                  </a:cubicBezTo>
                  <a:cubicBezTo>
                    <a:pt x="296" y="43"/>
                    <a:pt x="296" y="42"/>
                    <a:pt x="295" y="42"/>
                  </a:cubicBezTo>
                  <a:cubicBezTo>
                    <a:pt x="295" y="40"/>
                    <a:pt x="294" y="40"/>
                    <a:pt x="293" y="38"/>
                  </a:cubicBezTo>
                  <a:cubicBezTo>
                    <a:pt x="293" y="37"/>
                    <a:pt x="292" y="35"/>
                    <a:pt x="291" y="35"/>
                  </a:cubicBezTo>
                  <a:cubicBezTo>
                    <a:pt x="291" y="34"/>
                    <a:pt x="289" y="35"/>
                    <a:pt x="288" y="34"/>
                  </a:cubicBezTo>
                  <a:cubicBezTo>
                    <a:pt x="288" y="34"/>
                    <a:pt x="287" y="34"/>
                    <a:pt x="286" y="34"/>
                  </a:cubicBezTo>
                  <a:cubicBezTo>
                    <a:pt x="285" y="34"/>
                    <a:pt x="283" y="34"/>
                    <a:pt x="282" y="34"/>
                  </a:cubicBezTo>
                  <a:cubicBezTo>
                    <a:pt x="281" y="35"/>
                    <a:pt x="280" y="35"/>
                    <a:pt x="280" y="36"/>
                  </a:cubicBezTo>
                  <a:cubicBezTo>
                    <a:pt x="279" y="38"/>
                    <a:pt x="278" y="39"/>
                    <a:pt x="278" y="41"/>
                  </a:cubicBezTo>
                  <a:cubicBezTo>
                    <a:pt x="278" y="42"/>
                    <a:pt x="279" y="43"/>
                    <a:pt x="280" y="43"/>
                  </a:cubicBezTo>
                  <a:cubicBezTo>
                    <a:pt x="281" y="44"/>
                    <a:pt x="284" y="46"/>
                    <a:pt x="285" y="46"/>
                  </a:cubicBezTo>
                  <a:cubicBezTo>
                    <a:pt x="285" y="48"/>
                    <a:pt x="285" y="46"/>
                    <a:pt x="284" y="48"/>
                  </a:cubicBezTo>
                  <a:cubicBezTo>
                    <a:pt x="284" y="48"/>
                    <a:pt x="284" y="50"/>
                    <a:pt x="283" y="50"/>
                  </a:cubicBezTo>
                  <a:cubicBezTo>
                    <a:pt x="283" y="52"/>
                    <a:pt x="280" y="50"/>
                    <a:pt x="279" y="50"/>
                  </a:cubicBezTo>
                  <a:cubicBezTo>
                    <a:pt x="277" y="50"/>
                    <a:pt x="275" y="50"/>
                    <a:pt x="273" y="51"/>
                  </a:cubicBezTo>
                  <a:cubicBezTo>
                    <a:pt x="272" y="52"/>
                    <a:pt x="271" y="52"/>
                    <a:pt x="270" y="53"/>
                  </a:cubicBezTo>
                  <a:cubicBezTo>
                    <a:pt x="268" y="54"/>
                    <a:pt x="268" y="55"/>
                    <a:pt x="266" y="55"/>
                  </a:cubicBezTo>
                  <a:cubicBezTo>
                    <a:pt x="264" y="55"/>
                    <a:pt x="262" y="55"/>
                    <a:pt x="262" y="53"/>
                  </a:cubicBezTo>
                  <a:cubicBezTo>
                    <a:pt x="262" y="51"/>
                    <a:pt x="262" y="49"/>
                    <a:pt x="260" y="48"/>
                  </a:cubicBezTo>
                  <a:cubicBezTo>
                    <a:pt x="259" y="48"/>
                    <a:pt x="257" y="48"/>
                    <a:pt x="256" y="48"/>
                  </a:cubicBezTo>
                  <a:cubicBezTo>
                    <a:pt x="254" y="48"/>
                    <a:pt x="253" y="49"/>
                    <a:pt x="252" y="48"/>
                  </a:cubicBezTo>
                  <a:cubicBezTo>
                    <a:pt x="251" y="47"/>
                    <a:pt x="251" y="46"/>
                    <a:pt x="249" y="46"/>
                  </a:cubicBezTo>
                  <a:cubicBezTo>
                    <a:pt x="248" y="46"/>
                    <a:pt x="247" y="46"/>
                    <a:pt x="245" y="46"/>
                  </a:cubicBezTo>
                  <a:cubicBezTo>
                    <a:pt x="245" y="46"/>
                    <a:pt x="244" y="46"/>
                    <a:pt x="244" y="45"/>
                  </a:cubicBezTo>
                  <a:cubicBezTo>
                    <a:pt x="243" y="45"/>
                    <a:pt x="242" y="45"/>
                    <a:pt x="242" y="46"/>
                  </a:cubicBezTo>
                  <a:cubicBezTo>
                    <a:pt x="241" y="46"/>
                    <a:pt x="242" y="47"/>
                    <a:pt x="241" y="47"/>
                  </a:cubicBezTo>
                  <a:cubicBezTo>
                    <a:pt x="240" y="48"/>
                    <a:pt x="240" y="48"/>
                    <a:pt x="239" y="48"/>
                  </a:cubicBezTo>
                  <a:cubicBezTo>
                    <a:pt x="238" y="49"/>
                    <a:pt x="236" y="50"/>
                    <a:pt x="235" y="48"/>
                  </a:cubicBezTo>
                  <a:cubicBezTo>
                    <a:pt x="235" y="48"/>
                    <a:pt x="236" y="46"/>
                    <a:pt x="236" y="46"/>
                  </a:cubicBezTo>
                  <a:cubicBezTo>
                    <a:pt x="236" y="44"/>
                    <a:pt x="236" y="42"/>
                    <a:pt x="234" y="41"/>
                  </a:cubicBezTo>
                  <a:cubicBezTo>
                    <a:pt x="232" y="41"/>
                    <a:pt x="232" y="42"/>
                    <a:pt x="230" y="42"/>
                  </a:cubicBezTo>
                  <a:cubicBezTo>
                    <a:pt x="229" y="42"/>
                    <a:pt x="229" y="42"/>
                    <a:pt x="228" y="42"/>
                  </a:cubicBezTo>
                  <a:cubicBezTo>
                    <a:pt x="226" y="42"/>
                    <a:pt x="224" y="41"/>
                    <a:pt x="223" y="42"/>
                  </a:cubicBezTo>
                  <a:cubicBezTo>
                    <a:pt x="222" y="42"/>
                    <a:pt x="222" y="43"/>
                    <a:pt x="220" y="43"/>
                  </a:cubicBezTo>
                  <a:cubicBezTo>
                    <a:pt x="219" y="44"/>
                    <a:pt x="218" y="44"/>
                    <a:pt x="217" y="43"/>
                  </a:cubicBezTo>
                  <a:cubicBezTo>
                    <a:pt x="218" y="42"/>
                    <a:pt x="218" y="40"/>
                    <a:pt x="220" y="38"/>
                  </a:cubicBezTo>
                  <a:cubicBezTo>
                    <a:pt x="221" y="38"/>
                    <a:pt x="222" y="37"/>
                    <a:pt x="223" y="37"/>
                  </a:cubicBezTo>
                  <a:cubicBezTo>
                    <a:pt x="223" y="37"/>
                    <a:pt x="225" y="36"/>
                    <a:pt x="225" y="36"/>
                  </a:cubicBezTo>
                  <a:cubicBezTo>
                    <a:pt x="225" y="36"/>
                    <a:pt x="225" y="34"/>
                    <a:pt x="225" y="34"/>
                  </a:cubicBezTo>
                  <a:cubicBezTo>
                    <a:pt x="225" y="32"/>
                    <a:pt x="225" y="31"/>
                    <a:pt x="225" y="30"/>
                  </a:cubicBezTo>
                  <a:cubicBezTo>
                    <a:pt x="225" y="29"/>
                    <a:pt x="226" y="27"/>
                    <a:pt x="226" y="26"/>
                  </a:cubicBezTo>
                  <a:cubicBezTo>
                    <a:pt x="225" y="25"/>
                    <a:pt x="224" y="25"/>
                    <a:pt x="224" y="24"/>
                  </a:cubicBezTo>
                  <a:cubicBezTo>
                    <a:pt x="224" y="23"/>
                    <a:pt x="224" y="23"/>
                    <a:pt x="225" y="22"/>
                  </a:cubicBezTo>
                  <a:cubicBezTo>
                    <a:pt x="225" y="21"/>
                    <a:pt x="224" y="20"/>
                    <a:pt x="222" y="20"/>
                  </a:cubicBezTo>
                  <a:cubicBezTo>
                    <a:pt x="222" y="18"/>
                    <a:pt x="224" y="16"/>
                    <a:pt x="224" y="14"/>
                  </a:cubicBezTo>
                  <a:cubicBezTo>
                    <a:pt x="224" y="13"/>
                    <a:pt x="223" y="10"/>
                    <a:pt x="222" y="10"/>
                  </a:cubicBezTo>
                  <a:cubicBezTo>
                    <a:pt x="221" y="9"/>
                    <a:pt x="219" y="11"/>
                    <a:pt x="218" y="11"/>
                  </a:cubicBezTo>
                  <a:cubicBezTo>
                    <a:pt x="217" y="12"/>
                    <a:pt x="217" y="13"/>
                    <a:pt x="216" y="13"/>
                  </a:cubicBezTo>
                  <a:cubicBezTo>
                    <a:pt x="215" y="13"/>
                    <a:pt x="214" y="12"/>
                    <a:pt x="213" y="12"/>
                  </a:cubicBezTo>
                  <a:cubicBezTo>
                    <a:pt x="212" y="11"/>
                    <a:pt x="212" y="11"/>
                    <a:pt x="211" y="10"/>
                  </a:cubicBezTo>
                  <a:cubicBezTo>
                    <a:pt x="209" y="9"/>
                    <a:pt x="208" y="9"/>
                    <a:pt x="206" y="9"/>
                  </a:cubicBezTo>
                  <a:cubicBezTo>
                    <a:pt x="204" y="9"/>
                    <a:pt x="204" y="8"/>
                    <a:pt x="203" y="6"/>
                  </a:cubicBezTo>
                  <a:cubicBezTo>
                    <a:pt x="202" y="6"/>
                    <a:pt x="201" y="5"/>
                    <a:pt x="200" y="5"/>
                  </a:cubicBezTo>
                  <a:cubicBezTo>
                    <a:pt x="199" y="5"/>
                    <a:pt x="199" y="5"/>
                    <a:pt x="198" y="5"/>
                  </a:cubicBezTo>
                  <a:cubicBezTo>
                    <a:pt x="198" y="5"/>
                    <a:pt x="197" y="5"/>
                    <a:pt x="196" y="5"/>
                  </a:cubicBezTo>
                  <a:cubicBezTo>
                    <a:pt x="196" y="5"/>
                    <a:pt x="195" y="4"/>
                    <a:pt x="194" y="5"/>
                  </a:cubicBezTo>
                  <a:cubicBezTo>
                    <a:pt x="193" y="5"/>
                    <a:pt x="193" y="6"/>
                    <a:pt x="192" y="7"/>
                  </a:cubicBezTo>
                  <a:cubicBezTo>
                    <a:pt x="191" y="8"/>
                    <a:pt x="191" y="8"/>
                    <a:pt x="189" y="8"/>
                  </a:cubicBezTo>
                  <a:cubicBezTo>
                    <a:pt x="188" y="9"/>
                    <a:pt x="188" y="10"/>
                    <a:pt x="187" y="11"/>
                  </a:cubicBezTo>
                  <a:cubicBezTo>
                    <a:pt x="186" y="11"/>
                    <a:pt x="185" y="11"/>
                    <a:pt x="184" y="11"/>
                  </a:cubicBezTo>
                  <a:cubicBezTo>
                    <a:pt x="182" y="11"/>
                    <a:pt x="181" y="11"/>
                    <a:pt x="181" y="9"/>
                  </a:cubicBezTo>
                  <a:cubicBezTo>
                    <a:pt x="181" y="7"/>
                    <a:pt x="181" y="6"/>
                    <a:pt x="180" y="5"/>
                  </a:cubicBezTo>
                  <a:cubicBezTo>
                    <a:pt x="180" y="5"/>
                    <a:pt x="180" y="5"/>
                    <a:pt x="180" y="4"/>
                  </a:cubicBezTo>
                  <a:cubicBezTo>
                    <a:pt x="180" y="4"/>
                    <a:pt x="179" y="4"/>
                    <a:pt x="180" y="3"/>
                  </a:cubicBezTo>
                  <a:cubicBezTo>
                    <a:pt x="179" y="3"/>
                    <a:pt x="179" y="2"/>
                    <a:pt x="179" y="1"/>
                  </a:cubicBezTo>
                  <a:cubicBezTo>
                    <a:pt x="178" y="1"/>
                    <a:pt x="176" y="1"/>
                    <a:pt x="176" y="1"/>
                  </a:cubicBezTo>
                  <a:cubicBezTo>
                    <a:pt x="175" y="2"/>
                    <a:pt x="175" y="2"/>
                    <a:pt x="175" y="3"/>
                  </a:cubicBezTo>
                  <a:cubicBezTo>
                    <a:pt x="174" y="3"/>
                    <a:pt x="173" y="3"/>
                    <a:pt x="173" y="3"/>
                  </a:cubicBezTo>
                  <a:cubicBezTo>
                    <a:pt x="172" y="3"/>
                    <a:pt x="170" y="3"/>
                    <a:pt x="169" y="3"/>
                  </a:cubicBezTo>
                  <a:cubicBezTo>
                    <a:pt x="168" y="3"/>
                    <a:pt x="167" y="2"/>
                    <a:pt x="166" y="1"/>
                  </a:cubicBezTo>
                  <a:cubicBezTo>
                    <a:pt x="165" y="1"/>
                    <a:pt x="163" y="1"/>
                    <a:pt x="162" y="1"/>
                  </a:cubicBezTo>
                  <a:cubicBezTo>
                    <a:pt x="160" y="1"/>
                    <a:pt x="158" y="1"/>
                    <a:pt x="157" y="1"/>
                  </a:cubicBezTo>
                  <a:cubicBezTo>
                    <a:pt x="154" y="1"/>
                    <a:pt x="152" y="0"/>
                    <a:pt x="149" y="0"/>
                  </a:cubicBezTo>
                  <a:cubicBezTo>
                    <a:pt x="149" y="2"/>
                    <a:pt x="148" y="4"/>
                    <a:pt x="148" y="7"/>
                  </a:cubicBezTo>
                  <a:cubicBezTo>
                    <a:pt x="148" y="8"/>
                    <a:pt x="149" y="9"/>
                    <a:pt x="149" y="10"/>
                  </a:cubicBezTo>
                  <a:cubicBezTo>
                    <a:pt x="150" y="11"/>
                    <a:pt x="151" y="9"/>
                    <a:pt x="153" y="9"/>
                  </a:cubicBezTo>
                  <a:cubicBezTo>
                    <a:pt x="153" y="11"/>
                    <a:pt x="152" y="12"/>
                    <a:pt x="152" y="13"/>
                  </a:cubicBezTo>
                  <a:cubicBezTo>
                    <a:pt x="152" y="14"/>
                    <a:pt x="153" y="14"/>
                    <a:pt x="153" y="14"/>
                  </a:cubicBezTo>
                  <a:cubicBezTo>
                    <a:pt x="153" y="14"/>
                    <a:pt x="153" y="16"/>
                    <a:pt x="154" y="17"/>
                  </a:cubicBezTo>
                  <a:cubicBezTo>
                    <a:pt x="154" y="17"/>
                    <a:pt x="153" y="18"/>
                    <a:pt x="154" y="18"/>
                  </a:cubicBezTo>
                  <a:cubicBezTo>
                    <a:pt x="154" y="19"/>
                    <a:pt x="156" y="20"/>
                    <a:pt x="156" y="21"/>
                  </a:cubicBezTo>
                  <a:cubicBezTo>
                    <a:pt x="157" y="22"/>
                    <a:pt x="158" y="25"/>
                    <a:pt x="160" y="25"/>
                  </a:cubicBezTo>
                  <a:cubicBezTo>
                    <a:pt x="160" y="25"/>
                    <a:pt x="161" y="25"/>
                    <a:pt x="161" y="24"/>
                  </a:cubicBezTo>
                  <a:cubicBezTo>
                    <a:pt x="161" y="25"/>
                    <a:pt x="161" y="26"/>
                    <a:pt x="161" y="27"/>
                  </a:cubicBezTo>
                  <a:cubicBezTo>
                    <a:pt x="163" y="27"/>
                    <a:pt x="163" y="29"/>
                    <a:pt x="163" y="30"/>
                  </a:cubicBezTo>
                  <a:cubicBezTo>
                    <a:pt x="163" y="30"/>
                    <a:pt x="163" y="31"/>
                    <a:pt x="163" y="32"/>
                  </a:cubicBezTo>
                  <a:cubicBezTo>
                    <a:pt x="164" y="32"/>
                    <a:pt x="165" y="32"/>
                    <a:pt x="165" y="32"/>
                  </a:cubicBezTo>
                  <a:cubicBezTo>
                    <a:pt x="165" y="32"/>
                    <a:pt x="166" y="34"/>
                    <a:pt x="166" y="34"/>
                  </a:cubicBezTo>
                  <a:cubicBezTo>
                    <a:pt x="166" y="34"/>
                    <a:pt x="166" y="35"/>
                    <a:pt x="166" y="36"/>
                  </a:cubicBezTo>
                  <a:cubicBezTo>
                    <a:pt x="165" y="37"/>
                    <a:pt x="163" y="36"/>
                    <a:pt x="162" y="38"/>
                  </a:cubicBezTo>
                  <a:cubicBezTo>
                    <a:pt x="162" y="38"/>
                    <a:pt x="162" y="39"/>
                    <a:pt x="161" y="39"/>
                  </a:cubicBezTo>
                  <a:cubicBezTo>
                    <a:pt x="161" y="40"/>
                    <a:pt x="160" y="40"/>
                    <a:pt x="160" y="40"/>
                  </a:cubicBezTo>
                  <a:cubicBezTo>
                    <a:pt x="159" y="42"/>
                    <a:pt x="159" y="42"/>
                    <a:pt x="161" y="42"/>
                  </a:cubicBezTo>
                  <a:cubicBezTo>
                    <a:pt x="162" y="42"/>
                    <a:pt x="162" y="43"/>
                    <a:pt x="163" y="42"/>
                  </a:cubicBezTo>
                  <a:cubicBezTo>
                    <a:pt x="164" y="42"/>
                    <a:pt x="165" y="42"/>
                    <a:pt x="166" y="41"/>
                  </a:cubicBezTo>
                  <a:cubicBezTo>
                    <a:pt x="167" y="41"/>
                    <a:pt x="167" y="41"/>
                    <a:pt x="168" y="41"/>
                  </a:cubicBezTo>
                  <a:cubicBezTo>
                    <a:pt x="169" y="40"/>
                    <a:pt x="171" y="40"/>
                    <a:pt x="172" y="41"/>
                  </a:cubicBezTo>
                  <a:cubicBezTo>
                    <a:pt x="173" y="41"/>
                    <a:pt x="173" y="40"/>
                    <a:pt x="173" y="41"/>
                  </a:cubicBezTo>
                  <a:cubicBezTo>
                    <a:pt x="174" y="43"/>
                    <a:pt x="172" y="44"/>
                    <a:pt x="171" y="45"/>
                  </a:cubicBezTo>
                  <a:cubicBezTo>
                    <a:pt x="168" y="48"/>
                    <a:pt x="165" y="48"/>
                    <a:pt x="161" y="48"/>
                  </a:cubicBezTo>
                  <a:cubicBezTo>
                    <a:pt x="159" y="48"/>
                    <a:pt x="157" y="48"/>
                    <a:pt x="155" y="48"/>
                  </a:cubicBezTo>
                  <a:cubicBezTo>
                    <a:pt x="153" y="48"/>
                    <a:pt x="153" y="49"/>
                    <a:pt x="152" y="50"/>
                  </a:cubicBezTo>
                  <a:cubicBezTo>
                    <a:pt x="151" y="51"/>
                    <a:pt x="152" y="51"/>
                    <a:pt x="153" y="53"/>
                  </a:cubicBezTo>
                  <a:cubicBezTo>
                    <a:pt x="152" y="53"/>
                    <a:pt x="152" y="53"/>
                    <a:pt x="151" y="53"/>
                  </a:cubicBezTo>
                  <a:cubicBezTo>
                    <a:pt x="150" y="53"/>
                    <a:pt x="150" y="54"/>
                    <a:pt x="149" y="54"/>
                  </a:cubicBezTo>
                  <a:cubicBezTo>
                    <a:pt x="149" y="54"/>
                    <a:pt x="149" y="54"/>
                    <a:pt x="148" y="55"/>
                  </a:cubicBezTo>
                  <a:cubicBezTo>
                    <a:pt x="148" y="55"/>
                    <a:pt x="148" y="56"/>
                    <a:pt x="148" y="57"/>
                  </a:cubicBezTo>
                  <a:cubicBezTo>
                    <a:pt x="149" y="58"/>
                    <a:pt x="149" y="60"/>
                    <a:pt x="150" y="61"/>
                  </a:cubicBezTo>
                  <a:cubicBezTo>
                    <a:pt x="150" y="61"/>
                    <a:pt x="150" y="61"/>
                    <a:pt x="151" y="61"/>
                  </a:cubicBezTo>
                  <a:cubicBezTo>
                    <a:pt x="152" y="61"/>
                    <a:pt x="152" y="60"/>
                    <a:pt x="154" y="60"/>
                  </a:cubicBezTo>
                  <a:cubicBezTo>
                    <a:pt x="154" y="59"/>
                    <a:pt x="155" y="60"/>
                    <a:pt x="155" y="59"/>
                  </a:cubicBezTo>
                  <a:cubicBezTo>
                    <a:pt x="156" y="59"/>
                    <a:pt x="156" y="57"/>
                    <a:pt x="157" y="57"/>
                  </a:cubicBezTo>
                  <a:cubicBezTo>
                    <a:pt x="158" y="57"/>
                    <a:pt x="158" y="59"/>
                    <a:pt x="160" y="59"/>
                  </a:cubicBezTo>
                  <a:cubicBezTo>
                    <a:pt x="161" y="59"/>
                    <a:pt x="162" y="58"/>
                    <a:pt x="163" y="58"/>
                  </a:cubicBezTo>
                  <a:cubicBezTo>
                    <a:pt x="165" y="58"/>
                    <a:pt x="166" y="59"/>
                    <a:pt x="167" y="60"/>
                  </a:cubicBezTo>
                  <a:cubicBezTo>
                    <a:pt x="168" y="62"/>
                    <a:pt x="161" y="61"/>
                    <a:pt x="160" y="61"/>
                  </a:cubicBezTo>
                  <a:cubicBezTo>
                    <a:pt x="159" y="61"/>
                    <a:pt x="158" y="60"/>
                    <a:pt x="158" y="61"/>
                  </a:cubicBezTo>
                  <a:cubicBezTo>
                    <a:pt x="157" y="61"/>
                    <a:pt x="157" y="61"/>
                    <a:pt x="157" y="62"/>
                  </a:cubicBezTo>
                  <a:cubicBezTo>
                    <a:pt x="156" y="63"/>
                    <a:pt x="156" y="64"/>
                    <a:pt x="156" y="65"/>
                  </a:cubicBezTo>
                  <a:cubicBezTo>
                    <a:pt x="155" y="66"/>
                    <a:pt x="154" y="66"/>
                    <a:pt x="154" y="67"/>
                  </a:cubicBezTo>
                  <a:cubicBezTo>
                    <a:pt x="154" y="68"/>
                    <a:pt x="153" y="69"/>
                    <a:pt x="154" y="70"/>
                  </a:cubicBezTo>
                  <a:cubicBezTo>
                    <a:pt x="154" y="70"/>
                    <a:pt x="154" y="70"/>
                    <a:pt x="155" y="70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56" y="72"/>
                    <a:pt x="156" y="73"/>
                    <a:pt x="158" y="74"/>
                  </a:cubicBezTo>
                  <a:cubicBezTo>
                    <a:pt x="158" y="74"/>
                    <a:pt x="161" y="74"/>
                    <a:pt x="161" y="74"/>
                  </a:cubicBezTo>
                  <a:cubicBezTo>
                    <a:pt x="163" y="73"/>
                    <a:pt x="165" y="72"/>
                    <a:pt x="167" y="73"/>
                  </a:cubicBezTo>
                  <a:cubicBezTo>
                    <a:pt x="167" y="74"/>
                    <a:pt x="167" y="74"/>
                    <a:pt x="167" y="75"/>
                  </a:cubicBezTo>
                  <a:cubicBezTo>
                    <a:pt x="167" y="75"/>
                    <a:pt x="168" y="76"/>
                    <a:pt x="168" y="75"/>
                  </a:cubicBezTo>
                  <a:cubicBezTo>
                    <a:pt x="168" y="76"/>
                    <a:pt x="168" y="78"/>
                    <a:pt x="168" y="78"/>
                  </a:cubicBezTo>
                  <a:cubicBezTo>
                    <a:pt x="168" y="79"/>
                    <a:pt x="167" y="80"/>
                    <a:pt x="167" y="81"/>
                  </a:cubicBezTo>
                  <a:cubicBezTo>
                    <a:pt x="166" y="82"/>
                    <a:pt x="165" y="82"/>
                    <a:pt x="164" y="82"/>
                  </a:cubicBezTo>
                  <a:cubicBezTo>
                    <a:pt x="162" y="83"/>
                    <a:pt x="162" y="82"/>
                    <a:pt x="161" y="84"/>
                  </a:cubicBezTo>
                  <a:cubicBezTo>
                    <a:pt x="161" y="84"/>
                    <a:pt x="162" y="85"/>
                    <a:pt x="162" y="86"/>
                  </a:cubicBezTo>
                  <a:cubicBezTo>
                    <a:pt x="163" y="89"/>
                    <a:pt x="162" y="92"/>
                    <a:pt x="165" y="94"/>
                  </a:cubicBezTo>
                  <a:cubicBezTo>
                    <a:pt x="165" y="94"/>
                    <a:pt x="165" y="94"/>
                    <a:pt x="166" y="94"/>
                  </a:cubicBezTo>
                  <a:cubicBezTo>
                    <a:pt x="166" y="95"/>
                    <a:pt x="166" y="95"/>
                    <a:pt x="166" y="95"/>
                  </a:cubicBezTo>
                  <a:cubicBezTo>
                    <a:pt x="167" y="96"/>
                    <a:pt x="168" y="96"/>
                    <a:pt x="169" y="96"/>
                  </a:cubicBezTo>
                  <a:cubicBezTo>
                    <a:pt x="170" y="96"/>
                    <a:pt x="171" y="96"/>
                    <a:pt x="173" y="96"/>
                  </a:cubicBezTo>
                  <a:cubicBezTo>
                    <a:pt x="175" y="96"/>
                    <a:pt x="177" y="96"/>
                    <a:pt x="179" y="97"/>
                  </a:cubicBezTo>
                  <a:cubicBezTo>
                    <a:pt x="181" y="97"/>
                    <a:pt x="182" y="97"/>
                    <a:pt x="184" y="98"/>
                  </a:cubicBezTo>
                  <a:cubicBezTo>
                    <a:pt x="185" y="99"/>
                    <a:pt x="186" y="99"/>
                    <a:pt x="187" y="100"/>
                  </a:cubicBezTo>
                  <a:cubicBezTo>
                    <a:pt x="188" y="101"/>
                    <a:pt x="190" y="101"/>
                    <a:pt x="191" y="102"/>
                  </a:cubicBezTo>
                  <a:cubicBezTo>
                    <a:pt x="192" y="104"/>
                    <a:pt x="192" y="106"/>
                    <a:pt x="192" y="108"/>
                  </a:cubicBezTo>
                  <a:cubicBezTo>
                    <a:pt x="191" y="107"/>
                    <a:pt x="189" y="106"/>
                    <a:pt x="188" y="104"/>
                  </a:cubicBezTo>
                  <a:cubicBezTo>
                    <a:pt x="188" y="104"/>
                    <a:pt x="188" y="103"/>
                    <a:pt x="188" y="103"/>
                  </a:cubicBezTo>
                  <a:cubicBezTo>
                    <a:pt x="187" y="102"/>
                    <a:pt x="186" y="102"/>
                    <a:pt x="186" y="101"/>
                  </a:cubicBezTo>
                  <a:cubicBezTo>
                    <a:pt x="185" y="101"/>
                    <a:pt x="184" y="100"/>
                    <a:pt x="183" y="99"/>
                  </a:cubicBezTo>
                  <a:cubicBezTo>
                    <a:pt x="182" y="98"/>
                    <a:pt x="180" y="99"/>
                    <a:pt x="179" y="99"/>
                  </a:cubicBezTo>
                  <a:cubicBezTo>
                    <a:pt x="176" y="99"/>
                    <a:pt x="173" y="98"/>
                    <a:pt x="171" y="99"/>
                  </a:cubicBezTo>
                  <a:cubicBezTo>
                    <a:pt x="170" y="99"/>
                    <a:pt x="169" y="100"/>
                    <a:pt x="169" y="101"/>
                  </a:cubicBezTo>
                  <a:cubicBezTo>
                    <a:pt x="168" y="101"/>
                    <a:pt x="167" y="101"/>
                    <a:pt x="167" y="101"/>
                  </a:cubicBezTo>
                  <a:cubicBezTo>
                    <a:pt x="165" y="101"/>
                    <a:pt x="164" y="101"/>
                    <a:pt x="162" y="101"/>
                  </a:cubicBezTo>
                  <a:cubicBezTo>
                    <a:pt x="161" y="100"/>
                    <a:pt x="160" y="100"/>
                    <a:pt x="158" y="100"/>
                  </a:cubicBezTo>
                  <a:cubicBezTo>
                    <a:pt x="158" y="100"/>
                    <a:pt x="157" y="100"/>
                    <a:pt x="157" y="100"/>
                  </a:cubicBezTo>
                  <a:cubicBezTo>
                    <a:pt x="156" y="99"/>
                    <a:pt x="156" y="97"/>
                    <a:pt x="155" y="96"/>
                  </a:cubicBezTo>
                  <a:cubicBezTo>
                    <a:pt x="155" y="96"/>
                    <a:pt x="152" y="96"/>
                    <a:pt x="151" y="96"/>
                  </a:cubicBezTo>
                  <a:cubicBezTo>
                    <a:pt x="150" y="96"/>
                    <a:pt x="150" y="96"/>
                    <a:pt x="149" y="97"/>
                  </a:cubicBezTo>
                  <a:cubicBezTo>
                    <a:pt x="149" y="97"/>
                    <a:pt x="149" y="98"/>
                    <a:pt x="149" y="98"/>
                  </a:cubicBezTo>
                  <a:cubicBezTo>
                    <a:pt x="148" y="98"/>
                    <a:pt x="148" y="98"/>
                    <a:pt x="147" y="98"/>
                  </a:cubicBezTo>
                  <a:cubicBezTo>
                    <a:pt x="146" y="99"/>
                    <a:pt x="147" y="100"/>
                    <a:pt x="146" y="101"/>
                  </a:cubicBezTo>
                  <a:cubicBezTo>
                    <a:pt x="145" y="103"/>
                    <a:pt x="142" y="105"/>
                    <a:pt x="141" y="106"/>
                  </a:cubicBezTo>
                  <a:cubicBezTo>
                    <a:pt x="140" y="106"/>
                    <a:pt x="137" y="107"/>
                    <a:pt x="137" y="108"/>
                  </a:cubicBezTo>
                  <a:cubicBezTo>
                    <a:pt x="137" y="109"/>
                    <a:pt x="138" y="112"/>
                    <a:pt x="138" y="113"/>
                  </a:cubicBezTo>
                  <a:cubicBezTo>
                    <a:pt x="138" y="114"/>
                    <a:pt x="141" y="118"/>
                    <a:pt x="142" y="119"/>
                  </a:cubicBezTo>
                  <a:cubicBezTo>
                    <a:pt x="142" y="120"/>
                    <a:pt x="147" y="123"/>
                    <a:pt x="146" y="124"/>
                  </a:cubicBezTo>
                  <a:cubicBezTo>
                    <a:pt x="145" y="123"/>
                    <a:pt x="140" y="121"/>
                    <a:pt x="140" y="121"/>
                  </a:cubicBezTo>
                  <a:cubicBezTo>
                    <a:pt x="138" y="121"/>
                    <a:pt x="137" y="120"/>
                    <a:pt x="136" y="120"/>
                  </a:cubicBezTo>
                  <a:cubicBezTo>
                    <a:pt x="135" y="120"/>
                    <a:pt x="134" y="121"/>
                    <a:pt x="133" y="120"/>
                  </a:cubicBezTo>
                  <a:cubicBezTo>
                    <a:pt x="133" y="120"/>
                    <a:pt x="133" y="120"/>
                    <a:pt x="133" y="120"/>
                  </a:cubicBezTo>
                  <a:cubicBezTo>
                    <a:pt x="131" y="120"/>
                    <a:pt x="128" y="116"/>
                    <a:pt x="127" y="120"/>
                  </a:cubicBezTo>
                  <a:cubicBezTo>
                    <a:pt x="127" y="122"/>
                    <a:pt x="127" y="121"/>
                    <a:pt x="127" y="123"/>
                  </a:cubicBezTo>
                  <a:cubicBezTo>
                    <a:pt x="130" y="123"/>
                    <a:pt x="130" y="126"/>
                    <a:pt x="130" y="129"/>
                  </a:cubicBezTo>
                  <a:cubicBezTo>
                    <a:pt x="131" y="131"/>
                    <a:pt x="131" y="132"/>
                    <a:pt x="130" y="134"/>
                  </a:cubicBezTo>
                  <a:cubicBezTo>
                    <a:pt x="129" y="134"/>
                    <a:pt x="128" y="136"/>
                    <a:pt x="128" y="136"/>
                  </a:cubicBezTo>
                  <a:cubicBezTo>
                    <a:pt x="127" y="136"/>
                    <a:pt x="126" y="135"/>
                    <a:pt x="125" y="135"/>
                  </a:cubicBezTo>
                  <a:cubicBezTo>
                    <a:pt x="124" y="135"/>
                    <a:pt x="123" y="135"/>
                    <a:pt x="123" y="134"/>
                  </a:cubicBezTo>
                  <a:cubicBezTo>
                    <a:pt x="122" y="134"/>
                    <a:pt x="119" y="130"/>
                    <a:pt x="119" y="129"/>
                  </a:cubicBezTo>
                  <a:cubicBezTo>
                    <a:pt x="120" y="127"/>
                    <a:pt x="121" y="126"/>
                    <a:pt x="122" y="124"/>
                  </a:cubicBezTo>
                  <a:cubicBezTo>
                    <a:pt x="122" y="124"/>
                    <a:pt x="124" y="124"/>
                    <a:pt x="124" y="123"/>
                  </a:cubicBezTo>
                  <a:cubicBezTo>
                    <a:pt x="125" y="122"/>
                    <a:pt x="126" y="118"/>
                    <a:pt x="126" y="117"/>
                  </a:cubicBezTo>
                  <a:cubicBezTo>
                    <a:pt x="126" y="114"/>
                    <a:pt x="127" y="113"/>
                    <a:pt x="123" y="112"/>
                  </a:cubicBezTo>
                  <a:cubicBezTo>
                    <a:pt x="122" y="111"/>
                    <a:pt x="120" y="111"/>
                    <a:pt x="119" y="111"/>
                  </a:cubicBezTo>
                  <a:cubicBezTo>
                    <a:pt x="118" y="110"/>
                    <a:pt x="117" y="109"/>
                    <a:pt x="116" y="109"/>
                  </a:cubicBezTo>
                  <a:cubicBezTo>
                    <a:pt x="114" y="109"/>
                    <a:pt x="112" y="109"/>
                    <a:pt x="111" y="109"/>
                  </a:cubicBezTo>
                  <a:cubicBezTo>
                    <a:pt x="109" y="110"/>
                    <a:pt x="107" y="111"/>
                    <a:pt x="105" y="113"/>
                  </a:cubicBezTo>
                  <a:cubicBezTo>
                    <a:pt x="105" y="114"/>
                    <a:pt x="105" y="114"/>
                    <a:pt x="104" y="114"/>
                  </a:cubicBezTo>
                  <a:cubicBezTo>
                    <a:pt x="103" y="114"/>
                    <a:pt x="101" y="113"/>
                    <a:pt x="100" y="113"/>
                  </a:cubicBezTo>
                  <a:cubicBezTo>
                    <a:pt x="99" y="112"/>
                    <a:pt x="99" y="112"/>
                    <a:pt x="98" y="112"/>
                  </a:cubicBezTo>
                  <a:cubicBezTo>
                    <a:pt x="97" y="112"/>
                    <a:pt x="97" y="112"/>
                    <a:pt x="96" y="112"/>
                  </a:cubicBezTo>
                  <a:cubicBezTo>
                    <a:pt x="95" y="113"/>
                    <a:pt x="95" y="113"/>
                    <a:pt x="94" y="114"/>
                  </a:cubicBezTo>
                  <a:cubicBezTo>
                    <a:pt x="93" y="114"/>
                    <a:pt x="91" y="114"/>
                    <a:pt x="90" y="114"/>
                  </a:cubicBezTo>
                  <a:cubicBezTo>
                    <a:pt x="88" y="114"/>
                    <a:pt x="87" y="114"/>
                    <a:pt x="86" y="115"/>
                  </a:cubicBezTo>
                  <a:cubicBezTo>
                    <a:pt x="84" y="115"/>
                    <a:pt x="81" y="115"/>
                    <a:pt x="79" y="115"/>
                  </a:cubicBezTo>
                  <a:cubicBezTo>
                    <a:pt x="76" y="115"/>
                    <a:pt x="73" y="115"/>
                    <a:pt x="71" y="117"/>
                  </a:cubicBezTo>
                  <a:cubicBezTo>
                    <a:pt x="70" y="118"/>
                    <a:pt x="69" y="119"/>
                    <a:pt x="68" y="120"/>
                  </a:cubicBezTo>
                  <a:cubicBezTo>
                    <a:pt x="68" y="122"/>
                    <a:pt x="66" y="122"/>
                    <a:pt x="67" y="124"/>
                  </a:cubicBezTo>
                  <a:cubicBezTo>
                    <a:pt x="66" y="124"/>
                    <a:pt x="66" y="128"/>
                    <a:pt x="65" y="129"/>
                  </a:cubicBezTo>
                  <a:cubicBezTo>
                    <a:pt x="65" y="129"/>
                    <a:pt x="65" y="130"/>
                    <a:pt x="64" y="131"/>
                  </a:cubicBezTo>
                  <a:cubicBezTo>
                    <a:pt x="63" y="131"/>
                    <a:pt x="62" y="131"/>
                    <a:pt x="61" y="132"/>
                  </a:cubicBezTo>
                  <a:cubicBezTo>
                    <a:pt x="59" y="133"/>
                    <a:pt x="61" y="138"/>
                    <a:pt x="62" y="140"/>
                  </a:cubicBezTo>
                  <a:cubicBezTo>
                    <a:pt x="62" y="142"/>
                    <a:pt x="63" y="145"/>
                    <a:pt x="64" y="146"/>
                  </a:cubicBezTo>
                  <a:cubicBezTo>
                    <a:pt x="64" y="146"/>
                    <a:pt x="65" y="146"/>
                    <a:pt x="66" y="146"/>
                  </a:cubicBezTo>
                  <a:cubicBezTo>
                    <a:pt x="68" y="146"/>
                    <a:pt x="70" y="145"/>
                    <a:pt x="71" y="147"/>
                  </a:cubicBezTo>
                  <a:cubicBezTo>
                    <a:pt x="71" y="149"/>
                    <a:pt x="70" y="152"/>
                    <a:pt x="70" y="154"/>
                  </a:cubicBezTo>
                  <a:cubicBezTo>
                    <a:pt x="70" y="157"/>
                    <a:pt x="70" y="160"/>
                    <a:pt x="70" y="163"/>
                  </a:cubicBezTo>
                  <a:cubicBezTo>
                    <a:pt x="70" y="164"/>
                    <a:pt x="70" y="165"/>
                    <a:pt x="69" y="167"/>
                  </a:cubicBezTo>
                  <a:cubicBezTo>
                    <a:pt x="69" y="168"/>
                    <a:pt x="69" y="168"/>
                    <a:pt x="69" y="169"/>
                  </a:cubicBezTo>
                  <a:cubicBezTo>
                    <a:pt x="68" y="171"/>
                    <a:pt x="69" y="174"/>
                    <a:pt x="69" y="176"/>
                  </a:cubicBezTo>
                  <a:cubicBezTo>
                    <a:pt x="69" y="179"/>
                    <a:pt x="69" y="181"/>
                    <a:pt x="68" y="183"/>
                  </a:cubicBezTo>
                  <a:cubicBezTo>
                    <a:pt x="67" y="185"/>
                    <a:pt x="67" y="186"/>
                    <a:pt x="65" y="187"/>
                  </a:cubicBezTo>
                  <a:cubicBezTo>
                    <a:pt x="65" y="188"/>
                    <a:pt x="64" y="188"/>
                    <a:pt x="64" y="189"/>
                  </a:cubicBezTo>
                  <a:cubicBezTo>
                    <a:pt x="62" y="191"/>
                    <a:pt x="61" y="192"/>
                    <a:pt x="63" y="195"/>
                  </a:cubicBezTo>
                  <a:cubicBezTo>
                    <a:pt x="63" y="196"/>
                    <a:pt x="64" y="196"/>
                    <a:pt x="64" y="197"/>
                  </a:cubicBezTo>
                  <a:cubicBezTo>
                    <a:pt x="63" y="199"/>
                    <a:pt x="60" y="199"/>
                    <a:pt x="59" y="200"/>
                  </a:cubicBezTo>
                  <a:cubicBezTo>
                    <a:pt x="58" y="201"/>
                    <a:pt x="57" y="203"/>
                    <a:pt x="56" y="203"/>
                  </a:cubicBezTo>
                  <a:cubicBezTo>
                    <a:pt x="55" y="204"/>
                    <a:pt x="53" y="203"/>
                    <a:pt x="52" y="203"/>
                  </a:cubicBezTo>
                  <a:cubicBezTo>
                    <a:pt x="50" y="203"/>
                    <a:pt x="50" y="203"/>
                    <a:pt x="50" y="204"/>
                  </a:cubicBezTo>
                  <a:cubicBezTo>
                    <a:pt x="49" y="205"/>
                    <a:pt x="49" y="205"/>
                    <a:pt x="48" y="206"/>
                  </a:cubicBezTo>
                  <a:cubicBezTo>
                    <a:pt x="46" y="206"/>
                    <a:pt x="44" y="206"/>
                    <a:pt x="42" y="206"/>
                  </a:cubicBezTo>
                  <a:cubicBezTo>
                    <a:pt x="41" y="206"/>
                    <a:pt x="39" y="206"/>
                    <a:pt x="38" y="206"/>
                  </a:cubicBezTo>
                  <a:cubicBezTo>
                    <a:pt x="37" y="206"/>
                    <a:pt x="36" y="208"/>
                    <a:pt x="35" y="208"/>
                  </a:cubicBezTo>
                  <a:cubicBezTo>
                    <a:pt x="34" y="208"/>
                    <a:pt x="34" y="209"/>
                    <a:pt x="35" y="210"/>
                  </a:cubicBezTo>
                  <a:cubicBezTo>
                    <a:pt x="35" y="210"/>
                    <a:pt x="36" y="212"/>
                    <a:pt x="37" y="212"/>
                  </a:cubicBezTo>
                  <a:cubicBezTo>
                    <a:pt x="37" y="212"/>
                    <a:pt x="38" y="213"/>
                    <a:pt x="38" y="213"/>
                  </a:cubicBezTo>
                  <a:cubicBezTo>
                    <a:pt x="40" y="215"/>
                    <a:pt x="41" y="215"/>
                    <a:pt x="40" y="217"/>
                  </a:cubicBezTo>
                  <a:cubicBezTo>
                    <a:pt x="37" y="226"/>
                    <a:pt x="54" y="225"/>
                    <a:pt x="58" y="227"/>
                  </a:cubicBezTo>
                  <a:cubicBezTo>
                    <a:pt x="58" y="227"/>
                    <a:pt x="58" y="227"/>
                    <a:pt x="58" y="227"/>
                  </a:cubicBezTo>
                  <a:cubicBezTo>
                    <a:pt x="59" y="227"/>
                    <a:pt x="59" y="228"/>
                    <a:pt x="59" y="228"/>
                  </a:cubicBezTo>
                  <a:cubicBezTo>
                    <a:pt x="59" y="228"/>
                    <a:pt x="59" y="229"/>
                    <a:pt x="59" y="229"/>
                  </a:cubicBezTo>
                  <a:cubicBezTo>
                    <a:pt x="60" y="230"/>
                    <a:pt x="60" y="230"/>
                    <a:pt x="61" y="231"/>
                  </a:cubicBezTo>
                  <a:cubicBezTo>
                    <a:pt x="61" y="232"/>
                    <a:pt x="61" y="234"/>
                    <a:pt x="60" y="235"/>
                  </a:cubicBezTo>
                  <a:cubicBezTo>
                    <a:pt x="60" y="236"/>
                    <a:pt x="59" y="236"/>
                    <a:pt x="59" y="237"/>
                  </a:cubicBezTo>
                  <a:cubicBezTo>
                    <a:pt x="58" y="239"/>
                    <a:pt x="60" y="242"/>
                    <a:pt x="58" y="244"/>
                  </a:cubicBezTo>
                  <a:cubicBezTo>
                    <a:pt x="57" y="245"/>
                    <a:pt x="56" y="246"/>
                    <a:pt x="54" y="246"/>
                  </a:cubicBezTo>
                  <a:cubicBezTo>
                    <a:pt x="53" y="247"/>
                    <a:pt x="53" y="248"/>
                    <a:pt x="52" y="249"/>
                  </a:cubicBezTo>
                  <a:cubicBezTo>
                    <a:pt x="50" y="251"/>
                    <a:pt x="48" y="252"/>
                    <a:pt x="46" y="254"/>
                  </a:cubicBezTo>
                  <a:cubicBezTo>
                    <a:pt x="46" y="255"/>
                    <a:pt x="45" y="255"/>
                    <a:pt x="45" y="256"/>
                  </a:cubicBezTo>
                  <a:cubicBezTo>
                    <a:pt x="44" y="256"/>
                    <a:pt x="44" y="256"/>
                    <a:pt x="44" y="256"/>
                  </a:cubicBezTo>
                  <a:cubicBezTo>
                    <a:pt x="43" y="257"/>
                    <a:pt x="43" y="258"/>
                    <a:pt x="43" y="258"/>
                  </a:cubicBezTo>
                  <a:cubicBezTo>
                    <a:pt x="43" y="259"/>
                    <a:pt x="43" y="260"/>
                    <a:pt x="43" y="261"/>
                  </a:cubicBezTo>
                  <a:cubicBezTo>
                    <a:pt x="43" y="262"/>
                    <a:pt x="43" y="264"/>
                    <a:pt x="43" y="265"/>
                  </a:cubicBezTo>
                  <a:cubicBezTo>
                    <a:pt x="44" y="266"/>
                    <a:pt x="45" y="266"/>
                    <a:pt x="44" y="268"/>
                  </a:cubicBezTo>
                  <a:cubicBezTo>
                    <a:pt x="44" y="269"/>
                    <a:pt x="43" y="270"/>
                    <a:pt x="42" y="270"/>
                  </a:cubicBezTo>
                  <a:cubicBezTo>
                    <a:pt x="40" y="271"/>
                    <a:pt x="37" y="273"/>
                    <a:pt x="35" y="274"/>
                  </a:cubicBezTo>
                  <a:cubicBezTo>
                    <a:pt x="34" y="274"/>
                    <a:pt x="32" y="274"/>
                    <a:pt x="31" y="275"/>
                  </a:cubicBezTo>
                  <a:cubicBezTo>
                    <a:pt x="30" y="276"/>
                    <a:pt x="31" y="276"/>
                    <a:pt x="29" y="276"/>
                  </a:cubicBezTo>
                  <a:cubicBezTo>
                    <a:pt x="28" y="276"/>
                    <a:pt x="27" y="277"/>
                    <a:pt x="26" y="277"/>
                  </a:cubicBezTo>
                  <a:cubicBezTo>
                    <a:pt x="25" y="277"/>
                    <a:pt x="23" y="277"/>
                    <a:pt x="22" y="277"/>
                  </a:cubicBezTo>
                  <a:cubicBezTo>
                    <a:pt x="21" y="277"/>
                    <a:pt x="20" y="277"/>
                    <a:pt x="19" y="276"/>
                  </a:cubicBezTo>
                  <a:cubicBezTo>
                    <a:pt x="17" y="275"/>
                    <a:pt x="15" y="274"/>
                    <a:pt x="13" y="273"/>
                  </a:cubicBezTo>
                  <a:cubicBezTo>
                    <a:pt x="11" y="273"/>
                    <a:pt x="8" y="273"/>
                    <a:pt x="8" y="276"/>
                  </a:cubicBezTo>
                  <a:cubicBezTo>
                    <a:pt x="8" y="277"/>
                    <a:pt x="8" y="278"/>
                    <a:pt x="8" y="278"/>
                  </a:cubicBezTo>
                  <a:cubicBezTo>
                    <a:pt x="6" y="278"/>
                    <a:pt x="5" y="278"/>
                    <a:pt x="3" y="278"/>
                  </a:cubicBezTo>
                  <a:cubicBezTo>
                    <a:pt x="1" y="278"/>
                    <a:pt x="0" y="281"/>
                    <a:pt x="0" y="283"/>
                  </a:cubicBezTo>
                  <a:cubicBezTo>
                    <a:pt x="0" y="284"/>
                    <a:pt x="0" y="285"/>
                    <a:pt x="0" y="285"/>
                  </a:cubicBezTo>
                  <a:cubicBezTo>
                    <a:pt x="0" y="287"/>
                    <a:pt x="0" y="287"/>
                    <a:pt x="1" y="288"/>
                  </a:cubicBezTo>
                  <a:cubicBezTo>
                    <a:pt x="2" y="289"/>
                    <a:pt x="5" y="290"/>
                    <a:pt x="5" y="292"/>
                  </a:cubicBezTo>
                  <a:cubicBezTo>
                    <a:pt x="6" y="294"/>
                    <a:pt x="5" y="296"/>
                    <a:pt x="6" y="297"/>
                  </a:cubicBezTo>
                  <a:cubicBezTo>
                    <a:pt x="7" y="299"/>
                    <a:pt x="9" y="299"/>
                    <a:pt x="10" y="300"/>
                  </a:cubicBezTo>
                  <a:cubicBezTo>
                    <a:pt x="10" y="301"/>
                    <a:pt x="10" y="301"/>
                    <a:pt x="10" y="301"/>
                  </a:cubicBezTo>
                  <a:cubicBezTo>
                    <a:pt x="10" y="302"/>
                    <a:pt x="11" y="303"/>
                    <a:pt x="11" y="304"/>
                  </a:cubicBezTo>
                  <a:cubicBezTo>
                    <a:pt x="11" y="305"/>
                    <a:pt x="11" y="306"/>
                    <a:pt x="11" y="307"/>
                  </a:cubicBezTo>
                  <a:cubicBezTo>
                    <a:pt x="11" y="308"/>
                    <a:pt x="11" y="308"/>
                    <a:pt x="12" y="309"/>
                  </a:cubicBezTo>
                  <a:cubicBezTo>
                    <a:pt x="12" y="311"/>
                    <a:pt x="12" y="314"/>
                    <a:pt x="13" y="316"/>
                  </a:cubicBezTo>
                  <a:cubicBezTo>
                    <a:pt x="13" y="317"/>
                    <a:pt x="13" y="319"/>
                    <a:pt x="13" y="320"/>
                  </a:cubicBezTo>
                  <a:cubicBezTo>
                    <a:pt x="13" y="322"/>
                    <a:pt x="13" y="321"/>
                    <a:pt x="12" y="322"/>
                  </a:cubicBezTo>
                  <a:cubicBezTo>
                    <a:pt x="12" y="323"/>
                    <a:pt x="11" y="323"/>
                    <a:pt x="10" y="324"/>
                  </a:cubicBezTo>
                  <a:cubicBezTo>
                    <a:pt x="10" y="325"/>
                    <a:pt x="9" y="325"/>
                    <a:pt x="9" y="326"/>
                  </a:cubicBezTo>
                  <a:cubicBezTo>
                    <a:pt x="7" y="328"/>
                    <a:pt x="9" y="331"/>
                    <a:pt x="8" y="334"/>
                  </a:cubicBezTo>
                  <a:cubicBezTo>
                    <a:pt x="7" y="335"/>
                    <a:pt x="6" y="335"/>
                    <a:pt x="6" y="336"/>
                  </a:cubicBezTo>
                  <a:cubicBezTo>
                    <a:pt x="7" y="336"/>
                    <a:pt x="7" y="336"/>
                    <a:pt x="7" y="337"/>
                  </a:cubicBezTo>
                  <a:cubicBezTo>
                    <a:pt x="7" y="337"/>
                    <a:pt x="7" y="338"/>
                    <a:pt x="7" y="338"/>
                  </a:cubicBezTo>
                  <a:cubicBezTo>
                    <a:pt x="7" y="339"/>
                    <a:pt x="7" y="339"/>
                    <a:pt x="8" y="340"/>
                  </a:cubicBezTo>
                  <a:cubicBezTo>
                    <a:pt x="7" y="341"/>
                    <a:pt x="5" y="341"/>
                    <a:pt x="5" y="342"/>
                  </a:cubicBezTo>
                  <a:cubicBezTo>
                    <a:pt x="4" y="343"/>
                    <a:pt x="4" y="343"/>
                    <a:pt x="3" y="344"/>
                  </a:cubicBezTo>
                  <a:cubicBezTo>
                    <a:pt x="1" y="344"/>
                    <a:pt x="2" y="344"/>
                    <a:pt x="1" y="345"/>
                  </a:cubicBezTo>
                  <a:cubicBezTo>
                    <a:pt x="1" y="347"/>
                    <a:pt x="0" y="349"/>
                    <a:pt x="1" y="351"/>
                  </a:cubicBezTo>
                  <a:cubicBezTo>
                    <a:pt x="1" y="351"/>
                    <a:pt x="1" y="351"/>
                    <a:pt x="2" y="351"/>
                  </a:cubicBezTo>
                  <a:cubicBezTo>
                    <a:pt x="3" y="351"/>
                    <a:pt x="4" y="351"/>
                    <a:pt x="4" y="351"/>
                  </a:cubicBezTo>
                  <a:cubicBezTo>
                    <a:pt x="4" y="351"/>
                    <a:pt x="4" y="351"/>
                    <a:pt x="4" y="351"/>
                  </a:cubicBezTo>
                  <a:cubicBezTo>
                    <a:pt x="4" y="351"/>
                    <a:pt x="4" y="351"/>
                    <a:pt x="5" y="351"/>
                  </a:cubicBezTo>
                  <a:cubicBezTo>
                    <a:pt x="5" y="351"/>
                    <a:pt x="6" y="352"/>
                    <a:pt x="6" y="353"/>
                  </a:cubicBezTo>
                  <a:cubicBezTo>
                    <a:pt x="6" y="354"/>
                    <a:pt x="6" y="356"/>
                    <a:pt x="6" y="358"/>
                  </a:cubicBezTo>
                  <a:cubicBezTo>
                    <a:pt x="5" y="359"/>
                    <a:pt x="5" y="361"/>
                    <a:pt x="4" y="362"/>
                  </a:cubicBezTo>
                  <a:cubicBezTo>
                    <a:pt x="4" y="363"/>
                    <a:pt x="4" y="364"/>
                    <a:pt x="4" y="364"/>
                  </a:cubicBezTo>
                  <a:cubicBezTo>
                    <a:pt x="4" y="365"/>
                    <a:pt x="4" y="365"/>
                    <a:pt x="4" y="365"/>
                  </a:cubicBezTo>
                  <a:cubicBezTo>
                    <a:pt x="4" y="367"/>
                    <a:pt x="4" y="367"/>
                    <a:pt x="4" y="368"/>
                  </a:cubicBezTo>
                  <a:cubicBezTo>
                    <a:pt x="3" y="369"/>
                    <a:pt x="3" y="370"/>
                    <a:pt x="3" y="370"/>
                  </a:cubicBezTo>
                  <a:cubicBezTo>
                    <a:pt x="3" y="371"/>
                    <a:pt x="4" y="371"/>
                    <a:pt x="4" y="371"/>
                  </a:cubicBezTo>
                  <a:cubicBezTo>
                    <a:pt x="3" y="372"/>
                    <a:pt x="2" y="372"/>
                    <a:pt x="1" y="373"/>
                  </a:cubicBezTo>
                  <a:cubicBezTo>
                    <a:pt x="1" y="373"/>
                    <a:pt x="1" y="374"/>
                    <a:pt x="0" y="375"/>
                  </a:cubicBezTo>
                  <a:cubicBezTo>
                    <a:pt x="0" y="375"/>
                    <a:pt x="0" y="375"/>
                    <a:pt x="0" y="376"/>
                  </a:cubicBezTo>
                  <a:cubicBezTo>
                    <a:pt x="0" y="376"/>
                    <a:pt x="1" y="377"/>
                    <a:pt x="1" y="377"/>
                  </a:cubicBezTo>
                  <a:cubicBezTo>
                    <a:pt x="2" y="377"/>
                    <a:pt x="3" y="378"/>
                    <a:pt x="3" y="379"/>
                  </a:cubicBezTo>
                  <a:cubicBezTo>
                    <a:pt x="3" y="379"/>
                    <a:pt x="3" y="380"/>
                    <a:pt x="3" y="380"/>
                  </a:cubicBezTo>
                  <a:cubicBezTo>
                    <a:pt x="3" y="381"/>
                    <a:pt x="3" y="382"/>
                    <a:pt x="3" y="383"/>
                  </a:cubicBezTo>
                  <a:cubicBezTo>
                    <a:pt x="2" y="385"/>
                    <a:pt x="2" y="388"/>
                    <a:pt x="3" y="390"/>
                  </a:cubicBezTo>
                  <a:cubicBezTo>
                    <a:pt x="5" y="391"/>
                    <a:pt x="6" y="392"/>
                    <a:pt x="8" y="393"/>
                  </a:cubicBezTo>
                  <a:cubicBezTo>
                    <a:pt x="9" y="393"/>
                    <a:pt x="9" y="393"/>
                    <a:pt x="10" y="394"/>
                  </a:cubicBezTo>
                  <a:cubicBezTo>
                    <a:pt x="11" y="395"/>
                    <a:pt x="12" y="395"/>
                    <a:pt x="14" y="396"/>
                  </a:cubicBezTo>
                  <a:cubicBezTo>
                    <a:pt x="14" y="396"/>
                    <a:pt x="15" y="397"/>
                    <a:pt x="15" y="397"/>
                  </a:cubicBezTo>
                  <a:cubicBezTo>
                    <a:pt x="17" y="397"/>
                    <a:pt x="18" y="397"/>
                    <a:pt x="19" y="399"/>
                  </a:cubicBezTo>
                  <a:cubicBezTo>
                    <a:pt x="20" y="401"/>
                    <a:pt x="19" y="403"/>
                    <a:pt x="19" y="405"/>
                  </a:cubicBezTo>
                  <a:cubicBezTo>
                    <a:pt x="18" y="406"/>
                    <a:pt x="18" y="407"/>
                    <a:pt x="17" y="409"/>
                  </a:cubicBezTo>
                  <a:cubicBezTo>
                    <a:pt x="16" y="411"/>
                    <a:pt x="14" y="412"/>
                    <a:pt x="13" y="414"/>
                  </a:cubicBezTo>
                  <a:cubicBezTo>
                    <a:pt x="13" y="414"/>
                    <a:pt x="13" y="414"/>
                    <a:pt x="13" y="414"/>
                  </a:cubicBezTo>
                  <a:cubicBezTo>
                    <a:pt x="13" y="414"/>
                    <a:pt x="13" y="414"/>
                    <a:pt x="13" y="414"/>
                  </a:cubicBezTo>
                  <a:cubicBezTo>
                    <a:pt x="12" y="416"/>
                    <a:pt x="10" y="417"/>
                    <a:pt x="10" y="419"/>
                  </a:cubicBezTo>
                  <a:cubicBezTo>
                    <a:pt x="10" y="420"/>
                    <a:pt x="10" y="420"/>
                    <a:pt x="10" y="420"/>
                  </a:cubicBezTo>
                  <a:cubicBezTo>
                    <a:pt x="10" y="422"/>
                    <a:pt x="9" y="423"/>
                    <a:pt x="8" y="424"/>
                  </a:cubicBezTo>
                  <a:cubicBezTo>
                    <a:pt x="7" y="426"/>
                    <a:pt x="7" y="428"/>
                    <a:pt x="7" y="430"/>
                  </a:cubicBezTo>
                  <a:cubicBezTo>
                    <a:pt x="7" y="432"/>
                    <a:pt x="8" y="433"/>
                    <a:pt x="8" y="435"/>
                  </a:cubicBezTo>
                  <a:cubicBezTo>
                    <a:pt x="9" y="436"/>
                    <a:pt x="8" y="438"/>
                    <a:pt x="9" y="439"/>
                  </a:cubicBezTo>
                  <a:cubicBezTo>
                    <a:pt x="10" y="441"/>
                    <a:pt x="11" y="442"/>
                    <a:pt x="12" y="444"/>
                  </a:cubicBezTo>
                  <a:cubicBezTo>
                    <a:pt x="12" y="445"/>
                    <a:pt x="12" y="447"/>
                    <a:pt x="14" y="448"/>
                  </a:cubicBezTo>
                  <a:cubicBezTo>
                    <a:pt x="15" y="448"/>
                    <a:pt x="16" y="448"/>
                    <a:pt x="17" y="449"/>
                  </a:cubicBezTo>
                  <a:cubicBezTo>
                    <a:pt x="17" y="450"/>
                    <a:pt x="18" y="451"/>
                    <a:pt x="19" y="452"/>
                  </a:cubicBezTo>
                  <a:cubicBezTo>
                    <a:pt x="20" y="454"/>
                    <a:pt x="22" y="455"/>
                    <a:pt x="23" y="456"/>
                  </a:cubicBezTo>
                  <a:cubicBezTo>
                    <a:pt x="25" y="457"/>
                    <a:pt x="26" y="457"/>
                    <a:pt x="28" y="457"/>
                  </a:cubicBezTo>
                  <a:cubicBezTo>
                    <a:pt x="29" y="457"/>
                    <a:pt x="31" y="457"/>
                    <a:pt x="31" y="459"/>
                  </a:cubicBezTo>
                  <a:cubicBezTo>
                    <a:pt x="29" y="459"/>
                    <a:pt x="26" y="461"/>
                    <a:pt x="24" y="462"/>
                  </a:cubicBezTo>
                  <a:cubicBezTo>
                    <a:pt x="23" y="463"/>
                    <a:pt x="22" y="464"/>
                    <a:pt x="22" y="466"/>
                  </a:cubicBezTo>
                  <a:cubicBezTo>
                    <a:pt x="21" y="467"/>
                    <a:pt x="20" y="468"/>
                    <a:pt x="19" y="470"/>
                  </a:cubicBezTo>
                  <a:cubicBezTo>
                    <a:pt x="17" y="473"/>
                    <a:pt x="16" y="477"/>
                    <a:pt x="15" y="482"/>
                  </a:cubicBezTo>
                  <a:cubicBezTo>
                    <a:pt x="15" y="482"/>
                    <a:pt x="15" y="482"/>
                    <a:pt x="15" y="482"/>
                  </a:cubicBezTo>
                  <a:cubicBezTo>
                    <a:pt x="21" y="485"/>
                    <a:pt x="26" y="487"/>
                    <a:pt x="30" y="493"/>
                  </a:cubicBezTo>
                  <a:cubicBezTo>
                    <a:pt x="31" y="494"/>
                    <a:pt x="33" y="495"/>
                    <a:pt x="33" y="496"/>
                  </a:cubicBezTo>
                  <a:cubicBezTo>
                    <a:pt x="34" y="498"/>
                    <a:pt x="34" y="498"/>
                    <a:pt x="34" y="500"/>
                  </a:cubicBezTo>
                  <a:cubicBezTo>
                    <a:pt x="36" y="503"/>
                    <a:pt x="36" y="505"/>
                    <a:pt x="40" y="506"/>
                  </a:cubicBezTo>
                  <a:cubicBezTo>
                    <a:pt x="44" y="506"/>
                    <a:pt x="46" y="503"/>
                    <a:pt x="50" y="502"/>
                  </a:cubicBezTo>
                  <a:cubicBezTo>
                    <a:pt x="53" y="501"/>
                    <a:pt x="56" y="501"/>
                    <a:pt x="60" y="501"/>
                  </a:cubicBezTo>
                  <a:cubicBezTo>
                    <a:pt x="67" y="501"/>
                    <a:pt x="73" y="501"/>
                    <a:pt x="79" y="505"/>
                  </a:cubicBezTo>
                  <a:cubicBezTo>
                    <a:pt x="81" y="507"/>
                    <a:pt x="81" y="510"/>
                    <a:pt x="84" y="513"/>
                  </a:cubicBezTo>
                  <a:cubicBezTo>
                    <a:pt x="84" y="513"/>
                    <a:pt x="85" y="513"/>
                    <a:pt x="86" y="514"/>
                  </a:cubicBezTo>
                  <a:cubicBezTo>
                    <a:pt x="87" y="514"/>
                    <a:pt x="86" y="515"/>
                    <a:pt x="87" y="515"/>
                  </a:cubicBezTo>
                  <a:cubicBezTo>
                    <a:pt x="90" y="516"/>
                    <a:pt x="96" y="515"/>
                    <a:pt x="99" y="515"/>
                  </a:cubicBezTo>
                  <a:cubicBezTo>
                    <a:pt x="102" y="515"/>
                    <a:pt x="105" y="515"/>
                    <a:pt x="108" y="516"/>
                  </a:cubicBezTo>
                  <a:cubicBezTo>
                    <a:pt x="107" y="516"/>
                    <a:pt x="111" y="518"/>
                    <a:pt x="110" y="518"/>
                  </a:cubicBezTo>
                  <a:cubicBezTo>
                    <a:pt x="111" y="519"/>
                    <a:pt x="112" y="520"/>
                    <a:pt x="113" y="520"/>
                  </a:cubicBezTo>
                  <a:cubicBezTo>
                    <a:pt x="115" y="521"/>
                    <a:pt x="117" y="520"/>
                    <a:pt x="119" y="523"/>
                  </a:cubicBezTo>
                  <a:cubicBezTo>
                    <a:pt x="120" y="525"/>
                    <a:pt x="120" y="528"/>
                    <a:pt x="119" y="530"/>
                  </a:cubicBezTo>
                  <a:cubicBezTo>
                    <a:pt x="118" y="535"/>
                    <a:pt x="115" y="539"/>
                    <a:pt x="111" y="542"/>
                  </a:cubicBezTo>
                  <a:cubicBezTo>
                    <a:pt x="106" y="546"/>
                    <a:pt x="104" y="549"/>
                    <a:pt x="102" y="555"/>
                  </a:cubicBezTo>
                  <a:cubicBezTo>
                    <a:pt x="101" y="557"/>
                    <a:pt x="101" y="558"/>
                    <a:pt x="98" y="560"/>
                  </a:cubicBezTo>
                  <a:cubicBezTo>
                    <a:pt x="97" y="561"/>
                    <a:pt x="96" y="561"/>
                    <a:pt x="95" y="563"/>
                  </a:cubicBezTo>
                  <a:cubicBezTo>
                    <a:pt x="92" y="567"/>
                    <a:pt x="93" y="572"/>
                    <a:pt x="92" y="577"/>
                  </a:cubicBezTo>
                  <a:cubicBezTo>
                    <a:pt x="90" y="583"/>
                    <a:pt x="92" y="588"/>
                    <a:pt x="87" y="593"/>
                  </a:cubicBezTo>
                  <a:cubicBezTo>
                    <a:pt x="83" y="598"/>
                    <a:pt x="84" y="603"/>
                    <a:pt x="84" y="609"/>
                  </a:cubicBezTo>
                  <a:cubicBezTo>
                    <a:pt x="84" y="617"/>
                    <a:pt x="84" y="624"/>
                    <a:pt x="84" y="632"/>
                  </a:cubicBezTo>
                  <a:cubicBezTo>
                    <a:pt x="84" y="634"/>
                    <a:pt x="85" y="636"/>
                    <a:pt x="86" y="637"/>
                  </a:cubicBezTo>
                  <a:cubicBezTo>
                    <a:pt x="86" y="637"/>
                    <a:pt x="86" y="637"/>
                    <a:pt x="86" y="637"/>
                  </a:cubicBezTo>
                  <a:cubicBezTo>
                    <a:pt x="87" y="638"/>
                    <a:pt x="87" y="638"/>
                    <a:pt x="87" y="639"/>
                  </a:cubicBezTo>
                  <a:cubicBezTo>
                    <a:pt x="88" y="639"/>
                    <a:pt x="88" y="639"/>
                    <a:pt x="88" y="639"/>
                  </a:cubicBezTo>
                  <a:cubicBezTo>
                    <a:pt x="89" y="640"/>
                    <a:pt x="90" y="640"/>
                    <a:pt x="91" y="640"/>
                  </a:cubicBezTo>
                  <a:cubicBezTo>
                    <a:pt x="94" y="641"/>
                    <a:pt x="96" y="641"/>
                    <a:pt x="98" y="640"/>
                  </a:cubicBezTo>
                  <a:cubicBezTo>
                    <a:pt x="99" y="639"/>
                    <a:pt x="101" y="639"/>
                    <a:pt x="102" y="639"/>
                  </a:cubicBezTo>
                  <a:cubicBezTo>
                    <a:pt x="103" y="639"/>
                    <a:pt x="104" y="640"/>
                    <a:pt x="104" y="640"/>
                  </a:cubicBezTo>
                  <a:cubicBezTo>
                    <a:pt x="107" y="640"/>
                    <a:pt x="108" y="638"/>
                    <a:pt x="110" y="637"/>
                  </a:cubicBezTo>
                  <a:cubicBezTo>
                    <a:pt x="111" y="637"/>
                    <a:pt x="112" y="637"/>
                    <a:pt x="112" y="635"/>
                  </a:cubicBezTo>
                  <a:cubicBezTo>
                    <a:pt x="112" y="634"/>
                    <a:pt x="112" y="634"/>
                    <a:pt x="112" y="633"/>
                  </a:cubicBezTo>
                  <a:cubicBezTo>
                    <a:pt x="113" y="632"/>
                    <a:pt x="114" y="630"/>
                    <a:pt x="115" y="630"/>
                  </a:cubicBezTo>
                  <a:cubicBezTo>
                    <a:pt x="117" y="631"/>
                    <a:pt x="116" y="633"/>
                    <a:pt x="117" y="634"/>
                  </a:cubicBezTo>
                  <a:cubicBezTo>
                    <a:pt x="118" y="635"/>
                    <a:pt x="118" y="636"/>
                    <a:pt x="120" y="636"/>
                  </a:cubicBezTo>
                  <a:cubicBezTo>
                    <a:pt x="123" y="636"/>
                    <a:pt x="123" y="633"/>
                    <a:pt x="123" y="630"/>
                  </a:cubicBezTo>
                  <a:cubicBezTo>
                    <a:pt x="123" y="628"/>
                    <a:pt x="125" y="625"/>
                    <a:pt x="127" y="623"/>
                  </a:cubicBezTo>
                  <a:cubicBezTo>
                    <a:pt x="128" y="622"/>
                    <a:pt x="131" y="622"/>
                    <a:pt x="133" y="622"/>
                  </a:cubicBezTo>
                  <a:cubicBezTo>
                    <a:pt x="134" y="622"/>
                    <a:pt x="135" y="622"/>
                    <a:pt x="135" y="622"/>
                  </a:cubicBezTo>
                  <a:cubicBezTo>
                    <a:pt x="136" y="622"/>
                    <a:pt x="137" y="623"/>
                    <a:pt x="137" y="623"/>
                  </a:cubicBezTo>
                  <a:cubicBezTo>
                    <a:pt x="138" y="623"/>
                    <a:pt x="139" y="623"/>
                    <a:pt x="139" y="623"/>
                  </a:cubicBezTo>
                  <a:cubicBezTo>
                    <a:pt x="140" y="623"/>
                    <a:pt x="141" y="623"/>
                    <a:pt x="141" y="624"/>
                  </a:cubicBezTo>
                  <a:cubicBezTo>
                    <a:pt x="143" y="625"/>
                    <a:pt x="146" y="626"/>
                    <a:pt x="147" y="627"/>
                  </a:cubicBezTo>
                  <a:cubicBezTo>
                    <a:pt x="148" y="627"/>
                    <a:pt x="148" y="628"/>
                    <a:pt x="149" y="629"/>
                  </a:cubicBezTo>
                  <a:cubicBezTo>
                    <a:pt x="151" y="630"/>
                    <a:pt x="153" y="631"/>
                    <a:pt x="155" y="631"/>
                  </a:cubicBezTo>
                  <a:cubicBezTo>
                    <a:pt x="157" y="631"/>
                    <a:pt x="158" y="630"/>
                    <a:pt x="160" y="630"/>
                  </a:cubicBezTo>
                  <a:cubicBezTo>
                    <a:pt x="161" y="629"/>
                    <a:pt x="162" y="629"/>
                    <a:pt x="163" y="629"/>
                  </a:cubicBezTo>
                  <a:cubicBezTo>
                    <a:pt x="165" y="629"/>
                    <a:pt x="164" y="629"/>
                    <a:pt x="165" y="630"/>
                  </a:cubicBezTo>
                  <a:cubicBezTo>
                    <a:pt x="166" y="631"/>
                    <a:pt x="167" y="632"/>
                    <a:pt x="168" y="632"/>
                  </a:cubicBezTo>
                  <a:cubicBezTo>
                    <a:pt x="169" y="633"/>
                    <a:pt x="171" y="634"/>
                    <a:pt x="172" y="634"/>
                  </a:cubicBezTo>
                  <a:cubicBezTo>
                    <a:pt x="172" y="635"/>
                    <a:pt x="172" y="635"/>
                    <a:pt x="173" y="635"/>
                  </a:cubicBezTo>
                  <a:cubicBezTo>
                    <a:pt x="174" y="637"/>
                    <a:pt x="175" y="637"/>
                    <a:pt x="176" y="637"/>
                  </a:cubicBezTo>
                  <a:cubicBezTo>
                    <a:pt x="178" y="638"/>
                    <a:pt x="180" y="638"/>
                    <a:pt x="182" y="639"/>
                  </a:cubicBezTo>
                  <a:cubicBezTo>
                    <a:pt x="183" y="639"/>
                    <a:pt x="183" y="639"/>
                    <a:pt x="184" y="639"/>
                  </a:cubicBezTo>
                  <a:cubicBezTo>
                    <a:pt x="185" y="639"/>
                    <a:pt x="187" y="639"/>
                    <a:pt x="188" y="639"/>
                  </a:cubicBezTo>
                  <a:cubicBezTo>
                    <a:pt x="189" y="639"/>
                    <a:pt x="189" y="640"/>
                    <a:pt x="189" y="640"/>
                  </a:cubicBezTo>
                  <a:cubicBezTo>
                    <a:pt x="189" y="640"/>
                    <a:pt x="190" y="640"/>
                    <a:pt x="191" y="640"/>
                  </a:cubicBezTo>
                  <a:cubicBezTo>
                    <a:pt x="194" y="640"/>
                    <a:pt x="197" y="640"/>
                    <a:pt x="200" y="640"/>
                  </a:cubicBezTo>
                  <a:cubicBezTo>
                    <a:pt x="201" y="640"/>
                    <a:pt x="203" y="639"/>
                    <a:pt x="204" y="640"/>
                  </a:cubicBezTo>
                  <a:cubicBezTo>
                    <a:pt x="206" y="642"/>
                    <a:pt x="206" y="644"/>
                    <a:pt x="207" y="646"/>
                  </a:cubicBezTo>
                  <a:cubicBezTo>
                    <a:pt x="208" y="647"/>
                    <a:pt x="208" y="647"/>
                    <a:pt x="210" y="648"/>
                  </a:cubicBezTo>
                  <a:cubicBezTo>
                    <a:pt x="211" y="648"/>
                    <a:pt x="213" y="647"/>
                    <a:pt x="214" y="648"/>
                  </a:cubicBezTo>
                  <a:cubicBezTo>
                    <a:pt x="214" y="649"/>
                    <a:pt x="214" y="649"/>
                    <a:pt x="215" y="649"/>
                  </a:cubicBezTo>
                  <a:cubicBezTo>
                    <a:pt x="215" y="650"/>
                    <a:pt x="215" y="651"/>
                    <a:pt x="215" y="652"/>
                  </a:cubicBezTo>
                  <a:cubicBezTo>
                    <a:pt x="215" y="653"/>
                    <a:pt x="215" y="652"/>
                    <a:pt x="216" y="653"/>
                  </a:cubicBezTo>
                  <a:cubicBezTo>
                    <a:pt x="217" y="655"/>
                    <a:pt x="220" y="656"/>
                    <a:pt x="222" y="657"/>
                  </a:cubicBezTo>
                  <a:cubicBezTo>
                    <a:pt x="225" y="659"/>
                    <a:pt x="226" y="661"/>
                    <a:pt x="230" y="659"/>
                  </a:cubicBezTo>
                  <a:cubicBezTo>
                    <a:pt x="231" y="659"/>
                    <a:pt x="232" y="657"/>
                    <a:pt x="232" y="656"/>
                  </a:cubicBezTo>
                  <a:cubicBezTo>
                    <a:pt x="233" y="656"/>
                    <a:pt x="233" y="655"/>
                    <a:pt x="233" y="655"/>
                  </a:cubicBezTo>
                  <a:cubicBezTo>
                    <a:pt x="234" y="651"/>
                    <a:pt x="230" y="649"/>
                    <a:pt x="229" y="646"/>
                  </a:cubicBezTo>
                  <a:cubicBezTo>
                    <a:pt x="229" y="643"/>
                    <a:pt x="229" y="642"/>
                    <a:pt x="232" y="641"/>
                  </a:cubicBezTo>
                  <a:cubicBezTo>
                    <a:pt x="236" y="640"/>
                    <a:pt x="240" y="642"/>
                    <a:pt x="244" y="641"/>
                  </a:cubicBezTo>
                  <a:cubicBezTo>
                    <a:pt x="247" y="641"/>
                    <a:pt x="250" y="640"/>
                    <a:pt x="252" y="643"/>
                  </a:cubicBezTo>
                  <a:cubicBezTo>
                    <a:pt x="253" y="644"/>
                    <a:pt x="253" y="646"/>
                    <a:pt x="255" y="646"/>
                  </a:cubicBezTo>
                  <a:cubicBezTo>
                    <a:pt x="255" y="646"/>
                    <a:pt x="255" y="646"/>
                    <a:pt x="255" y="646"/>
                  </a:cubicBezTo>
                  <a:cubicBezTo>
                    <a:pt x="257" y="646"/>
                    <a:pt x="263" y="648"/>
                    <a:pt x="263" y="650"/>
                  </a:cubicBezTo>
                  <a:cubicBezTo>
                    <a:pt x="264" y="651"/>
                    <a:pt x="268" y="651"/>
                    <a:pt x="267" y="651"/>
                  </a:cubicBezTo>
                  <a:cubicBezTo>
                    <a:pt x="270" y="651"/>
                    <a:pt x="273" y="651"/>
                    <a:pt x="275" y="651"/>
                  </a:cubicBezTo>
                  <a:cubicBezTo>
                    <a:pt x="277" y="650"/>
                    <a:pt x="278" y="649"/>
                    <a:pt x="279" y="649"/>
                  </a:cubicBezTo>
                  <a:cubicBezTo>
                    <a:pt x="281" y="648"/>
                    <a:pt x="282" y="650"/>
                    <a:pt x="284" y="650"/>
                  </a:cubicBezTo>
                  <a:cubicBezTo>
                    <a:pt x="285" y="649"/>
                    <a:pt x="286" y="647"/>
                    <a:pt x="287" y="646"/>
                  </a:cubicBezTo>
                  <a:cubicBezTo>
                    <a:pt x="288" y="645"/>
                    <a:pt x="288" y="644"/>
                    <a:pt x="289" y="643"/>
                  </a:cubicBezTo>
                  <a:cubicBezTo>
                    <a:pt x="291" y="641"/>
                    <a:pt x="295" y="642"/>
                    <a:pt x="298" y="642"/>
                  </a:cubicBezTo>
                  <a:cubicBezTo>
                    <a:pt x="299" y="642"/>
                    <a:pt x="301" y="643"/>
                    <a:pt x="302" y="641"/>
                  </a:cubicBezTo>
                  <a:cubicBezTo>
                    <a:pt x="302" y="640"/>
                    <a:pt x="301" y="639"/>
                    <a:pt x="302" y="637"/>
                  </a:cubicBezTo>
                  <a:cubicBezTo>
                    <a:pt x="302" y="636"/>
                    <a:pt x="303" y="636"/>
                    <a:pt x="305" y="636"/>
                  </a:cubicBezTo>
                  <a:cubicBezTo>
                    <a:pt x="308" y="636"/>
                    <a:pt x="312" y="636"/>
                    <a:pt x="316" y="637"/>
                  </a:cubicBezTo>
                  <a:cubicBezTo>
                    <a:pt x="318" y="637"/>
                    <a:pt x="320" y="637"/>
                    <a:pt x="323" y="637"/>
                  </a:cubicBezTo>
                  <a:cubicBezTo>
                    <a:pt x="324" y="637"/>
                    <a:pt x="324" y="637"/>
                    <a:pt x="325" y="637"/>
                  </a:cubicBezTo>
                  <a:cubicBezTo>
                    <a:pt x="325" y="636"/>
                    <a:pt x="326" y="636"/>
                    <a:pt x="327" y="636"/>
                  </a:cubicBezTo>
                  <a:cubicBezTo>
                    <a:pt x="328" y="636"/>
                    <a:pt x="328" y="636"/>
                    <a:pt x="329" y="636"/>
                  </a:cubicBezTo>
                  <a:cubicBezTo>
                    <a:pt x="332" y="634"/>
                    <a:pt x="326" y="632"/>
                    <a:pt x="327" y="629"/>
                  </a:cubicBezTo>
                  <a:cubicBezTo>
                    <a:pt x="327" y="628"/>
                    <a:pt x="329" y="628"/>
                    <a:pt x="330" y="628"/>
                  </a:cubicBezTo>
                  <a:cubicBezTo>
                    <a:pt x="332" y="628"/>
                    <a:pt x="334" y="628"/>
                    <a:pt x="336" y="628"/>
                  </a:cubicBezTo>
                  <a:cubicBezTo>
                    <a:pt x="337" y="628"/>
                    <a:pt x="340" y="629"/>
                    <a:pt x="341" y="629"/>
                  </a:cubicBezTo>
                  <a:cubicBezTo>
                    <a:pt x="342" y="630"/>
                    <a:pt x="342" y="631"/>
                    <a:pt x="343" y="632"/>
                  </a:cubicBezTo>
                  <a:cubicBezTo>
                    <a:pt x="344" y="633"/>
                    <a:pt x="347" y="632"/>
                    <a:pt x="348" y="632"/>
                  </a:cubicBezTo>
                  <a:cubicBezTo>
                    <a:pt x="351" y="632"/>
                    <a:pt x="353" y="630"/>
                    <a:pt x="355" y="630"/>
                  </a:cubicBezTo>
                  <a:cubicBezTo>
                    <a:pt x="357" y="631"/>
                    <a:pt x="356" y="631"/>
                    <a:pt x="357" y="631"/>
                  </a:cubicBezTo>
                  <a:cubicBezTo>
                    <a:pt x="358" y="632"/>
                    <a:pt x="359" y="634"/>
                    <a:pt x="360" y="635"/>
                  </a:cubicBezTo>
                  <a:cubicBezTo>
                    <a:pt x="361" y="636"/>
                    <a:pt x="362" y="638"/>
                    <a:pt x="362" y="639"/>
                  </a:cubicBezTo>
                  <a:cubicBezTo>
                    <a:pt x="362" y="639"/>
                    <a:pt x="362" y="640"/>
                    <a:pt x="362" y="640"/>
                  </a:cubicBezTo>
                  <a:cubicBezTo>
                    <a:pt x="363" y="642"/>
                    <a:pt x="365" y="641"/>
                    <a:pt x="366" y="641"/>
                  </a:cubicBezTo>
                  <a:cubicBezTo>
                    <a:pt x="367" y="641"/>
                    <a:pt x="367" y="642"/>
                    <a:pt x="368" y="642"/>
                  </a:cubicBezTo>
                  <a:cubicBezTo>
                    <a:pt x="369" y="642"/>
                    <a:pt x="371" y="642"/>
                    <a:pt x="372" y="642"/>
                  </a:cubicBezTo>
                  <a:cubicBezTo>
                    <a:pt x="373" y="641"/>
                    <a:pt x="373" y="641"/>
                    <a:pt x="374" y="640"/>
                  </a:cubicBezTo>
                  <a:cubicBezTo>
                    <a:pt x="375" y="639"/>
                    <a:pt x="375" y="638"/>
                    <a:pt x="375" y="637"/>
                  </a:cubicBezTo>
                  <a:cubicBezTo>
                    <a:pt x="375" y="636"/>
                    <a:pt x="375" y="635"/>
                    <a:pt x="375" y="634"/>
                  </a:cubicBezTo>
                  <a:cubicBezTo>
                    <a:pt x="376" y="633"/>
                    <a:pt x="378" y="630"/>
                    <a:pt x="375" y="629"/>
                  </a:cubicBezTo>
                  <a:cubicBezTo>
                    <a:pt x="373" y="628"/>
                    <a:pt x="371" y="628"/>
                    <a:pt x="369" y="626"/>
                  </a:cubicBezTo>
                  <a:cubicBezTo>
                    <a:pt x="368" y="625"/>
                    <a:pt x="368" y="625"/>
                    <a:pt x="368" y="624"/>
                  </a:cubicBezTo>
                  <a:cubicBezTo>
                    <a:pt x="368" y="623"/>
                    <a:pt x="367" y="623"/>
                    <a:pt x="367" y="623"/>
                  </a:cubicBezTo>
                  <a:cubicBezTo>
                    <a:pt x="367" y="622"/>
                    <a:pt x="368" y="621"/>
                    <a:pt x="368" y="620"/>
                  </a:cubicBezTo>
                  <a:cubicBezTo>
                    <a:pt x="368" y="619"/>
                    <a:pt x="369" y="619"/>
                    <a:pt x="370" y="618"/>
                  </a:cubicBezTo>
                  <a:cubicBezTo>
                    <a:pt x="371" y="618"/>
                    <a:pt x="371" y="617"/>
                    <a:pt x="372" y="616"/>
                  </a:cubicBezTo>
                  <a:cubicBezTo>
                    <a:pt x="372" y="614"/>
                    <a:pt x="373" y="612"/>
                    <a:pt x="372" y="611"/>
                  </a:cubicBezTo>
                  <a:cubicBezTo>
                    <a:pt x="371" y="610"/>
                    <a:pt x="370" y="609"/>
                    <a:pt x="369" y="608"/>
                  </a:cubicBezTo>
                  <a:cubicBezTo>
                    <a:pt x="369" y="608"/>
                    <a:pt x="368" y="607"/>
                    <a:pt x="368" y="607"/>
                  </a:cubicBezTo>
                  <a:cubicBezTo>
                    <a:pt x="367" y="606"/>
                    <a:pt x="366" y="606"/>
                    <a:pt x="366" y="606"/>
                  </a:cubicBezTo>
                  <a:cubicBezTo>
                    <a:pt x="366" y="606"/>
                    <a:pt x="366" y="605"/>
                    <a:pt x="365" y="604"/>
                  </a:cubicBezTo>
                  <a:cubicBezTo>
                    <a:pt x="365" y="604"/>
                    <a:pt x="365" y="604"/>
                    <a:pt x="364" y="603"/>
                  </a:cubicBezTo>
                  <a:cubicBezTo>
                    <a:pt x="364" y="603"/>
                    <a:pt x="363" y="602"/>
                    <a:pt x="363" y="601"/>
                  </a:cubicBezTo>
                  <a:cubicBezTo>
                    <a:pt x="363" y="598"/>
                    <a:pt x="363" y="595"/>
                    <a:pt x="363" y="593"/>
                  </a:cubicBezTo>
                  <a:cubicBezTo>
                    <a:pt x="362" y="592"/>
                    <a:pt x="362" y="592"/>
                    <a:pt x="362" y="592"/>
                  </a:cubicBezTo>
                  <a:cubicBezTo>
                    <a:pt x="362" y="591"/>
                    <a:pt x="362" y="590"/>
                    <a:pt x="362" y="589"/>
                  </a:cubicBezTo>
                  <a:cubicBezTo>
                    <a:pt x="362" y="588"/>
                    <a:pt x="361" y="587"/>
                    <a:pt x="362" y="586"/>
                  </a:cubicBezTo>
                  <a:cubicBezTo>
                    <a:pt x="363" y="586"/>
                    <a:pt x="364" y="586"/>
                    <a:pt x="365" y="585"/>
                  </a:cubicBezTo>
                  <a:cubicBezTo>
                    <a:pt x="365" y="585"/>
                    <a:pt x="366" y="584"/>
                    <a:pt x="367" y="583"/>
                  </a:cubicBezTo>
                  <a:cubicBezTo>
                    <a:pt x="368" y="582"/>
                    <a:pt x="370" y="581"/>
                    <a:pt x="372" y="581"/>
                  </a:cubicBezTo>
                  <a:cubicBezTo>
                    <a:pt x="374" y="581"/>
                    <a:pt x="376" y="580"/>
                    <a:pt x="378" y="579"/>
                  </a:cubicBezTo>
                  <a:cubicBezTo>
                    <a:pt x="380" y="578"/>
                    <a:pt x="382" y="577"/>
                    <a:pt x="384" y="577"/>
                  </a:cubicBezTo>
                  <a:cubicBezTo>
                    <a:pt x="388" y="577"/>
                    <a:pt x="392" y="577"/>
                    <a:pt x="395" y="575"/>
                  </a:cubicBezTo>
                  <a:cubicBezTo>
                    <a:pt x="396" y="574"/>
                    <a:pt x="397" y="574"/>
                    <a:pt x="397" y="573"/>
                  </a:cubicBezTo>
                  <a:cubicBezTo>
                    <a:pt x="398" y="572"/>
                    <a:pt x="398" y="572"/>
                    <a:pt x="398" y="571"/>
                  </a:cubicBezTo>
                  <a:cubicBezTo>
                    <a:pt x="398" y="571"/>
                    <a:pt x="398" y="570"/>
                    <a:pt x="398" y="570"/>
                  </a:cubicBezTo>
                  <a:cubicBezTo>
                    <a:pt x="398" y="569"/>
                    <a:pt x="398" y="568"/>
                    <a:pt x="399" y="568"/>
                  </a:cubicBezTo>
                  <a:cubicBezTo>
                    <a:pt x="399" y="567"/>
                    <a:pt x="399" y="566"/>
                    <a:pt x="399" y="565"/>
                  </a:cubicBezTo>
                  <a:cubicBezTo>
                    <a:pt x="399" y="566"/>
                    <a:pt x="399" y="566"/>
                    <a:pt x="399" y="566"/>
                  </a:cubicBezTo>
                  <a:cubicBezTo>
                    <a:pt x="399" y="565"/>
                    <a:pt x="399" y="564"/>
                    <a:pt x="400" y="564"/>
                  </a:cubicBezTo>
                  <a:cubicBezTo>
                    <a:pt x="400" y="563"/>
                    <a:pt x="399" y="562"/>
                    <a:pt x="400" y="561"/>
                  </a:cubicBezTo>
                  <a:cubicBezTo>
                    <a:pt x="400" y="560"/>
                    <a:pt x="400" y="559"/>
                    <a:pt x="401" y="559"/>
                  </a:cubicBezTo>
                  <a:cubicBezTo>
                    <a:pt x="401" y="558"/>
                    <a:pt x="402" y="556"/>
                    <a:pt x="402" y="556"/>
                  </a:cubicBezTo>
                  <a:cubicBezTo>
                    <a:pt x="403" y="556"/>
                    <a:pt x="404" y="556"/>
                    <a:pt x="405" y="556"/>
                  </a:cubicBezTo>
                  <a:cubicBezTo>
                    <a:pt x="406" y="556"/>
                    <a:pt x="406" y="557"/>
                    <a:pt x="407" y="558"/>
                  </a:cubicBezTo>
                  <a:cubicBezTo>
                    <a:pt x="408" y="559"/>
                    <a:pt x="414" y="560"/>
                    <a:pt x="415" y="559"/>
                  </a:cubicBezTo>
                  <a:cubicBezTo>
                    <a:pt x="416" y="558"/>
                    <a:pt x="417" y="556"/>
                    <a:pt x="417" y="555"/>
                  </a:cubicBezTo>
                  <a:cubicBezTo>
                    <a:pt x="418" y="554"/>
                    <a:pt x="418" y="553"/>
                    <a:pt x="418" y="552"/>
                  </a:cubicBezTo>
                  <a:cubicBezTo>
                    <a:pt x="418" y="551"/>
                    <a:pt x="419" y="550"/>
                    <a:pt x="419" y="548"/>
                  </a:cubicBezTo>
                  <a:cubicBezTo>
                    <a:pt x="419" y="547"/>
                    <a:pt x="419" y="545"/>
                    <a:pt x="419" y="544"/>
                  </a:cubicBezTo>
                  <a:cubicBezTo>
                    <a:pt x="419" y="543"/>
                    <a:pt x="420" y="543"/>
                    <a:pt x="420" y="542"/>
                  </a:cubicBezTo>
                  <a:cubicBezTo>
                    <a:pt x="420" y="541"/>
                    <a:pt x="420" y="540"/>
                    <a:pt x="420" y="540"/>
                  </a:cubicBezTo>
                  <a:cubicBezTo>
                    <a:pt x="420" y="539"/>
                    <a:pt x="421" y="539"/>
                    <a:pt x="421" y="539"/>
                  </a:cubicBezTo>
                  <a:cubicBezTo>
                    <a:pt x="421" y="539"/>
                    <a:pt x="420" y="538"/>
                    <a:pt x="420" y="537"/>
                  </a:cubicBezTo>
                  <a:cubicBezTo>
                    <a:pt x="420" y="536"/>
                    <a:pt x="420" y="534"/>
                    <a:pt x="419" y="533"/>
                  </a:cubicBezTo>
                  <a:cubicBezTo>
                    <a:pt x="418" y="532"/>
                    <a:pt x="417" y="532"/>
                    <a:pt x="417" y="531"/>
                  </a:cubicBezTo>
                  <a:cubicBezTo>
                    <a:pt x="416" y="531"/>
                    <a:pt x="415" y="530"/>
                    <a:pt x="414" y="529"/>
                  </a:cubicBezTo>
                  <a:cubicBezTo>
                    <a:pt x="413" y="528"/>
                    <a:pt x="412" y="527"/>
                    <a:pt x="411" y="527"/>
                  </a:cubicBezTo>
                  <a:cubicBezTo>
                    <a:pt x="410" y="526"/>
                    <a:pt x="410" y="525"/>
                    <a:pt x="410" y="524"/>
                  </a:cubicBezTo>
                  <a:cubicBezTo>
                    <a:pt x="408" y="519"/>
                    <a:pt x="402" y="526"/>
                    <a:pt x="400" y="520"/>
                  </a:cubicBezTo>
                  <a:cubicBezTo>
                    <a:pt x="400" y="519"/>
                    <a:pt x="399" y="518"/>
                    <a:pt x="398" y="517"/>
                  </a:cubicBezTo>
                  <a:cubicBezTo>
                    <a:pt x="398" y="516"/>
                    <a:pt x="397" y="515"/>
                    <a:pt x="397" y="514"/>
                  </a:cubicBezTo>
                  <a:cubicBezTo>
                    <a:pt x="396" y="514"/>
                    <a:pt x="395" y="513"/>
                    <a:pt x="394" y="513"/>
                  </a:cubicBezTo>
                  <a:cubicBezTo>
                    <a:pt x="394" y="512"/>
                    <a:pt x="394" y="512"/>
                    <a:pt x="394" y="512"/>
                  </a:cubicBezTo>
                  <a:cubicBezTo>
                    <a:pt x="393" y="511"/>
                    <a:pt x="391" y="510"/>
                    <a:pt x="390" y="510"/>
                  </a:cubicBezTo>
                  <a:cubicBezTo>
                    <a:pt x="389" y="509"/>
                    <a:pt x="386" y="509"/>
                    <a:pt x="385" y="508"/>
                  </a:cubicBezTo>
                  <a:cubicBezTo>
                    <a:pt x="385" y="507"/>
                    <a:pt x="385" y="507"/>
                    <a:pt x="385" y="507"/>
                  </a:cubicBezTo>
                  <a:cubicBezTo>
                    <a:pt x="385" y="504"/>
                    <a:pt x="384" y="502"/>
                    <a:pt x="382" y="499"/>
                  </a:cubicBezTo>
                  <a:cubicBezTo>
                    <a:pt x="381" y="498"/>
                    <a:pt x="380" y="496"/>
                    <a:pt x="379" y="495"/>
                  </a:cubicBezTo>
                  <a:cubicBezTo>
                    <a:pt x="378" y="494"/>
                    <a:pt x="376" y="493"/>
                    <a:pt x="375" y="491"/>
                  </a:cubicBezTo>
                  <a:cubicBezTo>
                    <a:pt x="374" y="491"/>
                    <a:pt x="374" y="491"/>
                    <a:pt x="373" y="490"/>
                  </a:cubicBezTo>
                  <a:cubicBezTo>
                    <a:pt x="373" y="490"/>
                    <a:pt x="371" y="491"/>
                    <a:pt x="371" y="491"/>
                  </a:cubicBezTo>
                  <a:cubicBezTo>
                    <a:pt x="369" y="491"/>
                    <a:pt x="369" y="490"/>
                    <a:pt x="368" y="490"/>
                  </a:cubicBezTo>
                  <a:cubicBezTo>
                    <a:pt x="367" y="489"/>
                    <a:pt x="365" y="489"/>
                    <a:pt x="365" y="488"/>
                  </a:cubicBezTo>
                  <a:cubicBezTo>
                    <a:pt x="364" y="488"/>
                    <a:pt x="364" y="488"/>
                    <a:pt x="364" y="487"/>
                  </a:cubicBezTo>
                  <a:cubicBezTo>
                    <a:pt x="363" y="485"/>
                    <a:pt x="362" y="484"/>
                    <a:pt x="361" y="483"/>
                  </a:cubicBezTo>
                  <a:cubicBezTo>
                    <a:pt x="360" y="482"/>
                    <a:pt x="360" y="482"/>
                    <a:pt x="360" y="480"/>
                  </a:cubicBezTo>
                  <a:cubicBezTo>
                    <a:pt x="359" y="479"/>
                    <a:pt x="359" y="476"/>
                    <a:pt x="359" y="475"/>
                  </a:cubicBezTo>
                  <a:cubicBezTo>
                    <a:pt x="358" y="474"/>
                    <a:pt x="358" y="474"/>
                    <a:pt x="358" y="473"/>
                  </a:cubicBezTo>
                  <a:cubicBezTo>
                    <a:pt x="357" y="471"/>
                    <a:pt x="356" y="469"/>
                    <a:pt x="355" y="467"/>
                  </a:cubicBezTo>
                  <a:cubicBezTo>
                    <a:pt x="355" y="466"/>
                    <a:pt x="354" y="464"/>
                    <a:pt x="353" y="463"/>
                  </a:cubicBezTo>
                  <a:cubicBezTo>
                    <a:pt x="352" y="462"/>
                    <a:pt x="351" y="461"/>
                    <a:pt x="349" y="460"/>
                  </a:cubicBezTo>
                  <a:cubicBezTo>
                    <a:pt x="348" y="459"/>
                    <a:pt x="348" y="457"/>
                    <a:pt x="349" y="456"/>
                  </a:cubicBezTo>
                  <a:cubicBezTo>
                    <a:pt x="349" y="455"/>
                    <a:pt x="350" y="454"/>
                    <a:pt x="351" y="453"/>
                  </a:cubicBezTo>
                  <a:cubicBezTo>
                    <a:pt x="351" y="452"/>
                    <a:pt x="352" y="451"/>
                    <a:pt x="352" y="451"/>
                  </a:cubicBezTo>
                  <a:cubicBezTo>
                    <a:pt x="353" y="450"/>
                    <a:pt x="354" y="449"/>
                    <a:pt x="354" y="448"/>
                  </a:cubicBezTo>
                  <a:cubicBezTo>
                    <a:pt x="354" y="447"/>
                    <a:pt x="354" y="446"/>
                    <a:pt x="354" y="445"/>
                  </a:cubicBezTo>
                  <a:cubicBezTo>
                    <a:pt x="354" y="444"/>
                    <a:pt x="355" y="443"/>
                    <a:pt x="355" y="442"/>
                  </a:cubicBezTo>
                  <a:cubicBezTo>
                    <a:pt x="354" y="440"/>
                    <a:pt x="352" y="440"/>
                    <a:pt x="351" y="439"/>
                  </a:cubicBezTo>
                  <a:cubicBezTo>
                    <a:pt x="349" y="439"/>
                    <a:pt x="349" y="438"/>
                    <a:pt x="348" y="437"/>
                  </a:cubicBezTo>
                  <a:cubicBezTo>
                    <a:pt x="347" y="436"/>
                    <a:pt x="345" y="436"/>
                    <a:pt x="345" y="435"/>
                  </a:cubicBezTo>
                  <a:cubicBezTo>
                    <a:pt x="343" y="434"/>
                    <a:pt x="344" y="432"/>
                    <a:pt x="342" y="431"/>
                  </a:cubicBezTo>
                  <a:cubicBezTo>
                    <a:pt x="340" y="430"/>
                    <a:pt x="339" y="431"/>
                    <a:pt x="339" y="429"/>
                  </a:cubicBezTo>
                  <a:cubicBezTo>
                    <a:pt x="338" y="427"/>
                    <a:pt x="338" y="426"/>
                    <a:pt x="338" y="424"/>
                  </a:cubicBezTo>
                  <a:cubicBezTo>
                    <a:pt x="338" y="423"/>
                    <a:pt x="338" y="421"/>
                    <a:pt x="337" y="419"/>
                  </a:cubicBezTo>
                  <a:cubicBezTo>
                    <a:pt x="337" y="416"/>
                    <a:pt x="331" y="416"/>
                    <a:pt x="332" y="412"/>
                  </a:cubicBezTo>
                  <a:cubicBezTo>
                    <a:pt x="333" y="412"/>
                    <a:pt x="333" y="412"/>
                    <a:pt x="333" y="411"/>
                  </a:cubicBezTo>
                  <a:cubicBezTo>
                    <a:pt x="333" y="411"/>
                    <a:pt x="333" y="411"/>
                    <a:pt x="333" y="410"/>
                  </a:cubicBezTo>
                  <a:cubicBezTo>
                    <a:pt x="334" y="409"/>
                    <a:pt x="334" y="409"/>
                    <a:pt x="336" y="408"/>
                  </a:cubicBezTo>
                  <a:cubicBezTo>
                    <a:pt x="338" y="407"/>
                    <a:pt x="339" y="411"/>
                    <a:pt x="339" y="413"/>
                  </a:cubicBezTo>
                  <a:cubicBezTo>
                    <a:pt x="339" y="414"/>
                    <a:pt x="339" y="415"/>
                    <a:pt x="340" y="416"/>
                  </a:cubicBezTo>
                  <a:cubicBezTo>
                    <a:pt x="340" y="417"/>
                    <a:pt x="341" y="417"/>
                    <a:pt x="342" y="418"/>
                  </a:cubicBezTo>
                  <a:cubicBezTo>
                    <a:pt x="342" y="418"/>
                    <a:pt x="342" y="419"/>
                    <a:pt x="342" y="419"/>
                  </a:cubicBezTo>
                  <a:cubicBezTo>
                    <a:pt x="342" y="420"/>
                    <a:pt x="342" y="419"/>
                    <a:pt x="343" y="420"/>
                  </a:cubicBezTo>
                  <a:cubicBezTo>
                    <a:pt x="343" y="421"/>
                    <a:pt x="343" y="421"/>
                    <a:pt x="343" y="422"/>
                  </a:cubicBezTo>
                  <a:cubicBezTo>
                    <a:pt x="344" y="421"/>
                    <a:pt x="344" y="420"/>
                    <a:pt x="344" y="419"/>
                  </a:cubicBezTo>
                  <a:cubicBezTo>
                    <a:pt x="345" y="417"/>
                    <a:pt x="346" y="417"/>
                    <a:pt x="346" y="416"/>
                  </a:cubicBezTo>
                  <a:cubicBezTo>
                    <a:pt x="346" y="415"/>
                    <a:pt x="346" y="414"/>
                    <a:pt x="346" y="413"/>
                  </a:cubicBezTo>
                  <a:cubicBezTo>
                    <a:pt x="346" y="413"/>
                    <a:pt x="347" y="412"/>
                    <a:pt x="348" y="411"/>
                  </a:cubicBezTo>
                  <a:cubicBezTo>
                    <a:pt x="349" y="409"/>
                    <a:pt x="351" y="408"/>
                    <a:pt x="353" y="407"/>
                  </a:cubicBezTo>
                  <a:cubicBezTo>
                    <a:pt x="354" y="406"/>
                    <a:pt x="355" y="404"/>
                    <a:pt x="357" y="404"/>
                  </a:cubicBezTo>
                  <a:cubicBezTo>
                    <a:pt x="357" y="403"/>
                    <a:pt x="358" y="403"/>
                    <a:pt x="359" y="402"/>
                  </a:cubicBezTo>
                  <a:cubicBezTo>
                    <a:pt x="360" y="402"/>
                    <a:pt x="360" y="400"/>
                    <a:pt x="361" y="401"/>
                  </a:cubicBezTo>
                  <a:cubicBezTo>
                    <a:pt x="362" y="401"/>
                    <a:pt x="362" y="402"/>
                    <a:pt x="363" y="402"/>
                  </a:cubicBezTo>
                  <a:cubicBezTo>
                    <a:pt x="364" y="403"/>
                    <a:pt x="364" y="402"/>
                    <a:pt x="365" y="402"/>
                  </a:cubicBezTo>
                  <a:cubicBezTo>
                    <a:pt x="367" y="402"/>
                    <a:pt x="368" y="402"/>
                    <a:pt x="369" y="400"/>
                  </a:cubicBezTo>
                  <a:cubicBezTo>
                    <a:pt x="370" y="400"/>
                    <a:pt x="370" y="398"/>
                    <a:pt x="370" y="398"/>
                  </a:cubicBezTo>
                  <a:cubicBezTo>
                    <a:pt x="371" y="398"/>
                    <a:pt x="373" y="398"/>
                    <a:pt x="373" y="398"/>
                  </a:cubicBezTo>
                  <a:cubicBezTo>
                    <a:pt x="374" y="398"/>
                    <a:pt x="374" y="399"/>
                    <a:pt x="375" y="399"/>
                  </a:cubicBezTo>
                  <a:cubicBezTo>
                    <a:pt x="376" y="399"/>
                    <a:pt x="377" y="398"/>
                    <a:pt x="379" y="399"/>
                  </a:cubicBezTo>
                  <a:cubicBezTo>
                    <a:pt x="379" y="399"/>
                    <a:pt x="380" y="400"/>
                    <a:pt x="380" y="400"/>
                  </a:cubicBezTo>
                  <a:cubicBezTo>
                    <a:pt x="381" y="401"/>
                    <a:pt x="381" y="400"/>
                    <a:pt x="382" y="399"/>
                  </a:cubicBezTo>
                  <a:cubicBezTo>
                    <a:pt x="382" y="398"/>
                    <a:pt x="383" y="398"/>
                    <a:pt x="384" y="397"/>
                  </a:cubicBezTo>
                  <a:cubicBezTo>
                    <a:pt x="385" y="396"/>
                    <a:pt x="386" y="395"/>
                    <a:pt x="386" y="394"/>
                  </a:cubicBezTo>
                  <a:cubicBezTo>
                    <a:pt x="388" y="392"/>
                    <a:pt x="388" y="392"/>
                    <a:pt x="391" y="392"/>
                  </a:cubicBezTo>
                  <a:cubicBezTo>
                    <a:pt x="391" y="392"/>
                    <a:pt x="392" y="392"/>
                    <a:pt x="392" y="392"/>
                  </a:cubicBezTo>
                  <a:cubicBezTo>
                    <a:pt x="392" y="392"/>
                    <a:pt x="392" y="391"/>
                    <a:pt x="392" y="391"/>
                  </a:cubicBezTo>
                  <a:cubicBezTo>
                    <a:pt x="393" y="391"/>
                    <a:pt x="394" y="390"/>
                    <a:pt x="394" y="390"/>
                  </a:cubicBezTo>
                  <a:cubicBezTo>
                    <a:pt x="394" y="389"/>
                    <a:pt x="395" y="389"/>
                    <a:pt x="395" y="388"/>
                  </a:cubicBezTo>
                  <a:cubicBezTo>
                    <a:pt x="395" y="387"/>
                    <a:pt x="395" y="386"/>
                    <a:pt x="396" y="386"/>
                  </a:cubicBezTo>
                  <a:cubicBezTo>
                    <a:pt x="397" y="384"/>
                    <a:pt x="399" y="387"/>
                    <a:pt x="401" y="387"/>
                  </a:cubicBezTo>
                  <a:cubicBezTo>
                    <a:pt x="401" y="386"/>
                    <a:pt x="401" y="385"/>
                    <a:pt x="402" y="384"/>
                  </a:cubicBezTo>
                  <a:cubicBezTo>
                    <a:pt x="402" y="383"/>
                    <a:pt x="402" y="383"/>
                    <a:pt x="402" y="383"/>
                  </a:cubicBezTo>
                  <a:cubicBezTo>
                    <a:pt x="402" y="382"/>
                    <a:pt x="402" y="381"/>
                    <a:pt x="402" y="381"/>
                  </a:cubicBezTo>
                  <a:cubicBezTo>
                    <a:pt x="403" y="379"/>
                    <a:pt x="405" y="380"/>
                    <a:pt x="405" y="381"/>
                  </a:cubicBezTo>
                  <a:cubicBezTo>
                    <a:pt x="406" y="381"/>
                    <a:pt x="406" y="383"/>
                    <a:pt x="406" y="384"/>
                  </a:cubicBezTo>
                  <a:cubicBezTo>
                    <a:pt x="407" y="384"/>
                    <a:pt x="409" y="384"/>
                    <a:pt x="409" y="384"/>
                  </a:cubicBezTo>
                  <a:cubicBezTo>
                    <a:pt x="410" y="384"/>
                    <a:pt x="411" y="384"/>
                    <a:pt x="412" y="383"/>
                  </a:cubicBezTo>
                  <a:cubicBezTo>
                    <a:pt x="413" y="383"/>
                    <a:pt x="412" y="381"/>
                    <a:pt x="412" y="380"/>
                  </a:cubicBezTo>
                  <a:cubicBezTo>
                    <a:pt x="412" y="379"/>
                    <a:pt x="412" y="377"/>
                    <a:pt x="413" y="376"/>
                  </a:cubicBezTo>
                  <a:cubicBezTo>
                    <a:pt x="413" y="375"/>
                    <a:pt x="414" y="375"/>
                    <a:pt x="414" y="375"/>
                  </a:cubicBezTo>
                  <a:cubicBezTo>
                    <a:pt x="415" y="374"/>
                    <a:pt x="416" y="373"/>
                    <a:pt x="417" y="373"/>
                  </a:cubicBezTo>
                  <a:cubicBezTo>
                    <a:pt x="418" y="373"/>
                    <a:pt x="418" y="373"/>
                    <a:pt x="419" y="373"/>
                  </a:cubicBezTo>
                  <a:cubicBezTo>
                    <a:pt x="421" y="373"/>
                    <a:pt x="422" y="372"/>
                    <a:pt x="424" y="372"/>
                  </a:cubicBezTo>
                  <a:cubicBezTo>
                    <a:pt x="425" y="372"/>
                    <a:pt x="427" y="371"/>
                    <a:pt x="428" y="371"/>
                  </a:cubicBezTo>
                  <a:cubicBezTo>
                    <a:pt x="429" y="371"/>
                    <a:pt x="430" y="371"/>
                    <a:pt x="431" y="371"/>
                  </a:cubicBezTo>
                  <a:cubicBezTo>
                    <a:pt x="432" y="371"/>
                    <a:pt x="432" y="370"/>
                    <a:pt x="433" y="369"/>
                  </a:cubicBezTo>
                  <a:cubicBezTo>
                    <a:pt x="434" y="369"/>
                    <a:pt x="435" y="368"/>
                    <a:pt x="436" y="367"/>
                  </a:cubicBezTo>
                  <a:cubicBezTo>
                    <a:pt x="436" y="367"/>
                    <a:pt x="436" y="366"/>
                    <a:pt x="436" y="366"/>
                  </a:cubicBezTo>
                  <a:cubicBezTo>
                    <a:pt x="436" y="365"/>
                    <a:pt x="439" y="364"/>
                    <a:pt x="440" y="364"/>
                  </a:cubicBezTo>
                  <a:cubicBezTo>
                    <a:pt x="441" y="364"/>
                    <a:pt x="442" y="365"/>
                    <a:pt x="443" y="364"/>
                  </a:cubicBezTo>
                  <a:cubicBezTo>
                    <a:pt x="444" y="364"/>
                    <a:pt x="445" y="362"/>
                    <a:pt x="446" y="363"/>
                  </a:cubicBezTo>
                  <a:cubicBezTo>
                    <a:pt x="447" y="364"/>
                    <a:pt x="447" y="363"/>
                    <a:pt x="448" y="363"/>
                  </a:cubicBezTo>
                  <a:cubicBezTo>
                    <a:pt x="449" y="362"/>
                    <a:pt x="451" y="361"/>
                    <a:pt x="452" y="360"/>
                  </a:cubicBezTo>
                  <a:cubicBezTo>
                    <a:pt x="454" y="360"/>
                    <a:pt x="456" y="359"/>
                    <a:pt x="458" y="358"/>
                  </a:cubicBezTo>
                  <a:cubicBezTo>
                    <a:pt x="459" y="357"/>
                    <a:pt x="460" y="357"/>
                    <a:pt x="460" y="356"/>
                  </a:cubicBezTo>
                  <a:cubicBezTo>
                    <a:pt x="461" y="355"/>
                    <a:pt x="457" y="353"/>
                    <a:pt x="457" y="352"/>
                  </a:cubicBezTo>
                  <a:cubicBezTo>
                    <a:pt x="455" y="351"/>
                    <a:pt x="453" y="350"/>
                    <a:pt x="452" y="349"/>
                  </a:cubicBezTo>
                  <a:cubicBezTo>
                    <a:pt x="454" y="349"/>
                    <a:pt x="457" y="348"/>
                    <a:pt x="459" y="347"/>
                  </a:cubicBezTo>
                  <a:cubicBezTo>
                    <a:pt x="460" y="346"/>
                    <a:pt x="461" y="344"/>
                    <a:pt x="462" y="344"/>
                  </a:cubicBezTo>
                  <a:cubicBezTo>
                    <a:pt x="464" y="343"/>
                    <a:pt x="464" y="343"/>
                    <a:pt x="465" y="344"/>
                  </a:cubicBezTo>
                  <a:cubicBezTo>
                    <a:pt x="466" y="345"/>
                    <a:pt x="467" y="346"/>
                    <a:pt x="468" y="347"/>
                  </a:cubicBezTo>
                  <a:cubicBezTo>
                    <a:pt x="470" y="347"/>
                    <a:pt x="473" y="351"/>
                    <a:pt x="473" y="353"/>
                  </a:cubicBezTo>
                  <a:cubicBezTo>
                    <a:pt x="472" y="354"/>
                    <a:pt x="472" y="355"/>
                    <a:pt x="471" y="356"/>
                  </a:cubicBezTo>
                  <a:cubicBezTo>
                    <a:pt x="470" y="358"/>
                    <a:pt x="470" y="358"/>
                    <a:pt x="472" y="359"/>
                  </a:cubicBezTo>
                  <a:cubicBezTo>
                    <a:pt x="473" y="359"/>
                    <a:pt x="475" y="360"/>
                    <a:pt x="476" y="361"/>
                  </a:cubicBezTo>
                  <a:cubicBezTo>
                    <a:pt x="476" y="361"/>
                    <a:pt x="476" y="361"/>
                    <a:pt x="476" y="362"/>
                  </a:cubicBezTo>
                  <a:cubicBezTo>
                    <a:pt x="476" y="363"/>
                    <a:pt x="476" y="364"/>
                    <a:pt x="477" y="365"/>
                  </a:cubicBezTo>
                  <a:cubicBezTo>
                    <a:pt x="477" y="365"/>
                    <a:pt x="480" y="365"/>
                    <a:pt x="481" y="365"/>
                  </a:cubicBezTo>
                  <a:cubicBezTo>
                    <a:pt x="482" y="365"/>
                    <a:pt x="483" y="364"/>
                    <a:pt x="484" y="363"/>
                  </a:cubicBezTo>
                  <a:cubicBezTo>
                    <a:pt x="485" y="362"/>
                    <a:pt x="487" y="359"/>
                    <a:pt x="489" y="361"/>
                  </a:cubicBezTo>
                  <a:cubicBezTo>
                    <a:pt x="488" y="360"/>
                    <a:pt x="488" y="357"/>
                    <a:pt x="488" y="356"/>
                  </a:cubicBezTo>
                  <a:cubicBezTo>
                    <a:pt x="489" y="355"/>
                    <a:pt x="492" y="354"/>
                    <a:pt x="491" y="352"/>
                  </a:cubicBezTo>
                  <a:cubicBezTo>
                    <a:pt x="491" y="351"/>
                    <a:pt x="490" y="351"/>
                    <a:pt x="490" y="349"/>
                  </a:cubicBezTo>
                  <a:cubicBezTo>
                    <a:pt x="490" y="346"/>
                    <a:pt x="492" y="345"/>
                    <a:pt x="492" y="343"/>
                  </a:cubicBezTo>
                  <a:cubicBezTo>
                    <a:pt x="493" y="341"/>
                    <a:pt x="492" y="339"/>
                    <a:pt x="493" y="337"/>
                  </a:cubicBezTo>
                  <a:cubicBezTo>
                    <a:pt x="493" y="335"/>
                    <a:pt x="493" y="334"/>
                    <a:pt x="494" y="332"/>
                  </a:cubicBezTo>
                  <a:cubicBezTo>
                    <a:pt x="495" y="330"/>
                    <a:pt x="495" y="328"/>
                    <a:pt x="496" y="326"/>
                  </a:cubicBezTo>
                  <a:cubicBezTo>
                    <a:pt x="496" y="324"/>
                    <a:pt x="496" y="325"/>
                    <a:pt x="496" y="323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80" name="Freeform 110"/>
            <p:cNvSpPr>
              <a:spLocks/>
            </p:cNvSpPr>
            <p:nvPr/>
          </p:nvSpPr>
          <p:spPr bwMode="auto">
            <a:xfrm>
              <a:off x="4314825" y="3700463"/>
              <a:ext cx="23813" cy="61913"/>
            </a:xfrm>
            <a:custGeom>
              <a:avLst/>
              <a:gdLst/>
              <a:ahLst/>
              <a:cxnLst>
                <a:cxn ang="0">
                  <a:pos x="12" y="2"/>
                </a:cxn>
                <a:cxn ang="0">
                  <a:pos x="9" y="1"/>
                </a:cxn>
                <a:cxn ang="0">
                  <a:pos x="7" y="3"/>
                </a:cxn>
                <a:cxn ang="0">
                  <a:pos x="6" y="6"/>
                </a:cxn>
                <a:cxn ang="0">
                  <a:pos x="5" y="10"/>
                </a:cxn>
                <a:cxn ang="0">
                  <a:pos x="4" y="13"/>
                </a:cxn>
                <a:cxn ang="0">
                  <a:pos x="3" y="15"/>
                </a:cxn>
                <a:cxn ang="0">
                  <a:pos x="3" y="18"/>
                </a:cxn>
                <a:cxn ang="0">
                  <a:pos x="1" y="23"/>
                </a:cxn>
                <a:cxn ang="0">
                  <a:pos x="1" y="27"/>
                </a:cxn>
                <a:cxn ang="0">
                  <a:pos x="1" y="32"/>
                </a:cxn>
                <a:cxn ang="0">
                  <a:pos x="2" y="32"/>
                </a:cxn>
                <a:cxn ang="0">
                  <a:pos x="4" y="31"/>
                </a:cxn>
                <a:cxn ang="0">
                  <a:pos x="4" y="25"/>
                </a:cxn>
                <a:cxn ang="0">
                  <a:pos x="4" y="23"/>
                </a:cxn>
                <a:cxn ang="0">
                  <a:pos x="5" y="20"/>
                </a:cxn>
                <a:cxn ang="0">
                  <a:pos x="6" y="18"/>
                </a:cxn>
                <a:cxn ang="0">
                  <a:pos x="8" y="20"/>
                </a:cxn>
                <a:cxn ang="0">
                  <a:pos x="8" y="21"/>
                </a:cxn>
                <a:cxn ang="0">
                  <a:pos x="10" y="21"/>
                </a:cxn>
                <a:cxn ang="0">
                  <a:pos x="12" y="21"/>
                </a:cxn>
                <a:cxn ang="0">
                  <a:pos x="12" y="18"/>
                </a:cxn>
                <a:cxn ang="0">
                  <a:pos x="9" y="16"/>
                </a:cxn>
                <a:cxn ang="0">
                  <a:pos x="9" y="15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8" y="14"/>
                </a:cxn>
                <a:cxn ang="0">
                  <a:pos x="8" y="12"/>
                </a:cxn>
                <a:cxn ang="0">
                  <a:pos x="8" y="9"/>
                </a:cxn>
                <a:cxn ang="0">
                  <a:pos x="11" y="5"/>
                </a:cxn>
                <a:cxn ang="0">
                  <a:pos x="11" y="4"/>
                </a:cxn>
                <a:cxn ang="0">
                  <a:pos x="11" y="3"/>
                </a:cxn>
              </a:cxnLst>
              <a:rect l="0" t="0" r="r" b="b"/>
              <a:pathLst>
                <a:path w="13" h="33">
                  <a:moveTo>
                    <a:pt x="12" y="2"/>
                  </a:moveTo>
                  <a:cubicBezTo>
                    <a:pt x="12" y="1"/>
                    <a:pt x="10" y="0"/>
                    <a:pt x="9" y="1"/>
                  </a:cubicBezTo>
                  <a:cubicBezTo>
                    <a:pt x="8" y="2"/>
                    <a:pt x="8" y="2"/>
                    <a:pt x="7" y="3"/>
                  </a:cubicBezTo>
                  <a:cubicBezTo>
                    <a:pt x="7" y="4"/>
                    <a:pt x="7" y="5"/>
                    <a:pt x="6" y="6"/>
                  </a:cubicBezTo>
                  <a:cubicBezTo>
                    <a:pt x="6" y="7"/>
                    <a:pt x="5" y="8"/>
                    <a:pt x="5" y="10"/>
                  </a:cubicBezTo>
                  <a:cubicBezTo>
                    <a:pt x="4" y="11"/>
                    <a:pt x="4" y="12"/>
                    <a:pt x="4" y="13"/>
                  </a:cubicBezTo>
                  <a:cubicBezTo>
                    <a:pt x="4" y="14"/>
                    <a:pt x="3" y="15"/>
                    <a:pt x="3" y="15"/>
                  </a:cubicBezTo>
                  <a:cubicBezTo>
                    <a:pt x="3" y="16"/>
                    <a:pt x="3" y="17"/>
                    <a:pt x="3" y="18"/>
                  </a:cubicBezTo>
                  <a:cubicBezTo>
                    <a:pt x="2" y="19"/>
                    <a:pt x="2" y="21"/>
                    <a:pt x="1" y="23"/>
                  </a:cubicBezTo>
                  <a:cubicBezTo>
                    <a:pt x="1" y="24"/>
                    <a:pt x="1" y="26"/>
                    <a:pt x="1" y="27"/>
                  </a:cubicBezTo>
                  <a:cubicBezTo>
                    <a:pt x="1" y="29"/>
                    <a:pt x="0" y="31"/>
                    <a:pt x="1" y="32"/>
                  </a:cubicBezTo>
                  <a:cubicBezTo>
                    <a:pt x="1" y="33"/>
                    <a:pt x="2" y="32"/>
                    <a:pt x="2" y="32"/>
                  </a:cubicBezTo>
                  <a:cubicBezTo>
                    <a:pt x="3" y="32"/>
                    <a:pt x="3" y="32"/>
                    <a:pt x="4" y="31"/>
                  </a:cubicBezTo>
                  <a:cubicBezTo>
                    <a:pt x="4" y="29"/>
                    <a:pt x="3" y="27"/>
                    <a:pt x="4" y="25"/>
                  </a:cubicBezTo>
                  <a:cubicBezTo>
                    <a:pt x="4" y="24"/>
                    <a:pt x="4" y="24"/>
                    <a:pt x="4" y="23"/>
                  </a:cubicBezTo>
                  <a:cubicBezTo>
                    <a:pt x="5" y="22"/>
                    <a:pt x="5" y="21"/>
                    <a:pt x="5" y="20"/>
                  </a:cubicBezTo>
                  <a:cubicBezTo>
                    <a:pt x="5" y="19"/>
                    <a:pt x="5" y="18"/>
                    <a:pt x="6" y="18"/>
                  </a:cubicBezTo>
                  <a:cubicBezTo>
                    <a:pt x="7" y="19"/>
                    <a:pt x="8" y="20"/>
                    <a:pt x="8" y="20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9" y="21"/>
                    <a:pt x="9" y="21"/>
                    <a:pt x="10" y="21"/>
                  </a:cubicBezTo>
                  <a:cubicBezTo>
                    <a:pt x="11" y="21"/>
                    <a:pt x="11" y="21"/>
                    <a:pt x="12" y="21"/>
                  </a:cubicBezTo>
                  <a:cubicBezTo>
                    <a:pt x="12" y="20"/>
                    <a:pt x="13" y="19"/>
                    <a:pt x="12" y="18"/>
                  </a:cubicBezTo>
                  <a:cubicBezTo>
                    <a:pt x="12" y="17"/>
                    <a:pt x="10" y="17"/>
                    <a:pt x="9" y="16"/>
                  </a:cubicBezTo>
                  <a:cubicBezTo>
                    <a:pt x="9" y="16"/>
                    <a:pt x="9" y="16"/>
                    <a:pt x="9" y="15"/>
                  </a:cubicBezTo>
                  <a:cubicBezTo>
                    <a:pt x="8" y="15"/>
                    <a:pt x="9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3"/>
                    <a:pt x="8" y="12"/>
                    <a:pt x="8" y="12"/>
                  </a:cubicBezTo>
                  <a:cubicBezTo>
                    <a:pt x="8" y="11"/>
                    <a:pt x="8" y="10"/>
                    <a:pt x="8" y="9"/>
                  </a:cubicBezTo>
                  <a:cubicBezTo>
                    <a:pt x="8" y="8"/>
                    <a:pt x="10" y="6"/>
                    <a:pt x="11" y="5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3"/>
                    <a:pt x="11" y="3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1" name="Freeform 111"/>
            <p:cNvSpPr>
              <a:spLocks/>
            </p:cNvSpPr>
            <p:nvPr/>
          </p:nvSpPr>
          <p:spPr bwMode="auto">
            <a:xfrm>
              <a:off x="4332288" y="3754438"/>
              <a:ext cx="17463" cy="17463"/>
            </a:xfrm>
            <a:custGeom>
              <a:avLst/>
              <a:gdLst/>
              <a:ahLst/>
              <a:cxnLst>
                <a:cxn ang="0">
                  <a:pos x="6" y="1"/>
                </a:cxn>
                <a:cxn ang="0">
                  <a:pos x="5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5"/>
                </a:cxn>
                <a:cxn ang="0">
                  <a:pos x="4" y="8"/>
                </a:cxn>
                <a:cxn ang="0">
                  <a:pos x="9" y="8"/>
                </a:cxn>
                <a:cxn ang="0">
                  <a:pos x="9" y="4"/>
                </a:cxn>
                <a:cxn ang="0">
                  <a:pos x="8" y="2"/>
                </a:cxn>
                <a:cxn ang="0">
                  <a:pos x="7" y="1"/>
                </a:cxn>
              </a:cxnLst>
              <a:rect l="0" t="0" r="r" b="b"/>
              <a:pathLst>
                <a:path w="9" h="9">
                  <a:moveTo>
                    <a:pt x="6" y="1"/>
                  </a:move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2" y="6"/>
                    <a:pt x="3" y="7"/>
                    <a:pt x="4" y="8"/>
                  </a:cubicBezTo>
                  <a:cubicBezTo>
                    <a:pt x="5" y="8"/>
                    <a:pt x="8" y="9"/>
                    <a:pt x="9" y="8"/>
                  </a:cubicBezTo>
                  <a:cubicBezTo>
                    <a:pt x="9" y="7"/>
                    <a:pt x="9" y="5"/>
                    <a:pt x="9" y="4"/>
                  </a:cubicBezTo>
                  <a:cubicBezTo>
                    <a:pt x="9" y="3"/>
                    <a:pt x="9" y="3"/>
                    <a:pt x="8" y="2"/>
                  </a:cubicBezTo>
                  <a:cubicBezTo>
                    <a:pt x="8" y="1"/>
                    <a:pt x="8" y="1"/>
                    <a:pt x="7" y="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2" name="Freeform 112"/>
            <p:cNvSpPr>
              <a:spLocks/>
            </p:cNvSpPr>
            <p:nvPr/>
          </p:nvSpPr>
          <p:spPr bwMode="auto">
            <a:xfrm>
              <a:off x="4322763" y="3773488"/>
              <a:ext cx="7938" cy="793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2" y="3"/>
                </a:cxn>
                <a:cxn ang="0">
                  <a:pos x="3" y="4"/>
                </a:cxn>
                <a:cxn ang="0">
                  <a:pos x="4" y="2"/>
                </a:cxn>
                <a:cxn ang="0">
                  <a:pos x="3" y="1"/>
                </a:cxn>
                <a:cxn ang="0">
                  <a:pos x="3" y="0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4" y="1"/>
                    <a:pt x="4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3" name="Freeform 113"/>
            <p:cNvSpPr>
              <a:spLocks/>
            </p:cNvSpPr>
            <p:nvPr/>
          </p:nvSpPr>
          <p:spPr bwMode="auto">
            <a:xfrm>
              <a:off x="4352925" y="3792538"/>
              <a:ext cx="7938" cy="9525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1" y="5"/>
                </a:cxn>
                <a:cxn ang="0">
                  <a:pos x="3" y="4"/>
                </a:cxn>
                <a:cxn ang="0">
                  <a:pos x="4" y="2"/>
                </a:cxn>
                <a:cxn ang="0">
                  <a:pos x="2" y="1"/>
                </a:cxn>
              </a:cxnLst>
              <a:rect l="0" t="0" r="r" b="b"/>
              <a:pathLst>
                <a:path w="4" h="5">
                  <a:moveTo>
                    <a:pt x="3" y="1"/>
                  </a:moveTo>
                  <a:cubicBezTo>
                    <a:pt x="2" y="0"/>
                    <a:pt x="1" y="1"/>
                    <a:pt x="0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2" y="5"/>
                    <a:pt x="2" y="5"/>
                    <a:pt x="3" y="4"/>
                  </a:cubicBezTo>
                  <a:cubicBezTo>
                    <a:pt x="3" y="4"/>
                    <a:pt x="4" y="3"/>
                    <a:pt x="4" y="2"/>
                  </a:cubicBezTo>
                  <a:cubicBezTo>
                    <a:pt x="4" y="1"/>
                    <a:pt x="3" y="1"/>
                    <a:pt x="2" y="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4" name="Freeform 114"/>
            <p:cNvSpPr>
              <a:spLocks/>
            </p:cNvSpPr>
            <p:nvPr/>
          </p:nvSpPr>
          <p:spPr bwMode="auto">
            <a:xfrm>
              <a:off x="4151313" y="3949700"/>
              <a:ext cx="17463" cy="952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3" y="1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8" y="2"/>
                </a:cxn>
                <a:cxn ang="0">
                  <a:pos x="5" y="0"/>
                </a:cxn>
                <a:cxn ang="0">
                  <a:pos x="7" y="0"/>
                </a:cxn>
              </a:cxnLst>
              <a:rect l="0" t="0" r="r" b="b"/>
              <a:pathLst>
                <a:path w="9" h="5">
                  <a:moveTo>
                    <a:pt x="7" y="0"/>
                  </a:moveTo>
                  <a:cubicBezTo>
                    <a:pt x="5" y="0"/>
                    <a:pt x="4" y="0"/>
                    <a:pt x="3" y="1"/>
                  </a:cubicBezTo>
                  <a:cubicBezTo>
                    <a:pt x="2" y="1"/>
                    <a:pt x="0" y="2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5"/>
                    <a:pt x="1" y="5"/>
                    <a:pt x="2" y="5"/>
                  </a:cubicBezTo>
                  <a:cubicBezTo>
                    <a:pt x="4" y="5"/>
                    <a:pt x="7" y="4"/>
                    <a:pt x="8" y="2"/>
                  </a:cubicBezTo>
                  <a:cubicBezTo>
                    <a:pt x="9" y="1"/>
                    <a:pt x="7" y="0"/>
                    <a:pt x="5" y="0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5" name="Freeform 115"/>
            <p:cNvSpPr>
              <a:spLocks/>
            </p:cNvSpPr>
            <p:nvPr/>
          </p:nvSpPr>
          <p:spPr bwMode="auto">
            <a:xfrm>
              <a:off x="4175125" y="3938588"/>
              <a:ext cx="26988" cy="4763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6" y="1"/>
                </a:cxn>
                <a:cxn ang="0">
                  <a:pos x="4" y="1"/>
                </a:cxn>
                <a:cxn ang="0">
                  <a:pos x="3" y="1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3" y="3"/>
                </a:cxn>
                <a:cxn ang="0">
                  <a:pos x="7" y="3"/>
                </a:cxn>
                <a:cxn ang="0">
                  <a:pos x="13" y="2"/>
                </a:cxn>
                <a:cxn ang="0">
                  <a:pos x="14" y="1"/>
                </a:cxn>
                <a:cxn ang="0">
                  <a:pos x="12" y="0"/>
                </a:cxn>
              </a:cxnLst>
              <a:rect l="0" t="0" r="r" b="b"/>
              <a:pathLst>
                <a:path w="14" h="3">
                  <a:moveTo>
                    <a:pt x="12" y="0"/>
                  </a:moveTo>
                  <a:cubicBezTo>
                    <a:pt x="10" y="1"/>
                    <a:pt x="8" y="1"/>
                    <a:pt x="6" y="1"/>
                  </a:cubicBezTo>
                  <a:cubicBezTo>
                    <a:pt x="6" y="1"/>
                    <a:pt x="5" y="1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2" y="2"/>
                    <a:pt x="1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5" y="3"/>
                    <a:pt x="6" y="3"/>
                    <a:pt x="7" y="3"/>
                  </a:cubicBezTo>
                  <a:cubicBezTo>
                    <a:pt x="9" y="2"/>
                    <a:pt x="11" y="2"/>
                    <a:pt x="13" y="2"/>
                  </a:cubicBezTo>
                  <a:cubicBezTo>
                    <a:pt x="13" y="1"/>
                    <a:pt x="14" y="1"/>
                    <a:pt x="14" y="1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6" name="Freeform 116"/>
            <p:cNvSpPr>
              <a:spLocks/>
            </p:cNvSpPr>
            <p:nvPr/>
          </p:nvSpPr>
          <p:spPr bwMode="auto">
            <a:xfrm>
              <a:off x="4227513" y="3927475"/>
              <a:ext cx="17463" cy="317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" y="0"/>
                </a:cxn>
                <a:cxn ang="0">
                  <a:pos x="1" y="1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7" y="1"/>
                </a:cxn>
                <a:cxn ang="0">
                  <a:pos x="9" y="1"/>
                </a:cxn>
                <a:cxn ang="0">
                  <a:pos x="7" y="0"/>
                </a:cxn>
              </a:cxnLst>
              <a:rect l="0" t="0" r="r" b="b"/>
              <a:pathLst>
                <a:path w="9" h="2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4" y="1"/>
                    <a:pt x="2" y="1"/>
                    <a:pt x="1" y="1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5" y="2"/>
                    <a:pt x="6" y="2"/>
                    <a:pt x="7" y="1"/>
                  </a:cubicBezTo>
                  <a:cubicBezTo>
                    <a:pt x="8" y="1"/>
                    <a:pt x="9" y="1"/>
                    <a:pt x="9" y="1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7" name="Freeform 117"/>
            <p:cNvSpPr>
              <a:spLocks/>
            </p:cNvSpPr>
            <p:nvPr/>
          </p:nvSpPr>
          <p:spPr bwMode="auto">
            <a:xfrm>
              <a:off x="4206875" y="3932238"/>
              <a:ext cx="17463" cy="1588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3" y="1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7" y="0"/>
                </a:cxn>
              </a:cxnLst>
              <a:rect l="0" t="0" r="r" b="b"/>
              <a:pathLst>
                <a:path w="9" h="1">
                  <a:moveTo>
                    <a:pt x="7" y="0"/>
                  </a:move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4" y="1"/>
                    <a:pt x="6" y="1"/>
                    <a:pt x="7" y="0"/>
                  </a:cubicBezTo>
                  <a:cubicBezTo>
                    <a:pt x="7" y="0"/>
                    <a:pt x="9" y="0"/>
                    <a:pt x="9" y="0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8" name="Freeform 118"/>
            <p:cNvSpPr>
              <a:spLocks/>
            </p:cNvSpPr>
            <p:nvPr/>
          </p:nvSpPr>
          <p:spPr bwMode="auto">
            <a:xfrm>
              <a:off x="4252913" y="3919538"/>
              <a:ext cx="23813" cy="7938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7" y="0"/>
                </a:cxn>
                <a:cxn ang="0">
                  <a:pos x="1" y="2"/>
                </a:cxn>
                <a:cxn ang="0">
                  <a:pos x="2" y="4"/>
                </a:cxn>
                <a:cxn ang="0">
                  <a:pos x="5" y="4"/>
                </a:cxn>
                <a:cxn ang="0">
                  <a:pos x="10" y="2"/>
                </a:cxn>
                <a:cxn ang="0">
                  <a:pos x="13" y="0"/>
                </a:cxn>
                <a:cxn ang="0">
                  <a:pos x="10" y="0"/>
                </a:cxn>
              </a:cxnLst>
              <a:rect l="0" t="0" r="r" b="b"/>
              <a:pathLst>
                <a:path w="13" h="4">
                  <a:moveTo>
                    <a:pt x="10" y="0"/>
                  </a:moveTo>
                  <a:cubicBezTo>
                    <a:pt x="9" y="0"/>
                    <a:pt x="8" y="0"/>
                    <a:pt x="7" y="0"/>
                  </a:cubicBezTo>
                  <a:cubicBezTo>
                    <a:pt x="5" y="0"/>
                    <a:pt x="3" y="1"/>
                    <a:pt x="1" y="2"/>
                  </a:cubicBezTo>
                  <a:cubicBezTo>
                    <a:pt x="0" y="2"/>
                    <a:pt x="1" y="3"/>
                    <a:pt x="2" y="4"/>
                  </a:cubicBezTo>
                  <a:cubicBezTo>
                    <a:pt x="2" y="4"/>
                    <a:pt x="4" y="4"/>
                    <a:pt x="5" y="4"/>
                  </a:cubicBezTo>
                  <a:cubicBezTo>
                    <a:pt x="7" y="4"/>
                    <a:pt x="8" y="3"/>
                    <a:pt x="10" y="2"/>
                  </a:cubicBezTo>
                  <a:cubicBezTo>
                    <a:pt x="11" y="2"/>
                    <a:pt x="13" y="2"/>
                    <a:pt x="13" y="0"/>
                  </a:cubicBez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9" name="Freeform 119"/>
            <p:cNvSpPr>
              <a:spLocks/>
            </p:cNvSpPr>
            <p:nvPr/>
          </p:nvSpPr>
          <p:spPr bwMode="auto">
            <a:xfrm>
              <a:off x="4283075" y="3919538"/>
              <a:ext cx="19050" cy="31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5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8" y="1"/>
                </a:cxn>
                <a:cxn ang="0">
                  <a:pos x="10" y="0"/>
                </a:cxn>
                <a:cxn ang="0">
                  <a:pos x="8" y="0"/>
                </a:cxn>
              </a:cxnLst>
              <a:rect l="0" t="0" r="r" b="b"/>
              <a:pathLst>
                <a:path w="11" h="2">
                  <a:moveTo>
                    <a:pt x="8" y="0"/>
                  </a:moveTo>
                  <a:cubicBezTo>
                    <a:pt x="7" y="0"/>
                    <a:pt x="6" y="0"/>
                    <a:pt x="5" y="0"/>
                  </a:cubicBezTo>
                  <a:cubicBezTo>
                    <a:pt x="4" y="0"/>
                    <a:pt x="1" y="1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1" y="2"/>
                    <a:pt x="3" y="2"/>
                    <a:pt x="3" y="2"/>
                  </a:cubicBezTo>
                  <a:cubicBezTo>
                    <a:pt x="5" y="2"/>
                    <a:pt x="7" y="2"/>
                    <a:pt x="8" y="1"/>
                  </a:cubicBezTo>
                  <a:cubicBezTo>
                    <a:pt x="9" y="1"/>
                    <a:pt x="11" y="1"/>
                    <a:pt x="10" y="0"/>
                  </a:cubicBez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0" name="Line 120"/>
            <p:cNvSpPr>
              <a:spLocks noChangeShapeType="1"/>
            </p:cNvSpPr>
            <p:nvPr/>
          </p:nvSpPr>
          <p:spPr bwMode="auto">
            <a:xfrm>
              <a:off x="4346575" y="4000500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1" name="Line 121"/>
            <p:cNvSpPr>
              <a:spLocks noChangeShapeType="1"/>
            </p:cNvSpPr>
            <p:nvPr/>
          </p:nvSpPr>
          <p:spPr bwMode="auto">
            <a:xfrm>
              <a:off x="4346575" y="4000500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2" name="Line 122"/>
            <p:cNvSpPr>
              <a:spLocks noChangeShapeType="1"/>
            </p:cNvSpPr>
            <p:nvPr/>
          </p:nvSpPr>
          <p:spPr bwMode="auto">
            <a:xfrm>
              <a:off x="4306888" y="3949700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3" name="Line 123"/>
            <p:cNvSpPr>
              <a:spLocks noChangeShapeType="1"/>
            </p:cNvSpPr>
            <p:nvPr/>
          </p:nvSpPr>
          <p:spPr bwMode="auto">
            <a:xfrm>
              <a:off x="4306888" y="3949700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4" name="Freeform 124"/>
            <p:cNvSpPr>
              <a:spLocks/>
            </p:cNvSpPr>
            <p:nvPr/>
          </p:nvSpPr>
          <p:spPr bwMode="auto">
            <a:xfrm>
              <a:off x="4737100" y="3800475"/>
              <a:ext cx="57150" cy="25400"/>
            </a:xfrm>
            <a:custGeom>
              <a:avLst/>
              <a:gdLst/>
              <a:ahLst/>
              <a:cxnLst>
                <a:cxn ang="0">
                  <a:pos x="21" y="3"/>
                </a:cxn>
                <a:cxn ang="0">
                  <a:pos x="16" y="2"/>
                </a:cxn>
                <a:cxn ang="0">
                  <a:pos x="9" y="1"/>
                </a:cxn>
                <a:cxn ang="0">
                  <a:pos x="4" y="5"/>
                </a:cxn>
                <a:cxn ang="0">
                  <a:pos x="3" y="6"/>
                </a:cxn>
                <a:cxn ang="0">
                  <a:pos x="2" y="7"/>
                </a:cxn>
                <a:cxn ang="0">
                  <a:pos x="1" y="9"/>
                </a:cxn>
                <a:cxn ang="0">
                  <a:pos x="0" y="13"/>
                </a:cxn>
                <a:cxn ang="0">
                  <a:pos x="1" y="14"/>
                </a:cxn>
                <a:cxn ang="0">
                  <a:pos x="3" y="13"/>
                </a:cxn>
                <a:cxn ang="0">
                  <a:pos x="3" y="12"/>
                </a:cxn>
                <a:cxn ang="0">
                  <a:pos x="5" y="11"/>
                </a:cxn>
                <a:cxn ang="0">
                  <a:pos x="7" y="9"/>
                </a:cxn>
                <a:cxn ang="0">
                  <a:pos x="9" y="8"/>
                </a:cxn>
                <a:cxn ang="0">
                  <a:pos x="10" y="7"/>
                </a:cxn>
                <a:cxn ang="0">
                  <a:pos x="13" y="7"/>
                </a:cxn>
                <a:cxn ang="0">
                  <a:pos x="14" y="8"/>
                </a:cxn>
                <a:cxn ang="0">
                  <a:pos x="21" y="8"/>
                </a:cxn>
                <a:cxn ang="0">
                  <a:pos x="31" y="6"/>
                </a:cxn>
                <a:cxn ang="0">
                  <a:pos x="27" y="4"/>
                </a:cxn>
                <a:cxn ang="0">
                  <a:pos x="24" y="4"/>
                </a:cxn>
                <a:cxn ang="0">
                  <a:pos x="21" y="4"/>
                </a:cxn>
              </a:cxnLst>
              <a:rect l="0" t="0" r="r" b="b"/>
              <a:pathLst>
                <a:path w="31" h="14">
                  <a:moveTo>
                    <a:pt x="21" y="3"/>
                  </a:moveTo>
                  <a:cubicBezTo>
                    <a:pt x="20" y="3"/>
                    <a:pt x="18" y="2"/>
                    <a:pt x="16" y="2"/>
                  </a:cubicBezTo>
                  <a:cubicBezTo>
                    <a:pt x="14" y="1"/>
                    <a:pt x="11" y="0"/>
                    <a:pt x="9" y="1"/>
                  </a:cubicBezTo>
                  <a:cubicBezTo>
                    <a:pt x="7" y="2"/>
                    <a:pt x="5" y="4"/>
                    <a:pt x="4" y="5"/>
                  </a:cubicBezTo>
                  <a:cubicBezTo>
                    <a:pt x="4" y="6"/>
                    <a:pt x="4" y="6"/>
                    <a:pt x="3" y="6"/>
                  </a:cubicBezTo>
                  <a:cubicBezTo>
                    <a:pt x="3" y="7"/>
                    <a:pt x="3" y="7"/>
                    <a:pt x="2" y="7"/>
                  </a:cubicBezTo>
                  <a:cubicBezTo>
                    <a:pt x="2" y="8"/>
                    <a:pt x="1" y="9"/>
                    <a:pt x="1" y="9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4"/>
                    <a:pt x="0" y="14"/>
                    <a:pt x="1" y="14"/>
                  </a:cubicBezTo>
                  <a:cubicBezTo>
                    <a:pt x="2" y="14"/>
                    <a:pt x="2" y="14"/>
                    <a:pt x="3" y="13"/>
                  </a:cubicBezTo>
                  <a:cubicBezTo>
                    <a:pt x="3" y="13"/>
                    <a:pt x="3" y="12"/>
                    <a:pt x="3" y="12"/>
                  </a:cubicBezTo>
                  <a:cubicBezTo>
                    <a:pt x="4" y="12"/>
                    <a:pt x="4" y="11"/>
                    <a:pt x="5" y="11"/>
                  </a:cubicBezTo>
                  <a:cubicBezTo>
                    <a:pt x="6" y="11"/>
                    <a:pt x="6" y="10"/>
                    <a:pt x="7" y="9"/>
                  </a:cubicBezTo>
                  <a:cubicBezTo>
                    <a:pt x="8" y="9"/>
                    <a:pt x="9" y="9"/>
                    <a:pt x="9" y="8"/>
                  </a:cubicBezTo>
                  <a:cubicBezTo>
                    <a:pt x="10" y="8"/>
                    <a:pt x="10" y="8"/>
                    <a:pt x="10" y="7"/>
                  </a:cubicBezTo>
                  <a:cubicBezTo>
                    <a:pt x="11" y="7"/>
                    <a:pt x="12" y="7"/>
                    <a:pt x="13" y="7"/>
                  </a:cubicBezTo>
                  <a:cubicBezTo>
                    <a:pt x="14" y="8"/>
                    <a:pt x="13" y="8"/>
                    <a:pt x="14" y="8"/>
                  </a:cubicBezTo>
                  <a:cubicBezTo>
                    <a:pt x="17" y="9"/>
                    <a:pt x="19" y="8"/>
                    <a:pt x="21" y="8"/>
                  </a:cubicBezTo>
                  <a:cubicBezTo>
                    <a:pt x="23" y="8"/>
                    <a:pt x="31" y="9"/>
                    <a:pt x="31" y="6"/>
                  </a:cubicBezTo>
                  <a:cubicBezTo>
                    <a:pt x="30" y="4"/>
                    <a:pt x="29" y="4"/>
                    <a:pt x="27" y="4"/>
                  </a:cubicBezTo>
                  <a:cubicBezTo>
                    <a:pt x="26" y="4"/>
                    <a:pt x="25" y="4"/>
                    <a:pt x="24" y="4"/>
                  </a:cubicBezTo>
                  <a:cubicBezTo>
                    <a:pt x="23" y="4"/>
                    <a:pt x="22" y="4"/>
                    <a:pt x="21" y="4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5" name="Freeform 125"/>
            <p:cNvSpPr>
              <a:spLocks/>
            </p:cNvSpPr>
            <p:nvPr/>
          </p:nvSpPr>
          <p:spPr bwMode="auto">
            <a:xfrm>
              <a:off x="6697663" y="6724650"/>
              <a:ext cx="238125" cy="133350"/>
            </a:xfrm>
            <a:custGeom>
              <a:avLst/>
              <a:gdLst/>
              <a:ahLst/>
              <a:cxnLst>
                <a:cxn ang="0">
                  <a:pos x="123" y="0"/>
                </a:cxn>
                <a:cxn ang="0">
                  <a:pos x="115" y="3"/>
                </a:cxn>
                <a:cxn ang="0">
                  <a:pos x="106" y="6"/>
                </a:cxn>
                <a:cxn ang="0">
                  <a:pos x="94" y="11"/>
                </a:cxn>
                <a:cxn ang="0">
                  <a:pos x="85" y="16"/>
                </a:cxn>
                <a:cxn ang="0">
                  <a:pos x="81" y="18"/>
                </a:cxn>
                <a:cxn ang="0">
                  <a:pos x="74" y="20"/>
                </a:cxn>
                <a:cxn ang="0">
                  <a:pos x="68" y="21"/>
                </a:cxn>
                <a:cxn ang="0">
                  <a:pos x="64" y="22"/>
                </a:cxn>
                <a:cxn ang="0">
                  <a:pos x="58" y="21"/>
                </a:cxn>
                <a:cxn ang="0">
                  <a:pos x="53" y="21"/>
                </a:cxn>
                <a:cxn ang="0">
                  <a:pos x="38" y="20"/>
                </a:cxn>
                <a:cxn ang="0">
                  <a:pos x="35" y="34"/>
                </a:cxn>
                <a:cxn ang="0">
                  <a:pos x="33" y="34"/>
                </a:cxn>
                <a:cxn ang="0">
                  <a:pos x="28" y="36"/>
                </a:cxn>
                <a:cxn ang="0">
                  <a:pos x="21" y="36"/>
                </a:cxn>
                <a:cxn ang="0">
                  <a:pos x="15" y="36"/>
                </a:cxn>
                <a:cxn ang="0">
                  <a:pos x="9" y="39"/>
                </a:cxn>
                <a:cxn ang="0">
                  <a:pos x="2" y="40"/>
                </a:cxn>
                <a:cxn ang="0">
                  <a:pos x="2" y="45"/>
                </a:cxn>
                <a:cxn ang="0">
                  <a:pos x="1" y="53"/>
                </a:cxn>
                <a:cxn ang="0">
                  <a:pos x="8" y="60"/>
                </a:cxn>
                <a:cxn ang="0">
                  <a:pos x="11" y="62"/>
                </a:cxn>
                <a:cxn ang="0">
                  <a:pos x="12" y="64"/>
                </a:cxn>
                <a:cxn ang="0">
                  <a:pos x="20" y="71"/>
                </a:cxn>
                <a:cxn ang="0">
                  <a:pos x="22" y="70"/>
                </a:cxn>
                <a:cxn ang="0">
                  <a:pos x="29" y="67"/>
                </a:cxn>
                <a:cxn ang="0">
                  <a:pos x="37" y="68"/>
                </a:cxn>
                <a:cxn ang="0">
                  <a:pos x="52" y="67"/>
                </a:cxn>
                <a:cxn ang="0">
                  <a:pos x="58" y="66"/>
                </a:cxn>
                <a:cxn ang="0">
                  <a:pos x="66" y="66"/>
                </a:cxn>
                <a:cxn ang="0">
                  <a:pos x="69" y="58"/>
                </a:cxn>
                <a:cxn ang="0">
                  <a:pos x="76" y="52"/>
                </a:cxn>
                <a:cxn ang="0">
                  <a:pos x="91" y="52"/>
                </a:cxn>
                <a:cxn ang="0">
                  <a:pos x="97" y="51"/>
                </a:cxn>
                <a:cxn ang="0">
                  <a:pos x="99" y="50"/>
                </a:cxn>
                <a:cxn ang="0">
                  <a:pos x="101" y="48"/>
                </a:cxn>
                <a:cxn ang="0">
                  <a:pos x="94" y="39"/>
                </a:cxn>
                <a:cxn ang="0">
                  <a:pos x="93" y="38"/>
                </a:cxn>
                <a:cxn ang="0">
                  <a:pos x="93" y="37"/>
                </a:cxn>
                <a:cxn ang="0">
                  <a:pos x="93" y="34"/>
                </a:cxn>
                <a:cxn ang="0">
                  <a:pos x="94" y="29"/>
                </a:cxn>
                <a:cxn ang="0">
                  <a:pos x="97" y="27"/>
                </a:cxn>
                <a:cxn ang="0">
                  <a:pos x="100" y="25"/>
                </a:cxn>
                <a:cxn ang="0">
                  <a:pos x="104" y="24"/>
                </a:cxn>
                <a:cxn ang="0">
                  <a:pos x="111" y="19"/>
                </a:cxn>
                <a:cxn ang="0">
                  <a:pos x="120" y="10"/>
                </a:cxn>
                <a:cxn ang="0">
                  <a:pos x="125" y="4"/>
                </a:cxn>
                <a:cxn ang="0">
                  <a:pos x="126" y="2"/>
                </a:cxn>
                <a:cxn ang="0">
                  <a:pos x="128" y="0"/>
                </a:cxn>
                <a:cxn ang="0">
                  <a:pos x="123" y="0"/>
                </a:cxn>
              </a:cxnLst>
              <a:rect l="0" t="0" r="r" b="b"/>
              <a:pathLst>
                <a:path w="128" h="71">
                  <a:moveTo>
                    <a:pt x="123" y="0"/>
                  </a:moveTo>
                  <a:cubicBezTo>
                    <a:pt x="120" y="0"/>
                    <a:pt x="117" y="2"/>
                    <a:pt x="115" y="3"/>
                  </a:cubicBezTo>
                  <a:cubicBezTo>
                    <a:pt x="112" y="4"/>
                    <a:pt x="109" y="5"/>
                    <a:pt x="106" y="6"/>
                  </a:cubicBezTo>
                  <a:cubicBezTo>
                    <a:pt x="103" y="9"/>
                    <a:pt x="98" y="10"/>
                    <a:pt x="94" y="11"/>
                  </a:cubicBezTo>
                  <a:cubicBezTo>
                    <a:pt x="91" y="12"/>
                    <a:pt x="88" y="14"/>
                    <a:pt x="85" y="16"/>
                  </a:cubicBezTo>
                  <a:cubicBezTo>
                    <a:pt x="83" y="16"/>
                    <a:pt x="82" y="17"/>
                    <a:pt x="81" y="18"/>
                  </a:cubicBezTo>
                  <a:cubicBezTo>
                    <a:pt x="79" y="19"/>
                    <a:pt x="76" y="19"/>
                    <a:pt x="74" y="20"/>
                  </a:cubicBezTo>
                  <a:cubicBezTo>
                    <a:pt x="72" y="21"/>
                    <a:pt x="70" y="21"/>
                    <a:pt x="68" y="21"/>
                  </a:cubicBezTo>
                  <a:cubicBezTo>
                    <a:pt x="66" y="21"/>
                    <a:pt x="65" y="22"/>
                    <a:pt x="64" y="22"/>
                  </a:cubicBezTo>
                  <a:cubicBezTo>
                    <a:pt x="62" y="22"/>
                    <a:pt x="60" y="21"/>
                    <a:pt x="58" y="21"/>
                  </a:cubicBezTo>
                  <a:cubicBezTo>
                    <a:pt x="56" y="21"/>
                    <a:pt x="55" y="21"/>
                    <a:pt x="53" y="21"/>
                  </a:cubicBezTo>
                  <a:cubicBezTo>
                    <a:pt x="48" y="21"/>
                    <a:pt x="43" y="19"/>
                    <a:pt x="38" y="20"/>
                  </a:cubicBezTo>
                  <a:cubicBezTo>
                    <a:pt x="37" y="24"/>
                    <a:pt x="41" y="33"/>
                    <a:pt x="35" y="34"/>
                  </a:cubicBezTo>
                  <a:cubicBezTo>
                    <a:pt x="34" y="35"/>
                    <a:pt x="33" y="35"/>
                    <a:pt x="33" y="34"/>
                  </a:cubicBezTo>
                  <a:cubicBezTo>
                    <a:pt x="31" y="35"/>
                    <a:pt x="30" y="35"/>
                    <a:pt x="28" y="36"/>
                  </a:cubicBezTo>
                  <a:cubicBezTo>
                    <a:pt x="26" y="36"/>
                    <a:pt x="23" y="37"/>
                    <a:pt x="21" y="36"/>
                  </a:cubicBezTo>
                  <a:cubicBezTo>
                    <a:pt x="19" y="35"/>
                    <a:pt x="17" y="33"/>
                    <a:pt x="15" y="36"/>
                  </a:cubicBezTo>
                  <a:cubicBezTo>
                    <a:pt x="14" y="39"/>
                    <a:pt x="12" y="40"/>
                    <a:pt x="9" y="39"/>
                  </a:cubicBezTo>
                  <a:cubicBezTo>
                    <a:pt x="6" y="39"/>
                    <a:pt x="3" y="36"/>
                    <a:pt x="2" y="40"/>
                  </a:cubicBezTo>
                  <a:cubicBezTo>
                    <a:pt x="2" y="42"/>
                    <a:pt x="3" y="43"/>
                    <a:pt x="2" y="45"/>
                  </a:cubicBezTo>
                  <a:cubicBezTo>
                    <a:pt x="2" y="48"/>
                    <a:pt x="0" y="50"/>
                    <a:pt x="1" y="53"/>
                  </a:cubicBezTo>
                  <a:cubicBezTo>
                    <a:pt x="2" y="57"/>
                    <a:pt x="5" y="58"/>
                    <a:pt x="8" y="60"/>
                  </a:cubicBezTo>
                  <a:cubicBezTo>
                    <a:pt x="9" y="61"/>
                    <a:pt x="10" y="61"/>
                    <a:pt x="11" y="62"/>
                  </a:cubicBezTo>
                  <a:cubicBezTo>
                    <a:pt x="12" y="63"/>
                    <a:pt x="11" y="61"/>
                    <a:pt x="12" y="64"/>
                  </a:cubicBezTo>
                  <a:cubicBezTo>
                    <a:pt x="14" y="66"/>
                    <a:pt x="16" y="71"/>
                    <a:pt x="20" y="71"/>
                  </a:cubicBezTo>
                  <a:cubicBezTo>
                    <a:pt x="20" y="70"/>
                    <a:pt x="21" y="70"/>
                    <a:pt x="22" y="70"/>
                  </a:cubicBezTo>
                  <a:cubicBezTo>
                    <a:pt x="24" y="69"/>
                    <a:pt x="27" y="68"/>
                    <a:pt x="29" y="67"/>
                  </a:cubicBezTo>
                  <a:cubicBezTo>
                    <a:pt x="32" y="67"/>
                    <a:pt x="34" y="67"/>
                    <a:pt x="37" y="68"/>
                  </a:cubicBezTo>
                  <a:cubicBezTo>
                    <a:pt x="42" y="70"/>
                    <a:pt x="47" y="69"/>
                    <a:pt x="52" y="67"/>
                  </a:cubicBezTo>
                  <a:cubicBezTo>
                    <a:pt x="54" y="66"/>
                    <a:pt x="56" y="66"/>
                    <a:pt x="58" y="66"/>
                  </a:cubicBezTo>
                  <a:cubicBezTo>
                    <a:pt x="60" y="66"/>
                    <a:pt x="64" y="67"/>
                    <a:pt x="66" y="66"/>
                  </a:cubicBezTo>
                  <a:cubicBezTo>
                    <a:pt x="69" y="65"/>
                    <a:pt x="68" y="60"/>
                    <a:pt x="69" y="58"/>
                  </a:cubicBezTo>
                  <a:cubicBezTo>
                    <a:pt x="70" y="55"/>
                    <a:pt x="72" y="52"/>
                    <a:pt x="76" y="52"/>
                  </a:cubicBezTo>
                  <a:cubicBezTo>
                    <a:pt x="81" y="51"/>
                    <a:pt x="86" y="53"/>
                    <a:pt x="91" y="52"/>
                  </a:cubicBezTo>
                  <a:cubicBezTo>
                    <a:pt x="94" y="52"/>
                    <a:pt x="95" y="51"/>
                    <a:pt x="97" y="51"/>
                  </a:cubicBezTo>
                  <a:cubicBezTo>
                    <a:pt x="97" y="50"/>
                    <a:pt x="98" y="50"/>
                    <a:pt x="99" y="50"/>
                  </a:cubicBezTo>
                  <a:cubicBezTo>
                    <a:pt x="100" y="50"/>
                    <a:pt x="101" y="49"/>
                    <a:pt x="101" y="48"/>
                  </a:cubicBezTo>
                  <a:cubicBezTo>
                    <a:pt x="99" y="45"/>
                    <a:pt x="96" y="43"/>
                    <a:pt x="94" y="39"/>
                  </a:cubicBezTo>
                  <a:cubicBezTo>
                    <a:pt x="94" y="39"/>
                    <a:pt x="94" y="39"/>
                    <a:pt x="93" y="38"/>
                  </a:cubicBezTo>
                  <a:cubicBezTo>
                    <a:pt x="93" y="38"/>
                    <a:pt x="93" y="37"/>
                    <a:pt x="93" y="37"/>
                  </a:cubicBezTo>
                  <a:cubicBezTo>
                    <a:pt x="93" y="36"/>
                    <a:pt x="93" y="35"/>
                    <a:pt x="93" y="34"/>
                  </a:cubicBezTo>
                  <a:cubicBezTo>
                    <a:pt x="93" y="32"/>
                    <a:pt x="93" y="30"/>
                    <a:pt x="94" y="29"/>
                  </a:cubicBezTo>
                  <a:cubicBezTo>
                    <a:pt x="94" y="28"/>
                    <a:pt x="96" y="27"/>
                    <a:pt x="97" y="27"/>
                  </a:cubicBezTo>
                  <a:cubicBezTo>
                    <a:pt x="98" y="25"/>
                    <a:pt x="98" y="25"/>
                    <a:pt x="100" y="25"/>
                  </a:cubicBezTo>
                  <a:cubicBezTo>
                    <a:pt x="101" y="24"/>
                    <a:pt x="103" y="24"/>
                    <a:pt x="104" y="24"/>
                  </a:cubicBezTo>
                  <a:cubicBezTo>
                    <a:pt x="107" y="23"/>
                    <a:pt x="109" y="22"/>
                    <a:pt x="111" y="19"/>
                  </a:cubicBezTo>
                  <a:cubicBezTo>
                    <a:pt x="114" y="16"/>
                    <a:pt x="116" y="13"/>
                    <a:pt x="120" y="10"/>
                  </a:cubicBezTo>
                  <a:cubicBezTo>
                    <a:pt x="122" y="8"/>
                    <a:pt x="123" y="7"/>
                    <a:pt x="125" y="4"/>
                  </a:cubicBezTo>
                  <a:cubicBezTo>
                    <a:pt x="125" y="4"/>
                    <a:pt x="126" y="3"/>
                    <a:pt x="126" y="2"/>
                  </a:cubicBezTo>
                  <a:cubicBezTo>
                    <a:pt x="127" y="2"/>
                    <a:pt x="128" y="0"/>
                    <a:pt x="128" y="0"/>
                  </a:cubicBezTo>
                  <a:lnTo>
                    <a:pt x="12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6" name="Freeform 126"/>
            <p:cNvSpPr>
              <a:spLocks/>
            </p:cNvSpPr>
            <p:nvPr/>
          </p:nvSpPr>
          <p:spPr bwMode="auto">
            <a:xfrm>
              <a:off x="5668963" y="109538"/>
              <a:ext cx="185738" cy="114300"/>
            </a:xfrm>
            <a:custGeom>
              <a:avLst/>
              <a:gdLst/>
              <a:ahLst/>
              <a:cxnLst>
                <a:cxn ang="0">
                  <a:pos x="30" y="33"/>
                </a:cxn>
                <a:cxn ang="0">
                  <a:pos x="25" y="40"/>
                </a:cxn>
                <a:cxn ang="0">
                  <a:pos x="8" y="58"/>
                </a:cxn>
                <a:cxn ang="0">
                  <a:pos x="21" y="56"/>
                </a:cxn>
                <a:cxn ang="0">
                  <a:pos x="48" y="48"/>
                </a:cxn>
                <a:cxn ang="0">
                  <a:pos x="53" y="49"/>
                </a:cxn>
                <a:cxn ang="0">
                  <a:pos x="62" y="46"/>
                </a:cxn>
                <a:cxn ang="0">
                  <a:pos x="66" y="38"/>
                </a:cxn>
                <a:cxn ang="0">
                  <a:pos x="78" y="26"/>
                </a:cxn>
                <a:cxn ang="0">
                  <a:pos x="95" y="2"/>
                </a:cxn>
                <a:cxn ang="0">
                  <a:pos x="83" y="1"/>
                </a:cxn>
                <a:cxn ang="0">
                  <a:pos x="80" y="8"/>
                </a:cxn>
                <a:cxn ang="0">
                  <a:pos x="72" y="5"/>
                </a:cxn>
                <a:cxn ang="0">
                  <a:pos x="65" y="19"/>
                </a:cxn>
                <a:cxn ang="0">
                  <a:pos x="50" y="11"/>
                </a:cxn>
                <a:cxn ang="0">
                  <a:pos x="49" y="24"/>
                </a:cxn>
                <a:cxn ang="0">
                  <a:pos x="42" y="27"/>
                </a:cxn>
                <a:cxn ang="0">
                  <a:pos x="39" y="19"/>
                </a:cxn>
                <a:cxn ang="0">
                  <a:pos x="30" y="30"/>
                </a:cxn>
                <a:cxn ang="0">
                  <a:pos x="13" y="29"/>
                </a:cxn>
                <a:cxn ang="0">
                  <a:pos x="6" y="26"/>
                </a:cxn>
                <a:cxn ang="0">
                  <a:pos x="13" y="33"/>
                </a:cxn>
                <a:cxn ang="0">
                  <a:pos x="30" y="33"/>
                </a:cxn>
              </a:cxnLst>
              <a:rect l="0" t="0" r="r" b="b"/>
              <a:pathLst>
                <a:path w="99" h="61">
                  <a:moveTo>
                    <a:pt x="30" y="33"/>
                  </a:moveTo>
                  <a:cubicBezTo>
                    <a:pt x="27" y="35"/>
                    <a:pt x="26" y="37"/>
                    <a:pt x="25" y="40"/>
                  </a:cubicBezTo>
                  <a:cubicBezTo>
                    <a:pt x="20" y="47"/>
                    <a:pt x="14" y="52"/>
                    <a:pt x="8" y="58"/>
                  </a:cubicBezTo>
                  <a:cubicBezTo>
                    <a:pt x="12" y="61"/>
                    <a:pt x="17" y="58"/>
                    <a:pt x="21" y="56"/>
                  </a:cubicBezTo>
                  <a:cubicBezTo>
                    <a:pt x="30" y="52"/>
                    <a:pt x="37" y="45"/>
                    <a:pt x="48" y="48"/>
                  </a:cubicBezTo>
                  <a:cubicBezTo>
                    <a:pt x="50" y="49"/>
                    <a:pt x="51" y="50"/>
                    <a:pt x="53" y="49"/>
                  </a:cubicBezTo>
                  <a:cubicBezTo>
                    <a:pt x="55" y="49"/>
                    <a:pt x="61" y="40"/>
                    <a:pt x="62" y="46"/>
                  </a:cubicBezTo>
                  <a:cubicBezTo>
                    <a:pt x="64" y="44"/>
                    <a:pt x="64" y="41"/>
                    <a:pt x="66" y="38"/>
                  </a:cubicBezTo>
                  <a:cubicBezTo>
                    <a:pt x="70" y="34"/>
                    <a:pt x="74" y="30"/>
                    <a:pt x="78" y="26"/>
                  </a:cubicBezTo>
                  <a:cubicBezTo>
                    <a:pt x="82" y="21"/>
                    <a:pt x="99" y="10"/>
                    <a:pt x="95" y="2"/>
                  </a:cubicBezTo>
                  <a:cubicBezTo>
                    <a:pt x="91" y="0"/>
                    <a:pt x="87" y="0"/>
                    <a:pt x="83" y="1"/>
                  </a:cubicBezTo>
                  <a:cubicBezTo>
                    <a:pt x="79" y="4"/>
                    <a:pt x="80" y="5"/>
                    <a:pt x="80" y="8"/>
                  </a:cubicBezTo>
                  <a:cubicBezTo>
                    <a:pt x="76" y="10"/>
                    <a:pt x="75" y="4"/>
                    <a:pt x="72" y="5"/>
                  </a:cubicBezTo>
                  <a:cubicBezTo>
                    <a:pt x="70" y="12"/>
                    <a:pt x="74" y="17"/>
                    <a:pt x="65" y="19"/>
                  </a:cubicBezTo>
                  <a:cubicBezTo>
                    <a:pt x="57" y="20"/>
                    <a:pt x="58" y="10"/>
                    <a:pt x="50" y="11"/>
                  </a:cubicBezTo>
                  <a:cubicBezTo>
                    <a:pt x="49" y="16"/>
                    <a:pt x="54" y="20"/>
                    <a:pt x="49" y="24"/>
                  </a:cubicBezTo>
                  <a:cubicBezTo>
                    <a:pt x="48" y="26"/>
                    <a:pt x="45" y="27"/>
                    <a:pt x="42" y="27"/>
                  </a:cubicBezTo>
                  <a:cubicBezTo>
                    <a:pt x="36" y="25"/>
                    <a:pt x="42" y="22"/>
                    <a:pt x="39" y="19"/>
                  </a:cubicBezTo>
                  <a:cubicBezTo>
                    <a:pt x="33" y="12"/>
                    <a:pt x="30" y="26"/>
                    <a:pt x="30" y="30"/>
                  </a:cubicBezTo>
                  <a:cubicBezTo>
                    <a:pt x="25" y="30"/>
                    <a:pt x="18" y="31"/>
                    <a:pt x="13" y="29"/>
                  </a:cubicBezTo>
                  <a:cubicBezTo>
                    <a:pt x="10" y="29"/>
                    <a:pt x="9" y="26"/>
                    <a:pt x="6" y="26"/>
                  </a:cubicBezTo>
                  <a:cubicBezTo>
                    <a:pt x="0" y="32"/>
                    <a:pt x="9" y="34"/>
                    <a:pt x="13" y="33"/>
                  </a:cubicBezTo>
                  <a:lnTo>
                    <a:pt x="30" y="3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7" name="Freeform 127"/>
            <p:cNvSpPr>
              <a:spLocks/>
            </p:cNvSpPr>
            <p:nvPr/>
          </p:nvSpPr>
          <p:spPr bwMode="auto">
            <a:xfrm>
              <a:off x="5721350" y="230188"/>
              <a:ext cx="65088" cy="50800"/>
            </a:xfrm>
            <a:custGeom>
              <a:avLst/>
              <a:gdLst/>
              <a:ahLst/>
              <a:cxnLst>
                <a:cxn ang="0">
                  <a:pos x="31" y="9"/>
                </a:cxn>
                <a:cxn ang="0">
                  <a:pos x="30" y="8"/>
                </a:cxn>
                <a:cxn ang="0">
                  <a:pos x="15" y="6"/>
                </a:cxn>
                <a:cxn ang="0">
                  <a:pos x="1" y="16"/>
                </a:cxn>
                <a:cxn ang="0">
                  <a:pos x="19" y="23"/>
                </a:cxn>
                <a:cxn ang="0">
                  <a:pos x="22" y="27"/>
                </a:cxn>
                <a:cxn ang="0">
                  <a:pos x="31" y="25"/>
                </a:cxn>
                <a:cxn ang="0">
                  <a:pos x="24" y="8"/>
                </a:cxn>
                <a:cxn ang="0">
                  <a:pos x="31" y="9"/>
                </a:cxn>
              </a:cxnLst>
              <a:rect l="0" t="0" r="r" b="b"/>
              <a:pathLst>
                <a:path w="35" h="27">
                  <a:moveTo>
                    <a:pt x="31" y="9"/>
                  </a:moveTo>
                  <a:cubicBezTo>
                    <a:pt x="31" y="9"/>
                    <a:pt x="30" y="9"/>
                    <a:pt x="30" y="8"/>
                  </a:cubicBezTo>
                  <a:cubicBezTo>
                    <a:pt x="30" y="1"/>
                    <a:pt x="13" y="0"/>
                    <a:pt x="15" y="6"/>
                  </a:cubicBezTo>
                  <a:cubicBezTo>
                    <a:pt x="11" y="8"/>
                    <a:pt x="1" y="11"/>
                    <a:pt x="1" y="16"/>
                  </a:cubicBezTo>
                  <a:cubicBezTo>
                    <a:pt x="0" y="26"/>
                    <a:pt x="14" y="20"/>
                    <a:pt x="19" y="23"/>
                  </a:cubicBezTo>
                  <a:cubicBezTo>
                    <a:pt x="20" y="23"/>
                    <a:pt x="21" y="26"/>
                    <a:pt x="22" y="27"/>
                  </a:cubicBezTo>
                  <a:cubicBezTo>
                    <a:pt x="23" y="27"/>
                    <a:pt x="30" y="26"/>
                    <a:pt x="31" y="25"/>
                  </a:cubicBezTo>
                  <a:cubicBezTo>
                    <a:pt x="35" y="20"/>
                    <a:pt x="27" y="11"/>
                    <a:pt x="24" y="8"/>
                  </a:cubicBezTo>
                  <a:lnTo>
                    <a:pt x="31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8" name="Freeform 128"/>
            <p:cNvSpPr>
              <a:spLocks/>
            </p:cNvSpPr>
            <p:nvPr/>
          </p:nvSpPr>
          <p:spPr bwMode="auto">
            <a:xfrm>
              <a:off x="5784850" y="171450"/>
              <a:ext cx="84138" cy="93663"/>
            </a:xfrm>
            <a:custGeom>
              <a:avLst/>
              <a:gdLst/>
              <a:ahLst/>
              <a:cxnLst>
                <a:cxn ang="0">
                  <a:pos x="5" y="18"/>
                </a:cxn>
                <a:cxn ang="0">
                  <a:pos x="3" y="19"/>
                </a:cxn>
                <a:cxn ang="0">
                  <a:pos x="0" y="27"/>
                </a:cxn>
                <a:cxn ang="0">
                  <a:pos x="6" y="32"/>
                </a:cxn>
                <a:cxn ang="0">
                  <a:pos x="5" y="44"/>
                </a:cxn>
                <a:cxn ang="0">
                  <a:pos x="11" y="48"/>
                </a:cxn>
                <a:cxn ang="0">
                  <a:pos x="13" y="50"/>
                </a:cxn>
                <a:cxn ang="0">
                  <a:pos x="16" y="48"/>
                </a:cxn>
                <a:cxn ang="0">
                  <a:pos x="27" y="39"/>
                </a:cxn>
                <a:cxn ang="0">
                  <a:pos x="44" y="31"/>
                </a:cxn>
                <a:cxn ang="0">
                  <a:pos x="42" y="22"/>
                </a:cxn>
                <a:cxn ang="0">
                  <a:pos x="42" y="13"/>
                </a:cxn>
                <a:cxn ang="0">
                  <a:pos x="39" y="5"/>
                </a:cxn>
                <a:cxn ang="0">
                  <a:pos x="34" y="4"/>
                </a:cxn>
                <a:cxn ang="0">
                  <a:pos x="32" y="4"/>
                </a:cxn>
                <a:cxn ang="0">
                  <a:pos x="29" y="1"/>
                </a:cxn>
                <a:cxn ang="0">
                  <a:pos x="20" y="18"/>
                </a:cxn>
                <a:cxn ang="0">
                  <a:pos x="5" y="17"/>
                </a:cxn>
                <a:cxn ang="0">
                  <a:pos x="5" y="18"/>
                </a:cxn>
              </a:cxnLst>
              <a:rect l="0" t="0" r="r" b="b"/>
              <a:pathLst>
                <a:path w="45" h="50">
                  <a:moveTo>
                    <a:pt x="5" y="18"/>
                  </a:moveTo>
                  <a:cubicBezTo>
                    <a:pt x="4" y="18"/>
                    <a:pt x="4" y="18"/>
                    <a:pt x="3" y="19"/>
                  </a:cubicBezTo>
                  <a:cubicBezTo>
                    <a:pt x="3" y="21"/>
                    <a:pt x="0" y="25"/>
                    <a:pt x="0" y="27"/>
                  </a:cubicBezTo>
                  <a:cubicBezTo>
                    <a:pt x="1" y="30"/>
                    <a:pt x="5" y="31"/>
                    <a:pt x="6" y="32"/>
                  </a:cubicBezTo>
                  <a:cubicBezTo>
                    <a:pt x="10" y="37"/>
                    <a:pt x="3" y="38"/>
                    <a:pt x="5" y="44"/>
                  </a:cubicBezTo>
                  <a:cubicBezTo>
                    <a:pt x="6" y="48"/>
                    <a:pt x="8" y="47"/>
                    <a:pt x="11" y="48"/>
                  </a:cubicBezTo>
                  <a:cubicBezTo>
                    <a:pt x="12" y="49"/>
                    <a:pt x="12" y="50"/>
                    <a:pt x="13" y="50"/>
                  </a:cubicBezTo>
                  <a:cubicBezTo>
                    <a:pt x="16" y="50"/>
                    <a:pt x="15" y="50"/>
                    <a:pt x="16" y="48"/>
                  </a:cubicBezTo>
                  <a:cubicBezTo>
                    <a:pt x="20" y="43"/>
                    <a:pt x="19" y="39"/>
                    <a:pt x="27" y="39"/>
                  </a:cubicBezTo>
                  <a:cubicBezTo>
                    <a:pt x="35" y="39"/>
                    <a:pt x="45" y="43"/>
                    <a:pt x="44" y="31"/>
                  </a:cubicBezTo>
                  <a:cubicBezTo>
                    <a:pt x="44" y="27"/>
                    <a:pt x="43" y="25"/>
                    <a:pt x="42" y="22"/>
                  </a:cubicBezTo>
                  <a:cubicBezTo>
                    <a:pt x="42" y="19"/>
                    <a:pt x="42" y="16"/>
                    <a:pt x="42" y="13"/>
                  </a:cubicBezTo>
                  <a:cubicBezTo>
                    <a:pt x="42" y="9"/>
                    <a:pt x="42" y="7"/>
                    <a:pt x="39" y="5"/>
                  </a:cubicBezTo>
                  <a:cubicBezTo>
                    <a:pt x="37" y="4"/>
                    <a:pt x="35" y="4"/>
                    <a:pt x="34" y="4"/>
                  </a:cubicBezTo>
                  <a:cubicBezTo>
                    <a:pt x="33" y="4"/>
                    <a:pt x="32" y="4"/>
                    <a:pt x="32" y="4"/>
                  </a:cubicBezTo>
                  <a:cubicBezTo>
                    <a:pt x="31" y="3"/>
                    <a:pt x="30" y="2"/>
                    <a:pt x="29" y="1"/>
                  </a:cubicBezTo>
                  <a:cubicBezTo>
                    <a:pt x="22" y="0"/>
                    <a:pt x="19" y="12"/>
                    <a:pt x="20" y="18"/>
                  </a:cubicBezTo>
                  <a:cubicBezTo>
                    <a:pt x="15" y="19"/>
                    <a:pt x="10" y="17"/>
                    <a:pt x="5" y="17"/>
                  </a:cubicBezTo>
                  <a:lnTo>
                    <a:pt x="5" y="1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9" name="Freeform 129"/>
            <p:cNvSpPr>
              <a:spLocks/>
            </p:cNvSpPr>
            <p:nvPr/>
          </p:nvSpPr>
          <p:spPr bwMode="auto">
            <a:xfrm>
              <a:off x="5846763" y="123825"/>
              <a:ext cx="36513" cy="61913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" y="11"/>
                </a:cxn>
                <a:cxn ang="0">
                  <a:pos x="7" y="19"/>
                </a:cxn>
                <a:cxn ang="0">
                  <a:pos x="6" y="27"/>
                </a:cxn>
                <a:cxn ang="0">
                  <a:pos x="9" y="30"/>
                </a:cxn>
                <a:cxn ang="0">
                  <a:pos x="13" y="33"/>
                </a:cxn>
                <a:cxn ang="0">
                  <a:pos x="16" y="29"/>
                </a:cxn>
                <a:cxn ang="0">
                  <a:pos x="18" y="20"/>
                </a:cxn>
                <a:cxn ang="0">
                  <a:pos x="13" y="3"/>
                </a:cxn>
                <a:cxn ang="0">
                  <a:pos x="9" y="0"/>
                </a:cxn>
              </a:cxnLst>
              <a:rect l="0" t="0" r="r" b="b"/>
              <a:pathLst>
                <a:path w="20" h="33">
                  <a:moveTo>
                    <a:pt x="9" y="0"/>
                  </a:moveTo>
                  <a:cubicBezTo>
                    <a:pt x="5" y="2"/>
                    <a:pt x="0" y="5"/>
                    <a:pt x="2" y="11"/>
                  </a:cubicBezTo>
                  <a:cubicBezTo>
                    <a:pt x="2" y="14"/>
                    <a:pt x="6" y="15"/>
                    <a:pt x="7" y="19"/>
                  </a:cubicBezTo>
                  <a:cubicBezTo>
                    <a:pt x="7" y="21"/>
                    <a:pt x="6" y="24"/>
                    <a:pt x="6" y="27"/>
                  </a:cubicBezTo>
                  <a:cubicBezTo>
                    <a:pt x="6" y="28"/>
                    <a:pt x="7" y="29"/>
                    <a:pt x="9" y="30"/>
                  </a:cubicBezTo>
                  <a:cubicBezTo>
                    <a:pt x="9" y="29"/>
                    <a:pt x="14" y="33"/>
                    <a:pt x="13" y="33"/>
                  </a:cubicBezTo>
                  <a:cubicBezTo>
                    <a:pt x="17" y="33"/>
                    <a:pt x="16" y="32"/>
                    <a:pt x="16" y="29"/>
                  </a:cubicBezTo>
                  <a:cubicBezTo>
                    <a:pt x="16" y="25"/>
                    <a:pt x="17" y="23"/>
                    <a:pt x="18" y="20"/>
                  </a:cubicBezTo>
                  <a:cubicBezTo>
                    <a:pt x="20" y="12"/>
                    <a:pt x="15" y="9"/>
                    <a:pt x="13" y="3"/>
                  </a:cubicBez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0" name="Freeform 130"/>
            <p:cNvSpPr>
              <a:spLocks/>
            </p:cNvSpPr>
            <p:nvPr/>
          </p:nvSpPr>
          <p:spPr bwMode="auto">
            <a:xfrm>
              <a:off x="5529263" y="269875"/>
              <a:ext cx="73025" cy="85725"/>
            </a:xfrm>
            <a:custGeom>
              <a:avLst/>
              <a:gdLst/>
              <a:ahLst/>
              <a:cxnLst>
                <a:cxn ang="0">
                  <a:pos x="35" y="15"/>
                </a:cxn>
                <a:cxn ang="0">
                  <a:pos x="25" y="3"/>
                </a:cxn>
                <a:cxn ang="0">
                  <a:pos x="8" y="12"/>
                </a:cxn>
                <a:cxn ang="0">
                  <a:pos x="3" y="26"/>
                </a:cxn>
                <a:cxn ang="0">
                  <a:pos x="1" y="35"/>
                </a:cxn>
                <a:cxn ang="0">
                  <a:pos x="15" y="35"/>
                </a:cxn>
                <a:cxn ang="0">
                  <a:pos x="23" y="45"/>
                </a:cxn>
                <a:cxn ang="0">
                  <a:pos x="37" y="25"/>
                </a:cxn>
                <a:cxn ang="0">
                  <a:pos x="35" y="8"/>
                </a:cxn>
                <a:cxn ang="0">
                  <a:pos x="35" y="15"/>
                </a:cxn>
              </a:cxnLst>
              <a:rect l="0" t="0" r="r" b="b"/>
              <a:pathLst>
                <a:path w="39" h="46">
                  <a:moveTo>
                    <a:pt x="35" y="15"/>
                  </a:moveTo>
                  <a:cubicBezTo>
                    <a:pt x="33" y="11"/>
                    <a:pt x="30" y="5"/>
                    <a:pt x="25" y="3"/>
                  </a:cubicBezTo>
                  <a:cubicBezTo>
                    <a:pt x="18" y="0"/>
                    <a:pt x="12" y="8"/>
                    <a:pt x="8" y="12"/>
                  </a:cubicBezTo>
                  <a:cubicBezTo>
                    <a:pt x="4" y="17"/>
                    <a:pt x="4" y="20"/>
                    <a:pt x="3" y="26"/>
                  </a:cubicBezTo>
                  <a:cubicBezTo>
                    <a:pt x="2" y="29"/>
                    <a:pt x="0" y="31"/>
                    <a:pt x="1" y="35"/>
                  </a:cubicBezTo>
                  <a:cubicBezTo>
                    <a:pt x="5" y="35"/>
                    <a:pt x="12" y="33"/>
                    <a:pt x="15" y="35"/>
                  </a:cubicBezTo>
                  <a:cubicBezTo>
                    <a:pt x="20" y="38"/>
                    <a:pt x="16" y="45"/>
                    <a:pt x="23" y="45"/>
                  </a:cubicBezTo>
                  <a:cubicBezTo>
                    <a:pt x="32" y="46"/>
                    <a:pt x="36" y="32"/>
                    <a:pt x="37" y="25"/>
                  </a:cubicBezTo>
                  <a:cubicBezTo>
                    <a:pt x="37" y="19"/>
                    <a:pt x="39" y="13"/>
                    <a:pt x="35" y="8"/>
                  </a:cubicBezTo>
                  <a:lnTo>
                    <a:pt x="35" y="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1" name="Freeform 131"/>
            <p:cNvSpPr>
              <a:spLocks/>
            </p:cNvSpPr>
            <p:nvPr/>
          </p:nvSpPr>
          <p:spPr bwMode="auto">
            <a:xfrm>
              <a:off x="5624513" y="263525"/>
              <a:ext cx="92075" cy="8572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" y="10"/>
                </a:cxn>
                <a:cxn ang="0">
                  <a:pos x="4" y="18"/>
                </a:cxn>
                <a:cxn ang="0">
                  <a:pos x="8" y="22"/>
                </a:cxn>
                <a:cxn ang="0">
                  <a:pos x="9" y="36"/>
                </a:cxn>
                <a:cxn ang="0">
                  <a:pos x="20" y="38"/>
                </a:cxn>
                <a:cxn ang="0">
                  <a:pos x="39" y="41"/>
                </a:cxn>
                <a:cxn ang="0">
                  <a:pos x="44" y="46"/>
                </a:cxn>
                <a:cxn ang="0">
                  <a:pos x="48" y="40"/>
                </a:cxn>
                <a:cxn ang="0">
                  <a:pos x="34" y="17"/>
                </a:cxn>
                <a:cxn ang="0">
                  <a:pos x="30" y="16"/>
                </a:cxn>
                <a:cxn ang="0">
                  <a:pos x="24" y="11"/>
                </a:cxn>
                <a:cxn ang="0">
                  <a:pos x="12" y="2"/>
                </a:cxn>
                <a:cxn ang="0">
                  <a:pos x="9" y="0"/>
                </a:cxn>
              </a:cxnLst>
              <a:rect l="0" t="0" r="r" b="b"/>
              <a:pathLst>
                <a:path w="49" h="46">
                  <a:moveTo>
                    <a:pt x="9" y="0"/>
                  </a:moveTo>
                  <a:cubicBezTo>
                    <a:pt x="3" y="0"/>
                    <a:pt x="0" y="3"/>
                    <a:pt x="1" y="10"/>
                  </a:cubicBezTo>
                  <a:cubicBezTo>
                    <a:pt x="1" y="12"/>
                    <a:pt x="3" y="17"/>
                    <a:pt x="4" y="18"/>
                  </a:cubicBezTo>
                  <a:cubicBezTo>
                    <a:pt x="6" y="20"/>
                    <a:pt x="7" y="20"/>
                    <a:pt x="8" y="22"/>
                  </a:cubicBezTo>
                  <a:cubicBezTo>
                    <a:pt x="10" y="27"/>
                    <a:pt x="8" y="31"/>
                    <a:pt x="9" y="36"/>
                  </a:cubicBezTo>
                  <a:cubicBezTo>
                    <a:pt x="11" y="40"/>
                    <a:pt x="16" y="38"/>
                    <a:pt x="20" y="38"/>
                  </a:cubicBezTo>
                  <a:cubicBezTo>
                    <a:pt x="25" y="38"/>
                    <a:pt x="35" y="38"/>
                    <a:pt x="39" y="41"/>
                  </a:cubicBezTo>
                  <a:cubicBezTo>
                    <a:pt x="41" y="43"/>
                    <a:pt x="40" y="46"/>
                    <a:pt x="44" y="46"/>
                  </a:cubicBezTo>
                  <a:cubicBezTo>
                    <a:pt x="48" y="46"/>
                    <a:pt x="48" y="43"/>
                    <a:pt x="48" y="40"/>
                  </a:cubicBezTo>
                  <a:cubicBezTo>
                    <a:pt x="49" y="30"/>
                    <a:pt x="44" y="20"/>
                    <a:pt x="34" y="17"/>
                  </a:cubicBezTo>
                  <a:cubicBezTo>
                    <a:pt x="32" y="17"/>
                    <a:pt x="32" y="17"/>
                    <a:pt x="30" y="16"/>
                  </a:cubicBezTo>
                  <a:cubicBezTo>
                    <a:pt x="28" y="15"/>
                    <a:pt x="26" y="12"/>
                    <a:pt x="24" y="11"/>
                  </a:cubicBezTo>
                  <a:cubicBezTo>
                    <a:pt x="21" y="8"/>
                    <a:pt x="12" y="6"/>
                    <a:pt x="12" y="2"/>
                  </a:cubicBez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2" name="Freeform 132"/>
            <p:cNvSpPr>
              <a:spLocks/>
            </p:cNvSpPr>
            <p:nvPr/>
          </p:nvSpPr>
          <p:spPr bwMode="auto">
            <a:xfrm>
              <a:off x="5553075" y="357188"/>
              <a:ext cx="38100" cy="22225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6" y="9"/>
                </a:cxn>
                <a:cxn ang="0">
                  <a:pos x="18" y="11"/>
                </a:cxn>
                <a:cxn ang="0">
                  <a:pos x="18" y="0"/>
                </a:cxn>
                <a:cxn ang="0">
                  <a:pos x="14" y="0"/>
                </a:cxn>
              </a:cxnLst>
              <a:rect l="0" t="0" r="r" b="b"/>
              <a:pathLst>
                <a:path w="20" h="12">
                  <a:moveTo>
                    <a:pt x="14" y="0"/>
                  </a:moveTo>
                  <a:cubicBezTo>
                    <a:pt x="9" y="0"/>
                    <a:pt x="0" y="1"/>
                    <a:pt x="6" y="9"/>
                  </a:cubicBezTo>
                  <a:cubicBezTo>
                    <a:pt x="8" y="11"/>
                    <a:pt x="15" y="12"/>
                    <a:pt x="18" y="11"/>
                  </a:cubicBezTo>
                  <a:cubicBezTo>
                    <a:pt x="20" y="9"/>
                    <a:pt x="20" y="3"/>
                    <a:pt x="18" y="0"/>
                  </a:cubicBezTo>
                  <a:lnTo>
                    <a:pt x="14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3" name="Freeform 133"/>
            <p:cNvSpPr>
              <a:spLocks/>
            </p:cNvSpPr>
            <p:nvPr/>
          </p:nvSpPr>
          <p:spPr bwMode="auto">
            <a:xfrm>
              <a:off x="5438775" y="271463"/>
              <a:ext cx="60325" cy="77788"/>
            </a:xfrm>
            <a:custGeom>
              <a:avLst/>
              <a:gdLst/>
              <a:ahLst/>
              <a:cxnLst>
                <a:cxn ang="0">
                  <a:pos x="32" y="22"/>
                </a:cxn>
                <a:cxn ang="0">
                  <a:pos x="29" y="9"/>
                </a:cxn>
                <a:cxn ang="0">
                  <a:pos x="15" y="11"/>
                </a:cxn>
                <a:cxn ang="0">
                  <a:pos x="13" y="7"/>
                </a:cxn>
                <a:cxn ang="0">
                  <a:pos x="8" y="3"/>
                </a:cxn>
                <a:cxn ang="0">
                  <a:pos x="2" y="4"/>
                </a:cxn>
                <a:cxn ang="0">
                  <a:pos x="2" y="17"/>
                </a:cxn>
                <a:cxn ang="0">
                  <a:pos x="6" y="23"/>
                </a:cxn>
                <a:cxn ang="0">
                  <a:pos x="12" y="25"/>
                </a:cxn>
                <a:cxn ang="0">
                  <a:pos x="9" y="41"/>
                </a:cxn>
                <a:cxn ang="0">
                  <a:pos x="22" y="33"/>
                </a:cxn>
                <a:cxn ang="0">
                  <a:pos x="26" y="22"/>
                </a:cxn>
                <a:cxn ang="0">
                  <a:pos x="32" y="22"/>
                </a:cxn>
              </a:cxnLst>
              <a:rect l="0" t="0" r="r" b="b"/>
              <a:pathLst>
                <a:path w="32" h="42">
                  <a:moveTo>
                    <a:pt x="32" y="22"/>
                  </a:moveTo>
                  <a:cubicBezTo>
                    <a:pt x="28" y="22"/>
                    <a:pt x="32" y="11"/>
                    <a:pt x="29" y="9"/>
                  </a:cubicBezTo>
                  <a:cubicBezTo>
                    <a:pt x="27" y="7"/>
                    <a:pt x="17" y="14"/>
                    <a:pt x="15" y="11"/>
                  </a:cubicBezTo>
                  <a:cubicBezTo>
                    <a:pt x="14" y="10"/>
                    <a:pt x="14" y="8"/>
                    <a:pt x="13" y="7"/>
                  </a:cubicBezTo>
                  <a:cubicBezTo>
                    <a:pt x="11" y="5"/>
                    <a:pt x="10" y="4"/>
                    <a:pt x="8" y="3"/>
                  </a:cubicBezTo>
                  <a:cubicBezTo>
                    <a:pt x="4" y="1"/>
                    <a:pt x="3" y="0"/>
                    <a:pt x="2" y="4"/>
                  </a:cubicBezTo>
                  <a:cubicBezTo>
                    <a:pt x="0" y="7"/>
                    <a:pt x="1" y="14"/>
                    <a:pt x="2" y="17"/>
                  </a:cubicBezTo>
                  <a:cubicBezTo>
                    <a:pt x="3" y="19"/>
                    <a:pt x="4" y="21"/>
                    <a:pt x="6" y="23"/>
                  </a:cubicBezTo>
                  <a:cubicBezTo>
                    <a:pt x="8" y="23"/>
                    <a:pt x="10" y="24"/>
                    <a:pt x="12" y="25"/>
                  </a:cubicBezTo>
                  <a:cubicBezTo>
                    <a:pt x="15" y="31"/>
                    <a:pt x="7" y="35"/>
                    <a:pt x="9" y="41"/>
                  </a:cubicBezTo>
                  <a:cubicBezTo>
                    <a:pt x="12" y="42"/>
                    <a:pt x="21" y="36"/>
                    <a:pt x="22" y="33"/>
                  </a:cubicBezTo>
                  <a:cubicBezTo>
                    <a:pt x="28" y="25"/>
                    <a:pt x="29" y="30"/>
                    <a:pt x="26" y="22"/>
                  </a:cubicBezTo>
                  <a:lnTo>
                    <a:pt x="32" y="2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4" name="Freeform 134"/>
            <p:cNvSpPr>
              <a:spLocks/>
            </p:cNvSpPr>
            <p:nvPr/>
          </p:nvSpPr>
          <p:spPr bwMode="auto">
            <a:xfrm>
              <a:off x="4297363" y="1987550"/>
              <a:ext cx="100013" cy="57150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18" y="7"/>
                </a:cxn>
                <a:cxn ang="0">
                  <a:pos x="14" y="11"/>
                </a:cxn>
                <a:cxn ang="0">
                  <a:pos x="11" y="13"/>
                </a:cxn>
                <a:cxn ang="0">
                  <a:pos x="6" y="15"/>
                </a:cxn>
                <a:cxn ang="0">
                  <a:pos x="3" y="29"/>
                </a:cxn>
                <a:cxn ang="0">
                  <a:pos x="11" y="29"/>
                </a:cxn>
                <a:cxn ang="0">
                  <a:pos x="19" y="25"/>
                </a:cxn>
                <a:cxn ang="0">
                  <a:pos x="26" y="25"/>
                </a:cxn>
                <a:cxn ang="0">
                  <a:pos x="31" y="26"/>
                </a:cxn>
                <a:cxn ang="0">
                  <a:pos x="39" y="23"/>
                </a:cxn>
                <a:cxn ang="0">
                  <a:pos x="44" y="20"/>
                </a:cxn>
                <a:cxn ang="0">
                  <a:pos x="50" y="19"/>
                </a:cxn>
                <a:cxn ang="0">
                  <a:pos x="53" y="15"/>
                </a:cxn>
                <a:cxn ang="0">
                  <a:pos x="54" y="13"/>
                </a:cxn>
                <a:cxn ang="0">
                  <a:pos x="46" y="10"/>
                </a:cxn>
                <a:cxn ang="0">
                  <a:pos x="41" y="9"/>
                </a:cxn>
                <a:cxn ang="0">
                  <a:pos x="40" y="4"/>
                </a:cxn>
                <a:cxn ang="0">
                  <a:pos x="39" y="1"/>
                </a:cxn>
                <a:cxn ang="0">
                  <a:pos x="32" y="2"/>
                </a:cxn>
                <a:cxn ang="0">
                  <a:pos x="33" y="0"/>
                </a:cxn>
              </a:cxnLst>
              <a:rect l="0" t="0" r="r" b="b"/>
              <a:pathLst>
                <a:path w="54" h="31">
                  <a:moveTo>
                    <a:pt x="33" y="0"/>
                  </a:moveTo>
                  <a:cubicBezTo>
                    <a:pt x="28" y="0"/>
                    <a:pt x="21" y="4"/>
                    <a:pt x="18" y="7"/>
                  </a:cubicBezTo>
                  <a:cubicBezTo>
                    <a:pt x="16" y="9"/>
                    <a:pt x="16" y="10"/>
                    <a:pt x="14" y="11"/>
                  </a:cubicBezTo>
                  <a:cubicBezTo>
                    <a:pt x="13" y="12"/>
                    <a:pt x="12" y="12"/>
                    <a:pt x="11" y="13"/>
                  </a:cubicBezTo>
                  <a:cubicBezTo>
                    <a:pt x="9" y="14"/>
                    <a:pt x="8" y="15"/>
                    <a:pt x="6" y="15"/>
                  </a:cubicBezTo>
                  <a:cubicBezTo>
                    <a:pt x="3" y="18"/>
                    <a:pt x="0" y="25"/>
                    <a:pt x="3" y="29"/>
                  </a:cubicBezTo>
                  <a:cubicBezTo>
                    <a:pt x="5" y="31"/>
                    <a:pt x="8" y="30"/>
                    <a:pt x="11" y="29"/>
                  </a:cubicBezTo>
                  <a:cubicBezTo>
                    <a:pt x="14" y="27"/>
                    <a:pt x="15" y="25"/>
                    <a:pt x="19" y="25"/>
                  </a:cubicBezTo>
                  <a:cubicBezTo>
                    <a:pt x="21" y="24"/>
                    <a:pt x="24" y="24"/>
                    <a:pt x="26" y="25"/>
                  </a:cubicBezTo>
                  <a:cubicBezTo>
                    <a:pt x="28" y="25"/>
                    <a:pt x="29" y="26"/>
                    <a:pt x="31" y="26"/>
                  </a:cubicBezTo>
                  <a:cubicBezTo>
                    <a:pt x="34" y="26"/>
                    <a:pt x="37" y="25"/>
                    <a:pt x="39" y="23"/>
                  </a:cubicBezTo>
                  <a:cubicBezTo>
                    <a:pt x="41" y="22"/>
                    <a:pt x="42" y="21"/>
                    <a:pt x="44" y="20"/>
                  </a:cubicBezTo>
                  <a:cubicBezTo>
                    <a:pt x="46" y="20"/>
                    <a:pt x="48" y="20"/>
                    <a:pt x="50" y="19"/>
                  </a:cubicBezTo>
                  <a:cubicBezTo>
                    <a:pt x="52" y="18"/>
                    <a:pt x="52" y="17"/>
                    <a:pt x="53" y="15"/>
                  </a:cubicBezTo>
                  <a:cubicBezTo>
                    <a:pt x="54" y="14"/>
                    <a:pt x="54" y="14"/>
                    <a:pt x="54" y="13"/>
                  </a:cubicBezTo>
                  <a:cubicBezTo>
                    <a:pt x="51" y="11"/>
                    <a:pt x="49" y="10"/>
                    <a:pt x="46" y="10"/>
                  </a:cubicBezTo>
                  <a:cubicBezTo>
                    <a:pt x="44" y="9"/>
                    <a:pt x="43" y="9"/>
                    <a:pt x="41" y="9"/>
                  </a:cubicBezTo>
                  <a:cubicBezTo>
                    <a:pt x="41" y="8"/>
                    <a:pt x="40" y="6"/>
                    <a:pt x="40" y="4"/>
                  </a:cubicBezTo>
                  <a:cubicBezTo>
                    <a:pt x="40" y="3"/>
                    <a:pt x="40" y="2"/>
                    <a:pt x="39" y="1"/>
                  </a:cubicBezTo>
                  <a:cubicBezTo>
                    <a:pt x="38" y="1"/>
                    <a:pt x="34" y="2"/>
                    <a:pt x="32" y="2"/>
                  </a:cubicBezTo>
                  <a:lnTo>
                    <a:pt x="3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5" name="Freeform 135"/>
            <p:cNvSpPr>
              <a:spLocks/>
            </p:cNvSpPr>
            <p:nvPr/>
          </p:nvSpPr>
          <p:spPr bwMode="auto">
            <a:xfrm>
              <a:off x="4306888" y="1946275"/>
              <a:ext cx="58738" cy="33338"/>
            </a:xfrm>
            <a:custGeom>
              <a:avLst/>
              <a:gdLst/>
              <a:ahLst/>
              <a:cxnLst>
                <a:cxn ang="0">
                  <a:pos x="23" y="2"/>
                </a:cxn>
                <a:cxn ang="0">
                  <a:pos x="9" y="7"/>
                </a:cxn>
                <a:cxn ang="0">
                  <a:pos x="3" y="12"/>
                </a:cxn>
                <a:cxn ang="0">
                  <a:pos x="1" y="16"/>
                </a:cxn>
                <a:cxn ang="0">
                  <a:pos x="9" y="17"/>
                </a:cxn>
                <a:cxn ang="0">
                  <a:pos x="24" y="15"/>
                </a:cxn>
                <a:cxn ang="0">
                  <a:pos x="28" y="13"/>
                </a:cxn>
                <a:cxn ang="0">
                  <a:pos x="26" y="0"/>
                </a:cxn>
                <a:cxn ang="0">
                  <a:pos x="23" y="2"/>
                </a:cxn>
              </a:cxnLst>
              <a:rect l="0" t="0" r="r" b="b"/>
              <a:pathLst>
                <a:path w="32" h="18">
                  <a:moveTo>
                    <a:pt x="23" y="2"/>
                  </a:moveTo>
                  <a:cubicBezTo>
                    <a:pt x="19" y="2"/>
                    <a:pt x="13" y="5"/>
                    <a:pt x="9" y="7"/>
                  </a:cubicBezTo>
                  <a:cubicBezTo>
                    <a:pt x="5" y="8"/>
                    <a:pt x="5" y="10"/>
                    <a:pt x="3" y="12"/>
                  </a:cubicBezTo>
                  <a:cubicBezTo>
                    <a:pt x="2" y="13"/>
                    <a:pt x="0" y="14"/>
                    <a:pt x="1" y="16"/>
                  </a:cubicBezTo>
                  <a:cubicBezTo>
                    <a:pt x="2" y="18"/>
                    <a:pt x="6" y="17"/>
                    <a:pt x="9" y="17"/>
                  </a:cubicBezTo>
                  <a:cubicBezTo>
                    <a:pt x="14" y="17"/>
                    <a:pt x="19" y="17"/>
                    <a:pt x="24" y="15"/>
                  </a:cubicBezTo>
                  <a:cubicBezTo>
                    <a:pt x="25" y="14"/>
                    <a:pt x="27" y="14"/>
                    <a:pt x="28" y="13"/>
                  </a:cubicBezTo>
                  <a:cubicBezTo>
                    <a:pt x="32" y="9"/>
                    <a:pt x="29" y="3"/>
                    <a:pt x="26" y="0"/>
                  </a:cubicBezTo>
                  <a:lnTo>
                    <a:pt x="23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6" name="Freeform 136"/>
            <p:cNvSpPr>
              <a:spLocks/>
            </p:cNvSpPr>
            <p:nvPr/>
          </p:nvSpPr>
          <p:spPr bwMode="auto">
            <a:xfrm>
              <a:off x="4256088" y="2024063"/>
              <a:ext cx="41275" cy="39688"/>
            </a:xfrm>
            <a:custGeom>
              <a:avLst/>
              <a:gdLst/>
              <a:ahLst/>
              <a:cxnLst>
                <a:cxn ang="0">
                  <a:pos x="16" y="5"/>
                </a:cxn>
                <a:cxn ang="0">
                  <a:pos x="7" y="4"/>
                </a:cxn>
                <a:cxn ang="0">
                  <a:pos x="0" y="12"/>
                </a:cxn>
                <a:cxn ang="0">
                  <a:pos x="7" y="19"/>
                </a:cxn>
                <a:cxn ang="0">
                  <a:pos x="10" y="20"/>
                </a:cxn>
                <a:cxn ang="0">
                  <a:pos x="17" y="18"/>
                </a:cxn>
                <a:cxn ang="0">
                  <a:pos x="21" y="13"/>
                </a:cxn>
                <a:cxn ang="0">
                  <a:pos x="14" y="0"/>
                </a:cxn>
                <a:cxn ang="0">
                  <a:pos x="16" y="5"/>
                </a:cxn>
              </a:cxnLst>
              <a:rect l="0" t="0" r="r" b="b"/>
              <a:pathLst>
                <a:path w="22" h="21">
                  <a:moveTo>
                    <a:pt x="16" y="5"/>
                  </a:moveTo>
                  <a:cubicBezTo>
                    <a:pt x="13" y="3"/>
                    <a:pt x="10" y="2"/>
                    <a:pt x="7" y="4"/>
                  </a:cubicBezTo>
                  <a:cubicBezTo>
                    <a:pt x="4" y="5"/>
                    <a:pt x="1" y="9"/>
                    <a:pt x="0" y="12"/>
                  </a:cubicBezTo>
                  <a:cubicBezTo>
                    <a:pt x="0" y="15"/>
                    <a:pt x="4" y="18"/>
                    <a:pt x="7" y="19"/>
                  </a:cubicBezTo>
                  <a:cubicBezTo>
                    <a:pt x="8" y="19"/>
                    <a:pt x="9" y="20"/>
                    <a:pt x="10" y="20"/>
                  </a:cubicBezTo>
                  <a:cubicBezTo>
                    <a:pt x="13" y="21"/>
                    <a:pt x="15" y="19"/>
                    <a:pt x="17" y="18"/>
                  </a:cubicBezTo>
                  <a:cubicBezTo>
                    <a:pt x="19" y="16"/>
                    <a:pt x="21" y="16"/>
                    <a:pt x="21" y="13"/>
                  </a:cubicBezTo>
                  <a:cubicBezTo>
                    <a:pt x="22" y="8"/>
                    <a:pt x="19" y="3"/>
                    <a:pt x="14" y="0"/>
                  </a:cubicBezTo>
                  <a:lnTo>
                    <a:pt x="16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7" name="Freeform 137"/>
            <p:cNvSpPr>
              <a:spLocks noEditPoints="1"/>
            </p:cNvSpPr>
            <p:nvPr/>
          </p:nvSpPr>
          <p:spPr bwMode="auto">
            <a:xfrm>
              <a:off x="5291138" y="285750"/>
              <a:ext cx="187325" cy="206375"/>
            </a:xfrm>
            <a:custGeom>
              <a:avLst/>
              <a:gdLst/>
              <a:ahLst/>
              <a:cxnLst>
                <a:cxn ang="0">
                  <a:pos x="39" y="61"/>
                </a:cxn>
                <a:cxn ang="0">
                  <a:pos x="38" y="59"/>
                </a:cxn>
                <a:cxn ang="0">
                  <a:pos x="29" y="68"/>
                </a:cxn>
                <a:cxn ang="0">
                  <a:pos x="15" y="70"/>
                </a:cxn>
                <a:cxn ang="0">
                  <a:pos x="18" y="80"/>
                </a:cxn>
                <a:cxn ang="0">
                  <a:pos x="3" y="82"/>
                </a:cxn>
                <a:cxn ang="0">
                  <a:pos x="0" y="93"/>
                </a:cxn>
                <a:cxn ang="0">
                  <a:pos x="5" y="102"/>
                </a:cxn>
                <a:cxn ang="0">
                  <a:pos x="22" y="104"/>
                </a:cxn>
                <a:cxn ang="0">
                  <a:pos x="26" y="109"/>
                </a:cxn>
                <a:cxn ang="0">
                  <a:pos x="27" y="105"/>
                </a:cxn>
                <a:cxn ang="0">
                  <a:pos x="31" y="96"/>
                </a:cxn>
                <a:cxn ang="0">
                  <a:pos x="40" y="92"/>
                </a:cxn>
                <a:cxn ang="0">
                  <a:pos x="39" y="61"/>
                </a:cxn>
                <a:cxn ang="0">
                  <a:pos x="96" y="40"/>
                </a:cxn>
                <a:cxn ang="0">
                  <a:pos x="87" y="36"/>
                </a:cxn>
                <a:cxn ang="0">
                  <a:pos x="82" y="35"/>
                </a:cxn>
                <a:cxn ang="0">
                  <a:pos x="78" y="32"/>
                </a:cxn>
                <a:cxn ang="0">
                  <a:pos x="72" y="30"/>
                </a:cxn>
                <a:cxn ang="0">
                  <a:pos x="69" y="30"/>
                </a:cxn>
                <a:cxn ang="0">
                  <a:pos x="67" y="29"/>
                </a:cxn>
                <a:cxn ang="0">
                  <a:pos x="68" y="29"/>
                </a:cxn>
                <a:cxn ang="0">
                  <a:pos x="67" y="29"/>
                </a:cxn>
                <a:cxn ang="0">
                  <a:pos x="64" y="25"/>
                </a:cxn>
                <a:cxn ang="0">
                  <a:pos x="56" y="15"/>
                </a:cxn>
                <a:cxn ang="0">
                  <a:pos x="57" y="2"/>
                </a:cxn>
                <a:cxn ang="0">
                  <a:pos x="49" y="1"/>
                </a:cxn>
                <a:cxn ang="0">
                  <a:pos x="45" y="7"/>
                </a:cxn>
                <a:cxn ang="0">
                  <a:pos x="46" y="11"/>
                </a:cxn>
                <a:cxn ang="0">
                  <a:pos x="46" y="18"/>
                </a:cxn>
                <a:cxn ang="0">
                  <a:pos x="41" y="23"/>
                </a:cxn>
                <a:cxn ang="0">
                  <a:pos x="37" y="24"/>
                </a:cxn>
                <a:cxn ang="0">
                  <a:pos x="38" y="37"/>
                </a:cxn>
                <a:cxn ang="0">
                  <a:pos x="38" y="59"/>
                </a:cxn>
                <a:cxn ang="0">
                  <a:pos x="39" y="58"/>
                </a:cxn>
                <a:cxn ang="0">
                  <a:pos x="43" y="62"/>
                </a:cxn>
                <a:cxn ang="0">
                  <a:pos x="47" y="65"/>
                </a:cxn>
                <a:cxn ang="0">
                  <a:pos x="50" y="67"/>
                </a:cxn>
                <a:cxn ang="0">
                  <a:pos x="53" y="71"/>
                </a:cxn>
                <a:cxn ang="0">
                  <a:pos x="56" y="71"/>
                </a:cxn>
                <a:cxn ang="0">
                  <a:pos x="58" y="71"/>
                </a:cxn>
                <a:cxn ang="0">
                  <a:pos x="59" y="72"/>
                </a:cxn>
                <a:cxn ang="0">
                  <a:pos x="73" y="68"/>
                </a:cxn>
                <a:cxn ang="0">
                  <a:pos x="81" y="57"/>
                </a:cxn>
                <a:cxn ang="0">
                  <a:pos x="82" y="51"/>
                </a:cxn>
                <a:cxn ang="0">
                  <a:pos x="94" y="46"/>
                </a:cxn>
                <a:cxn ang="0">
                  <a:pos x="99" y="43"/>
                </a:cxn>
                <a:cxn ang="0">
                  <a:pos x="96" y="40"/>
                </a:cxn>
              </a:cxnLst>
              <a:rect l="0" t="0" r="r" b="b"/>
              <a:pathLst>
                <a:path w="100" h="110">
                  <a:moveTo>
                    <a:pt x="39" y="61"/>
                  </a:moveTo>
                  <a:cubicBezTo>
                    <a:pt x="39" y="61"/>
                    <a:pt x="38" y="60"/>
                    <a:pt x="38" y="59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2"/>
                    <a:pt x="17" y="67"/>
                    <a:pt x="15" y="70"/>
                  </a:cubicBezTo>
                  <a:cubicBezTo>
                    <a:pt x="13" y="73"/>
                    <a:pt x="16" y="78"/>
                    <a:pt x="18" y="80"/>
                  </a:cubicBezTo>
                  <a:cubicBezTo>
                    <a:pt x="14" y="84"/>
                    <a:pt x="8" y="79"/>
                    <a:pt x="3" y="82"/>
                  </a:cubicBezTo>
                  <a:cubicBezTo>
                    <a:pt x="0" y="83"/>
                    <a:pt x="0" y="89"/>
                    <a:pt x="0" y="93"/>
                  </a:cubicBezTo>
                  <a:cubicBezTo>
                    <a:pt x="0" y="98"/>
                    <a:pt x="0" y="100"/>
                    <a:pt x="5" y="102"/>
                  </a:cubicBezTo>
                  <a:cubicBezTo>
                    <a:pt x="11" y="104"/>
                    <a:pt x="18" y="102"/>
                    <a:pt x="22" y="104"/>
                  </a:cubicBezTo>
                  <a:cubicBezTo>
                    <a:pt x="22" y="106"/>
                    <a:pt x="23" y="110"/>
                    <a:pt x="26" y="109"/>
                  </a:cubicBezTo>
                  <a:cubicBezTo>
                    <a:pt x="26" y="109"/>
                    <a:pt x="26" y="105"/>
                    <a:pt x="27" y="105"/>
                  </a:cubicBezTo>
                  <a:cubicBezTo>
                    <a:pt x="27" y="102"/>
                    <a:pt x="29" y="99"/>
                    <a:pt x="31" y="96"/>
                  </a:cubicBezTo>
                  <a:cubicBezTo>
                    <a:pt x="34" y="93"/>
                    <a:pt x="35" y="93"/>
                    <a:pt x="40" y="92"/>
                  </a:cubicBezTo>
                  <a:cubicBezTo>
                    <a:pt x="41" y="81"/>
                    <a:pt x="44" y="72"/>
                    <a:pt x="39" y="61"/>
                  </a:cubicBezTo>
                  <a:moveTo>
                    <a:pt x="96" y="40"/>
                  </a:moveTo>
                  <a:cubicBezTo>
                    <a:pt x="93" y="38"/>
                    <a:pt x="90" y="37"/>
                    <a:pt x="87" y="36"/>
                  </a:cubicBezTo>
                  <a:cubicBezTo>
                    <a:pt x="85" y="36"/>
                    <a:pt x="83" y="36"/>
                    <a:pt x="82" y="35"/>
                  </a:cubicBezTo>
                  <a:cubicBezTo>
                    <a:pt x="81" y="35"/>
                    <a:pt x="79" y="33"/>
                    <a:pt x="78" y="32"/>
                  </a:cubicBezTo>
                  <a:cubicBezTo>
                    <a:pt x="76" y="31"/>
                    <a:pt x="75" y="30"/>
                    <a:pt x="72" y="30"/>
                  </a:cubicBezTo>
                  <a:cubicBezTo>
                    <a:pt x="71" y="30"/>
                    <a:pt x="70" y="31"/>
                    <a:pt x="69" y="30"/>
                  </a:cubicBezTo>
                  <a:cubicBezTo>
                    <a:pt x="68" y="30"/>
                    <a:pt x="68" y="30"/>
                    <a:pt x="67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7" y="29"/>
                    <a:pt x="67" y="29"/>
                    <a:pt x="67" y="29"/>
                  </a:cubicBezTo>
                  <a:cubicBezTo>
                    <a:pt x="66" y="28"/>
                    <a:pt x="65" y="26"/>
                    <a:pt x="64" y="25"/>
                  </a:cubicBezTo>
                  <a:cubicBezTo>
                    <a:pt x="61" y="22"/>
                    <a:pt x="58" y="19"/>
                    <a:pt x="56" y="15"/>
                  </a:cubicBezTo>
                  <a:cubicBezTo>
                    <a:pt x="54" y="11"/>
                    <a:pt x="57" y="6"/>
                    <a:pt x="57" y="2"/>
                  </a:cubicBezTo>
                  <a:cubicBezTo>
                    <a:pt x="56" y="0"/>
                    <a:pt x="51" y="0"/>
                    <a:pt x="49" y="1"/>
                  </a:cubicBezTo>
                  <a:cubicBezTo>
                    <a:pt x="46" y="2"/>
                    <a:pt x="45" y="4"/>
                    <a:pt x="45" y="7"/>
                  </a:cubicBezTo>
                  <a:cubicBezTo>
                    <a:pt x="45" y="8"/>
                    <a:pt x="45" y="10"/>
                    <a:pt x="46" y="11"/>
                  </a:cubicBezTo>
                  <a:cubicBezTo>
                    <a:pt x="46" y="14"/>
                    <a:pt x="48" y="15"/>
                    <a:pt x="46" y="18"/>
                  </a:cubicBezTo>
                  <a:cubicBezTo>
                    <a:pt x="46" y="19"/>
                    <a:pt x="43" y="22"/>
                    <a:pt x="41" y="23"/>
                  </a:cubicBezTo>
                  <a:cubicBezTo>
                    <a:pt x="40" y="24"/>
                    <a:pt x="39" y="23"/>
                    <a:pt x="37" y="24"/>
                  </a:cubicBezTo>
                  <a:cubicBezTo>
                    <a:pt x="35" y="27"/>
                    <a:pt x="36" y="34"/>
                    <a:pt x="38" y="37"/>
                  </a:cubicBezTo>
                  <a:cubicBezTo>
                    <a:pt x="29" y="41"/>
                    <a:pt x="34" y="52"/>
                    <a:pt x="38" y="59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40" y="59"/>
                    <a:pt x="41" y="60"/>
                    <a:pt x="43" y="62"/>
                  </a:cubicBezTo>
                  <a:cubicBezTo>
                    <a:pt x="44" y="63"/>
                    <a:pt x="45" y="64"/>
                    <a:pt x="47" y="65"/>
                  </a:cubicBezTo>
                  <a:cubicBezTo>
                    <a:pt x="48" y="65"/>
                    <a:pt x="49" y="65"/>
                    <a:pt x="50" y="67"/>
                  </a:cubicBezTo>
                  <a:cubicBezTo>
                    <a:pt x="51" y="68"/>
                    <a:pt x="53" y="70"/>
                    <a:pt x="53" y="71"/>
                  </a:cubicBezTo>
                  <a:cubicBezTo>
                    <a:pt x="54" y="71"/>
                    <a:pt x="55" y="71"/>
                    <a:pt x="56" y="71"/>
                  </a:cubicBezTo>
                  <a:cubicBezTo>
                    <a:pt x="57" y="71"/>
                    <a:pt x="57" y="71"/>
                    <a:pt x="58" y="71"/>
                  </a:cubicBezTo>
                  <a:cubicBezTo>
                    <a:pt x="59" y="71"/>
                    <a:pt x="59" y="72"/>
                    <a:pt x="59" y="72"/>
                  </a:cubicBezTo>
                  <a:cubicBezTo>
                    <a:pt x="65" y="74"/>
                    <a:pt x="68" y="72"/>
                    <a:pt x="73" y="68"/>
                  </a:cubicBezTo>
                  <a:cubicBezTo>
                    <a:pt x="76" y="65"/>
                    <a:pt x="79" y="61"/>
                    <a:pt x="81" y="57"/>
                  </a:cubicBezTo>
                  <a:cubicBezTo>
                    <a:pt x="83" y="55"/>
                    <a:pt x="82" y="54"/>
                    <a:pt x="82" y="51"/>
                  </a:cubicBezTo>
                  <a:cubicBezTo>
                    <a:pt x="86" y="49"/>
                    <a:pt x="90" y="48"/>
                    <a:pt x="94" y="46"/>
                  </a:cubicBezTo>
                  <a:cubicBezTo>
                    <a:pt x="95" y="45"/>
                    <a:pt x="98" y="44"/>
                    <a:pt x="99" y="43"/>
                  </a:cubicBezTo>
                  <a:cubicBezTo>
                    <a:pt x="100" y="41"/>
                    <a:pt x="97" y="40"/>
                    <a:pt x="96" y="4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8" name="Freeform 138"/>
            <p:cNvSpPr>
              <a:spLocks noEditPoints="1"/>
            </p:cNvSpPr>
            <p:nvPr/>
          </p:nvSpPr>
          <p:spPr bwMode="auto">
            <a:xfrm>
              <a:off x="3941763" y="-1588"/>
              <a:ext cx="2671763" cy="3179763"/>
            </a:xfrm>
            <a:custGeom>
              <a:avLst/>
              <a:gdLst/>
              <a:ahLst/>
              <a:cxnLst>
                <a:cxn ang="0">
                  <a:pos x="1352" y="75"/>
                </a:cxn>
                <a:cxn ang="0">
                  <a:pos x="1254" y="97"/>
                </a:cxn>
                <a:cxn ang="0">
                  <a:pos x="1215" y="46"/>
                </a:cxn>
                <a:cxn ang="0">
                  <a:pos x="1183" y="71"/>
                </a:cxn>
                <a:cxn ang="0">
                  <a:pos x="1101" y="166"/>
                </a:cxn>
                <a:cxn ang="0">
                  <a:pos x="1114" y="16"/>
                </a:cxn>
                <a:cxn ang="0">
                  <a:pos x="1066" y="82"/>
                </a:cxn>
                <a:cxn ang="0">
                  <a:pos x="988" y="172"/>
                </a:cxn>
                <a:cxn ang="0">
                  <a:pos x="855" y="247"/>
                </a:cxn>
                <a:cxn ang="0">
                  <a:pos x="779" y="240"/>
                </a:cxn>
                <a:cxn ang="0">
                  <a:pos x="723" y="294"/>
                </a:cxn>
                <a:cxn ang="0">
                  <a:pos x="676" y="334"/>
                </a:cxn>
                <a:cxn ang="0">
                  <a:pos x="682" y="368"/>
                </a:cxn>
                <a:cxn ang="0">
                  <a:pos x="594" y="355"/>
                </a:cxn>
                <a:cxn ang="0">
                  <a:pos x="571" y="378"/>
                </a:cxn>
                <a:cxn ang="0">
                  <a:pos x="539" y="409"/>
                </a:cxn>
                <a:cxn ang="0">
                  <a:pos x="476" y="472"/>
                </a:cxn>
                <a:cxn ang="0">
                  <a:pos x="535" y="461"/>
                </a:cxn>
                <a:cxn ang="0">
                  <a:pos x="652" y="435"/>
                </a:cxn>
                <a:cxn ang="0">
                  <a:pos x="591" y="478"/>
                </a:cxn>
                <a:cxn ang="0">
                  <a:pos x="568" y="557"/>
                </a:cxn>
                <a:cxn ang="0">
                  <a:pos x="499" y="629"/>
                </a:cxn>
                <a:cxn ang="0">
                  <a:pos x="447" y="712"/>
                </a:cxn>
                <a:cxn ang="0">
                  <a:pos x="429" y="788"/>
                </a:cxn>
                <a:cxn ang="0">
                  <a:pos x="368" y="906"/>
                </a:cxn>
                <a:cxn ang="0">
                  <a:pos x="355" y="948"/>
                </a:cxn>
                <a:cxn ang="0">
                  <a:pos x="285" y="1042"/>
                </a:cxn>
                <a:cxn ang="0">
                  <a:pos x="326" y="1063"/>
                </a:cxn>
                <a:cxn ang="0">
                  <a:pos x="324" y="1087"/>
                </a:cxn>
                <a:cxn ang="0">
                  <a:pos x="247" y="1099"/>
                </a:cxn>
                <a:cxn ang="0">
                  <a:pos x="193" y="1128"/>
                </a:cxn>
                <a:cxn ang="0">
                  <a:pos x="170" y="1142"/>
                </a:cxn>
                <a:cxn ang="0">
                  <a:pos x="177" y="1172"/>
                </a:cxn>
                <a:cxn ang="0">
                  <a:pos x="77" y="1210"/>
                </a:cxn>
                <a:cxn ang="0">
                  <a:pos x="98" y="1233"/>
                </a:cxn>
                <a:cxn ang="0">
                  <a:pos x="62" y="1256"/>
                </a:cxn>
                <a:cxn ang="0">
                  <a:pos x="66" y="1277"/>
                </a:cxn>
                <a:cxn ang="0">
                  <a:pos x="29" y="1343"/>
                </a:cxn>
                <a:cxn ang="0">
                  <a:pos x="40" y="1371"/>
                </a:cxn>
                <a:cxn ang="0">
                  <a:pos x="21" y="1424"/>
                </a:cxn>
                <a:cxn ang="0">
                  <a:pos x="37" y="1490"/>
                </a:cxn>
                <a:cxn ang="0">
                  <a:pos x="47" y="1580"/>
                </a:cxn>
                <a:cxn ang="0">
                  <a:pos x="69" y="1646"/>
                </a:cxn>
                <a:cxn ang="0">
                  <a:pos x="207" y="1675"/>
                </a:cxn>
                <a:cxn ang="0">
                  <a:pos x="315" y="1549"/>
                </a:cxn>
                <a:cxn ang="0">
                  <a:pos x="357" y="1589"/>
                </a:cxn>
                <a:cxn ang="0">
                  <a:pos x="433" y="1431"/>
                </a:cxn>
                <a:cxn ang="0">
                  <a:pos x="410" y="1221"/>
                </a:cxn>
                <a:cxn ang="0">
                  <a:pos x="444" y="1021"/>
                </a:cxn>
                <a:cxn ang="0">
                  <a:pos x="529" y="825"/>
                </a:cxn>
                <a:cxn ang="0">
                  <a:pos x="624" y="594"/>
                </a:cxn>
                <a:cxn ang="0">
                  <a:pos x="735" y="459"/>
                </a:cxn>
                <a:cxn ang="0">
                  <a:pos x="869" y="334"/>
                </a:cxn>
                <a:cxn ang="0">
                  <a:pos x="982" y="393"/>
                </a:cxn>
                <a:cxn ang="0">
                  <a:pos x="1100" y="388"/>
                </a:cxn>
                <a:cxn ang="0">
                  <a:pos x="1145" y="252"/>
                </a:cxn>
                <a:cxn ang="0">
                  <a:pos x="1261" y="192"/>
                </a:cxn>
                <a:cxn ang="0">
                  <a:pos x="1316" y="340"/>
                </a:cxn>
                <a:cxn ang="0">
                  <a:pos x="1375" y="252"/>
                </a:cxn>
                <a:cxn ang="0">
                  <a:pos x="1383" y="212"/>
                </a:cxn>
                <a:cxn ang="0">
                  <a:pos x="1340" y="204"/>
                </a:cxn>
              </a:cxnLst>
              <a:rect l="0" t="0" r="r" b="b"/>
              <a:pathLst>
                <a:path w="1429" h="1701">
                  <a:moveTo>
                    <a:pt x="1115" y="33"/>
                  </a:moveTo>
                  <a:cubicBezTo>
                    <a:pt x="1116" y="33"/>
                    <a:pt x="1117" y="33"/>
                    <a:pt x="1118" y="33"/>
                  </a:cubicBezTo>
                  <a:cubicBezTo>
                    <a:pt x="1117" y="32"/>
                    <a:pt x="1116" y="32"/>
                    <a:pt x="1115" y="33"/>
                  </a:cubicBezTo>
                  <a:moveTo>
                    <a:pt x="272" y="1065"/>
                  </a:moveTo>
                  <a:cubicBezTo>
                    <a:pt x="272" y="1065"/>
                    <a:pt x="272" y="1065"/>
                    <a:pt x="272" y="1065"/>
                  </a:cubicBezTo>
                  <a:cubicBezTo>
                    <a:pt x="271" y="1066"/>
                    <a:pt x="270" y="1066"/>
                    <a:pt x="270" y="1067"/>
                  </a:cubicBezTo>
                  <a:cubicBezTo>
                    <a:pt x="271" y="1067"/>
                    <a:pt x="272" y="1066"/>
                    <a:pt x="272" y="1065"/>
                  </a:cubicBezTo>
                  <a:moveTo>
                    <a:pt x="422" y="1463"/>
                  </a:moveTo>
                  <a:cubicBezTo>
                    <a:pt x="423" y="1463"/>
                    <a:pt x="424" y="1463"/>
                    <a:pt x="425" y="1463"/>
                  </a:cubicBezTo>
                  <a:cubicBezTo>
                    <a:pt x="424" y="1461"/>
                    <a:pt x="423" y="1462"/>
                    <a:pt x="422" y="1463"/>
                  </a:cubicBezTo>
                  <a:moveTo>
                    <a:pt x="1418" y="124"/>
                  </a:moveTo>
                  <a:cubicBezTo>
                    <a:pt x="1416" y="126"/>
                    <a:pt x="1415" y="124"/>
                    <a:pt x="1414" y="123"/>
                  </a:cubicBezTo>
                  <a:cubicBezTo>
                    <a:pt x="1411" y="121"/>
                    <a:pt x="1408" y="119"/>
                    <a:pt x="1405" y="118"/>
                  </a:cubicBezTo>
                  <a:cubicBezTo>
                    <a:pt x="1403" y="117"/>
                    <a:pt x="1401" y="115"/>
                    <a:pt x="1400" y="113"/>
                  </a:cubicBezTo>
                  <a:cubicBezTo>
                    <a:pt x="1399" y="111"/>
                    <a:pt x="1401" y="108"/>
                    <a:pt x="1398" y="106"/>
                  </a:cubicBezTo>
                  <a:cubicBezTo>
                    <a:pt x="1391" y="110"/>
                    <a:pt x="1379" y="109"/>
                    <a:pt x="1370" y="108"/>
                  </a:cubicBezTo>
                  <a:cubicBezTo>
                    <a:pt x="1370" y="104"/>
                    <a:pt x="1378" y="103"/>
                    <a:pt x="1380" y="101"/>
                  </a:cubicBezTo>
                  <a:cubicBezTo>
                    <a:pt x="1385" y="97"/>
                    <a:pt x="1382" y="94"/>
                    <a:pt x="1378" y="90"/>
                  </a:cubicBezTo>
                  <a:cubicBezTo>
                    <a:pt x="1376" y="87"/>
                    <a:pt x="1375" y="80"/>
                    <a:pt x="1371" y="79"/>
                  </a:cubicBezTo>
                  <a:cubicBezTo>
                    <a:pt x="1368" y="77"/>
                    <a:pt x="1366" y="80"/>
                    <a:pt x="1365" y="82"/>
                  </a:cubicBezTo>
                  <a:cubicBezTo>
                    <a:pt x="1361" y="85"/>
                    <a:pt x="1357" y="89"/>
                    <a:pt x="1353" y="91"/>
                  </a:cubicBezTo>
                  <a:cubicBezTo>
                    <a:pt x="1355" y="86"/>
                    <a:pt x="1358" y="77"/>
                    <a:pt x="1352" y="75"/>
                  </a:cubicBezTo>
                  <a:cubicBezTo>
                    <a:pt x="1348" y="74"/>
                    <a:pt x="1343" y="75"/>
                    <a:pt x="1341" y="77"/>
                  </a:cubicBezTo>
                  <a:cubicBezTo>
                    <a:pt x="1338" y="79"/>
                    <a:pt x="1337" y="83"/>
                    <a:pt x="1335" y="85"/>
                  </a:cubicBezTo>
                  <a:cubicBezTo>
                    <a:pt x="1332" y="87"/>
                    <a:pt x="1335" y="87"/>
                    <a:pt x="1332" y="85"/>
                  </a:cubicBezTo>
                  <a:cubicBezTo>
                    <a:pt x="1329" y="84"/>
                    <a:pt x="1328" y="80"/>
                    <a:pt x="1328" y="77"/>
                  </a:cubicBezTo>
                  <a:cubicBezTo>
                    <a:pt x="1328" y="74"/>
                    <a:pt x="1329" y="75"/>
                    <a:pt x="1330" y="72"/>
                  </a:cubicBezTo>
                  <a:cubicBezTo>
                    <a:pt x="1331" y="69"/>
                    <a:pt x="1331" y="65"/>
                    <a:pt x="1330" y="62"/>
                  </a:cubicBezTo>
                  <a:cubicBezTo>
                    <a:pt x="1328" y="58"/>
                    <a:pt x="1324" y="57"/>
                    <a:pt x="1320" y="56"/>
                  </a:cubicBezTo>
                  <a:cubicBezTo>
                    <a:pt x="1317" y="54"/>
                    <a:pt x="1312" y="49"/>
                    <a:pt x="1308" y="51"/>
                  </a:cubicBezTo>
                  <a:cubicBezTo>
                    <a:pt x="1308" y="53"/>
                    <a:pt x="1305" y="55"/>
                    <a:pt x="1304" y="56"/>
                  </a:cubicBezTo>
                  <a:cubicBezTo>
                    <a:pt x="1301" y="59"/>
                    <a:pt x="1299" y="62"/>
                    <a:pt x="1296" y="65"/>
                  </a:cubicBezTo>
                  <a:cubicBezTo>
                    <a:pt x="1291" y="70"/>
                    <a:pt x="1289" y="75"/>
                    <a:pt x="1289" y="82"/>
                  </a:cubicBezTo>
                  <a:cubicBezTo>
                    <a:pt x="1289" y="88"/>
                    <a:pt x="1289" y="94"/>
                    <a:pt x="1289" y="99"/>
                  </a:cubicBezTo>
                  <a:cubicBezTo>
                    <a:pt x="1289" y="106"/>
                    <a:pt x="1286" y="111"/>
                    <a:pt x="1285" y="118"/>
                  </a:cubicBezTo>
                  <a:cubicBezTo>
                    <a:pt x="1281" y="111"/>
                    <a:pt x="1276" y="115"/>
                    <a:pt x="1270" y="118"/>
                  </a:cubicBezTo>
                  <a:cubicBezTo>
                    <a:pt x="1268" y="119"/>
                    <a:pt x="1265" y="120"/>
                    <a:pt x="1263" y="121"/>
                  </a:cubicBezTo>
                  <a:cubicBezTo>
                    <a:pt x="1260" y="122"/>
                    <a:pt x="1247" y="123"/>
                    <a:pt x="1245" y="120"/>
                  </a:cubicBezTo>
                  <a:cubicBezTo>
                    <a:pt x="1248" y="117"/>
                    <a:pt x="1252" y="118"/>
                    <a:pt x="1255" y="115"/>
                  </a:cubicBezTo>
                  <a:cubicBezTo>
                    <a:pt x="1257" y="114"/>
                    <a:pt x="1257" y="112"/>
                    <a:pt x="1259" y="110"/>
                  </a:cubicBezTo>
                  <a:cubicBezTo>
                    <a:pt x="1261" y="107"/>
                    <a:pt x="1265" y="105"/>
                    <a:pt x="1268" y="103"/>
                  </a:cubicBezTo>
                  <a:cubicBezTo>
                    <a:pt x="1274" y="99"/>
                    <a:pt x="1279" y="95"/>
                    <a:pt x="1283" y="89"/>
                  </a:cubicBezTo>
                  <a:cubicBezTo>
                    <a:pt x="1278" y="93"/>
                    <a:pt x="1272" y="93"/>
                    <a:pt x="1267" y="94"/>
                  </a:cubicBezTo>
                  <a:cubicBezTo>
                    <a:pt x="1262" y="95"/>
                    <a:pt x="1259" y="96"/>
                    <a:pt x="1254" y="97"/>
                  </a:cubicBezTo>
                  <a:cubicBezTo>
                    <a:pt x="1247" y="97"/>
                    <a:pt x="1239" y="98"/>
                    <a:pt x="1232" y="97"/>
                  </a:cubicBezTo>
                  <a:cubicBezTo>
                    <a:pt x="1236" y="94"/>
                    <a:pt x="1239" y="90"/>
                    <a:pt x="1243" y="88"/>
                  </a:cubicBezTo>
                  <a:cubicBezTo>
                    <a:pt x="1248" y="85"/>
                    <a:pt x="1254" y="81"/>
                    <a:pt x="1257" y="76"/>
                  </a:cubicBezTo>
                  <a:cubicBezTo>
                    <a:pt x="1260" y="71"/>
                    <a:pt x="1259" y="69"/>
                    <a:pt x="1255" y="67"/>
                  </a:cubicBezTo>
                  <a:cubicBezTo>
                    <a:pt x="1253" y="66"/>
                    <a:pt x="1247" y="66"/>
                    <a:pt x="1249" y="62"/>
                  </a:cubicBezTo>
                  <a:cubicBezTo>
                    <a:pt x="1249" y="61"/>
                    <a:pt x="1252" y="60"/>
                    <a:pt x="1253" y="60"/>
                  </a:cubicBezTo>
                  <a:cubicBezTo>
                    <a:pt x="1258" y="60"/>
                    <a:pt x="1261" y="60"/>
                    <a:pt x="1265" y="62"/>
                  </a:cubicBezTo>
                  <a:cubicBezTo>
                    <a:pt x="1269" y="63"/>
                    <a:pt x="1277" y="63"/>
                    <a:pt x="1279" y="58"/>
                  </a:cubicBezTo>
                  <a:cubicBezTo>
                    <a:pt x="1279" y="57"/>
                    <a:pt x="1278" y="55"/>
                    <a:pt x="1279" y="54"/>
                  </a:cubicBezTo>
                  <a:cubicBezTo>
                    <a:pt x="1279" y="52"/>
                    <a:pt x="1282" y="50"/>
                    <a:pt x="1283" y="48"/>
                  </a:cubicBezTo>
                  <a:cubicBezTo>
                    <a:pt x="1287" y="44"/>
                    <a:pt x="1292" y="41"/>
                    <a:pt x="1290" y="36"/>
                  </a:cubicBezTo>
                  <a:cubicBezTo>
                    <a:pt x="1287" y="30"/>
                    <a:pt x="1276" y="33"/>
                    <a:pt x="1270" y="33"/>
                  </a:cubicBezTo>
                  <a:cubicBezTo>
                    <a:pt x="1270" y="29"/>
                    <a:pt x="1272" y="21"/>
                    <a:pt x="1268" y="18"/>
                  </a:cubicBezTo>
                  <a:cubicBezTo>
                    <a:pt x="1263" y="14"/>
                    <a:pt x="1254" y="21"/>
                    <a:pt x="1250" y="20"/>
                  </a:cubicBezTo>
                  <a:cubicBezTo>
                    <a:pt x="1249" y="16"/>
                    <a:pt x="1251" y="4"/>
                    <a:pt x="1244" y="6"/>
                  </a:cubicBezTo>
                  <a:cubicBezTo>
                    <a:pt x="1240" y="8"/>
                    <a:pt x="1239" y="16"/>
                    <a:pt x="1238" y="20"/>
                  </a:cubicBezTo>
                  <a:cubicBezTo>
                    <a:pt x="1237" y="22"/>
                    <a:pt x="1234" y="32"/>
                    <a:pt x="1231" y="33"/>
                  </a:cubicBezTo>
                  <a:cubicBezTo>
                    <a:pt x="1227" y="34"/>
                    <a:pt x="1225" y="25"/>
                    <a:pt x="1221" y="25"/>
                  </a:cubicBezTo>
                  <a:cubicBezTo>
                    <a:pt x="1215" y="24"/>
                    <a:pt x="1217" y="32"/>
                    <a:pt x="1217" y="36"/>
                  </a:cubicBezTo>
                  <a:cubicBezTo>
                    <a:pt x="1217" y="36"/>
                    <a:pt x="1217" y="36"/>
                    <a:pt x="1217" y="36"/>
                  </a:cubicBezTo>
                  <a:cubicBezTo>
                    <a:pt x="1216" y="38"/>
                    <a:pt x="1211" y="39"/>
                    <a:pt x="1210" y="42"/>
                  </a:cubicBezTo>
                  <a:cubicBezTo>
                    <a:pt x="1209" y="47"/>
                    <a:pt x="1213" y="43"/>
                    <a:pt x="1215" y="46"/>
                  </a:cubicBezTo>
                  <a:cubicBezTo>
                    <a:pt x="1216" y="47"/>
                    <a:pt x="1216" y="49"/>
                    <a:pt x="1217" y="50"/>
                  </a:cubicBezTo>
                  <a:cubicBezTo>
                    <a:pt x="1218" y="51"/>
                    <a:pt x="1222" y="53"/>
                    <a:pt x="1224" y="53"/>
                  </a:cubicBezTo>
                  <a:cubicBezTo>
                    <a:pt x="1219" y="52"/>
                    <a:pt x="1219" y="56"/>
                    <a:pt x="1219" y="60"/>
                  </a:cubicBezTo>
                  <a:cubicBezTo>
                    <a:pt x="1219" y="65"/>
                    <a:pt x="1219" y="67"/>
                    <a:pt x="1216" y="71"/>
                  </a:cubicBezTo>
                  <a:cubicBezTo>
                    <a:pt x="1211" y="77"/>
                    <a:pt x="1205" y="81"/>
                    <a:pt x="1204" y="90"/>
                  </a:cubicBezTo>
                  <a:cubicBezTo>
                    <a:pt x="1203" y="94"/>
                    <a:pt x="1204" y="99"/>
                    <a:pt x="1202" y="104"/>
                  </a:cubicBezTo>
                  <a:cubicBezTo>
                    <a:pt x="1201" y="107"/>
                    <a:pt x="1198" y="108"/>
                    <a:pt x="1197" y="111"/>
                  </a:cubicBezTo>
                  <a:cubicBezTo>
                    <a:pt x="1197" y="114"/>
                    <a:pt x="1198" y="117"/>
                    <a:pt x="1198" y="119"/>
                  </a:cubicBezTo>
                  <a:cubicBezTo>
                    <a:pt x="1197" y="121"/>
                    <a:pt x="1194" y="123"/>
                    <a:pt x="1193" y="124"/>
                  </a:cubicBezTo>
                  <a:cubicBezTo>
                    <a:pt x="1189" y="127"/>
                    <a:pt x="1189" y="128"/>
                    <a:pt x="1187" y="132"/>
                  </a:cubicBezTo>
                  <a:cubicBezTo>
                    <a:pt x="1185" y="135"/>
                    <a:pt x="1183" y="135"/>
                    <a:pt x="1183" y="139"/>
                  </a:cubicBezTo>
                  <a:cubicBezTo>
                    <a:pt x="1183" y="140"/>
                    <a:pt x="1183" y="141"/>
                    <a:pt x="1183" y="142"/>
                  </a:cubicBezTo>
                  <a:cubicBezTo>
                    <a:pt x="1181" y="142"/>
                    <a:pt x="1178" y="142"/>
                    <a:pt x="1176" y="142"/>
                  </a:cubicBezTo>
                  <a:cubicBezTo>
                    <a:pt x="1176" y="142"/>
                    <a:pt x="1176" y="142"/>
                    <a:pt x="1176" y="142"/>
                  </a:cubicBezTo>
                  <a:cubicBezTo>
                    <a:pt x="1177" y="138"/>
                    <a:pt x="1180" y="134"/>
                    <a:pt x="1182" y="129"/>
                  </a:cubicBezTo>
                  <a:cubicBezTo>
                    <a:pt x="1183" y="127"/>
                    <a:pt x="1182" y="125"/>
                    <a:pt x="1183" y="122"/>
                  </a:cubicBezTo>
                  <a:cubicBezTo>
                    <a:pt x="1184" y="119"/>
                    <a:pt x="1185" y="117"/>
                    <a:pt x="1185" y="113"/>
                  </a:cubicBezTo>
                  <a:cubicBezTo>
                    <a:pt x="1185" y="109"/>
                    <a:pt x="1185" y="105"/>
                    <a:pt x="1185" y="101"/>
                  </a:cubicBezTo>
                  <a:cubicBezTo>
                    <a:pt x="1186" y="97"/>
                    <a:pt x="1188" y="92"/>
                    <a:pt x="1187" y="88"/>
                  </a:cubicBezTo>
                  <a:cubicBezTo>
                    <a:pt x="1187" y="87"/>
                    <a:pt x="1186" y="83"/>
                    <a:pt x="1185" y="83"/>
                  </a:cubicBezTo>
                  <a:cubicBezTo>
                    <a:pt x="1182" y="81"/>
                    <a:pt x="1178" y="82"/>
                    <a:pt x="1179" y="77"/>
                  </a:cubicBezTo>
                  <a:cubicBezTo>
                    <a:pt x="1179" y="74"/>
                    <a:pt x="1181" y="73"/>
                    <a:pt x="1183" y="71"/>
                  </a:cubicBezTo>
                  <a:cubicBezTo>
                    <a:pt x="1187" y="69"/>
                    <a:pt x="1189" y="68"/>
                    <a:pt x="1189" y="63"/>
                  </a:cubicBezTo>
                  <a:cubicBezTo>
                    <a:pt x="1189" y="60"/>
                    <a:pt x="1189" y="58"/>
                    <a:pt x="1189" y="55"/>
                  </a:cubicBezTo>
                  <a:cubicBezTo>
                    <a:pt x="1189" y="47"/>
                    <a:pt x="1198" y="40"/>
                    <a:pt x="1193" y="32"/>
                  </a:cubicBezTo>
                  <a:cubicBezTo>
                    <a:pt x="1191" y="32"/>
                    <a:pt x="1185" y="32"/>
                    <a:pt x="1183" y="32"/>
                  </a:cubicBezTo>
                  <a:cubicBezTo>
                    <a:pt x="1182" y="33"/>
                    <a:pt x="1181" y="35"/>
                    <a:pt x="1180" y="37"/>
                  </a:cubicBezTo>
                  <a:cubicBezTo>
                    <a:pt x="1176" y="41"/>
                    <a:pt x="1171" y="45"/>
                    <a:pt x="1167" y="49"/>
                  </a:cubicBezTo>
                  <a:cubicBezTo>
                    <a:pt x="1161" y="53"/>
                    <a:pt x="1156" y="54"/>
                    <a:pt x="1156" y="61"/>
                  </a:cubicBezTo>
                  <a:cubicBezTo>
                    <a:pt x="1156" y="66"/>
                    <a:pt x="1156" y="70"/>
                    <a:pt x="1156" y="75"/>
                  </a:cubicBezTo>
                  <a:cubicBezTo>
                    <a:pt x="1156" y="80"/>
                    <a:pt x="1154" y="83"/>
                    <a:pt x="1151" y="87"/>
                  </a:cubicBezTo>
                  <a:cubicBezTo>
                    <a:pt x="1147" y="93"/>
                    <a:pt x="1141" y="99"/>
                    <a:pt x="1139" y="106"/>
                  </a:cubicBezTo>
                  <a:cubicBezTo>
                    <a:pt x="1138" y="113"/>
                    <a:pt x="1141" y="122"/>
                    <a:pt x="1134" y="128"/>
                  </a:cubicBezTo>
                  <a:cubicBezTo>
                    <a:pt x="1130" y="132"/>
                    <a:pt x="1121" y="131"/>
                    <a:pt x="1118" y="134"/>
                  </a:cubicBezTo>
                  <a:cubicBezTo>
                    <a:pt x="1117" y="135"/>
                    <a:pt x="1116" y="138"/>
                    <a:pt x="1116" y="139"/>
                  </a:cubicBezTo>
                  <a:cubicBezTo>
                    <a:pt x="1117" y="141"/>
                    <a:pt x="1119" y="141"/>
                    <a:pt x="1120" y="142"/>
                  </a:cubicBezTo>
                  <a:cubicBezTo>
                    <a:pt x="1123" y="145"/>
                    <a:pt x="1122" y="147"/>
                    <a:pt x="1119" y="148"/>
                  </a:cubicBezTo>
                  <a:cubicBezTo>
                    <a:pt x="1117" y="149"/>
                    <a:pt x="1116" y="147"/>
                    <a:pt x="1114" y="149"/>
                  </a:cubicBezTo>
                  <a:cubicBezTo>
                    <a:pt x="1115" y="148"/>
                    <a:pt x="1112" y="155"/>
                    <a:pt x="1113" y="153"/>
                  </a:cubicBezTo>
                  <a:cubicBezTo>
                    <a:pt x="1111" y="156"/>
                    <a:pt x="1109" y="160"/>
                    <a:pt x="1108" y="164"/>
                  </a:cubicBezTo>
                  <a:cubicBezTo>
                    <a:pt x="1107" y="168"/>
                    <a:pt x="1108" y="171"/>
                    <a:pt x="1108" y="175"/>
                  </a:cubicBezTo>
                  <a:cubicBezTo>
                    <a:pt x="1108" y="175"/>
                    <a:pt x="1107" y="175"/>
                    <a:pt x="1107" y="176"/>
                  </a:cubicBezTo>
                  <a:cubicBezTo>
                    <a:pt x="1106" y="177"/>
                    <a:pt x="1105" y="178"/>
                    <a:pt x="1103" y="175"/>
                  </a:cubicBezTo>
                  <a:cubicBezTo>
                    <a:pt x="1101" y="173"/>
                    <a:pt x="1102" y="169"/>
                    <a:pt x="1101" y="166"/>
                  </a:cubicBezTo>
                  <a:cubicBezTo>
                    <a:pt x="1101" y="165"/>
                    <a:pt x="1100" y="165"/>
                    <a:pt x="1100" y="164"/>
                  </a:cubicBezTo>
                  <a:cubicBezTo>
                    <a:pt x="1100" y="159"/>
                    <a:pt x="1101" y="159"/>
                    <a:pt x="1095" y="158"/>
                  </a:cubicBezTo>
                  <a:cubicBezTo>
                    <a:pt x="1094" y="158"/>
                    <a:pt x="1093" y="158"/>
                    <a:pt x="1093" y="158"/>
                  </a:cubicBezTo>
                  <a:cubicBezTo>
                    <a:pt x="1094" y="154"/>
                    <a:pt x="1096" y="154"/>
                    <a:pt x="1101" y="152"/>
                  </a:cubicBezTo>
                  <a:cubicBezTo>
                    <a:pt x="1110" y="148"/>
                    <a:pt x="1104" y="137"/>
                    <a:pt x="1106" y="129"/>
                  </a:cubicBezTo>
                  <a:cubicBezTo>
                    <a:pt x="1107" y="124"/>
                    <a:pt x="1112" y="119"/>
                    <a:pt x="1112" y="114"/>
                  </a:cubicBezTo>
                  <a:cubicBezTo>
                    <a:pt x="1111" y="111"/>
                    <a:pt x="1110" y="110"/>
                    <a:pt x="1110" y="108"/>
                  </a:cubicBezTo>
                  <a:cubicBezTo>
                    <a:pt x="1111" y="105"/>
                    <a:pt x="1114" y="101"/>
                    <a:pt x="1117" y="99"/>
                  </a:cubicBezTo>
                  <a:cubicBezTo>
                    <a:pt x="1119" y="96"/>
                    <a:pt x="1120" y="95"/>
                    <a:pt x="1122" y="92"/>
                  </a:cubicBezTo>
                  <a:cubicBezTo>
                    <a:pt x="1124" y="89"/>
                    <a:pt x="1126" y="85"/>
                    <a:pt x="1128" y="83"/>
                  </a:cubicBezTo>
                  <a:cubicBezTo>
                    <a:pt x="1130" y="80"/>
                    <a:pt x="1133" y="80"/>
                    <a:pt x="1134" y="77"/>
                  </a:cubicBezTo>
                  <a:cubicBezTo>
                    <a:pt x="1135" y="74"/>
                    <a:pt x="1132" y="70"/>
                    <a:pt x="1133" y="67"/>
                  </a:cubicBezTo>
                  <a:cubicBezTo>
                    <a:pt x="1133" y="62"/>
                    <a:pt x="1137" y="61"/>
                    <a:pt x="1141" y="58"/>
                  </a:cubicBezTo>
                  <a:cubicBezTo>
                    <a:pt x="1145" y="56"/>
                    <a:pt x="1149" y="47"/>
                    <a:pt x="1142" y="49"/>
                  </a:cubicBezTo>
                  <a:cubicBezTo>
                    <a:pt x="1141" y="45"/>
                    <a:pt x="1141" y="39"/>
                    <a:pt x="1143" y="36"/>
                  </a:cubicBezTo>
                  <a:cubicBezTo>
                    <a:pt x="1146" y="31"/>
                    <a:pt x="1155" y="35"/>
                    <a:pt x="1158" y="29"/>
                  </a:cubicBezTo>
                  <a:cubicBezTo>
                    <a:pt x="1156" y="26"/>
                    <a:pt x="1148" y="26"/>
                    <a:pt x="1145" y="24"/>
                  </a:cubicBezTo>
                  <a:cubicBezTo>
                    <a:pt x="1141" y="23"/>
                    <a:pt x="1139" y="21"/>
                    <a:pt x="1140" y="18"/>
                  </a:cubicBezTo>
                  <a:cubicBezTo>
                    <a:pt x="1141" y="16"/>
                    <a:pt x="1142" y="15"/>
                    <a:pt x="1144" y="15"/>
                  </a:cubicBezTo>
                  <a:cubicBezTo>
                    <a:pt x="1147" y="11"/>
                    <a:pt x="1141" y="0"/>
                    <a:pt x="1136" y="1"/>
                  </a:cubicBezTo>
                  <a:cubicBezTo>
                    <a:pt x="1135" y="5"/>
                    <a:pt x="1133" y="12"/>
                    <a:pt x="1130" y="15"/>
                  </a:cubicBezTo>
                  <a:cubicBezTo>
                    <a:pt x="1127" y="18"/>
                    <a:pt x="1118" y="15"/>
                    <a:pt x="1114" y="16"/>
                  </a:cubicBezTo>
                  <a:cubicBezTo>
                    <a:pt x="1112" y="17"/>
                    <a:pt x="1109" y="19"/>
                    <a:pt x="1111" y="22"/>
                  </a:cubicBezTo>
                  <a:cubicBezTo>
                    <a:pt x="1113" y="25"/>
                    <a:pt x="1115" y="24"/>
                    <a:pt x="1117" y="24"/>
                  </a:cubicBezTo>
                  <a:cubicBezTo>
                    <a:pt x="1121" y="25"/>
                    <a:pt x="1123" y="28"/>
                    <a:pt x="1124" y="32"/>
                  </a:cubicBezTo>
                  <a:cubicBezTo>
                    <a:pt x="1123" y="33"/>
                    <a:pt x="1120" y="33"/>
                    <a:pt x="1118" y="33"/>
                  </a:cubicBezTo>
                  <a:cubicBezTo>
                    <a:pt x="1121" y="34"/>
                    <a:pt x="1122" y="41"/>
                    <a:pt x="1124" y="44"/>
                  </a:cubicBezTo>
                  <a:cubicBezTo>
                    <a:pt x="1127" y="51"/>
                    <a:pt x="1125" y="57"/>
                    <a:pt x="1117" y="58"/>
                  </a:cubicBezTo>
                  <a:cubicBezTo>
                    <a:pt x="1114" y="58"/>
                    <a:pt x="1112" y="58"/>
                    <a:pt x="1111" y="56"/>
                  </a:cubicBezTo>
                  <a:cubicBezTo>
                    <a:pt x="1109" y="54"/>
                    <a:pt x="1108" y="51"/>
                    <a:pt x="1109" y="49"/>
                  </a:cubicBezTo>
                  <a:cubicBezTo>
                    <a:pt x="1106" y="47"/>
                    <a:pt x="1103" y="48"/>
                    <a:pt x="1100" y="48"/>
                  </a:cubicBezTo>
                  <a:cubicBezTo>
                    <a:pt x="1100" y="44"/>
                    <a:pt x="1099" y="38"/>
                    <a:pt x="1096" y="35"/>
                  </a:cubicBezTo>
                  <a:cubicBezTo>
                    <a:pt x="1092" y="37"/>
                    <a:pt x="1092" y="41"/>
                    <a:pt x="1087" y="39"/>
                  </a:cubicBezTo>
                  <a:cubicBezTo>
                    <a:pt x="1082" y="36"/>
                    <a:pt x="1083" y="29"/>
                    <a:pt x="1079" y="26"/>
                  </a:cubicBezTo>
                  <a:cubicBezTo>
                    <a:pt x="1069" y="16"/>
                    <a:pt x="1074" y="39"/>
                    <a:pt x="1075" y="43"/>
                  </a:cubicBezTo>
                  <a:cubicBezTo>
                    <a:pt x="1075" y="47"/>
                    <a:pt x="1077" y="48"/>
                    <a:pt x="1078" y="52"/>
                  </a:cubicBezTo>
                  <a:cubicBezTo>
                    <a:pt x="1078" y="57"/>
                    <a:pt x="1077" y="63"/>
                    <a:pt x="1070" y="60"/>
                  </a:cubicBezTo>
                  <a:cubicBezTo>
                    <a:pt x="1066" y="58"/>
                    <a:pt x="1063" y="50"/>
                    <a:pt x="1058" y="53"/>
                  </a:cubicBezTo>
                  <a:cubicBezTo>
                    <a:pt x="1053" y="56"/>
                    <a:pt x="1056" y="61"/>
                    <a:pt x="1059" y="64"/>
                  </a:cubicBezTo>
                  <a:cubicBezTo>
                    <a:pt x="1062" y="68"/>
                    <a:pt x="1068" y="68"/>
                    <a:pt x="1072" y="71"/>
                  </a:cubicBezTo>
                  <a:cubicBezTo>
                    <a:pt x="1075" y="74"/>
                    <a:pt x="1075" y="77"/>
                    <a:pt x="1076" y="80"/>
                  </a:cubicBezTo>
                  <a:cubicBezTo>
                    <a:pt x="1078" y="82"/>
                    <a:pt x="1081" y="89"/>
                    <a:pt x="1076" y="91"/>
                  </a:cubicBezTo>
                  <a:cubicBezTo>
                    <a:pt x="1072" y="92"/>
                    <a:pt x="1074" y="89"/>
                    <a:pt x="1072" y="87"/>
                  </a:cubicBezTo>
                  <a:cubicBezTo>
                    <a:pt x="1070" y="85"/>
                    <a:pt x="1067" y="86"/>
                    <a:pt x="1066" y="82"/>
                  </a:cubicBezTo>
                  <a:cubicBezTo>
                    <a:pt x="1063" y="83"/>
                    <a:pt x="1062" y="87"/>
                    <a:pt x="1060" y="90"/>
                  </a:cubicBezTo>
                  <a:cubicBezTo>
                    <a:pt x="1057" y="93"/>
                    <a:pt x="1050" y="96"/>
                    <a:pt x="1051" y="102"/>
                  </a:cubicBezTo>
                  <a:cubicBezTo>
                    <a:pt x="1051" y="106"/>
                    <a:pt x="1052" y="107"/>
                    <a:pt x="1055" y="109"/>
                  </a:cubicBezTo>
                  <a:cubicBezTo>
                    <a:pt x="1058" y="111"/>
                    <a:pt x="1058" y="108"/>
                    <a:pt x="1059" y="112"/>
                  </a:cubicBezTo>
                  <a:cubicBezTo>
                    <a:pt x="1060" y="115"/>
                    <a:pt x="1060" y="117"/>
                    <a:pt x="1059" y="119"/>
                  </a:cubicBezTo>
                  <a:cubicBezTo>
                    <a:pt x="1057" y="118"/>
                    <a:pt x="1053" y="117"/>
                    <a:pt x="1051" y="115"/>
                  </a:cubicBezTo>
                  <a:cubicBezTo>
                    <a:pt x="1047" y="113"/>
                    <a:pt x="1048" y="110"/>
                    <a:pt x="1042" y="110"/>
                  </a:cubicBezTo>
                  <a:cubicBezTo>
                    <a:pt x="1036" y="110"/>
                    <a:pt x="1034" y="117"/>
                    <a:pt x="1031" y="122"/>
                  </a:cubicBezTo>
                  <a:cubicBezTo>
                    <a:pt x="1028" y="125"/>
                    <a:pt x="1025" y="129"/>
                    <a:pt x="1022" y="132"/>
                  </a:cubicBezTo>
                  <a:cubicBezTo>
                    <a:pt x="1020" y="134"/>
                    <a:pt x="1015" y="136"/>
                    <a:pt x="1015" y="139"/>
                  </a:cubicBezTo>
                  <a:cubicBezTo>
                    <a:pt x="1016" y="139"/>
                    <a:pt x="1016" y="140"/>
                    <a:pt x="1016" y="141"/>
                  </a:cubicBezTo>
                  <a:cubicBezTo>
                    <a:pt x="1017" y="143"/>
                    <a:pt x="1017" y="144"/>
                    <a:pt x="1016" y="147"/>
                  </a:cubicBezTo>
                  <a:cubicBezTo>
                    <a:pt x="1013" y="158"/>
                    <a:pt x="1006" y="153"/>
                    <a:pt x="998" y="156"/>
                  </a:cubicBezTo>
                  <a:cubicBezTo>
                    <a:pt x="997" y="158"/>
                    <a:pt x="1011" y="165"/>
                    <a:pt x="1013" y="169"/>
                  </a:cubicBezTo>
                  <a:cubicBezTo>
                    <a:pt x="1008" y="171"/>
                    <a:pt x="1000" y="171"/>
                    <a:pt x="1002" y="178"/>
                  </a:cubicBezTo>
                  <a:cubicBezTo>
                    <a:pt x="1003" y="182"/>
                    <a:pt x="1006" y="188"/>
                    <a:pt x="1008" y="190"/>
                  </a:cubicBezTo>
                  <a:cubicBezTo>
                    <a:pt x="1010" y="193"/>
                    <a:pt x="1011" y="193"/>
                    <a:pt x="1012" y="194"/>
                  </a:cubicBezTo>
                  <a:cubicBezTo>
                    <a:pt x="1012" y="194"/>
                    <a:pt x="1011" y="194"/>
                    <a:pt x="1010" y="194"/>
                  </a:cubicBezTo>
                  <a:cubicBezTo>
                    <a:pt x="1006" y="193"/>
                    <a:pt x="1001" y="192"/>
                    <a:pt x="996" y="192"/>
                  </a:cubicBezTo>
                  <a:cubicBezTo>
                    <a:pt x="993" y="191"/>
                    <a:pt x="991" y="191"/>
                    <a:pt x="989" y="188"/>
                  </a:cubicBezTo>
                  <a:cubicBezTo>
                    <a:pt x="987" y="185"/>
                    <a:pt x="986" y="180"/>
                    <a:pt x="987" y="176"/>
                  </a:cubicBezTo>
                  <a:cubicBezTo>
                    <a:pt x="987" y="175"/>
                    <a:pt x="988" y="173"/>
                    <a:pt x="988" y="172"/>
                  </a:cubicBezTo>
                  <a:cubicBezTo>
                    <a:pt x="983" y="170"/>
                    <a:pt x="978" y="178"/>
                    <a:pt x="974" y="174"/>
                  </a:cubicBezTo>
                  <a:cubicBezTo>
                    <a:pt x="968" y="166"/>
                    <a:pt x="984" y="161"/>
                    <a:pt x="982" y="156"/>
                  </a:cubicBezTo>
                  <a:cubicBezTo>
                    <a:pt x="977" y="154"/>
                    <a:pt x="971" y="155"/>
                    <a:pt x="966" y="155"/>
                  </a:cubicBezTo>
                  <a:cubicBezTo>
                    <a:pt x="964" y="154"/>
                    <a:pt x="959" y="152"/>
                    <a:pt x="957" y="154"/>
                  </a:cubicBezTo>
                  <a:cubicBezTo>
                    <a:pt x="955" y="156"/>
                    <a:pt x="958" y="160"/>
                    <a:pt x="956" y="162"/>
                  </a:cubicBezTo>
                  <a:cubicBezTo>
                    <a:pt x="955" y="164"/>
                    <a:pt x="951" y="163"/>
                    <a:pt x="949" y="162"/>
                  </a:cubicBezTo>
                  <a:cubicBezTo>
                    <a:pt x="945" y="161"/>
                    <a:pt x="941" y="158"/>
                    <a:pt x="941" y="154"/>
                  </a:cubicBezTo>
                  <a:cubicBezTo>
                    <a:pt x="942" y="151"/>
                    <a:pt x="945" y="149"/>
                    <a:pt x="943" y="146"/>
                  </a:cubicBezTo>
                  <a:cubicBezTo>
                    <a:pt x="942" y="145"/>
                    <a:pt x="934" y="145"/>
                    <a:pt x="933" y="145"/>
                  </a:cubicBezTo>
                  <a:cubicBezTo>
                    <a:pt x="930" y="146"/>
                    <a:pt x="930" y="147"/>
                    <a:pt x="929" y="150"/>
                  </a:cubicBezTo>
                  <a:cubicBezTo>
                    <a:pt x="929" y="153"/>
                    <a:pt x="929" y="158"/>
                    <a:pt x="929" y="162"/>
                  </a:cubicBezTo>
                  <a:cubicBezTo>
                    <a:pt x="929" y="176"/>
                    <a:pt x="925" y="188"/>
                    <a:pt x="918" y="200"/>
                  </a:cubicBezTo>
                  <a:cubicBezTo>
                    <a:pt x="918" y="201"/>
                    <a:pt x="917" y="201"/>
                    <a:pt x="917" y="202"/>
                  </a:cubicBezTo>
                  <a:cubicBezTo>
                    <a:pt x="915" y="201"/>
                    <a:pt x="913" y="199"/>
                    <a:pt x="912" y="198"/>
                  </a:cubicBezTo>
                  <a:cubicBezTo>
                    <a:pt x="908" y="193"/>
                    <a:pt x="908" y="188"/>
                    <a:pt x="900" y="187"/>
                  </a:cubicBezTo>
                  <a:cubicBezTo>
                    <a:pt x="892" y="187"/>
                    <a:pt x="895" y="199"/>
                    <a:pt x="891" y="204"/>
                  </a:cubicBezTo>
                  <a:cubicBezTo>
                    <a:pt x="889" y="208"/>
                    <a:pt x="885" y="207"/>
                    <a:pt x="881" y="209"/>
                  </a:cubicBezTo>
                  <a:cubicBezTo>
                    <a:pt x="878" y="211"/>
                    <a:pt x="877" y="211"/>
                    <a:pt x="872" y="212"/>
                  </a:cubicBezTo>
                  <a:cubicBezTo>
                    <a:pt x="867" y="213"/>
                    <a:pt x="867" y="216"/>
                    <a:pt x="866" y="220"/>
                  </a:cubicBezTo>
                  <a:cubicBezTo>
                    <a:pt x="865" y="225"/>
                    <a:pt x="860" y="222"/>
                    <a:pt x="857" y="225"/>
                  </a:cubicBezTo>
                  <a:cubicBezTo>
                    <a:pt x="856" y="226"/>
                    <a:pt x="855" y="235"/>
                    <a:pt x="854" y="237"/>
                  </a:cubicBezTo>
                  <a:cubicBezTo>
                    <a:pt x="854" y="240"/>
                    <a:pt x="854" y="244"/>
                    <a:pt x="855" y="247"/>
                  </a:cubicBezTo>
                  <a:cubicBezTo>
                    <a:pt x="856" y="252"/>
                    <a:pt x="860" y="255"/>
                    <a:pt x="858" y="260"/>
                  </a:cubicBezTo>
                  <a:cubicBezTo>
                    <a:pt x="853" y="262"/>
                    <a:pt x="853" y="255"/>
                    <a:pt x="851" y="253"/>
                  </a:cubicBezTo>
                  <a:cubicBezTo>
                    <a:pt x="847" y="256"/>
                    <a:pt x="846" y="261"/>
                    <a:pt x="844" y="265"/>
                  </a:cubicBezTo>
                  <a:cubicBezTo>
                    <a:pt x="843" y="268"/>
                    <a:pt x="841" y="270"/>
                    <a:pt x="839" y="273"/>
                  </a:cubicBezTo>
                  <a:cubicBezTo>
                    <a:pt x="839" y="268"/>
                    <a:pt x="839" y="263"/>
                    <a:pt x="839" y="257"/>
                  </a:cubicBezTo>
                  <a:cubicBezTo>
                    <a:pt x="840" y="252"/>
                    <a:pt x="844" y="251"/>
                    <a:pt x="844" y="246"/>
                  </a:cubicBezTo>
                  <a:cubicBezTo>
                    <a:pt x="845" y="241"/>
                    <a:pt x="840" y="240"/>
                    <a:pt x="839" y="236"/>
                  </a:cubicBezTo>
                  <a:cubicBezTo>
                    <a:pt x="837" y="232"/>
                    <a:pt x="837" y="227"/>
                    <a:pt x="838" y="223"/>
                  </a:cubicBezTo>
                  <a:cubicBezTo>
                    <a:pt x="839" y="219"/>
                    <a:pt x="842" y="214"/>
                    <a:pt x="842" y="210"/>
                  </a:cubicBezTo>
                  <a:cubicBezTo>
                    <a:pt x="842" y="205"/>
                    <a:pt x="837" y="205"/>
                    <a:pt x="833" y="205"/>
                  </a:cubicBezTo>
                  <a:cubicBezTo>
                    <a:pt x="830" y="205"/>
                    <a:pt x="827" y="204"/>
                    <a:pt x="825" y="206"/>
                  </a:cubicBezTo>
                  <a:cubicBezTo>
                    <a:pt x="823" y="208"/>
                    <a:pt x="825" y="211"/>
                    <a:pt x="824" y="214"/>
                  </a:cubicBezTo>
                  <a:cubicBezTo>
                    <a:pt x="822" y="223"/>
                    <a:pt x="815" y="231"/>
                    <a:pt x="815" y="241"/>
                  </a:cubicBezTo>
                  <a:cubicBezTo>
                    <a:pt x="815" y="245"/>
                    <a:pt x="815" y="249"/>
                    <a:pt x="814" y="253"/>
                  </a:cubicBezTo>
                  <a:cubicBezTo>
                    <a:pt x="813" y="256"/>
                    <a:pt x="811" y="260"/>
                    <a:pt x="811" y="263"/>
                  </a:cubicBezTo>
                  <a:cubicBezTo>
                    <a:pt x="806" y="259"/>
                    <a:pt x="804" y="249"/>
                    <a:pt x="807" y="243"/>
                  </a:cubicBezTo>
                  <a:cubicBezTo>
                    <a:pt x="808" y="240"/>
                    <a:pt x="809" y="240"/>
                    <a:pt x="809" y="237"/>
                  </a:cubicBezTo>
                  <a:cubicBezTo>
                    <a:pt x="809" y="235"/>
                    <a:pt x="811" y="231"/>
                    <a:pt x="810" y="229"/>
                  </a:cubicBezTo>
                  <a:cubicBezTo>
                    <a:pt x="809" y="223"/>
                    <a:pt x="798" y="231"/>
                    <a:pt x="794" y="233"/>
                  </a:cubicBezTo>
                  <a:cubicBezTo>
                    <a:pt x="791" y="234"/>
                    <a:pt x="790" y="235"/>
                    <a:pt x="787" y="235"/>
                  </a:cubicBezTo>
                  <a:cubicBezTo>
                    <a:pt x="783" y="235"/>
                    <a:pt x="781" y="234"/>
                    <a:pt x="779" y="236"/>
                  </a:cubicBezTo>
                  <a:cubicBezTo>
                    <a:pt x="779" y="237"/>
                    <a:pt x="779" y="239"/>
                    <a:pt x="779" y="240"/>
                  </a:cubicBezTo>
                  <a:cubicBezTo>
                    <a:pt x="778" y="241"/>
                    <a:pt x="776" y="241"/>
                    <a:pt x="774" y="242"/>
                  </a:cubicBezTo>
                  <a:cubicBezTo>
                    <a:pt x="772" y="243"/>
                    <a:pt x="771" y="243"/>
                    <a:pt x="770" y="245"/>
                  </a:cubicBezTo>
                  <a:cubicBezTo>
                    <a:pt x="767" y="250"/>
                    <a:pt x="767" y="257"/>
                    <a:pt x="770" y="262"/>
                  </a:cubicBezTo>
                  <a:cubicBezTo>
                    <a:pt x="773" y="267"/>
                    <a:pt x="773" y="269"/>
                    <a:pt x="773" y="274"/>
                  </a:cubicBezTo>
                  <a:cubicBezTo>
                    <a:pt x="774" y="281"/>
                    <a:pt x="774" y="286"/>
                    <a:pt x="781" y="287"/>
                  </a:cubicBezTo>
                  <a:cubicBezTo>
                    <a:pt x="783" y="287"/>
                    <a:pt x="787" y="286"/>
                    <a:pt x="788" y="287"/>
                  </a:cubicBezTo>
                  <a:cubicBezTo>
                    <a:pt x="791" y="288"/>
                    <a:pt x="793" y="294"/>
                    <a:pt x="795" y="297"/>
                  </a:cubicBezTo>
                  <a:cubicBezTo>
                    <a:pt x="798" y="301"/>
                    <a:pt x="800" y="304"/>
                    <a:pt x="795" y="306"/>
                  </a:cubicBezTo>
                  <a:cubicBezTo>
                    <a:pt x="793" y="307"/>
                    <a:pt x="790" y="309"/>
                    <a:pt x="789" y="307"/>
                  </a:cubicBezTo>
                  <a:cubicBezTo>
                    <a:pt x="787" y="306"/>
                    <a:pt x="786" y="298"/>
                    <a:pt x="784" y="296"/>
                  </a:cubicBezTo>
                  <a:cubicBezTo>
                    <a:pt x="783" y="292"/>
                    <a:pt x="783" y="291"/>
                    <a:pt x="779" y="290"/>
                  </a:cubicBezTo>
                  <a:cubicBezTo>
                    <a:pt x="777" y="290"/>
                    <a:pt x="776" y="291"/>
                    <a:pt x="774" y="290"/>
                  </a:cubicBezTo>
                  <a:cubicBezTo>
                    <a:pt x="773" y="289"/>
                    <a:pt x="771" y="286"/>
                    <a:pt x="770" y="285"/>
                  </a:cubicBezTo>
                  <a:cubicBezTo>
                    <a:pt x="767" y="283"/>
                    <a:pt x="765" y="280"/>
                    <a:pt x="763" y="276"/>
                  </a:cubicBezTo>
                  <a:cubicBezTo>
                    <a:pt x="763" y="274"/>
                    <a:pt x="764" y="272"/>
                    <a:pt x="763" y="270"/>
                  </a:cubicBezTo>
                  <a:cubicBezTo>
                    <a:pt x="762" y="265"/>
                    <a:pt x="752" y="262"/>
                    <a:pt x="749" y="267"/>
                  </a:cubicBezTo>
                  <a:cubicBezTo>
                    <a:pt x="745" y="273"/>
                    <a:pt x="752" y="279"/>
                    <a:pt x="754" y="283"/>
                  </a:cubicBezTo>
                  <a:cubicBezTo>
                    <a:pt x="755" y="287"/>
                    <a:pt x="756" y="291"/>
                    <a:pt x="755" y="295"/>
                  </a:cubicBezTo>
                  <a:cubicBezTo>
                    <a:pt x="745" y="298"/>
                    <a:pt x="745" y="286"/>
                    <a:pt x="740" y="281"/>
                  </a:cubicBezTo>
                  <a:cubicBezTo>
                    <a:pt x="733" y="273"/>
                    <a:pt x="732" y="283"/>
                    <a:pt x="732" y="289"/>
                  </a:cubicBezTo>
                  <a:cubicBezTo>
                    <a:pt x="730" y="289"/>
                    <a:pt x="727" y="288"/>
                    <a:pt x="725" y="289"/>
                  </a:cubicBezTo>
                  <a:cubicBezTo>
                    <a:pt x="724" y="290"/>
                    <a:pt x="723" y="293"/>
                    <a:pt x="723" y="294"/>
                  </a:cubicBezTo>
                  <a:cubicBezTo>
                    <a:pt x="721" y="294"/>
                    <a:pt x="720" y="285"/>
                    <a:pt x="719" y="282"/>
                  </a:cubicBezTo>
                  <a:cubicBezTo>
                    <a:pt x="718" y="280"/>
                    <a:pt x="715" y="272"/>
                    <a:pt x="713" y="277"/>
                  </a:cubicBezTo>
                  <a:cubicBezTo>
                    <a:pt x="713" y="271"/>
                    <a:pt x="709" y="266"/>
                    <a:pt x="703" y="264"/>
                  </a:cubicBezTo>
                  <a:cubicBezTo>
                    <a:pt x="697" y="261"/>
                    <a:pt x="699" y="266"/>
                    <a:pt x="697" y="269"/>
                  </a:cubicBezTo>
                  <a:cubicBezTo>
                    <a:pt x="695" y="269"/>
                    <a:pt x="692" y="267"/>
                    <a:pt x="690" y="267"/>
                  </a:cubicBezTo>
                  <a:cubicBezTo>
                    <a:pt x="687" y="268"/>
                    <a:pt x="688" y="271"/>
                    <a:pt x="687" y="272"/>
                  </a:cubicBezTo>
                  <a:cubicBezTo>
                    <a:pt x="684" y="276"/>
                    <a:pt x="680" y="274"/>
                    <a:pt x="679" y="280"/>
                  </a:cubicBezTo>
                  <a:cubicBezTo>
                    <a:pt x="681" y="280"/>
                    <a:pt x="684" y="279"/>
                    <a:pt x="687" y="280"/>
                  </a:cubicBezTo>
                  <a:cubicBezTo>
                    <a:pt x="686" y="281"/>
                    <a:pt x="687" y="282"/>
                    <a:pt x="687" y="283"/>
                  </a:cubicBezTo>
                  <a:cubicBezTo>
                    <a:pt x="689" y="283"/>
                    <a:pt x="690" y="283"/>
                    <a:pt x="690" y="284"/>
                  </a:cubicBezTo>
                  <a:cubicBezTo>
                    <a:pt x="686" y="287"/>
                    <a:pt x="674" y="284"/>
                    <a:pt x="671" y="289"/>
                  </a:cubicBezTo>
                  <a:cubicBezTo>
                    <a:pt x="670" y="290"/>
                    <a:pt x="671" y="294"/>
                    <a:pt x="671" y="296"/>
                  </a:cubicBezTo>
                  <a:cubicBezTo>
                    <a:pt x="671" y="299"/>
                    <a:pt x="673" y="302"/>
                    <a:pt x="672" y="304"/>
                  </a:cubicBezTo>
                  <a:cubicBezTo>
                    <a:pt x="672" y="306"/>
                    <a:pt x="672" y="305"/>
                    <a:pt x="671" y="306"/>
                  </a:cubicBezTo>
                  <a:cubicBezTo>
                    <a:pt x="670" y="306"/>
                    <a:pt x="669" y="307"/>
                    <a:pt x="668" y="307"/>
                  </a:cubicBezTo>
                  <a:cubicBezTo>
                    <a:pt x="667" y="308"/>
                    <a:pt x="667" y="308"/>
                    <a:pt x="667" y="309"/>
                  </a:cubicBezTo>
                  <a:cubicBezTo>
                    <a:pt x="664" y="312"/>
                    <a:pt x="665" y="311"/>
                    <a:pt x="664" y="315"/>
                  </a:cubicBezTo>
                  <a:cubicBezTo>
                    <a:pt x="664" y="319"/>
                    <a:pt x="662" y="325"/>
                    <a:pt x="660" y="327"/>
                  </a:cubicBezTo>
                  <a:cubicBezTo>
                    <a:pt x="658" y="329"/>
                    <a:pt x="653" y="333"/>
                    <a:pt x="658" y="336"/>
                  </a:cubicBezTo>
                  <a:cubicBezTo>
                    <a:pt x="659" y="337"/>
                    <a:pt x="661" y="336"/>
                    <a:pt x="663" y="337"/>
                  </a:cubicBezTo>
                  <a:cubicBezTo>
                    <a:pt x="665" y="338"/>
                    <a:pt x="666" y="341"/>
                    <a:pt x="668" y="343"/>
                  </a:cubicBezTo>
                  <a:cubicBezTo>
                    <a:pt x="672" y="342"/>
                    <a:pt x="674" y="337"/>
                    <a:pt x="676" y="334"/>
                  </a:cubicBezTo>
                  <a:cubicBezTo>
                    <a:pt x="678" y="331"/>
                    <a:pt x="681" y="329"/>
                    <a:pt x="684" y="327"/>
                  </a:cubicBezTo>
                  <a:cubicBezTo>
                    <a:pt x="686" y="327"/>
                    <a:pt x="687" y="325"/>
                    <a:pt x="689" y="326"/>
                  </a:cubicBezTo>
                  <a:cubicBezTo>
                    <a:pt x="690" y="326"/>
                    <a:pt x="690" y="328"/>
                    <a:pt x="691" y="328"/>
                  </a:cubicBezTo>
                  <a:cubicBezTo>
                    <a:pt x="693" y="328"/>
                    <a:pt x="694" y="329"/>
                    <a:pt x="694" y="326"/>
                  </a:cubicBezTo>
                  <a:cubicBezTo>
                    <a:pt x="697" y="325"/>
                    <a:pt x="699" y="326"/>
                    <a:pt x="701" y="325"/>
                  </a:cubicBezTo>
                  <a:cubicBezTo>
                    <a:pt x="702" y="325"/>
                    <a:pt x="703" y="324"/>
                    <a:pt x="704" y="324"/>
                  </a:cubicBezTo>
                  <a:cubicBezTo>
                    <a:pt x="705" y="323"/>
                    <a:pt x="707" y="324"/>
                    <a:pt x="708" y="323"/>
                  </a:cubicBezTo>
                  <a:cubicBezTo>
                    <a:pt x="712" y="322"/>
                    <a:pt x="723" y="306"/>
                    <a:pt x="726" y="318"/>
                  </a:cubicBezTo>
                  <a:cubicBezTo>
                    <a:pt x="728" y="325"/>
                    <a:pt x="714" y="323"/>
                    <a:pt x="709" y="325"/>
                  </a:cubicBezTo>
                  <a:cubicBezTo>
                    <a:pt x="706" y="326"/>
                    <a:pt x="703" y="328"/>
                    <a:pt x="702" y="331"/>
                  </a:cubicBezTo>
                  <a:cubicBezTo>
                    <a:pt x="701" y="334"/>
                    <a:pt x="702" y="336"/>
                    <a:pt x="701" y="339"/>
                  </a:cubicBezTo>
                  <a:cubicBezTo>
                    <a:pt x="698" y="343"/>
                    <a:pt x="692" y="342"/>
                    <a:pt x="692" y="348"/>
                  </a:cubicBezTo>
                  <a:cubicBezTo>
                    <a:pt x="692" y="351"/>
                    <a:pt x="694" y="352"/>
                    <a:pt x="692" y="355"/>
                  </a:cubicBezTo>
                  <a:cubicBezTo>
                    <a:pt x="691" y="355"/>
                    <a:pt x="688" y="355"/>
                    <a:pt x="687" y="356"/>
                  </a:cubicBezTo>
                  <a:cubicBezTo>
                    <a:pt x="685" y="357"/>
                    <a:pt x="687" y="359"/>
                    <a:pt x="684" y="360"/>
                  </a:cubicBezTo>
                  <a:cubicBezTo>
                    <a:pt x="682" y="361"/>
                    <a:pt x="677" y="359"/>
                    <a:pt x="675" y="361"/>
                  </a:cubicBezTo>
                  <a:cubicBezTo>
                    <a:pt x="674" y="361"/>
                    <a:pt x="671" y="365"/>
                    <a:pt x="671" y="366"/>
                  </a:cubicBezTo>
                  <a:cubicBezTo>
                    <a:pt x="669" y="368"/>
                    <a:pt x="669" y="370"/>
                    <a:pt x="667" y="372"/>
                  </a:cubicBezTo>
                  <a:cubicBezTo>
                    <a:pt x="665" y="376"/>
                    <a:pt x="663" y="376"/>
                    <a:pt x="660" y="378"/>
                  </a:cubicBezTo>
                  <a:cubicBezTo>
                    <a:pt x="666" y="383"/>
                    <a:pt x="668" y="375"/>
                    <a:pt x="671" y="372"/>
                  </a:cubicBezTo>
                  <a:cubicBezTo>
                    <a:pt x="673" y="370"/>
                    <a:pt x="677" y="371"/>
                    <a:pt x="680" y="370"/>
                  </a:cubicBezTo>
                  <a:cubicBezTo>
                    <a:pt x="680" y="369"/>
                    <a:pt x="681" y="368"/>
                    <a:pt x="682" y="368"/>
                  </a:cubicBezTo>
                  <a:cubicBezTo>
                    <a:pt x="683" y="368"/>
                    <a:pt x="685" y="368"/>
                    <a:pt x="687" y="368"/>
                  </a:cubicBezTo>
                  <a:cubicBezTo>
                    <a:pt x="690" y="367"/>
                    <a:pt x="691" y="365"/>
                    <a:pt x="694" y="364"/>
                  </a:cubicBezTo>
                  <a:cubicBezTo>
                    <a:pt x="696" y="363"/>
                    <a:pt x="700" y="362"/>
                    <a:pt x="702" y="366"/>
                  </a:cubicBezTo>
                  <a:cubicBezTo>
                    <a:pt x="703" y="372"/>
                    <a:pt x="690" y="375"/>
                    <a:pt x="686" y="377"/>
                  </a:cubicBezTo>
                  <a:cubicBezTo>
                    <a:pt x="680" y="380"/>
                    <a:pt x="683" y="382"/>
                    <a:pt x="682" y="387"/>
                  </a:cubicBezTo>
                  <a:cubicBezTo>
                    <a:pt x="681" y="388"/>
                    <a:pt x="678" y="392"/>
                    <a:pt x="676" y="393"/>
                  </a:cubicBezTo>
                  <a:cubicBezTo>
                    <a:pt x="672" y="396"/>
                    <a:pt x="665" y="396"/>
                    <a:pt x="660" y="396"/>
                  </a:cubicBezTo>
                  <a:cubicBezTo>
                    <a:pt x="659" y="396"/>
                    <a:pt x="654" y="395"/>
                    <a:pt x="652" y="397"/>
                  </a:cubicBezTo>
                  <a:cubicBezTo>
                    <a:pt x="651" y="398"/>
                    <a:pt x="652" y="400"/>
                    <a:pt x="651" y="402"/>
                  </a:cubicBezTo>
                  <a:cubicBezTo>
                    <a:pt x="650" y="406"/>
                    <a:pt x="645" y="410"/>
                    <a:pt x="641" y="408"/>
                  </a:cubicBezTo>
                  <a:cubicBezTo>
                    <a:pt x="634" y="404"/>
                    <a:pt x="639" y="389"/>
                    <a:pt x="639" y="383"/>
                  </a:cubicBezTo>
                  <a:cubicBezTo>
                    <a:pt x="639" y="379"/>
                    <a:pt x="639" y="376"/>
                    <a:pt x="636" y="373"/>
                  </a:cubicBezTo>
                  <a:cubicBezTo>
                    <a:pt x="634" y="371"/>
                    <a:pt x="629" y="366"/>
                    <a:pt x="625" y="368"/>
                  </a:cubicBezTo>
                  <a:cubicBezTo>
                    <a:pt x="624" y="369"/>
                    <a:pt x="623" y="373"/>
                    <a:pt x="622" y="374"/>
                  </a:cubicBezTo>
                  <a:cubicBezTo>
                    <a:pt x="621" y="377"/>
                    <a:pt x="618" y="380"/>
                    <a:pt x="617" y="383"/>
                  </a:cubicBezTo>
                  <a:cubicBezTo>
                    <a:pt x="616" y="385"/>
                    <a:pt x="617" y="390"/>
                    <a:pt x="613" y="390"/>
                  </a:cubicBezTo>
                  <a:cubicBezTo>
                    <a:pt x="612" y="388"/>
                    <a:pt x="611" y="384"/>
                    <a:pt x="611" y="382"/>
                  </a:cubicBezTo>
                  <a:cubicBezTo>
                    <a:pt x="611" y="380"/>
                    <a:pt x="612" y="377"/>
                    <a:pt x="611" y="376"/>
                  </a:cubicBezTo>
                  <a:cubicBezTo>
                    <a:pt x="610" y="374"/>
                    <a:pt x="608" y="375"/>
                    <a:pt x="608" y="374"/>
                  </a:cubicBezTo>
                  <a:cubicBezTo>
                    <a:pt x="606" y="373"/>
                    <a:pt x="606" y="372"/>
                    <a:pt x="606" y="369"/>
                  </a:cubicBezTo>
                  <a:cubicBezTo>
                    <a:pt x="606" y="365"/>
                    <a:pt x="607" y="359"/>
                    <a:pt x="603" y="356"/>
                  </a:cubicBezTo>
                  <a:cubicBezTo>
                    <a:pt x="600" y="354"/>
                    <a:pt x="597" y="356"/>
                    <a:pt x="594" y="355"/>
                  </a:cubicBezTo>
                  <a:cubicBezTo>
                    <a:pt x="594" y="352"/>
                    <a:pt x="597" y="348"/>
                    <a:pt x="598" y="346"/>
                  </a:cubicBezTo>
                  <a:cubicBezTo>
                    <a:pt x="599" y="345"/>
                    <a:pt x="601" y="343"/>
                    <a:pt x="601" y="342"/>
                  </a:cubicBezTo>
                  <a:cubicBezTo>
                    <a:pt x="602" y="341"/>
                    <a:pt x="601" y="340"/>
                    <a:pt x="602" y="339"/>
                  </a:cubicBezTo>
                  <a:cubicBezTo>
                    <a:pt x="603" y="337"/>
                    <a:pt x="607" y="336"/>
                    <a:pt x="608" y="335"/>
                  </a:cubicBezTo>
                  <a:cubicBezTo>
                    <a:pt x="610" y="333"/>
                    <a:pt x="611" y="331"/>
                    <a:pt x="612" y="328"/>
                  </a:cubicBezTo>
                  <a:cubicBezTo>
                    <a:pt x="614" y="326"/>
                    <a:pt x="615" y="325"/>
                    <a:pt x="616" y="322"/>
                  </a:cubicBezTo>
                  <a:cubicBezTo>
                    <a:pt x="619" y="318"/>
                    <a:pt x="618" y="316"/>
                    <a:pt x="618" y="311"/>
                  </a:cubicBezTo>
                  <a:cubicBezTo>
                    <a:pt x="619" y="308"/>
                    <a:pt x="622" y="303"/>
                    <a:pt x="620" y="300"/>
                  </a:cubicBezTo>
                  <a:cubicBezTo>
                    <a:pt x="618" y="298"/>
                    <a:pt x="612" y="299"/>
                    <a:pt x="610" y="300"/>
                  </a:cubicBezTo>
                  <a:cubicBezTo>
                    <a:pt x="608" y="301"/>
                    <a:pt x="607" y="304"/>
                    <a:pt x="605" y="305"/>
                  </a:cubicBezTo>
                  <a:cubicBezTo>
                    <a:pt x="604" y="307"/>
                    <a:pt x="604" y="306"/>
                    <a:pt x="603" y="309"/>
                  </a:cubicBezTo>
                  <a:cubicBezTo>
                    <a:pt x="603" y="310"/>
                    <a:pt x="604" y="312"/>
                    <a:pt x="604" y="313"/>
                  </a:cubicBezTo>
                  <a:cubicBezTo>
                    <a:pt x="603" y="316"/>
                    <a:pt x="599" y="317"/>
                    <a:pt x="597" y="318"/>
                  </a:cubicBezTo>
                  <a:cubicBezTo>
                    <a:pt x="595" y="321"/>
                    <a:pt x="592" y="323"/>
                    <a:pt x="590" y="326"/>
                  </a:cubicBezTo>
                  <a:cubicBezTo>
                    <a:pt x="584" y="334"/>
                    <a:pt x="581" y="343"/>
                    <a:pt x="581" y="353"/>
                  </a:cubicBezTo>
                  <a:cubicBezTo>
                    <a:pt x="582" y="355"/>
                    <a:pt x="581" y="358"/>
                    <a:pt x="581" y="361"/>
                  </a:cubicBezTo>
                  <a:cubicBezTo>
                    <a:pt x="582" y="364"/>
                    <a:pt x="580" y="369"/>
                    <a:pt x="581" y="372"/>
                  </a:cubicBezTo>
                  <a:cubicBezTo>
                    <a:pt x="590" y="372"/>
                    <a:pt x="579" y="377"/>
                    <a:pt x="578" y="381"/>
                  </a:cubicBezTo>
                  <a:cubicBezTo>
                    <a:pt x="576" y="384"/>
                    <a:pt x="582" y="394"/>
                    <a:pt x="575" y="395"/>
                  </a:cubicBezTo>
                  <a:cubicBezTo>
                    <a:pt x="572" y="392"/>
                    <a:pt x="574" y="389"/>
                    <a:pt x="573" y="387"/>
                  </a:cubicBezTo>
                  <a:cubicBezTo>
                    <a:pt x="573" y="387"/>
                    <a:pt x="571" y="384"/>
                    <a:pt x="572" y="385"/>
                  </a:cubicBezTo>
                  <a:cubicBezTo>
                    <a:pt x="571" y="383"/>
                    <a:pt x="571" y="381"/>
                    <a:pt x="571" y="378"/>
                  </a:cubicBezTo>
                  <a:cubicBezTo>
                    <a:pt x="571" y="376"/>
                    <a:pt x="571" y="373"/>
                    <a:pt x="571" y="371"/>
                  </a:cubicBezTo>
                  <a:cubicBezTo>
                    <a:pt x="571" y="368"/>
                    <a:pt x="570" y="366"/>
                    <a:pt x="570" y="363"/>
                  </a:cubicBezTo>
                  <a:cubicBezTo>
                    <a:pt x="569" y="363"/>
                    <a:pt x="568" y="363"/>
                    <a:pt x="567" y="364"/>
                  </a:cubicBezTo>
                  <a:cubicBezTo>
                    <a:pt x="566" y="361"/>
                    <a:pt x="566" y="358"/>
                    <a:pt x="564" y="355"/>
                  </a:cubicBezTo>
                  <a:cubicBezTo>
                    <a:pt x="563" y="354"/>
                    <a:pt x="562" y="349"/>
                    <a:pt x="561" y="348"/>
                  </a:cubicBezTo>
                  <a:cubicBezTo>
                    <a:pt x="555" y="343"/>
                    <a:pt x="554" y="359"/>
                    <a:pt x="554" y="362"/>
                  </a:cubicBezTo>
                  <a:cubicBezTo>
                    <a:pt x="554" y="365"/>
                    <a:pt x="554" y="366"/>
                    <a:pt x="555" y="368"/>
                  </a:cubicBezTo>
                  <a:cubicBezTo>
                    <a:pt x="555" y="370"/>
                    <a:pt x="556" y="370"/>
                    <a:pt x="556" y="372"/>
                  </a:cubicBezTo>
                  <a:cubicBezTo>
                    <a:pt x="553" y="372"/>
                    <a:pt x="551" y="372"/>
                    <a:pt x="549" y="372"/>
                  </a:cubicBezTo>
                  <a:cubicBezTo>
                    <a:pt x="548" y="374"/>
                    <a:pt x="549" y="377"/>
                    <a:pt x="548" y="379"/>
                  </a:cubicBezTo>
                  <a:cubicBezTo>
                    <a:pt x="546" y="377"/>
                    <a:pt x="544" y="372"/>
                    <a:pt x="541" y="372"/>
                  </a:cubicBezTo>
                  <a:cubicBezTo>
                    <a:pt x="537" y="372"/>
                    <a:pt x="535" y="377"/>
                    <a:pt x="534" y="379"/>
                  </a:cubicBezTo>
                  <a:cubicBezTo>
                    <a:pt x="532" y="382"/>
                    <a:pt x="531" y="384"/>
                    <a:pt x="529" y="387"/>
                  </a:cubicBezTo>
                  <a:cubicBezTo>
                    <a:pt x="528" y="389"/>
                    <a:pt x="527" y="390"/>
                    <a:pt x="525" y="393"/>
                  </a:cubicBezTo>
                  <a:cubicBezTo>
                    <a:pt x="525" y="395"/>
                    <a:pt x="522" y="398"/>
                    <a:pt x="522" y="400"/>
                  </a:cubicBezTo>
                  <a:cubicBezTo>
                    <a:pt x="521" y="403"/>
                    <a:pt x="522" y="407"/>
                    <a:pt x="525" y="408"/>
                  </a:cubicBezTo>
                  <a:cubicBezTo>
                    <a:pt x="529" y="409"/>
                    <a:pt x="532" y="403"/>
                    <a:pt x="534" y="400"/>
                  </a:cubicBezTo>
                  <a:cubicBezTo>
                    <a:pt x="537" y="396"/>
                    <a:pt x="537" y="397"/>
                    <a:pt x="542" y="397"/>
                  </a:cubicBezTo>
                  <a:cubicBezTo>
                    <a:pt x="545" y="397"/>
                    <a:pt x="547" y="395"/>
                    <a:pt x="549" y="396"/>
                  </a:cubicBezTo>
                  <a:cubicBezTo>
                    <a:pt x="550" y="398"/>
                    <a:pt x="548" y="399"/>
                    <a:pt x="548" y="401"/>
                  </a:cubicBezTo>
                  <a:cubicBezTo>
                    <a:pt x="547" y="404"/>
                    <a:pt x="548" y="406"/>
                    <a:pt x="546" y="408"/>
                  </a:cubicBezTo>
                  <a:cubicBezTo>
                    <a:pt x="544" y="409"/>
                    <a:pt x="542" y="408"/>
                    <a:pt x="539" y="409"/>
                  </a:cubicBezTo>
                  <a:cubicBezTo>
                    <a:pt x="536" y="410"/>
                    <a:pt x="535" y="414"/>
                    <a:pt x="536" y="417"/>
                  </a:cubicBezTo>
                  <a:cubicBezTo>
                    <a:pt x="538" y="426"/>
                    <a:pt x="549" y="428"/>
                    <a:pt x="556" y="425"/>
                  </a:cubicBezTo>
                  <a:cubicBezTo>
                    <a:pt x="559" y="424"/>
                    <a:pt x="560" y="423"/>
                    <a:pt x="559" y="420"/>
                  </a:cubicBezTo>
                  <a:cubicBezTo>
                    <a:pt x="558" y="417"/>
                    <a:pt x="555" y="416"/>
                    <a:pt x="559" y="413"/>
                  </a:cubicBezTo>
                  <a:cubicBezTo>
                    <a:pt x="560" y="412"/>
                    <a:pt x="562" y="412"/>
                    <a:pt x="564" y="410"/>
                  </a:cubicBezTo>
                  <a:cubicBezTo>
                    <a:pt x="566" y="409"/>
                    <a:pt x="567" y="407"/>
                    <a:pt x="569" y="405"/>
                  </a:cubicBezTo>
                  <a:cubicBezTo>
                    <a:pt x="570" y="404"/>
                    <a:pt x="572" y="403"/>
                    <a:pt x="574" y="402"/>
                  </a:cubicBezTo>
                  <a:cubicBezTo>
                    <a:pt x="575" y="401"/>
                    <a:pt x="580" y="400"/>
                    <a:pt x="581" y="400"/>
                  </a:cubicBezTo>
                  <a:cubicBezTo>
                    <a:pt x="585" y="403"/>
                    <a:pt x="576" y="408"/>
                    <a:pt x="575" y="410"/>
                  </a:cubicBezTo>
                  <a:cubicBezTo>
                    <a:pt x="571" y="414"/>
                    <a:pt x="571" y="418"/>
                    <a:pt x="566" y="421"/>
                  </a:cubicBezTo>
                  <a:cubicBezTo>
                    <a:pt x="569" y="426"/>
                    <a:pt x="570" y="427"/>
                    <a:pt x="565" y="430"/>
                  </a:cubicBezTo>
                  <a:cubicBezTo>
                    <a:pt x="559" y="432"/>
                    <a:pt x="554" y="430"/>
                    <a:pt x="549" y="432"/>
                  </a:cubicBezTo>
                  <a:cubicBezTo>
                    <a:pt x="544" y="433"/>
                    <a:pt x="542" y="434"/>
                    <a:pt x="537" y="434"/>
                  </a:cubicBezTo>
                  <a:cubicBezTo>
                    <a:pt x="534" y="434"/>
                    <a:pt x="530" y="433"/>
                    <a:pt x="528" y="435"/>
                  </a:cubicBezTo>
                  <a:cubicBezTo>
                    <a:pt x="525" y="438"/>
                    <a:pt x="527" y="443"/>
                    <a:pt x="520" y="444"/>
                  </a:cubicBezTo>
                  <a:cubicBezTo>
                    <a:pt x="514" y="444"/>
                    <a:pt x="508" y="440"/>
                    <a:pt x="503" y="443"/>
                  </a:cubicBezTo>
                  <a:cubicBezTo>
                    <a:pt x="502" y="444"/>
                    <a:pt x="502" y="445"/>
                    <a:pt x="500" y="446"/>
                  </a:cubicBezTo>
                  <a:cubicBezTo>
                    <a:pt x="499" y="446"/>
                    <a:pt x="498" y="446"/>
                    <a:pt x="498" y="446"/>
                  </a:cubicBezTo>
                  <a:cubicBezTo>
                    <a:pt x="496" y="446"/>
                    <a:pt x="495" y="447"/>
                    <a:pt x="495" y="448"/>
                  </a:cubicBezTo>
                  <a:cubicBezTo>
                    <a:pt x="493" y="449"/>
                    <a:pt x="489" y="449"/>
                    <a:pt x="487" y="450"/>
                  </a:cubicBezTo>
                  <a:cubicBezTo>
                    <a:pt x="484" y="452"/>
                    <a:pt x="480" y="457"/>
                    <a:pt x="478" y="460"/>
                  </a:cubicBezTo>
                  <a:cubicBezTo>
                    <a:pt x="474" y="463"/>
                    <a:pt x="476" y="467"/>
                    <a:pt x="476" y="472"/>
                  </a:cubicBezTo>
                  <a:cubicBezTo>
                    <a:pt x="473" y="472"/>
                    <a:pt x="469" y="470"/>
                    <a:pt x="467" y="471"/>
                  </a:cubicBezTo>
                  <a:cubicBezTo>
                    <a:pt x="466" y="472"/>
                    <a:pt x="462" y="476"/>
                    <a:pt x="462" y="478"/>
                  </a:cubicBezTo>
                  <a:cubicBezTo>
                    <a:pt x="460" y="481"/>
                    <a:pt x="461" y="482"/>
                    <a:pt x="457" y="484"/>
                  </a:cubicBezTo>
                  <a:cubicBezTo>
                    <a:pt x="454" y="486"/>
                    <a:pt x="451" y="486"/>
                    <a:pt x="447" y="487"/>
                  </a:cubicBezTo>
                  <a:cubicBezTo>
                    <a:pt x="447" y="489"/>
                    <a:pt x="448" y="491"/>
                    <a:pt x="447" y="493"/>
                  </a:cubicBezTo>
                  <a:cubicBezTo>
                    <a:pt x="447" y="495"/>
                    <a:pt x="447" y="497"/>
                    <a:pt x="446" y="499"/>
                  </a:cubicBezTo>
                  <a:cubicBezTo>
                    <a:pt x="445" y="501"/>
                    <a:pt x="444" y="501"/>
                    <a:pt x="443" y="502"/>
                  </a:cubicBezTo>
                  <a:cubicBezTo>
                    <a:pt x="440" y="505"/>
                    <a:pt x="441" y="511"/>
                    <a:pt x="441" y="515"/>
                  </a:cubicBezTo>
                  <a:cubicBezTo>
                    <a:pt x="444" y="516"/>
                    <a:pt x="453" y="512"/>
                    <a:pt x="455" y="509"/>
                  </a:cubicBezTo>
                  <a:cubicBezTo>
                    <a:pt x="456" y="507"/>
                    <a:pt x="457" y="504"/>
                    <a:pt x="458" y="501"/>
                  </a:cubicBezTo>
                  <a:cubicBezTo>
                    <a:pt x="459" y="500"/>
                    <a:pt x="461" y="498"/>
                    <a:pt x="462" y="497"/>
                  </a:cubicBezTo>
                  <a:cubicBezTo>
                    <a:pt x="464" y="498"/>
                    <a:pt x="464" y="499"/>
                    <a:pt x="467" y="498"/>
                  </a:cubicBezTo>
                  <a:cubicBezTo>
                    <a:pt x="470" y="497"/>
                    <a:pt x="469" y="495"/>
                    <a:pt x="470" y="494"/>
                  </a:cubicBezTo>
                  <a:cubicBezTo>
                    <a:pt x="471" y="492"/>
                    <a:pt x="476" y="491"/>
                    <a:pt x="475" y="488"/>
                  </a:cubicBezTo>
                  <a:cubicBezTo>
                    <a:pt x="478" y="487"/>
                    <a:pt x="488" y="490"/>
                    <a:pt x="489" y="484"/>
                  </a:cubicBezTo>
                  <a:cubicBezTo>
                    <a:pt x="492" y="484"/>
                    <a:pt x="493" y="485"/>
                    <a:pt x="495" y="483"/>
                  </a:cubicBezTo>
                  <a:cubicBezTo>
                    <a:pt x="498" y="481"/>
                    <a:pt x="498" y="474"/>
                    <a:pt x="501" y="472"/>
                  </a:cubicBezTo>
                  <a:cubicBezTo>
                    <a:pt x="504" y="470"/>
                    <a:pt x="509" y="471"/>
                    <a:pt x="510" y="467"/>
                  </a:cubicBezTo>
                  <a:cubicBezTo>
                    <a:pt x="510" y="467"/>
                    <a:pt x="510" y="465"/>
                    <a:pt x="510" y="464"/>
                  </a:cubicBezTo>
                  <a:cubicBezTo>
                    <a:pt x="511" y="466"/>
                    <a:pt x="511" y="467"/>
                    <a:pt x="510" y="467"/>
                  </a:cubicBezTo>
                  <a:cubicBezTo>
                    <a:pt x="512" y="471"/>
                    <a:pt x="521" y="470"/>
                    <a:pt x="524" y="469"/>
                  </a:cubicBezTo>
                  <a:cubicBezTo>
                    <a:pt x="530" y="468"/>
                    <a:pt x="531" y="465"/>
                    <a:pt x="535" y="461"/>
                  </a:cubicBezTo>
                  <a:cubicBezTo>
                    <a:pt x="536" y="459"/>
                    <a:pt x="538" y="455"/>
                    <a:pt x="541" y="454"/>
                  </a:cubicBezTo>
                  <a:cubicBezTo>
                    <a:pt x="542" y="456"/>
                    <a:pt x="543" y="458"/>
                    <a:pt x="543" y="460"/>
                  </a:cubicBezTo>
                  <a:cubicBezTo>
                    <a:pt x="545" y="460"/>
                    <a:pt x="546" y="460"/>
                    <a:pt x="548" y="460"/>
                  </a:cubicBezTo>
                  <a:cubicBezTo>
                    <a:pt x="553" y="459"/>
                    <a:pt x="553" y="453"/>
                    <a:pt x="557" y="451"/>
                  </a:cubicBezTo>
                  <a:cubicBezTo>
                    <a:pt x="558" y="450"/>
                    <a:pt x="559" y="449"/>
                    <a:pt x="560" y="449"/>
                  </a:cubicBezTo>
                  <a:cubicBezTo>
                    <a:pt x="561" y="450"/>
                    <a:pt x="561" y="450"/>
                    <a:pt x="562" y="450"/>
                  </a:cubicBezTo>
                  <a:cubicBezTo>
                    <a:pt x="564" y="449"/>
                    <a:pt x="564" y="446"/>
                    <a:pt x="565" y="445"/>
                  </a:cubicBezTo>
                  <a:cubicBezTo>
                    <a:pt x="567" y="444"/>
                    <a:pt x="567" y="447"/>
                    <a:pt x="569" y="446"/>
                  </a:cubicBezTo>
                  <a:cubicBezTo>
                    <a:pt x="571" y="446"/>
                    <a:pt x="576" y="442"/>
                    <a:pt x="578" y="441"/>
                  </a:cubicBezTo>
                  <a:cubicBezTo>
                    <a:pt x="580" y="439"/>
                    <a:pt x="584" y="437"/>
                    <a:pt x="586" y="435"/>
                  </a:cubicBezTo>
                  <a:cubicBezTo>
                    <a:pt x="590" y="440"/>
                    <a:pt x="586" y="447"/>
                    <a:pt x="596" y="445"/>
                  </a:cubicBezTo>
                  <a:cubicBezTo>
                    <a:pt x="600" y="444"/>
                    <a:pt x="603" y="440"/>
                    <a:pt x="606" y="437"/>
                  </a:cubicBezTo>
                  <a:cubicBezTo>
                    <a:pt x="609" y="435"/>
                    <a:pt x="610" y="434"/>
                    <a:pt x="612" y="431"/>
                  </a:cubicBezTo>
                  <a:cubicBezTo>
                    <a:pt x="616" y="434"/>
                    <a:pt x="623" y="422"/>
                    <a:pt x="625" y="419"/>
                  </a:cubicBezTo>
                  <a:cubicBezTo>
                    <a:pt x="625" y="420"/>
                    <a:pt x="625" y="423"/>
                    <a:pt x="625" y="424"/>
                  </a:cubicBezTo>
                  <a:cubicBezTo>
                    <a:pt x="624" y="426"/>
                    <a:pt x="621" y="427"/>
                    <a:pt x="621" y="429"/>
                  </a:cubicBezTo>
                  <a:cubicBezTo>
                    <a:pt x="621" y="435"/>
                    <a:pt x="631" y="436"/>
                    <a:pt x="636" y="435"/>
                  </a:cubicBezTo>
                  <a:cubicBezTo>
                    <a:pt x="642" y="433"/>
                    <a:pt x="647" y="430"/>
                    <a:pt x="653" y="429"/>
                  </a:cubicBezTo>
                  <a:cubicBezTo>
                    <a:pt x="660" y="427"/>
                    <a:pt x="667" y="425"/>
                    <a:pt x="674" y="422"/>
                  </a:cubicBezTo>
                  <a:cubicBezTo>
                    <a:pt x="675" y="425"/>
                    <a:pt x="674" y="428"/>
                    <a:pt x="670" y="428"/>
                  </a:cubicBezTo>
                  <a:cubicBezTo>
                    <a:pt x="669" y="432"/>
                    <a:pt x="674" y="436"/>
                    <a:pt x="669" y="439"/>
                  </a:cubicBezTo>
                  <a:cubicBezTo>
                    <a:pt x="665" y="441"/>
                    <a:pt x="653" y="440"/>
                    <a:pt x="652" y="435"/>
                  </a:cubicBezTo>
                  <a:cubicBezTo>
                    <a:pt x="651" y="435"/>
                    <a:pt x="649" y="435"/>
                    <a:pt x="648" y="435"/>
                  </a:cubicBezTo>
                  <a:cubicBezTo>
                    <a:pt x="645" y="435"/>
                    <a:pt x="644" y="436"/>
                    <a:pt x="642" y="437"/>
                  </a:cubicBezTo>
                  <a:cubicBezTo>
                    <a:pt x="640" y="437"/>
                    <a:pt x="639" y="437"/>
                    <a:pt x="637" y="437"/>
                  </a:cubicBezTo>
                  <a:cubicBezTo>
                    <a:pt x="634" y="437"/>
                    <a:pt x="633" y="439"/>
                    <a:pt x="630" y="440"/>
                  </a:cubicBezTo>
                  <a:cubicBezTo>
                    <a:pt x="627" y="441"/>
                    <a:pt x="622" y="443"/>
                    <a:pt x="624" y="447"/>
                  </a:cubicBezTo>
                  <a:cubicBezTo>
                    <a:pt x="626" y="451"/>
                    <a:pt x="634" y="452"/>
                    <a:pt x="638" y="452"/>
                  </a:cubicBezTo>
                  <a:cubicBezTo>
                    <a:pt x="639" y="455"/>
                    <a:pt x="638" y="455"/>
                    <a:pt x="637" y="457"/>
                  </a:cubicBezTo>
                  <a:cubicBezTo>
                    <a:pt x="635" y="460"/>
                    <a:pt x="633" y="459"/>
                    <a:pt x="631" y="461"/>
                  </a:cubicBezTo>
                  <a:cubicBezTo>
                    <a:pt x="630" y="457"/>
                    <a:pt x="626" y="453"/>
                    <a:pt x="622" y="451"/>
                  </a:cubicBezTo>
                  <a:cubicBezTo>
                    <a:pt x="622" y="453"/>
                    <a:pt x="622" y="454"/>
                    <a:pt x="622" y="455"/>
                  </a:cubicBezTo>
                  <a:cubicBezTo>
                    <a:pt x="622" y="458"/>
                    <a:pt x="623" y="458"/>
                    <a:pt x="624" y="460"/>
                  </a:cubicBezTo>
                  <a:cubicBezTo>
                    <a:pt x="625" y="463"/>
                    <a:pt x="625" y="466"/>
                    <a:pt x="625" y="469"/>
                  </a:cubicBezTo>
                  <a:cubicBezTo>
                    <a:pt x="624" y="473"/>
                    <a:pt x="623" y="480"/>
                    <a:pt x="618" y="482"/>
                  </a:cubicBezTo>
                  <a:cubicBezTo>
                    <a:pt x="619" y="476"/>
                    <a:pt x="620" y="470"/>
                    <a:pt x="616" y="465"/>
                  </a:cubicBezTo>
                  <a:cubicBezTo>
                    <a:pt x="615" y="465"/>
                    <a:pt x="613" y="460"/>
                    <a:pt x="612" y="460"/>
                  </a:cubicBezTo>
                  <a:cubicBezTo>
                    <a:pt x="609" y="461"/>
                    <a:pt x="609" y="466"/>
                    <a:pt x="609" y="468"/>
                  </a:cubicBezTo>
                  <a:cubicBezTo>
                    <a:pt x="609" y="470"/>
                    <a:pt x="609" y="471"/>
                    <a:pt x="608" y="473"/>
                  </a:cubicBezTo>
                  <a:cubicBezTo>
                    <a:pt x="606" y="474"/>
                    <a:pt x="604" y="474"/>
                    <a:pt x="603" y="475"/>
                  </a:cubicBezTo>
                  <a:cubicBezTo>
                    <a:pt x="601" y="476"/>
                    <a:pt x="601" y="477"/>
                    <a:pt x="600" y="478"/>
                  </a:cubicBezTo>
                  <a:cubicBezTo>
                    <a:pt x="597" y="481"/>
                    <a:pt x="593" y="485"/>
                    <a:pt x="588" y="484"/>
                  </a:cubicBezTo>
                  <a:cubicBezTo>
                    <a:pt x="588" y="482"/>
                    <a:pt x="588" y="480"/>
                    <a:pt x="588" y="479"/>
                  </a:cubicBezTo>
                  <a:cubicBezTo>
                    <a:pt x="589" y="479"/>
                    <a:pt x="590" y="479"/>
                    <a:pt x="591" y="478"/>
                  </a:cubicBezTo>
                  <a:cubicBezTo>
                    <a:pt x="593" y="473"/>
                    <a:pt x="587" y="472"/>
                    <a:pt x="583" y="474"/>
                  </a:cubicBezTo>
                  <a:cubicBezTo>
                    <a:pt x="580" y="475"/>
                    <a:pt x="579" y="476"/>
                    <a:pt x="578" y="478"/>
                  </a:cubicBezTo>
                  <a:cubicBezTo>
                    <a:pt x="575" y="481"/>
                    <a:pt x="575" y="481"/>
                    <a:pt x="575" y="485"/>
                  </a:cubicBezTo>
                  <a:cubicBezTo>
                    <a:pt x="575" y="488"/>
                    <a:pt x="574" y="490"/>
                    <a:pt x="577" y="491"/>
                  </a:cubicBezTo>
                  <a:cubicBezTo>
                    <a:pt x="580" y="492"/>
                    <a:pt x="586" y="490"/>
                    <a:pt x="589" y="492"/>
                  </a:cubicBezTo>
                  <a:cubicBezTo>
                    <a:pt x="592" y="493"/>
                    <a:pt x="591" y="499"/>
                    <a:pt x="591" y="502"/>
                  </a:cubicBezTo>
                  <a:cubicBezTo>
                    <a:pt x="587" y="503"/>
                    <a:pt x="582" y="504"/>
                    <a:pt x="578" y="503"/>
                  </a:cubicBezTo>
                  <a:cubicBezTo>
                    <a:pt x="576" y="503"/>
                    <a:pt x="575" y="503"/>
                    <a:pt x="574" y="503"/>
                  </a:cubicBezTo>
                  <a:cubicBezTo>
                    <a:pt x="573" y="503"/>
                    <a:pt x="572" y="502"/>
                    <a:pt x="571" y="501"/>
                  </a:cubicBezTo>
                  <a:cubicBezTo>
                    <a:pt x="571" y="501"/>
                    <a:pt x="571" y="500"/>
                    <a:pt x="570" y="499"/>
                  </a:cubicBezTo>
                  <a:cubicBezTo>
                    <a:pt x="562" y="495"/>
                    <a:pt x="558" y="502"/>
                    <a:pt x="555" y="509"/>
                  </a:cubicBezTo>
                  <a:cubicBezTo>
                    <a:pt x="553" y="513"/>
                    <a:pt x="547" y="517"/>
                    <a:pt x="547" y="522"/>
                  </a:cubicBezTo>
                  <a:cubicBezTo>
                    <a:pt x="548" y="529"/>
                    <a:pt x="556" y="525"/>
                    <a:pt x="557" y="529"/>
                  </a:cubicBezTo>
                  <a:cubicBezTo>
                    <a:pt x="558" y="533"/>
                    <a:pt x="553" y="534"/>
                    <a:pt x="551" y="537"/>
                  </a:cubicBezTo>
                  <a:cubicBezTo>
                    <a:pt x="549" y="539"/>
                    <a:pt x="547" y="545"/>
                    <a:pt x="548" y="548"/>
                  </a:cubicBezTo>
                  <a:cubicBezTo>
                    <a:pt x="554" y="550"/>
                    <a:pt x="563" y="543"/>
                    <a:pt x="567" y="539"/>
                  </a:cubicBezTo>
                  <a:cubicBezTo>
                    <a:pt x="569" y="537"/>
                    <a:pt x="569" y="537"/>
                    <a:pt x="571" y="535"/>
                  </a:cubicBezTo>
                  <a:cubicBezTo>
                    <a:pt x="573" y="531"/>
                    <a:pt x="576" y="527"/>
                    <a:pt x="579" y="523"/>
                  </a:cubicBezTo>
                  <a:cubicBezTo>
                    <a:pt x="582" y="528"/>
                    <a:pt x="580" y="532"/>
                    <a:pt x="579" y="536"/>
                  </a:cubicBezTo>
                  <a:cubicBezTo>
                    <a:pt x="578" y="541"/>
                    <a:pt x="578" y="542"/>
                    <a:pt x="573" y="544"/>
                  </a:cubicBezTo>
                  <a:cubicBezTo>
                    <a:pt x="571" y="546"/>
                    <a:pt x="567" y="546"/>
                    <a:pt x="566" y="549"/>
                  </a:cubicBezTo>
                  <a:cubicBezTo>
                    <a:pt x="566" y="552"/>
                    <a:pt x="566" y="556"/>
                    <a:pt x="568" y="557"/>
                  </a:cubicBezTo>
                  <a:cubicBezTo>
                    <a:pt x="566" y="558"/>
                    <a:pt x="563" y="556"/>
                    <a:pt x="561" y="556"/>
                  </a:cubicBezTo>
                  <a:cubicBezTo>
                    <a:pt x="558" y="556"/>
                    <a:pt x="554" y="555"/>
                    <a:pt x="552" y="556"/>
                  </a:cubicBezTo>
                  <a:cubicBezTo>
                    <a:pt x="548" y="557"/>
                    <a:pt x="546" y="560"/>
                    <a:pt x="543" y="563"/>
                  </a:cubicBezTo>
                  <a:cubicBezTo>
                    <a:pt x="541" y="565"/>
                    <a:pt x="538" y="566"/>
                    <a:pt x="535" y="568"/>
                  </a:cubicBezTo>
                  <a:cubicBezTo>
                    <a:pt x="533" y="569"/>
                    <a:pt x="525" y="573"/>
                    <a:pt x="525" y="577"/>
                  </a:cubicBezTo>
                  <a:cubicBezTo>
                    <a:pt x="525" y="581"/>
                    <a:pt x="531" y="582"/>
                    <a:pt x="531" y="584"/>
                  </a:cubicBezTo>
                  <a:cubicBezTo>
                    <a:pt x="533" y="588"/>
                    <a:pt x="529" y="585"/>
                    <a:pt x="527" y="587"/>
                  </a:cubicBezTo>
                  <a:cubicBezTo>
                    <a:pt x="524" y="588"/>
                    <a:pt x="526" y="590"/>
                    <a:pt x="525" y="591"/>
                  </a:cubicBezTo>
                  <a:cubicBezTo>
                    <a:pt x="523" y="592"/>
                    <a:pt x="523" y="592"/>
                    <a:pt x="522" y="593"/>
                  </a:cubicBezTo>
                  <a:cubicBezTo>
                    <a:pt x="518" y="596"/>
                    <a:pt x="516" y="600"/>
                    <a:pt x="516" y="605"/>
                  </a:cubicBezTo>
                  <a:cubicBezTo>
                    <a:pt x="520" y="606"/>
                    <a:pt x="524" y="603"/>
                    <a:pt x="528" y="602"/>
                  </a:cubicBezTo>
                  <a:cubicBezTo>
                    <a:pt x="533" y="600"/>
                    <a:pt x="540" y="599"/>
                    <a:pt x="546" y="600"/>
                  </a:cubicBezTo>
                  <a:cubicBezTo>
                    <a:pt x="548" y="600"/>
                    <a:pt x="550" y="601"/>
                    <a:pt x="552" y="601"/>
                  </a:cubicBezTo>
                  <a:cubicBezTo>
                    <a:pt x="555" y="601"/>
                    <a:pt x="558" y="601"/>
                    <a:pt x="559" y="604"/>
                  </a:cubicBezTo>
                  <a:cubicBezTo>
                    <a:pt x="559" y="604"/>
                    <a:pt x="559" y="605"/>
                    <a:pt x="559" y="605"/>
                  </a:cubicBezTo>
                  <a:cubicBezTo>
                    <a:pt x="558" y="605"/>
                    <a:pt x="558" y="606"/>
                    <a:pt x="558" y="607"/>
                  </a:cubicBezTo>
                  <a:cubicBezTo>
                    <a:pt x="556" y="608"/>
                    <a:pt x="551" y="607"/>
                    <a:pt x="548" y="607"/>
                  </a:cubicBezTo>
                  <a:cubicBezTo>
                    <a:pt x="542" y="607"/>
                    <a:pt x="528" y="605"/>
                    <a:pt x="523" y="610"/>
                  </a:cubicBezTo>
                  <a:cubicBezTo>
                    <a:pt x="518" y="613"/>
                    <a:pt x="519" y="622"/>
                    <a:pt x="516" y="627"/>
                  </a:cubicBezTo>
                  <a:cubicBezTo>
                    <a:pt x="513" y="623"/>
                    <a:pt x="515" y="615"/>
                    <a:pt x="509" y="614"/>
                  </a:cubicBezTo>
                  <a:cubicBezTo>
                    <a:pt x="505" y="612"/>
                    <a:pt x="503" y="617"/>
                    <a:pt x="503" y="620"/>
                  </a:cubicBezTo>
                  <a:cubicBezTo>
                    <a:pt x="502" y="626"/>
                    <a:pt x="503" y="625"/>
                    <a:pt x="499" y="629"/>
                  </a:cubicBezTo>
                  <a:cubicBezTo>
                    <a:pt x="495" y="632"/>
                    <a:pt x="496" y="634"/>
                    <a:pt x="495" y="639"/>
                  </a:cubicBezTo>
                  <a:cubicBezTo>
                    <a:pt x="493" y="640"/>
                    <a:pt x="491" y="642"/>
                    <a:pt x="488" y="643"/>
                  </a:cubicBezTo>
                  <a:cubicBezTo>
                    <a:pt x="486" y="644"/>
                    <a:pt x="484" y="643"/>
                    <a:pt x="482" y="644"/>
                  </a:cubicBezTo>
                  <a:cubicBezTo>
                    <a:pt x="477" y="646"/>
                    <a:pt x="482" y="647"/>
                    <a:pt x="483" y="650"/>
                  </a:cubicBezTo>
                  <a:cubicBezTo>
                    <a:pt x="484" y="652"/>
                    <a:pt x="483" y="653"/>
                    <a:pt x="484" y="655"/>
                  </a:cubicBezTo>
                  <a:cubicBezTo>
                    <a:pt x="484" y="656"/>
                    <a:pt x="486" y="657"/>
                    <a:pt x="487" y="657"/>
                  </a:cubicBezTo>
                  <a:cubicBezTo>
                    <a:pt x="490" y="659"/>
                    <a:pt x="495" y="661"/>
                    <a:pt x="497" y="665"/>
                  </a:cubicBezTo>
                  <a:cubicBezTo>
                    <a:pt x="489" y="666"/>
                    <a:pt x="480" y="664"/>
                    <a:pt x="473" y="666"/>
                  </a:cubicBezTo>
                  <a:cubicBezTo>
                    <a:pt x="469" y="667"/>
                    <a:pt x="468" y="667"/>
                    <a:pt x="467" y="670"/>
                  </a:cubicBezTo>
                  <a:cubicBezTo>
                    <a:pt x="466" y="673"/>
                    <a:pt x="466" y="674"/>
                    <a:pt x="467" y="676"/>
                  </a:cubicBezTo>
                  <a:cubicBezTo>
                    <a:pt x="467" y="677"/>
                    <a:pt x="469" y="676"/>
                    <a:pt x="468" y="679"/>
                  </a:cubicBezTo>
                  <a:cubicBezTo>
                    <a:pt x="465" y="679"/>
                    <a:pt x="465" y="680"/>
                    <a:pt x="464" y="682"/>
                  </a:cubicBezTo>
                  <a:cubicBezTo>
                    <a:pt x="462" y="683"/>
                    <a:pt x="456" y="684"/>
                    <a:pt x="455" y="687"/>
                  </a:cubicBezTo>
                  <a:cubicBezTo>
                    <a:pt x="454" y="689"/>
                    <a:pt x="455" y="690"/>
                    <a:pt x="456" y="691"/>
                  </a:cubicBezTo>
                  <a:cubicBezTo>
                    <a:pt x="457" y="694"/>
                    <a:pt x="457" y="695"/>
                    <a:pt x="458" y="699"/>
                  </a:cubicBezTo>
                  <a:cubicBezTo>
                    <a:pt x="461" y="699"/>
                    <a:pt x="465" y="699"/>
                    <a:pt x="468" y="699"/>
                  </a:cubicBezTo>
                  <a:cubicBezTo>
                    <a:pt x="472" y="698"/>
                    <a:pt x="476" y="696"/>
                    <a:pt x="476" y="702"/>
                  </a:cubicBezTo>
                  <a:cubicBezTo>
                    <a:pt x="475" y="705"/>
                    <a:pt x="471" y="706"/>
                    <a:pt x="470" y="708"/>
                  </a:cubicBezTo>
                  <a:cubicBezTo>
                    <a:pt x="467" y="711"/>
                    <a:pt x="466" y="714"/>
                    <a:pt x="462" y="713"/>
                  </a:cubicBezTo>
                  <a:cubicBezTo>
                    <a:pt x="460" y="709"/>
                    <a:pt x="462" y="705"/>
                    <a:pt x="457" y="702"/>
                  </a:cubicBezTo>
                  <a:cubicBezTo>
                    <a:pt x="452" y="699"/>
                    <a:pt x="446" y="701"/>
                    <a:pt x="446" y="706"/>
                  </a:cubicBezTo>
                  <a:cubicBezTo>
                    <a:pt x="446" y="708"/>
                    <a:pt x="448" y="710"/>
                    <a:pt x="447" y="712"/>
                  </a:cubicBezTo>
                  <a:cubicBezTo>
                    <a:pt x="447" y="715"/>
                    <a:pt x="446" y="717"/>
                    <a:pt x="447" y="720"/>
                  </a:cubicBezTo>
                  <a:cubicBezTo>
                    <a:pt x="447" y="723"/>
                    <a:pt x="447" y="724"/>
                    <a:pt x="451" y="726"/>
                  </a:cubicBezTo>
                  <a:cubicBezTo>
                    <a:pt x="455" y="728"/>
                    <a:pt x="460" y="727"/>
                    <a:pt x="465" y="728"/>
                  </a:cubicBezTo>
                  <a:cubicBezTo>
                    <a:pt x="463" y="730"/>
                    <a:pt x="459" y="731"/>
                    <a:pt x="456" y="732"/>
                  </a:cubicBezTo>
                  <a:cubicBezTo>
                    <a:pt x="455" y="733"/>
                    <a:pt x="454" y="736"/>
                    <a:pt x="453" y="737"/>
                  </a:cubicBezTo>
                  <a:cubicBezTo>
                    <a:pt x="452" y="739"/>
                    <a:pt x="450" y="740"/>
                    <a:pt x="447" y="740"/>
                  </a:cubicBezTo>
                  <a:cubicBezTo>
                    <a:pt x="443" y="741"/>
                    <a:pt x="442" y="740"/>
                    <a:pt x="438" y="744"/>
                  </a:cubicBezTo>
                  <a:cubicBezTo>
                    <a:pt x="436" y="747"/>
                    <a:pt x="436" y="745"/>
                    <a:pt x="436" y="749"/>
                  </a:cubicBezTo>
                  <a:cubicBezTo>
                    <a:pt x="436" y="750"/>
                    <a:pt x="436" y="752"/>
                    <a:pt x="436" y="754"/>
                  </a:cubicBezTo>
                  <a:cubicBezTo>
                    <a:pt x="436" y="761"/>
                    <a:pt x="429" y="758"/>
                    <a:pt x="427" y="763"/>
                  </a:cubicBezTo>
                  <a:cubicBezTo>
                    <a:pt x="426" y="765"/>
                    <a:pt x="427" y="767"/>
                    <a:pt x="426" y="769"/>
                  </a:cubicBezTo>
                  <a:cubicBezTo>
                    <a:pt x="425" y="770"/>
                    <a:pt x="423" y="771"/>
                    <a:pt x="422" y="773"/>
                  </a:cubicBezTo>
                  <a:cubicBezTo>
                    <a:pt x="422" y="774"/>
                    <a:pt x="422" y="775"/>
                    <a:pt x="421" y="776"/>
                  </a:cubicBezTo>
                  <a:cubicBezTo>
                    <a:pt x="420" y="778"/>
                    <a:pt x="417" y="778"/>
                    <a:pt x="417" y="779"/>
                  </a:cubicBezTo>
                  <a:cubicBezTo>
                    <a:pt x="416" y="781"/>
                    <a:pt x="416" y="783"/>
                    <a:pt x="416" y="785"/>
                  </a:cubicBezTo>
                  <a:cubicBezTo>
                    <a:pt x="416" y="787"/>
                    <a:pt x="415" y="789"/>
                    <a:pt x="418" y="790"/>
                  </a:cubicBezTo>
                  <a:cubicBezTo>
                    <a:pt x="421" y="790"/>
                    <a:pt x="421" y="787"/>
                    <a:pt x="422" y="785"/>
                  </a:cubicBezTo>
                  <a:cubicBezTo>
                    <a:pt x="425" y="782"/>
                    <a:pt x="431" y="781"/>
                    <a:pt x="436" y="780"/>
                  </a:cubicBezTo>
                  <a:cubicBezTo>
                    <a:pt x="437" y="779"/>
                    <a:pt x="438" y="779"/>
                    <a:pt x="441" y="780"/>
                  </a:cubicBezTo>
                  <a:cubicBezTo>
                    <a:pt x="439" y="780"/>
                    <a:pt x="438" y="780"/>
                    <a:pt x="436" y="780"/>
                  </a:cubicBezTo>
                  <a:cubicBezTo>
                    <a:pt x="435" y="782"/>
                    <a:pt x="434" y="784"/>
                    <a:pt x="433" y="785"/>
                  </a:cubicBezTo>
                  <a:cubicBezTo>
                    <a:pt x="432" y="786"/>
                    <a:pt x="429" y="787"/>
                    <a:pt x="429" y="788"/>
                  </a:cubicBezTo>
                  <a:cubicBezTo>
                    <a:pt x="428" y="790"/>
                    <a:pt x="429" y="792"/>
                    <a:pt x="428" y="794"/>
                  </a:cubicBezTo>
                  <a:cubicBezTo>
                    <a:pt x="427" y="798"/>
                    <a:pt x="423" y="799"/>
                    <a:pt x="421" y="801"/>
                  </a:cubicBezTo>
                  <a:cubicBezTo>
                    <a:pt x="419" y="804"/>
                    <a:pt x="419" y="808"/>
                    <a:pt x="415" y="811"/>
                  </a:cubicBezTo>
                  <a:cubicBezTo>
                    <a:pt x="411" y="813"/>
                    <a:pt x="408" y="810"/>
                    <a:pt x="407" y="815"/>
                  </a:cubicBezTo>
                  <a:cubicBezTo>
                    <a:pt x="407" y="818"/>
                    <a:pt x="406" y="823"/>
                    <a:pt x="407" y="825"/>
                  </a:cubicBezTo>
                  <a:cubicBezTo>
                    <a:pt x="408" y="828"/>
                    <a:pt x="418" y="833"/>
                    <a:pt x="416" y="837"/>
                  </a:cubicBezTo>
                  <a:cubicBezTo>
                    <a:pt x="415" y="839"/>
                    <a:pt x="406" y="839"/>
                    <a:pt x="407" y="835"/>
                  </a:cubicBezTo>
                  <a:cubicBezTo>
                    <a:pt x="404" y="836"/>
                    <a:pt x="403" y="844"/>
                    <a:pt x="401" y="847"/>
                  </a:cubicBezTo>
                  <a:cubicBezTo>
                    <a:pt x="399" y="850"/>
                    <a:pt x="394" y="853"/>
                    <a:pt x="393" y="857"/>
                  </a:cubicBezTo>
                  <a:cubicBezTo>
                    <a:pt x="391" y="861"/>
                    <a:pt x="392" y="866"/>
                    <a:pt x="396" y="870"/>
                  </a:cubicBezTo>
                  <a:cubicBezTo>
                    <a:pt x="397" y="871"/>
                    <a:pt x="400" y="872"/>
                    <a:pt x="399" y="874"/>
                  </a:cubicBezTo>
                  <a:cubicBezTo>
                    <a:pt x="399" y="876"/>
                    <a:pt x="395" y="874"/>
                    <a:pt x="396" y="877"/>
                  </a:cubicBezTo>
                  <a:cubicBezTo>
                    <a:pt x="399" y="878"/>
                    <a:pt x="400" y="876"/>
                    <a:pt x="403" y="876"/>
                  </a:cubicBezTo>
                  <a:cubicBezTo>
                    <a:pt x="403" y="877"/>
                    <a:pt x="403" y="878"/>
                    <a:pt x="403" y="880"/>
                  </a:cubicBezTo>
                  <a:cubicBezTo>
                    <a:pt x="403" y="880"/>
                    <a:pt x="402" y="881"/>
                    <a:pt x="402" y="882"/>
                  </a:cubicBezTo>
                  <a:cubicBezTo>
                    <a:pt x="398" y="882"/>
                    <a:pt x="394" y="884"/>
                    <a:pt x="391" y="887"/>
                  </a:cubicBezTo>
                  <a:cubicBezTo>
                    <a:pt x="389" y="889"/>
                    <a:pt x="389" y="890"/>
                    <a:pt x="386" y="892"/>
                  </a:cubicBezTo>
                  <a:cubicBezTo>
                    <a:pt x="383" y="894"/>
                    <a:pt x="380" y="895"/>
                    <a:pt x="380" y="898"/>
                  </a:cubicBezTo>
                  <a:cubicBezTo>
                    <a:pt x="375" y="897"/>
                    <a:pt x="374" y="886"/>
                    <a:pt x="370" y="889"/>
                  </a:cubicBezTo>
                  <a:cubicBezTo>
                    <a:pt x="369" y="890"/>
                    <a:pt x="367" y="895"/>
                    <a:pt x="367" y="896"/>
                  </a:cubicBezTo>
                  <a:cubicBezTo>
                    <a:pt x="366" y="899"/>
                    <a:pt x="368" y="900"/>
                    <a:pt x="369" y="902"/>
                  </a:cubicBezTo>
                  <a:cubicBezTo>
                    <a:pt x="369" y="903"/>
                    <a:pt x="369" y="905"/>
                    <a:pt x="368" y="906"/>
                  </a:cubicBezTo>
                  <a:cubicBezTo>
                    <a:pt x="368" y="907"/>
                    <a:pt x="365" y="907"/>
                    <a:pt x="364" y="908"/>
                  </a:cubicBezTo>
                  <a:cubicBezTo>
                    <a:pt x="363" y="908"/>
                    <a:pt x="363" y="909"/>
                    <a:pt x="362" y="910"/>
                  </a:cubicBezTo>
                  <a:cubicBezTo>
                    <a:pt x="360" y="911"/>
                    <a:pt x="360" y="912"/>
                    <a:pt x="357" y="912"/>
                  </a:cubicBezTo>
                  <a:cubicBezTo>
                    <a:pt x="356" y="912"/>
                    <a:pt x="352" y="909"/>
                    <a:pt x="350" y="909"/>
                  </a:cubicBezTo>
                  <a:cubicBezTo>
                    <a:pt x="348" y="908"/>
                    <a:pt x="347" y="909"/>
                    <a:pt x="345" y="908"/>
                  </a:cubicBezTo>
                  <a:cubicBezTo>
                    <a:pt x="345" y="906"/>
                    <a:pt x="346" y="903"/>
                    <a:pt x="345" y="902"/>
                  </a:cubicBezTo>
                  <a:cubicBezTo>
                    <a:pt x="344" y="898"/>
                    <a:pt x="340" y="901"/>
                    <a:pt x="338" y="904"/>
                  </a:cubicBezTo>
                  <a:cubicBezTo>
                    <a:pt x="336" y="906"/>
                    <a:pt x="336" y="908"/>
                    <a:pt x="334" y="910"/>
                  </a:cubicBezTo>
                  <a:cubicBezTo>
                    <a:pt x="332" y="913"/>
                    <a:pt x="330" y="914"/>
                    <a:pt x="328" y="917"/>
                  </a:cubicBezTo>
                  <a:cubicBezTo>
                    <a:pt x="327" y="918"/>
                    <a:pt x="326" y="922"/>
                    <a:pt x="326" y="924"/>
                  </a:cubicBezTo>
                  <a:cubicBezTo>
                    <a:pt x="328" y="925"/>
                    <a:pt x="332" y="925"/>
                    <a:pt x="334" y="925"/>
                  </a:cubicBezTo>
                  <a:cubicBezTo>
                    <a:pt x="336" y="924"/>
                    <a:pt x="339" y="923"/>
                    <a:pt x="341" y="924"/>
                  </a:cubicBezTo>
                  <a:cubicBezTo>
                    <a:pt x="346" y="924"/>
                    <a:pt x="352" y="929"/>
                    <a:pt x="357" y="929"/>
                  </a:cubicBezTo>
                  <a:cubicBezTo>
                    <a:pt x="360" y="929"/>
                    <a:pt x="363" y="926"/>
                    <a:pt x="366" y="927"/>
                  </a:cubicBezTo>
                  <a:cubicBezTo>
                    <a:pt x="369" y="928"/>
                    <a:pt x="368" y="930"/>
                    <a:pt x="369" y="931"/>
                  </a:cubicBezTo>
                  <a:cubicBezTo>
                    <a:pt x="369" y="931"/>
                    <a:pt x="369" y="931"/>
                    <a:pt x="369" y="931"/>
                  </a:cubicBezTo>
                  <a:cubicBezTo>
                    <a:pt x="367" y="932"/>
                    <a:pt x="360" y="934"/>
                    <a:pt x="361" y="936"/>
                  </a:cubicBezTo>
                  <a:cubicBezTo>
                    <a:pt x="362" y="937"/>
                    <a:pt x="370" y="936"/>
                    <a:pt x="372" y="936"/>
                  </a:cubicBezTo>
                  <a:cubicBezTo>
                    <a:pt x="374" y="942"/>
                    <a:pt x="359" y="938"/>
                    <a:pt x="357" y="941"/>
                  </a:cubicBezTo>
                  <a:cubicBezTo>
                    <a:pt x="355" y="942"/>
                    <a:pt x="356" y="943"/>
                    <a:pt x="357" y="945"/>
                  </a:cubicBezTo>
                  <a:cubicBezTo>
                    <a:pt x="358" y="948"/>
                    <a:pt x="359" y="950"/>
                    <a:pt x="360" y="953"/>
                  </a:cubicBezTo>
                  <a:cubicBezTo>
                    <a:pt x="358" y="952"/>
                    <a:pt x="357" y="949"/>
                    <a:pt x="355" y="948"/>
                  </a:cubicBezTo>
                  <a:cubicBezTo>
                    <a:pt x="352" y="946"/>
                    <a:pt x="352" y="948"/>
                    <a:pt x="351" y="949"/>
                  </a:cubicBezTo>
                  <a:cubicBezTo>
                    <a:pt x="349" y="950"/>
                    <a:pt x="351" y="951"/>
                    <a:pt x="348" y="951"/>
                  </a:cubicBezTo>
                  <a:cubicBezTo>
                    <a:pt x="346" y="951"/>
                    <a:pt x="345" y="950"/>
                    <a:pt x="344" y="949"/>
                  </a:cubicBezTo>
                  <a:cubicBezTo>
                    <a:pt x="343" y="953"/>
                    <a:pt x="345" y="954"/>
                    <a:pt x="343" y="957"/>
                  </a:cubicBezTo>
                  <a:cubicBezTo>
                    <a:pt x="341" y="961"/>
                    <a:pt x="336" y="960"/>
                    <a:pt x="332" y="960"/>
                  </a:cubicBezTo>
                  <a:cubicBezTo>
                    <a:pt x="330" y="955"/>
                    <a:pt x="330" y="955"/>
                    <a:pt x="330" y="955"/>
                  </a:cubicBezTo>
                  <a:cubicBezTo>
                    <a:pt x="326" y="959"/>
                    <a:pt x="319" y="962"/>
                    <a:pt x="318" y="967"/>
                  </a:cubicBezTo>
                  <a:cubicBezTo>
                    <a:pt x="317" y="970"/>
                    <a:pt x="317" y="972"/>
                    <a:pt x="316" y="974"/>
                  </a:cubicBezTo>
                  <a:cubicBezTo>
                    <a:pt x="315" y="976"/>
                    <a:pt x="313" y="976"/>
                    <a:pt x="314" y="979"/>
                  </a:cubicBezTo>
                  <a:cubicBezTo>
                    <a:pt x="317" y="979"/>
                    <a:pt x="321" y="978"/>
                    <a:pt x="325" y="979"/>
                  </a:cubicBezTo>
                  <a:cubicBezTo>
                    <a:pt x="329" y="986"/>
                    <a:pt x="314" y="983"/>
                    <a:pt x="311" y="985"/>
                  </a:cubicBezTo>
                  <a:cubicBezTo>
                    <a:pt x="312" y="985"/>
                    <a:pt x="310" y="989"/>
                    <a:pt x="310" y="988"/>
                  </a:cubicBezTo>
                  <a:cubicBezTo>
                    <a:pt x="309" y="989"/>
                    <a:pt x="310" y="992"/>
                    <a:pt x="309" y="993"/>
                  </a:cubicBezTo>
                  <a:cubicBezTo>
                    <a:pt x="308" y="995"/>
                    <a:pt x="300" y="994"/>
                    <a:pt x="302" y="998"/>
                  </a:cubicBezTo>
                  <a:cubicBezTo>
                    <a:pt x="304" y="998"/>
                    <a:pt x="304" y="999"/>
                    <a:pt x="304" y="1001"/>
                  </a:cubicBezTo>
                  <a:cubicBezTo>
                    <a:pt x="304" y="1004"/>
                    <a:pt x="303" y="1004"/>
                    <a:pt x="300" y="1005"/>
                  </a:cubicBezTo>
                  <a:cubicBezTo>
                    <a:pt x="294" y="1008"/>
                    <a:pt x="296" y="1007"/>
                    <a:pt x="297" y="1013"/>
                  </a:cubicBezTo>
                  <a:cubicBezTo>
                    <a:pt x="292" y="1016"/>
                    <a:pt x="291" y="1018"/>
                    <a:pt x="297" y="1019"/>
                  </a:cubicBezTo>
                  <a:cubicBezTo>
                    <a:pt x="297" y="1025"/>
                    <a:pt x="285" y="1020"/>
                    <a:pt x="283" y="1017"/>
                  </a:cubicBezTo>
                  <a:cubicBezTo>
                    <a:pt x="278" y="1023"/>
                    <a:pt x="285" y="1027"/>
                    <a:pt x="289" y="1028"/>
                  </a:cubicBezTo>
                  <a:cubicBezTo>
                    <a:pt x="289" y="1031"/>
                    <a:pt x="283" y="1033"/>
                    <a:pt x="282" y="1037"/>
                  </a:cubicBezTo>
                  <a:cubicBezTo>
                    <a:pt x="284" y="1038"/>
                    <a:pt x="288" y="1039"/>
                    <a:pt x="285" y="1042"/>
                  </a:cubicBezTo>
                  <a:cubicBezTo>
                    <a:pt x="282" y="1044"/>
                    <a:pt x="277" y="1039"/>
                    <a:pt x="274" y="1040"/>
                  </a:cubicBezTo>
                  <a:cubicBezTo>
                    <a:pt x="273" y="1041"/>
                    <a:pt x="274" y="1045"/>
                    <a:pt x="273" y="1047"/>
                  </a:cubicBezTo>
                  <a:cubicBezTo>
                    <a:pt x="272" y="1048"/>
                    <a:pt x="269" y="1048"/>
                    <a:pt x="267" y="1047"/>
                  </a:cubicBezTo>
                  <a:cubicBezTo>
                    <a:pt x="267" y="1047"/>
                    <a:pt x="267" y="1046"/>
                    <a:pt x="266" y="1046"/>
                  </a:cubicBezTo>
                  <a:cubicBezTo>
                    <a:pt x="262" y="1046"/>
                    <a:pt x="266" y="1052"/>
                    <a:pt x="268" y="1053"/>
                  </a:cubicBezTo>
                  <a:cubicBezTo>
                    <a:pt x="270" y="1054"/>
                    <a:pt x="272" y="1053"/>
                    <a:pt x="271" y="1056"/>
                  </a:cubicBezTo>
                  <a:cubicBezTo>
                    <a:pt x="271" y="1058"/>
                    <a:pt x="263" y="1061"/>
                    <a:pt x="260" y="1061"/>
                  </a:cubicBezTo>
                  <a:cubicBezTo>
                    <a:pt x="259" y="1067"/>
                    <a:pt x="267" y="1065"/>
                    <a:pt x="272" y="1065"/>
                  </a:cubicBezTo>
                  <a:cubicBezTo>
                    <a:pt x="272" y="1065"/>
                    <a:pt x="273" y="1064"/>
                    <a:pt x="273" y="1064"/>
                  </a:cubicBezTo>
                  <a:cubicBezTo>
                    <a:pt x="274" y="1063"/>
                    <a:pt x="275" y="1061"/>
                    <a:pt x="277" y="1060"/>
                  </a:cubicBezTo>
                  <a:cubicBezTo>
                    <a:pt x="278" y="1059"/>
                    <a:pt x="283" y="1060"/>
                    <a:pt x="285" y="1060"/>
                  </a:cubicBezTo>
                  <a:cubicBezTo>
                    <a:pt x="283" y="1063"/>
                    <a:pt x="275" y="1068"/>
                    <a:pt x="278" y="1073"/>
                  </a:cubicBezTo>
                  <a:cubicBezTo>
                    <a:pt x="279" y="1075"/>
                    <a:pt x="284" y="1075"/>
                    <a:pt x="286" y="1079"/>
                  </a:cubicBezTo>
                  <a:cubicBezTo>
                    <a:pt x="287" y="1082"/>
                    <a:pt x="286" y="1083"/>
                    <a:pt x="291" y="1084"/>
                  </a:cubicBezTo>
                  <a:cubicBezTo>
                    <a:pt x="293" y="1084"/>
                    <a:pt x="296" y="1083"/>
                    <a:pt x="298" y="1084"/>
                  </a:cubicBezTo>
                  <a:cubicBezTo>
                    <a:pt x="299" y="1084"/>
                    <a:pt x="299" y="1085"/>
                    <a:pt x="301" y="1085"/>
                  </a:cubicBezTo>
                  <a:cubicBezTo>
                    <a:pt x="303" y="1083"/>
                    <a:pt x="302" y="1079"/>
                    <a:pt x="305" y="1077"/>
                  </a:cubicBezTo>
                  <a:cubicBezTo>
                    <a:pt x="306" y="1076"/>
                    <a:pt x="308" y="1076"/>
                    <a:pt x="309" y="1076"/>
                  </a:cubicBezTo>
                  <a:cubicBezTo>
                    <a:pt x="311" y="1076"/>
                    <a:pt x="311" y="1078"/>
                    <a:pt x="312" y="1078"/>
                  </a:cubicBezTo>
                  <a:cubicBezTo>
                    <a:pt x="315" y="1078"/>
                    <a:pt x="314" y="1073"/>
                    <a:pt x="315" y="1071"/>
                  </a:cubicBezTo>
                  <a:cubicBezTo>
                    <a:pt x="316" y="1068"/>
                    <a:pt x="319" y="1066"/>
                    <a:pt x="322" y="1065"/>
                  </a:cubicBezTo>
                  <a:cubicBezTo>
                    <a:pt x="325" y="1064"/>
                    <a:pt x="325" y="1065"/>
                    <a:pt x="326" y="1063"/>
                  </a:cubicBezTo>
                  <a:cubicBezTo>
                    <a:pt x="328" y="1061"/>
                    <a:pt x="328" y="1060"/>
                    <a:pt x="330" y="1058"/>
                  </a:cubicBezTo>
                  <a:cubicBezTo>
                    <a:pt x="331" y="1057"/>
                    <a:pt x="332" y="1056"/>
                    <a:pt x="333" y="1056"/>
                  </a:cubicBezTo>
                  <a:cubicBezTo>
                    <a:pt x="334" y="1054"/>
                    <a:pt x="334" y="1055"/>
                    <a:pt x="336" y="1054"/>
                  </a:cubicBezTo>
                  <a:cubicBezTo>
                    <a:pt x="341" y="1052"/>
                    <a:pt x="351" y="1050"/>
                    <a:pt x="353" y="1044"/>
                  </a:cubicBezTo>
                  <a:cubicBezTo>
                    <a:pt x="348" y="1044"/>
                    <a:pt x="345" y="1037"/>
                    <a:pt x="348" y="1033"/>
                  </a:cubicBezTo>
                  <a:cubicBezTo>
                    <a:pt x="343" y="1032"/>
                    <a:pt x="339" y="1035"/>
                    <a:pt x="334" y="1035"/>
                  </a:cubicBezTo>
                  <a:cubicBezTo>
                    <a:pt x="332" y="1030"/>
                    <a:pt x="338" y="1028"/>
                    <a:pt x="343" y="1026"/>
                  </a:cubicBezTo>
                  <a:cubicBezTo>
                    <a:pt x="346" y="1025"/>
                    <a:pt x="350" y="1024"/>
                    <a:pt x="353" y="1023"/>
                  </a:cubicBezTo>
                  <a:cubicBezTo>
                    <a:pt x="355" y="1022"/>
                    <a:pt x="357" y="1020"/>
                    <a:pt x="359" y="1020"/>
                  </a:cubicBezTo>
                  <a:cubicBezTo>
                    <a:pt x="361" y="1020"/>
                    <a:pt x="363" y="1022"/>
                    <a:pt x="361" y="1025"/>
                  </a:cubicBezTo>
                  <a:cubicBezTo>
                    <a:pt x="360" y="1026"/>
                    <a:pt x="355" y="1027"/>
                    <a:pt x="354" y="1029"/>
                  </a:cubicBezTo>
                  <a:cubicBezTo>
                    <a:pt x="352" y="1030"/>
                    <a:pt x="350" y="1033"/>
                    <a:pt x="353" y="1035"/>
                  </a:cubicBezTo>
                  <a:cubicBezTo>
                    <a:pt x="355" y="1037"/>
                    <a:pt x="360" y="1033"/>
                    <a:pt x="361" y="1037"/>
                  </a:cubicBezTo>
                  <a:cubicBezTo>
                    <a:pt x="362" y="1038"/>
                    <a:pt x="361" y="1039"/>
                    <a:pt x="361" y="1040"/>
                  </a:cubicBezTo>
                  <a:cubicBezTo>
                    <a:pt x="362" y="1042"/>
                    <a:pt x="362" y="1041"/>
                    <a:pt x="364" y="1042"/>
                  </a:cubicBezTo>
                  <a:cubicBezTo>
                    <a:pt x="367" y="1044"/>
                    <a:pt x="368" y="1046"/>
                    <a:pt x="368" y="1050"/>
                  </a:cubicBezTo>
                  <a:cubicBezTo>
                    <a:pt x="362" y="1050"/>
                    <a:pt x="356" y="1049"/>
                    <a:pt x="351" y="1050"/>
                  </a:cubicBezTo>
                  <a:cubicBezTo>
                    <a:pt x="350" y="1054"/>
                    <a:pt x="348" y="1058"/>
                    <a:pt x="345" y="1061"/>
                  </a:cubicBezTo>
                  <a:cubicBezTo>
                    <a:pt x="341" y="1066"/>
                    <a:pt x="335" y="1064"/>
                    <a:pt x="330" y="1068"/>
                  </a:cubicBezTo>
                  <a:cubicBezTo>
                    <a:pt x="327" y="1071"/>
                    <a:pt x="326" y="1077"/>
                    <a:pt x="327" y="1080"/>
                  </a:cubicBezTo>
                  <a:cubicBezTo>
                    <a:pt x="328" y="1082"/>
                    <a:pt x="332" y="1089"/>
                    <a:pt x="331" y="1091"/>
                  </a:cubicBezTo>
                  <a:cubicBezTo>
                    <a:pt x="329" y="1095"/>
                    <a:pt x="325" y="1088"/>
                    <a:pt x="324" y="1087"/>
                  </a:cubicBezTo>
                  <a:cubicBezTo>
                    <a:pt x="321" y="1086"/>
                    <a:pt x="320" y="1087"/>
                    <a:pt x="317" y="1086"/>
                  </a:cubicBezTo>
                  <a:cubicBezTo>
                    <a:pt x="314" y="1085"/>
                    <a:pt x="310" y="1081"/>
                    <a:pt x="307" y="1083"/>
                  </a:cubicBezTo>
                  <a:cubicBezTo>
                    <a:pt x="304" y="1085"/>
                    <a:pt x="306" y="1087"/>
                    <a:pt x="302" y="1088"/>
                  </a:cubicBezTo>
                  <a:cubicBezTo>
                    <a:pt x="300" y="1089"/>
                    <a:pt x="296" y="1088"/>
                    <a:pt x="294" y="1090"/>
                  </a:cubicBezTo>
                  <a:cubicBezTo>
                    <a:pt x="293" y="1092"/>
                    <a:pt x="295" y="1094"/>
                    <a:pt x="293" y="1096"/>
                  </a:cubicBezTo>
                  <a:cubicBezTo>
                    <a:pt x="292" y="1098"/>
                    <a:pt x="286" y="1100"/>
                    <a:pt x="289" y="1103"/>
                  </a:cubicBezTo>
                  <a:cubicBezTo>
                    <a:pt x="291" y="1104"/>
                    <a:pt x="295" y="1103"/>
                    <a:pt x="297" y="1103"/>
                  </a:cubicBezTo>
                  <a:cubicBezTo>
                    <a:pt x="296" y="1105"/>
                    <a:pt x="289" y="1106"/>
                    <a:pt x="287" y="1105"/>
                  </a:cubicBezTo>
                  <a:cubicBezTo>
                    <a:pt x="285" y="1104"/>
                    <a:pt x="285" y="1103"/>
                    <a:pt x="285" y="1101"/>
                  </a:cubicBezTo>
                  <a:cubicBezTo>
                    <a:pt x="285" y="1100"/>
                    <a:pt x="286" y="1097"/>
                    <a:pt x="286" y="1097"/>
                  </a:cubicBezTo>
                  <a:cubicBezTo>
                    <a:pt x="286" y="1095"/>
                    <a:pt x="282" y="1094"/>
                    <a:pt x="281" y="1092"/>
                  </a:cubicBezTo>
                  <a:cubicBezTo>
                    <a:pt x="279" y="1090"/>
                    <a:pt x="278" y="1085"/>
                    <a:pt x="277" y="1082"/>
                  </a:cubicBezTo>
                  <a:cubicBezTo>
                    <a:pt x="277" y="1080"/>
                    <a:pt x="278" y="1077"/>
                    <a:pt x="277" y="1075"/>
                  </a:cubicBezTo>
                  <a:cubicBezTo>
                    <a:pt x="277" y="1073"/>
                    <a:pt x="274" y="1072"/>
                    <a:pt x="274" y="1070"/>
                  </a:cubicBezTo>
                  <a:cubicBezTo>
                    <a:pt x="269" y="1069"/>
                    <a:pt x="268" y="1075"/>
                    <a:pt x="265" y="1076"/>
                  </a:cubicBezTo>
                  <a:cubicBezTo>
                    <a:pt x="263" y="1074"/>
                    <a:pt x="259" y="1073"/>
                    <a:pt x="257" y="1075"/>
                  </a:cubicBezTo>
                  <a:cubicBezTo>
                    <a:pt x="255" y="1076"/>
                    <a:pt x="255" y="1079"/>
                    <a:pt x="253" y="1081"/>
                  </a:cubicBezTo>
                  <a:cubicBezTo>
                    <a:pt x="251" y="1082"/>
                    <a:pt x="240" y="1081"/>
                    <a:pt x="242" y="1087"/>
                  </a:cubicBezTo>
                  <a:cubicBezTo>
                    <a:pt x="246" y="1088"/>
                    <a:pt x="249" y="1087"/>
                    <a:pt x="252" y="1088"/>
                  </a:cubicBezTo>
                  <a:cubicBezTo>
                    <a:pt x="253" y="1089"/>
                    <a:pt x="254" y="1090"/>
                    <a:pt x="254" y="1091"/>
                  </a:cubicBezTo>
                  <a:cubicBezTo>
                    <a:pt x="256" y="1091"/>
                    <a:pt x="257" y="1090"/>
                    <a:pt x="258" y="1092"/>
                  </a:cubicBezTo>
                  <a:cubicBezTo>
                    <a:pt x="255" y="1093"/>
                    <a:pt x="244" y="1094"/>
                    <a:pt x="247" y="1099"/>
                  </a:cubicBezTo>
                  <a:cubicBezTo>
                    <a:pt x="249" y="1104"/>
                    <a:pt x="260" y="1101"/>
                    <a:pt x="264" y="1101"/>
                  </a:cubicBezTo>
                  <a:cubicBezTo>
                    <a:pt x="264" y="1104"/>
                    <a:pt x="260" y="1103"/>
                    <a:pt x="258" y="1104"/>
                  </a:cubicBezTo>
                  <a:cubicBezTo>
                    <a:pt x="255" y="1105"/>
                    <a:pt x="254" y="1108"/>
                    <a:pt x="252" y="1110"/>
                  </a:cubicBezTo>
                  <a:cubicBezTo>
                    <a:pt x="247" y="1112"/>
                    <a:pt x="248" y="1104"/>
                    <a:pt x="245" y="1103"/>
                  </a:cubicBezTo>
                  <a:cubicBezTo>
                    <a:pt x="243" y="1103"/>
                    <a:pt x="240" y="1105"/>
                    <a:pt x="239" y="1105"/>
                  </a:cubicBezTo>
                  <a:cubicBezTo>
                    <a:pt x="238" y="1102"/>
                    <a:pt x="240" y="1097"/>
                    <a:pt x="239" y="1095"/>
                  </a:cubicBezTo>
                  <a:cubicBezTo>
                    <a:pt x="238" y="1093"/>
                    <a:pt x="234" y="1090"/>
                    <a:pt x="232" y="1090"/>
                  </a:cubicBezTo>
                  <a:cubicBezTo>
                    <a:pt x="226" y="1088"/>
                    <a:pt x="224" y="1093"/>
                    <a:pt x="219" y="1094"/>
                  </a:cubicBezTo>
                  <a:cubicBezTo>
                    <a:pt x="216" y="1094"/>
                    <a:pt x="214" y="1093"/>
                    <a:pt x="212" y="1094"/>
                  </a:cubicBezTo>
                  <a:cubicBezTo>
                    <a:pt x="210" y="1094"/>
                    <a:pt x="208" y="1095"/>
                    <a:pt x="206" y="1097"/>
                  </a:cubicBezTo>
                  <a:cubicBezTo>
                    <a:pt x="205" y="1098"/>
                    <a:pt x="205" y="1099"/>
                    <a:pt x="204" y="1100"/>
                  </a:cubicBezTo>
                  <a:cubicBezTo>
                    <a:pt x="203" y="1102"/>
                    <a:pt x="203" y="1101"/>
                    <a:pt x="202" y="1102"/>
                  </a:cubicBezTo>
                  <a:cubicBezTo>
                    <a:pt x="200" y="1103"/>
                    <a:pt x="199" y="1106"/>
                    <a:pt x="197" y="1107"/>
                  </a:cubicBezTo>
                  <a:cubicBezTo>
                    <a:pt x="200" y="1108"/>
                    <a:pt x="205" y="1110"/>
                    <a:pt x="200" y="1112"/>
                  </a:cubicBezTo>
                  <a:cubicBezTo>
                    <a:pt x="198" y="1113"/>
                    <a:pt x="195" y="1112"/>
                    <a:pt x="193" y="1113"/>
                  </a:cubicBezTo>
                  <a:cubicBezTo>
                    <a:pt x="192" y="1113"/>
                    <a:pt x="192" y="1115"/>
                    <a:pt x="190" y="1116"/>
                  </a:cubicBezTo>
                  <a:cubicBezTo>
                    <a:pt x="189" y="1117"/>
                    <a:pt x="188" y="1117"/>
                    <a:pt x="187" y="1117"/>
                  </a:cubicBezTo>
                  <a:cubicBezTo>
                    <a:pt x="184" y="1118"/>
                    <a:pt x="182" y="1120"/>
                    <a:pt x="179" y="1121"/>
                  </a:cubicBezTo>
                  <a:cubicBezTo>
                    <a:pt x="176" y="1122"/>
                    <a:pt x="170" y="1122"/>
                    <a:pt x="172" y="1127"/>
                  </a:cubicBezTo>
                  <a:cubicBezTo>
                    <a:pt x="176" y="1127"/>
                    <a:pt x="179" y="1124"/>
                    <a:pt x="183" y="1124"/>
                  </a:cubicBezTo>
                  <a:cubicBezTo>
                    <a:pt x="186" y="1124"/>
                    <a:pt x="185" y="1127"/>
                    <a:pt x="187" y="1128"/>
                  </a:cubicBezTo>
                  <a:cubicBezTo>
                    <a:pt x="190" y="1129"/>
                    <a:pt x="191" y="1126"/>
                    <a:pt x="193" y="1128"/>
                  </a:cubicBezTo>
                  <a:cubicBezTo>
                    <a:pt x="195" y="1129"/>
                    <a:pt x="186" y="1129"/>
                    <a:pt x="188" y="1133"/>
                  </a:cubicBezTo>
                  <a:cubicBezTo>
                    <a:pt x="188" y="1134"/>
                    <a:pt x="190" y="1136"/>
                    <a:pt x="191" y="1136"/>
                  </a:cubicBezTo>
                  <a:cubicBezTo>
                    <a:pt x="193" y="1138"/>
                    <a:pt x="194" y="1141"/>
                    <a:pt x="196" y="1143"/>
                  </a:cubicBezTo>
                  <a:cubicBezTo>
                    <a:pt x="200" y="1147"/>
                    <a:pt x="201" y="1146"/>
                    <a:pt x="205" y="1147"/>
                  </a:cubicBezTo>
                  <a:cubicBezTo>
                    <a:pt x="212" y="1148"/>
                    <a:pt x="205" y="1149"/>
                    <a:pt x="203" y="1151"/>
                  </a:cubicBezTo>
                  <a:cubicBezTo>
                    <a:pt x="203" y="1152"/>
                    <a:pt x="202" y="1154"/>
                    <a:pt x="203" y="1155"/>
                  </a:cubicBezTo>
                  <a:cubicBezTo>
                    <a:pt x="203" y="1157"/>
                    <a:pt x="205" y="1156"/>
                    <a:pt x="207" y="1157"/>
                  </a:cubicBezTo>
                  <a:cubicBezTo>
                    <a:pt x="211" y="1159"/>
                    <a:pt x="211" y="1162"/>
                    <a:pt x="212" y="1165"/>
                  </a:cubicBezTo>
                  <a:cubicBezTo>
                    <a:pt x="209" y="1164"/>
                    <a:pt x="205" y="1164"/>
                    <a:pt x="202" y="1163"/>
                  </a:cubicBezTo>
                  <a:cubicBezTo>
                    <a:pt x="202" y="1161"/>
                    <a:pt x="200" y="1162"/>
                    <a:pt x="198" y="1161"/>
                  </a:cubicBezTo>
                  <a:cubicBezTo>
                    <a:pt x="198" y="1160"/>
                    <a:pt x="198" y="1160"/>
                    <a:pt x="198" y="1159"/>
                  </a:cubicBezTo>
                  <a:cubicBezTo>
                    <a:pt x="196" y="1158"/>
                    <a:pt x="195" y="1159"/>
                    <a:pt x="194" y="1157"/>
                  </a:cubicBezTo>
                  <a:cubicBezTo>
                    <a:pt x="192" y="1154"/>
                    <a:pt x="195" y="1153"/>
                    <a:pt x="191" y="1150"/>
                  </a:cubicBezTo>
                  <a:cubicBezTo>
                    <a:pt x="187" y="1148"/>
                    <a:pt x="186" y="1148"/>
                    <a:pt x="186" y="1143"/>
                  </a:cubicBezTo>
                  <a:cubicBezTo>
                    <a:pt x="186" y="1142"/>
                    <a:pt x="186" y="1140"/>
                    <a:pt x="185" y="1138"/>
                  </a:cubicBezTo>
                  <a:cubicBezTo>
                    <a:pt x="185" y="1138"/>
                    <a:pt x="184" y="1138"/>
                    <a:pt x="184" y="1137"/>
                  </a:cubicBezTo>
                  <a:cubicBezTo>
                    <a:pt x="183" y="1137"/>
                    <a:pt x="183" y="1135"/>
                    <a:pt x="183" y="1134"/>
                  </a:cubicBezTo>
                  <a:cubicBezTo>
                    <a:pt x="182" y="1133"/>
                    <a:pt x="180" y="1132"/>
                    <a:pt x="178" y="1132"/>
                  </a:cubicBezTo>
                  <a:cubicBezTo>
                    <a:pt x="175" y="1133"/>
                    <a:pt x="176" y="1133"/>
                    <a:pt x="174" y="1135"/>
                  </a:cubicBezTo>
                  <a:cubicBezTo>
                    <a:pt x="174" y="1136"/>
                    <a:pt x="174" y="1136"/>
                    <a:pt x="174" y="1137"/>
                  </a:cubicBezTo>
                  <a:cubicBezTo>
                    <a:pt x="174" y="1138"/>
                    <a:pt x="174" y="1138"/>
                    <a:pt x="173" y="1139"/>
                  </a:cubicBezTo>
                  <a:cubicBezTo>
                    <a:pt x="173" y="1139"/>
                    <a:pt x="171" y="1141"/>
                    <a:pt x="170" y="1142"/>
                  </a:cubicBezTo>
                  <a:cubicBezTo>
                    <a:pt x="168" y="1144"/>
                    <a:pt x="167" y="1148"/>
                    <a:pt x="165" y="1150"/>
                  </a:cubicBezTo>
                  <a:cubicBezTo>
                    <a:pt x="164" y="1150"/>
                    <a:pt x="160" y="1150"/>
                    <a:pt x="159" y="1150"/>
                  </a:cubicBezTo>
                  <a:cubicBezTo>
                    <a:pt x="157" y="1151"/>
                    <a:pt x="156" y="1152"/>
                    <a:pt x="154" y="1151"/>
                  </a:cubicBezTo>
                  <a:cubicBezTo>
                    <a:pt x="152" y="1146"/>
                    <a:pt x="176" y="1136"/>
                    <a:pt x="167" y="1131"/>
                  </a:cubicBezTo>
                  <a:cubicBezTo>
                    <a:pt x="165" y="1130"/>
                    <a:pt x="162" y="1130"/>
                    <a:pt x="160" y="1130"/>
                  </a:cubicBezTo>
                  <a:cubicBezTo>
                    <a:pt x="156" y="1130"/>
                    <a:pt x="154" y="1130"/>
                    <a:pt x="152" y="1133"/>
                  </a:cubicBezTo>
                  <a:cubicBezTo>
                    <a:pt x="151" y="1134"/>
                    <a:pt x="152" y="1134"/>
                    <a:pt x="150" y="1136"/>
                  </a:cubicBezTo>
                  <a:cubicBezTo>
                    <a:pt x="148" y="1137"/>
                    <a:pt x="146" y="1136"/>
                    <a:pt x="144" y="1137"/>
                  </a:cubicBezTo>
                  <a:cubicBezTo>
                    <a:pt x="142" y="1139"/>
                    <a:pt x="141" y="1142"/>
                    <a:pt x="140" y="1144"/>
                  </a:cubicBezTo>
                  <a:cubicBezTo>
                    <a:pt x="138" y="1145"/>
                    <a:pt x="136" y="1144"/>
                    <a:pt x="134" y="1145"/>
                  </a:cubicBezTo>
                  <a:cubicBezTo>
                    <a:pt x="132" y="1145"/>
                    <a:pt x="129" y="1147"/>
                    <a:pt x="128" y="1148"/>
                  </a:cubicBezTo>
                  <a:cubicBezTo>
                    <a:pt x="125" y="1150"/>
                    <a:pt x="123" y="1154"/>
                    <a:pt x="122" y="1158"/>
                  </a:cubicBezTo>
                  <a:cubicBezTo>
                    <a:pt x="122" y="1163"/>
                    <a:pt x="126" y="1166"/>
                    <a:pt x="130" y="1167"/>
                  </a:cubicBezTo>
                  <a:cubicBezTo>
                    <a:pt x="132" y="1167"/>
                    <a:pt x="135" y="1165"/>
                    <a:pt x="136" y="1167"/>
                  </a:cubicBezTo>
                  <a:cubicBezTo>
                    <a:pt x="137" y="1170"/>
                    <a:pt x="126" y="1170"/>
                    <a:pt x="125" y="1170"/>
                  </a:cubicBezTo>
                  <a:cubicBezTo>
                    <a:pt x="124" y="1173"/>
                    <a:pt x="125" y="1174"/>
                    <a:pt x="126" y="1176"/>
                  </a:cubicBezTo>
                  <a:cubicBezTo>
                    <a:pt x="127" y="1180"/>
                    <a:pt x="127" y="1180"/>
                    <a:pt x="131" y="1180"/>
                  </a:cubicBezTo>
                  <a:cubicBezTo>
                    <a:pt x="135" y="1180"/>
                    <a:pt x="137" y="1179"/>
                    <a:pt x="140" y="1179"/>
                  </a:cubicBezTo>
                  <a:cubicBezTo>
                    <a:pt x="143" y="1179"/>
                    <a:pt x="144" y="1181"/>
                    <a:pt x="147" y="1182"/>
                  </a:cubicBezTo>
                  <a:cubicBezTo>
                    <a:pt x="153" y="1183"/>
                    <a:pt x="155" y="1177"/>
                    <a:pt x="160" y="1175"/>
                  </a:cubicBezTo>
                  <a:cubicBezTo>
                    <a:pt x="162" y="1174"/>
                    <a:pt x="165" y="1175"/>
                    <a:pt x="168" y="1174"/>
                  </a:cubicBezTo>
                  <a:cubicBezTo>
                    <a:pt x="170" y="1173"/>
                    <a:pt x="174" y="1172"/>
                    <a:pt x="177" y="1172"/>
                  </a:cubicBezTo>
                  <a:cubicBezTo>
                    <a:pt x="178" y="1177"/>
                    <a:pt x="171" y="1176"/>
                    <a:pt x="169" y="1176"/>
                  </a:cubicBezTo>
                  <a:cubicBezTo>
                    <a:pt x="165" y="1176"/>
                    <a:pt x="161" y="1178"/>
                    <a:pt x="159" y="1179"/>
                  </a:cubicBezTo>
                  <a:cubicBezTo>
                    <a:pt x="153" y="1183"/>
                    <a:pt x="146" y="1183"/>
                    <a:pt x="147" y="1191"/>
                  </a:cubicBezTo>
                  <a:cubicBezTo>
                    <a:pt x="151" y="1192"/>
                    <a:pt x="156" y="1194"/>
                    <a:pt x="155" y="1198"/>
                  </a:cubicBezTo>
                  <a:cubicBezTo>
                    <a:pt x="151" y="1200"/>
                    <a:pt x="148" y="1196"/>
                    <a:pt x="145" y="1194"/>
                  </a:cubicBezTo>
                  <a:cubicBezTo>
                    <a:pt x="144" y="1193"/>
                    <a:pt x="142" y="1192"/>
                    <a:pt x="141" y="1191"/>
                  </a:cubicBezTo>
                  <a:cubicBezTo>
                    <a:pt x="138" y="1191"/>
                    <a:pt x="138" y="1191"/>
                    <a:pt x="136" y="1192"/>
                  </a:cubicBezTo>
                  <a:cubicBezTo>
                    <a:pt x="133" y="1193"/>
                    <a:pt x="130" y="1191"/>
                    <a:pt x="128" y="1191"/>
                  </a:cubicBezTo>
                  <a:cubicBezTo>
                    <a:pt x="126" y="1190"/>
                    <a:pt x="125" y="1189"/>
                    <a:pt x="123" y="1187"/>
                  </a:cubicBezTo>
                  <a:cubicBezTo>
                    <a:pt x="122" y="1187"/>
                    <a:pt x="123" y="1185"/>
                    <a:pt x="121" y="1186"/>
                  </a:cubicBezTo>
                  <a:cubicBezTo>
                    <a:pt x="120" y="1186"/>
                    <a:pt x="121" y="1188"/>
                    <a:pt x="120" y="1188"/>
                  </a:cubicBezTo>
                  <a:cubicBezTo>
                    <a:pt x="118" y="1189"/>
                    <a:pt x="117" y="1188"/>
                    <a:pt x="115" y="1187"/>
                  </a:cubicBezTo>
                  <a:cubicBezTo>
                    <a:pt x="112" y="1187"/>
                    <a:pt x="112" y="1188"/>
                    <a:pt x="110" y="1189"/>
                  </a:cubicBezTo>
                  <a:cubicBezTo>
                    <a:pt x="108" y="1190"/>
                    <a:pt x="106" y="1189"/>
                    <a:pt x="104" y="1189"/>
                  </a:cubicBezTo>
                  <a:cubicBezTo>
                    <a:pt x="102" y="1189"/>
                    <a:pt x="99" y="1189"/>
                    <a:pt x="97" y="1189"/>
                  </a:cubicBezTo>
                  <a:cubicBezTo>
                    <a:pt x="95" y="1189"/>
                    <a:pt x="93" y="1191"/>
                    <a:pt x="92" y="1191"/>
                  </a:cubicBezTo>
                  <a:cubicBezTo>
                    <a:pt x="88" y="1192"/>
                    <a:pt x="83" y="1191"/>
                    <a:pt x="83" y="1196"/>
                  </a:cubicBezTo>
                  <a:cubicBezTo>
                    <a:pt x="84" y="1201"/>
                    <a:pt x="87" y="1199"/>
                    <a:pt x="89" y="1200"/>
                  </a:cubicBezTo>
                  <a:cubicBezTo>
                    <a:pt x="91" y="1200"/>
                    <a:pt x="92" y="1201"/>
                    <a:pt x="94" y="1202"/>
                  </a:cubicBezTo>
                  <a:cubicBezTo>
                    <a:pt x="90" y="1203"/>
                    <a:pt x="82" y="1201"/>
                    <a:pt x="79" y="1205"/>
                  </a:cubicBezTo>
                  <a:cubicBezTo>
                    <a:pt x="78" y="1206"/>
                    <a:pt x="79" y="1207"/>
                    <a:pt x="79" y="1208"/>
                  </a:cubicBezTo>
                  <a:cubicBezTo>
                    <a:pt x="78" y="1209"/>
                    <a:pt x="78" y="1209"/>
                    <a:pt x="77" y="1210"/>
                  </a:cubicBezTo>
                  <a:cubicBezTo>
                    <a:pt x="76" y="1211"/>
                    <a:pt x="75" y="1210"/>
                    <a:pt x="74" y="1211"/>
                  </a:cubicBezTo>
                  <a:cubicBezTo>
                    <a:pt x="74" y="1212"/>
                    <a:pt x="74" y="1214"/>
                    <a:pt x="74" y="1214"/>
                  </a:cubicBezTo>
                  <a:cubicBezTo>
                    <a:pt x="77" y="1215"/>
                    <a:pt x="77" y="1217"/>
                    <a:pt x="80" y="1218"/>
                  </a:cubicBezTo>
                  <a:cubicBezTo>
                    <a:pt x="82" y="1218"/>
                    <a:pt x="83" y="1217"/>
                    <a:pt x="85" y="1217"/>
                  </a:cubicBezTo>
                  <a:cubicBezTo>
                    <a:pt x="87" y="1216"/>
                    <a:pt x="90" y="1216"/>
                    <a:pt x="91" y="1216"/>
                  </a:cubicBezTo>
                  <a:cubicBezTo>
                    <a:pt x="94" y="1215"/>
                    <a:pt x="95" y="1211"/>
                    <a:pt x="97" y="1208"/>
                  </a:cubicBezTo>
                  <a:cubicBezTo>
                    <a:pt x="99" y="1206"/>
                    <a:pt x="101" y="1206"/>
                    <a:pt x="103" y="1206"/>
                  </a:cubicBezTo>
                  <a:cubicBezTo>
                    <a:pt x="110" y="1206"/>
                    <a:pt x="113" y="1206"/>
                    <a:pt x="118" y="1211"/>
                  </a:cubicBezTo>
                  <a:cubicBezTo>
                    <a:pt x="120" y="1213"/>
                    <a:pt x="124" y="1214"/>
                    <a:pt x="126" y="1217"/>
                  </a:cubicBezTo>
                  <a:cubicBezTo>
                    <a:pt x="127" y="1219"/>
                    <a:pt x="126" y="1222"/>
                    <a:pt x="126" y="1224"/>
                  </a:cubicBezTo>
                  <a:cubicBezTo>
                    <a:pt x="128" y="1225"/>
                    <a:pt x="131" y="1224"/>
                    <a:pt x="133" y="1225"/>
                  </a:cubicBezTo>
                  <a:cubicBezTo>
                    <a:pt x="133" y="1225"/>
                    <a:pt x="133" y="1226"/>
                    <a:pt x="133" y="1227"/>
                  </a:cubicBezTo>
                  <a:cubicBezTo>
                    <a:pt x="129" y="1228"/>
                    <a:pt x="127" y="1227"/>
                    <a:pt x="125" y="1225"/>
                  </a:cubicBezTo>
                  <a:cubicBezTo>
                    <a:pt x="125" y="1224"/>
                    <a:pt x="125" y="1224"/>
                    <a:pt x="124" y="1223"/>
                  </a:cubicBezTo>
                  <a:cubicBezTo>
                    <a:pt x="124" y="1223"/>
                    <a:pt x="123" y="1223"/>
                    <a:pt x="123" y="1222"/>
                  </a:cubicBezTo>
                  <a:cubicBezTo>
                    <a:pt x="122" y="1222"/>
                    <a:pt x="122" y="1222"/>
                    <a:pt x="121" y="1222"/>
                  </a:cubicBezTo>
                  <a:cubicBezTo>
                    <a:pt x="120" y="1221"/>
                    <a:pt x="121" y="1219"/>
                    <a:pt x="120" y="1219"/>
                  </a:cubicBezTo>
                  <a:cubicBezTo>
                    <a:pt x="118" y="1217"/>
                    <a:pt x="115" y="1217"/>
                    <a:pt x="113" y="1216"/>
                  </a:cubicBezTo>
                  <a:cubicBezTo>
                    <a:pt x="109" y="1214"/>
                    <a:pt x="108" y="1214"/>
                    <a:pt x="104" y="1215"/>
                  </a:cubicBezTo>
                  <a:cubicBezTo>
                    <a:pt x="102" y="1216"/>
                    <a:pt x="97" y="1215"/>
                    <a:pt x="96" y="1217"/>
                  </a:cubicBezTo>
                  <a:cubicBezTo>
                    <a:pt x="94" y="1220"/>
                    <a:pt x="95" y="1222"/>
                    <a:pt x="96" y="1224"/>
                  </a:cubicBezTo>
                  <a:cubicBezTo>
                    <a:pt x="97" y="1227"/>
                    <a:pt x="97" y="1230"/>
                    <a:pt x="98" y="1233"/>
                  </a:cubicBezTo>
                  <a:cubicBezTo>
                    <a:pt x="98" y="1236"/>
                    <a:pt x="99" y="1239"/>
                    <a:pt x="100" y="1241"/>
                  </a:cubicBezTo>
                  <a:cubicBezTo>
                    <a:pt x="101" y="1243"/>
                    <a:pt x="102" y="1243"/>
                    <a:pt x="101" y="1245"/>
                  </a:cubicBezTo>
                  <a:cubicBezTo>
                    <a:pt x="99" y="1245"/>
                    <a:pt x="99" y="1242"/>
                    <a:pt x="97" y="1240"/>
                  </a:cubicBezTo>
                  <a:cubicBezTo>
                    <a:pt x="96" y="1238"/>
                    <a:pt x="93" y="1236"/>
                    <a:pt x="92" y="1233"/>
                  </a:cubicBezTo>
                  <a:cubicBezTo>
                    <a:pt x="91" y="1230"/>
                    <a:pt x="89" y="1221"/>
                    <a:pt x="84" y="1221"/>
                  </a:cubicBezTo>
                  <a:cubicBezTo>
                    <a:pt x="80" y="1221"/>
                    <a:pt x="78" y="1228"/>
                    <a:pt x="75" y="1230"/>
                  </a:cubicBezTo>
                  <a:cubicBezTo>
                    <a:pt x="74" y="1231"/>
                    <a:pt x="71" y="1230"/>
                    <a:pt x="70" y="1231"/>
                  </a:cubicBezTo>
                  <a:cubicBezTo>
                    <a:pt x="69" y="1232"/>
                    <a:pt x="68" y="1235"/>
                    <a:pt x="67" y="1237"/>
                  </a:cubicBezTo>
                  <a:cubicBezTo>
                    <a:pt x="64" y="1235"/>
                    <a:pt x="63" y="1232"/>
                    <a:pt x="64" y="1229"/>
                  </a:cubicBezTo>
                  <a:cubicBezTo>
                    <a:pt x="69" y="1227"/>
                    <a:pt x="77" y="1222"/>
                    <a:pt x="70" y="1216"/>
                  </a:cubicBezTo>
                  <a:cubicBezTo>
                    <a:pt x="67" y="1214"/>
                    <a:pt x="63" y="1212"/>
                    <a:pt x="61" y="1215"/>
                  </a:cubicBezTo>
                  <a:cubicBezTo>
                    <a:pt x="59" y="1218"/>
                    <a:pt x="62" y="1228"/>
                    <a:pt x="58" y="1229"/>
                  </a:cubicBezTo>
                  <a:cubicBezTo>
                    <a:pt x="56" y="1229"/>
                    <a:pt x="55" y="1227"/>
                    <a:pt x="54" y="1226"/>
                  </a:cubicBezTo>
                  <a:cubicBezTo>
                    <a:pt x="53" y="1225"/>
                    <a:pt x="51" y="1225"/>
                    <a:pt x="50" y="1225"/>
                  </a:cubicBezTo>
                  <a:cubicBezTo>
                    <a:pt x="47" y="1226"/>
                    <a:pt x="44" y="1228"/>
                    <a:pt x="43" y="1231"/>
                  </a:cubicBezTo>
                  <a:cubicBezTo>
                    <a:pt x="41" y="1239"/>
                    <a:pt x="52" y="1238"/>
                    <a:pt x="57" y="1237"/>
                  </a:cubicBezTo>
                  <a:cubicBezTo>
                    <a:pt x="57" y="1237"/>
                    <a:pt x="57" y="1236"/>
                    <a:pt x="57" y="1236"/>
                  </a:cubicBezTo>
                  <a:cubicBezTo>
                    <a:pt x="59" y="1236"/>
                    <a:pt x="59" y="1238"/>
                    <a:pt x="59" y="1240"/>
                  </a:cubicBezTo>
                  <a:cubicBezTo>
                    <a:pt x="62" y="1240"/>
                    <a:pt x="63" y="1241"/>
                    <a:pt x="65" y="1242"/>
                  </a:cubicBezTo>
                  <a:cubicBezTo>
                    <a:pt x="68" y="1244"/>
                    <a:pt x="68" y="1244"/>
                    <a:pt x="68" y="1248"/>
                  </a:cubicBezTo>
                  <a:cubicBezTo>
                    <a:pt x="69" y="1253"/>
                    <a:pt x="70" y="1259"/>
                    <a:pt x="63" y="1258"/>
                  </a:cubicBezTo>
                  <a:cubicBezTo>
                    <a:pt x="63" y="1257"/>
                    <a:pt x="63" y="1256"/>
                    <a:pt x="62" y="1256"/>
                  </a:cubicBezTo>
                  <a:cubicBezTo>
                    <a:pt x="62" y="1255"/>
                    <a:pt x="61" y="1255"/>
                    <a:pt x="61" y="1254"/>
                  </a:cubicBezTo>
                  <a:cubicBezTo>
                    <a:pt x="61" y="1254"/>
                    <a:pt x="61" y="1253"/>
                    <a:pt x="61" y="1253"/>
                  </a:cubicBezTo>
                  <a:cubicBezTo>
                    <a:pt x="59" y="1250"/>
                    <a:pt x="56" y="1247"/>
                    <a:pt x="53" y="1247"/>
                  </a:cubicBezTo>
                  <a:cubicBezTo>
                    <a:pt x="50" y="1246"/>
                    <a:pt x="48" y="1248"/>
                    <a:pt x="46" y="1246"/>
                  </a:cubicBezTo>
                  <a:cubicBezTo>
                    <a:pt x="45" y="1245"/>
                    <a:pt x="46" y="1244"/>
                    <a:pt x="45" y="1243"/>
                  </a:cubicBezTo>
                  <a:cubicBezTo>
                    <a:pt x="44" y="1242"/>
                    <a:pt x="41" y="1242"/>
                    <a:pt x="40" y="1242"/>
                  </a:cubicBezTo>
                  <a:cubicBezTo>
                    <a:pt x="40" y="1244"/>
                    <a:pt x="40" y="1246"/>
                    <a:pt x="40" y="1248"/>
                  </a:cubicBezTo>
                  <a:cubicBezTo>
                    <a:pt x="44" y="1248"/>
                    <a:pt x="45" y="1260"/>
                    <a:pt x="39" y="1256"/>
                  </a:cubicBezTo>
                  <a:cubicBezTo>
                    <a:pt x="33" y="1252"/>
                    <a:pt x="35" y="1247"/>
                    <a:pt x="34" y="1241"/>
                  </a:cubicBezTo>
                  <a:cubicBezTo>
                    <a:pt x="33" y="1237"/>
                    <a:pt x="31" y="1235"/>
                    <a:pt x="27" y="1236"/>
                  </a:cubicBezTo>
                  <a:cubicBezTo>
                    <a:pt x="23" y="1237"/>
                    <a:pt x="24" y="1240"/>
                    <a:pt x="24" y="1243"/>
                  </a:cubicBezTo>
                  <a:cubicBezTo>
                    <a:pt x="24" y="1247"/>
                    <a:pt x="25" y="1248"/>
                    <a:pt x="28" y="1249"/>
                  </a:cubicBezTo>
                  <a:cubicBezTo>
                    <a:pt x="30" y="1250"/>
                    <a:pt x="32" y="1250"/>
                    <a:pt x="33" y="1252"/>
                  </a:cubicBezTo>
                  <a:cubicBezTo>
                    <a:pt x="34" y="1254"/>
                    <a:pt x="34" y="1257"/>
                    <a:pt x="34" y="1259"/>
                  </a:cubicBezTo>
                  <a:cubicBezTo>
                    <a:pt x="35" y="1262"/>
                    <a:pt x="36" y="1265"/>
                    <a:pt x="32" y="1267"/>
                  </a:cubicBezTo>
                  <a:cubicBezTo>
                    <a:pt x="31" y="1267"/>
                    <a:pt x="26" y="1267"/>
                    <a:pt x="25" y="1267"/>
                  </a:cubicBezTo>
                  <a:cubicBezTo>
                    <a:pt x="24" y="1266"/>
                    <a:pt x="24" y="1264"/>
                    <a:pt x="22" y="1264"/>
                  </a:cubicBezTo>
                  <a:cubicBezTo>
                    <a:pt x="22" y="1264"/>
                    <a:pt x="19" y="1264"/>
                    <a:pt x="19" y="1264"/>
                  </a:cubicBezTo>
                  <a:cubicBezTo>
                    <a:pt x="14" y="1267"/>
                    <a:pt x="21" y="1271"/>
                    <a:pt x="24" y="1271"/>
                  </a:cubicBezTo>
                  <a:cubicBezTo>
                    <a:pt x="29" y="1273"/>
                    <a:pt x="36" y="1271"/>
                    <a:pt x="42" y="1271"/>
                  </a:cubicBezTo>
                  <a:cubicBezTo>
                    <a:pt x="47" y="1272"/>
                    <a:pt x="53" y="1272"/>
                    <a:pt x="58" y="1273"/>
                  </a:cubicBezTo>
                  <a:cubicBezTo>
                    <a:pt x="61" y="1273"/>
                    <a:pt x="66" y="1273"/>
                    <a:pt x="66" y="1277"/>
                  </a:cubicBezTo>
                  <a:cubicBezTo>
                    <a:pt x="62" y="1278"/>
                    <a:pt x="57" y="1277"/>
                    <a:pt x="54" y="1277"/>
                  </a:cubicBezTo>
                  <a:cubicBezTo>
                    <a:pt x="52" y="1277"/>
                    <a:pt x="49" y="1277"/>
                    <a:pt x="48" y="1277"/>
                  </a:cubicBezTo>
                  <a:cubicBezTo>
                    <a:pt x="45" y="1276"/>
                    <a:pt x="42" y="1275"/>
                    <a:pt x="39" y="1274"/>
                  </a:cubicBezTo>
                  <a:cubicBezTo>
                    <a:pt x="36" y="1274"/>
                    <a:pt x="34" y="1274"/>
                    <a:pt x="33" y="1277"/>
                  </a:cubicBezTo>
                  <a:cubicBezTo>
                    <a:pt x="31" y="1280"/>
                    <a:pt x="30" y="1283"/>
                    <a:pt x="30" y="1286"/>
                  </a:cubicBezTo>
                  <a:cubicBezTo>
                    <a:pt x="25" y="1287"/>
                    <a:pt x="14" y="1286"/>
                    <a:pt x="18" y="1294"/>
                  </a:cubicBezTo>
                  <a:cubicBezTo>
                    <a:pt x="15" y="1294"/>
                    <a:pt x="15" y="1299"/>
                    <a:pt x="15" y="1302"/>
                  </a:cubicBezTo>
                  <a:cubicBezTo>
                    <a:pt x="17" y="1306"/>
                    <a:pt x="23" y="1304"/>
                    <a:pt x="27" y="1305"/>
                  </a:cubicBezTo>
                  <a:cubicBezTo>
                    <a:pt x="31" y="1307"/>
                    <a:pt x="30" y="1311"/>
                    <a:pt x="35" y="1311"/>
                  </a:cubicBezTo>
                  <a:cubicBezTo>
                    <a:pt x="38" y="1310"/>
                    <a:pt x="38" y="1310"/>
                    <a:pt x="40" y="1309"/>
                  </a:cubicBezTo>
                  <a:cubicBezTo>
                    <a:pt x="43" y="1308"/>
                    <a:pt x="48" y="1309"/>
                    <a:pt x="50" y="1309"/>
                  </a:cubicBezTo>
                  <a:cubicBezTo>
                    <a:pt x="51" y="1311"/>
                    <a:pt x="44" y="1315"/>
                    <a:pt x="42" y="1315"/>
                  </a:cubicBezTo>
                  <a:cubicBezTo>
                    <a:pt x="39" y="1316"/>
                    <a:pt x="35" y="1313"/>
                    <a:pt x="32" y="1312"/>
                  </a:cubicBezTo>
                  <a:cubicBezTo>
                    <a:pt x="30" y="1311"/>
                    <a:pt x="28" y="1311"/>
                    <a:pt x="25" y="1312"/>
                  </a:cubicBezTo>
                  <a:cubicBezTo>
                    <a:pt x="25" y="1313"/>
                    <a:pt x="25" y="1314"/>
                    <a:pt x="25" y="1316"/>
                  </a:cubicBezTo>
                  <a:cubicBezTo>
                    <a:pt x="27" y="1316"/>
                    <a:pt x="30" y="1319"/>
                    <a:pt x="32" y="1320"/>
                  </a:cubicBezTo>
                  <a:cubicBezTo>
                    <a:pt x="34" y="1321"/>
                    <a:pt x="34" y="1321"/>
                    <a:pt x="35" y="1321"/>
                  </a:cubicBezTo>
                  <a:cubicBezTo>
                    <a:pt x="37" y="1322"/>
                    <a:pt x="39" y="1321"/>
                    <a:pt x="41" y="1322"/>
                  </a:cubicBezTo>
                  <a:cubicBezTo>
                    <a:pt x="43" y="1327"/>
                    <a:pt x="31" y="1327"/>
                    <a:pt x="28" y="1329"/>
                  </a:cubicBezTo>
                  <a:cubicBezTo>
                    <a:pt x="24" y="1331"/>
                    <a:pt x="13" y="1332"/>
                    <a:pt x="16" y="1339"/>
                  </a:cubicBezTo>
                  <a:cubicBezTo>
                    <a:pt x="24" y="1340"/>
                    <a:pt x="31" y="1333"/>
                    <a:pt x="40" y="1335"/>
                  </a:cubicBezTo>
                  <a:cubicBezTo>
                    <a:pt x="42" y="1339"/>
                    <a:pt x="32" y="1343"/>
                    <a:pt x="29" y="1343"/>
                  </a:cubicBezTo>
                  <a:cubicBezTo>
                    <a:pt x="26" y="1343"/>
                    <a:pt x="20" y="1340"/>
                    <a:pt x="18" y="1342"/>
                  </a:cubicBezTo>
                  <a:cubicBezTo>
                    <a:pt x="16" y="1343"/>
                    <a:pt x="17" y="1345"/>
                    <a:pt x="16" y="1346"/>
                  </a:cubicBezTo>
                  <a:cubicBezTo>
                    <a:pt x="16" y="1347"/>
                    <a:pt x="13" y="1349"/>
                    <a:pt x="15" y="1351"/>
                  </a:cubicBezTo>
                  <a:cubicBezTo>
                    <a:pt x="15" y="1351"/>
                    <a:pt x="18" y="1351"/>
                    <a:pt x="19" y="1351"/>
                  </a:cubicBezTo>
                  <a:cubicBezTo>
                    <a:pt x="19" y="1352"/>
                    <a:pt x="21" y="1353"/>
                    <a:pt x="21" y="1353"/>
                  </a:cubicBezTo>
                  <a:cubicBezTo>
                    <a:pt x="24" y="1354"/>
                    <a:pt x="27" y="1353"/>
                    <a:pt x="30" y="1354"/>
                  </a:cubicBezTo>
                  <a:cubicBezTo>
                    <a:pt x="32" y="1357"/>
                    <a:pt x="30" y="1362"/>
                    <a:pt x="33" y="1365"/>
                  </a:cubicBezTo>
                  <a:cubicBezTo>
                    <a:pt x="37" y="1369"/>
                    <a:pt x="46" y="1365"/>
                    <a:pt x="50" y="1364"/>
                  </a:cubicBezTo>
                  <a:cubicBezTo>
                    <a:pt x="62" y="1364"/>
                    <a:pt x="73" y="1364"/>
                    <a:pt x="84" y="1364"/>
                  </a:cubicBezTo>
                  <a:cubicBezTo>
                    <a:pt x="88" y="1364"/>
                    <a:pt x="94" y="1365"/>
                    <a:pt x="97" y="1363"/>
                  </a:cubicBezTo>
                  <a:cubicBezTo>
                    <a:pt x="102" y="1361"/>
                    <a:pt x="102" y="1356"/>
                    <a:pt x="108" y="1355"/>
                  </a:cubicBezTo>
                  <a:cubicBezTo>
                    <a:pt x="111" y="1355"/>
                    <a:pt x="113" y="1355"/>
                    <a:pt x="116" y="1357"/>
                  </a:cubicBezTo>
                  <a:cubicBezTo>
                    <a:pt x="117" y="1358"/>
                    <a:pt x="119" y="1361"/>
                    <a:pt x="120" y="1362"/>
                  </a:cubicBezTo>
                  <a:cubicBezTo>
                    <a:pt x="123" y="1364"/>
                    <a:pt x="132" y="1362"/>
                    <a:pt x="130" y="1369"/>
                  </a:cubicBezTo>
                  <a:cubicBezTo>
                    <a:pt x="128" y="1369"/>
                    <a:pt x="124" y="1369"/>
                    <a:pt x="122" y="1369"/>
                  </a:cubicBezTo>
                  <a:cubicBezTo>
                    <a:pt x="120" y="1368"/>
                    <a:pt x="120" y="1366"/>
                    <a:pt x="118" y="1365"/>
                  </a:cubicBezTo>
                  <a:cubicBezTo>
                    <a:pt x="115" y="1363"/>
                    <a:pt x="108" y="1363"/>
                    <a:pt x="105" y="1365"/>
                  </a:cubicBezTo>
                  <a:cubicBezTo>
                    <a:pt x="98" y="1369"/>
                    <a:pt x="89" y="1365"/>
                    <a:pt x="81" y="1365"/>
                  </a:cubicBezTo>
                  <a:cubicBezTo>
                    <a:pt x="76" y="1365"/>
                    <a:pt x="71" y="1365"/>
                    <a:pt x="67" y="1365"/>
                  </a:cubicBezTo>
                  <a:cubicBezTo>
                    <a:pt x="64" y="1365"/>
                    <a:pt x="61" y="1365"/>
                    <a:pt x="59" y="1366"/>
                  </a:cubicBezTo>
                  <a:cubicBezTo>
                    <a:pt x="55" y="1366"/>
                    <a:pt x="54" y="1367"/>
                    <a:pt x="51" y="1369"/>
                  </a:cubicBezTo>
                  <a:cubicBezTo>
                    <a:pt x="47" y="1371"/>
                    <a:pt x="44" y="1371"/>
                    <a:pt x="40" y="1371"/>
                  </a:cubicBezTo>
                  <a:cubicBezTo>
                    <a:pt x="37" y="1372"/>
                    <a:pt x="36" y="1374"/>
                    <a:pt x="33" y="1373"/>
                  </a:cubicBezTo>
                  <a:cubicBezTo>
                    <a:pt x="30" y="1373"/>
                    <a:pt x="29" y="1370"/>
                    <a:pt x="29" y="1367"/>
                  </a:cubicBezTo>
                  <a:cubicBezTo>
                    <a:pt x="26" y="1367"/>
                    <a:pt x="21" y="1366"/>
                    <a:pt x="18" y="1367"/>
                  </a:cubicBezTo>
                  <a:cubicBezTo>
                    <a:pt x="14" y="1369"/>
                    <a:pt x="14" y="1372"/>
                    <a:pt x="10" y="1370"/>
                  </a:cubicBezTo>
                  <a:cubicBezTo>
                    <a:pt x="6" y="1368"/>
                    <a:pt x="6" y="1367"/>
                    <a:pt x="4" y="1370"/>
                  </a:cubicBezTo>
                  <a:cubicBezTo>
                    <a:pt x="3" y="1371"/>
                    <a:pt x="2" y="1373"/>
                    <a:pt x="2" y="1375"/>
                  </a:cubicBezTo>
                  <a:cubicBezTo>
                    <a:pt x="1" y="1377"/>
                    <a:pt x="0" y="1382"/>
                    <a:pt x="1" y="1383"/>
                  </a:cubicBezTo>
                  <a:cubicBezTo>
                    <a:pt x="2" y="1386"/>
                    <a:pt x="5" y="1385"/>
                    <a:pt x="7" y="1385"/>
                  </a:cubicBezTo>
                  <a:cubicBezTo>
                    <a:pt x="7" y="1388"/>
                    <a:pt x="6" y="1389"/>
                    <a:pt x="6" y="1391"/>
                  </a:cubicBezTo>
                  <a:cubicBezTo>
                    <a:pt x="5" y="1394"/>
                    <a:pt x="4" y="1397"/>
                    <a:pt x="9" y="1396"/>
                  </a:cubicBezTo>
                  <a:cubicBezTo>
                    <a:pt x="11" y="1399"/>
                    <a:pt x="12" y="1403"/>
                    <a:pt x="15" y="1406"/>
                  </a:cubicBezTo>
                  <a:cubicBezTo>
                    <a:pt x="16" y="1406"/>
                    <a:pt x="16" y="1404"/>
                    <a:pt x="17" y="1403"/>
                  </a:cubicBezTo>
                  <a:cubicBezTo>
                    <a:pt x="18" y="1400"/>
                    <a:pt x="19" y="1399"/>
                    <a:pt x="22" y="1398"/>
                  </a:cubicBezTo>
                  <a:cubicBezTo>
                    <a:pt x="27" y="1397"/>
                    <a:pt x="29" y="1398"/>
                    <a:pt x="34" y="1400"/>
                  </a:cubicBezTo>
                  <a:cubicBezTo>
                    <a:pt x="34" y="1412"/>
                    <a:pt x="40" y="1400"/>
                    <a:pt x="44" y="1399"/>
                  </a:cubicBezTo>
                  <a:cubicBezTo>
                    <a:pt x="44" y="1401"/>
                    <a:pt x="44" y="1403"/>
                    <a:pt x="44" y="1404"/>
                  </a:cubicBezTo>
                  <a:cubicBezTo>
                    <a:pt x="41" y="1405"/>
                    <a:pt x="39" y="1407"/>
                    <a:pt x="36" y="1407"/>
                  </a:cubicBezTo>
                  <a:cubicBezTo>
                    <a:pt x="34" y="1406"/>
                    <a:pt x="33" y="1404"/>
                    <a:pt x="31" y="1403"/>
                  </a:cubicBezTo>
                  <a:cubicBezTo>
                    <a:pt x="29" y="1402"/>
                    <a:pt x="25" y="1402"/>
                    <a:pt x="23" y="1403"/>
                  </a:cubicBezTo>
                  <a:cubicBezTo>
                    <a:pt x="17" y="1404"/>
                    <a:pt x="20" y="1414"/>
                    <a:pt x="15" y="1413"/>
                  </a:cubicBezTo>
                  <a:cubicBezTo>
                    <a:pt x="13" y="1418"/>
                    <a:pt x="19" y="1417"/>
                    <a:pt x="22" y="1418"/>
                  </a:cubicBezTo>
                  <a:cubicBezTo>
                    <a:pt x="23" y="1422"/>
                    <a:pt x="24" y="1423"/>
                    <a:pt x="21" y="1424"/>
                  </a:cubicBezTo>
                  <a:cubicBezTo>
                    <a:pt x="18" y="1426"/>
                    <a:pt x="15" y="1427"/>
                    <a:pt x="13" y="1430"/>
                  </a:cubicBezTo>
                  <a:cubicBezTo>
                    <a:pt x="11" y="1434"/>
                    <a:pt x="16" y="1434"/>
                    <a:pt x="18" y="1437"/>
                  </a:cubicBezTo>
                  <a:cubicBezTo>
                    <a:pt x="20" y="1440"/>
                    <a:pt x="19" y="1445"/>
                    <a:pt x="18" y="1448"/>
                  </a:cubicBezTo>
                  <a:cubicBezTo>
                    <a:pt x="16" y="1453"/>
                    <a:pt x="13" y="1466"/>
                    <a:pt x="20" y="1469"/>
                  </a:cubicBezTo>
                  <a:cubicBezTo>
                    <a:pt x="28" y="1471"/>
                    <a:pt x="25" y="1455"/>
                    <a:pt x="26" y="1451"/>
                  </a:cubicBezTo>
                  <a:cubicBezTo>
                    <a:pt x="33" y="1450"/>
                    <a:pt x="34" y="1453"/>
                    <a:pt x="35" y="1459"/>
                  </a:cubicBezTo>
                  <a:cubicBezTo>
                    <a:pt x="35" y="1466"/>
                    <a:pt x="36" y="1475"/>
                    <a:pt x="45" y="1473"/>
                  </a:cubicBezTo>
                  <a:cubicBezTo>
                    <a:pt x="45" y="1471"/>
                    <a:pt x="47" y="1472"/>
                    <a:pt x="48" y="1470"/>
                  </a:cubicBezTo>
                  <a:cubicBezTo>
                    <a:pt x="49" y="1469"/>
                    <a:pt x="49" y="1467"/>
                    <a:pt x="50" y="1466"/>
                  </a:cubicBezTo>
                  <a:cubicBezTo>
                    <a:pt x="50" y="1463"/>
                    <a:pt x="50" y="1459"/>
                    <a:pt x="52" y="1457"/>
                  </a:cubicBezTo>
                  <a:cubicBezTo>
                    <a:pt x="53" y="1458"/>
                    <a:pt x="55" y="1458"/>
                    <a:pt x="55" y="1459"/>
                  </a:cubicBezTo>
                  <a:cubicBezTo>
                    <a:pt x="56" y="1461"/>
                    <a:pt x="55" y="1463"/>
                    <a:pt x="55" y="1464"/>
                  </a:cubicBezTo>
                  <a:cubicBezTo>
                    <a:pt x="55" y="1466"/>
                    <a:pt x="55" y="1467"/>
                    <a:pt x="56" y="1469"/>
                  </a:cubicBezTo>
                  <a:cubicBezTo>
                    <a:pt x="56" y="1470"/>
                    <a:pt x="58" y="1471"/>
                    <a:pt x="57" y="1473"/>
                  </a:cubicBezTo>
                  <a:cubicBezTo>
                    <a:pt x="57" y="1474"/>
                    <a:pt x="55" y="1474"/>
                    <a:pt x="54" y="1475"/>
                  </a:cubicBezTo>
                  <a:cubicBezTo>
                    <a:pt x="54" y="1476"/>
                    <a:pt x="54" y="1477"/>
                    <a:pt x="53" y="1477"/>
                  </a:cubicBezTo>
                  <a:cubicBezTo>
                    <a:pt x="51" y="1478"/>
                    <a:pt x="46" y="1479"/>
                    <a:pt x="45" y="1478"/>
                  </a:cubicBezTo>
                  <a:cubicBezTo>
                    <a:pt x="41" y="1480"/>
                    <a:pt x="39" y="1479"/>
                    <a:pt x="38" y="1484"/>
                  </a:cubicBezTo>
                  <a:cubicBezTo>
                    <a:pt x="33" y="1484"/>
                    <a:pt x="33" y="1480"/>
                    <a:pt x="28" y="1481"/>
                  </a:cubicBezTo>
                  <a:cubicBezTo>
                    <a:pt x="28" y="1483"/>
                    <a:pt x="26" y="1485"/>
                    <a:pt x="26" y="1487"/>
                  </a:cubicBezTo>
                  <a:cubicBezTo>
                    <a:pt x="28" y="1489"/>
                    <a:pt x="32" y="1486"/>
                    <a:pt x="35" y="1488"/>
                  </a:cubicBezTo>
                  <a:cubicBezTo>
                    <a:pt x="35" y="1488"/>
                    <a:pt x="36" y="1490"/>
                    <a:pt x="37" y="1490"/>
                  </a:cubicBezTo>
                  <a:cubicBezTo>
                    <a:pt x="38" y="1492"/>
                    <a:pt x="41" y="1492"/>
                    <a:pt x="42" y="1493"/>
                  </a:cubicBezTo>
                  <a:cubicBezTo>
                    <a:pt x="40" y="1495"/>
                    <a:pt x="38" y="1495"/>
                    <a:pt x="36" y="1494"/>
                  </a:cubicBezTo>
                  <a:cubicBezTo>
                    <a:pt x="34" y="1494"/>
                    <a:pt x="35" y="1492"/>
                    <a:pt x="32" y="1493"/>
                  </a:cubicBezTo>
                  <a:cubicBezTo>
                    <a:pt x="32" y="1496"/>
                    <a:pt x="33" y="1499"/>
                    <a:pt x="33" y="1502"/>
                  </a:cubicBezTo>
                  <a:cubicBezTo>
                    <a:pt x="30" y="1503"/>
                    <a:pt x="28" y="1499"/>
                    <a:pt x="26" y="1498"/>
                  </a:cubicBezTo>
                  <a:cubicBezTo>
                    <a:pt x="25" y="1498"/>
                    <a:pt x="23" y="1498"/>
                    <a:pt x="21" y="1498"/>
                  </a:cubicBezTo>
                  <a:cubicBezTo>
                    <a:pt x="20" y="1503"/>
                    <a:pt x="26" y="1506"/>
                    <a:pt x="29" y="1509"/>
                  </a:cubicBezTo>
                  <a:cubicBezTo>
                    <a:pt x="31" y="1513"/>
                    <a:pt x="28" y="1515"/>
                    <a:pt x="28" y="1519"/>
                  </a:cubicBezTo>
                  <a:cubicBezTo>
                    <a:pt x="27" y="1522"/>
                    <a:pt x="27" y="1526"/>
                    <a:pt x="27" y="1529"/>
                  </a:cubicBezTo>
                  <a:cubicBezTo>
                    <a:pt x="26" y="1534"/>
                    <a:pt x="28" y="1536"/>
                    <a:pt x="33" y="1535"/>
                  </a:cubicBezTo>
                  <a:cubicBezTo>
                    <a:pt x="34" y="1531"/>
                    <a:pt x="32" y="1526"/>
                    <a:pt x="38" y="1526"/>
                  </a:cubicBezTo>
                  <a:cubicBezTo>
                    <a:pt x="40" y="1527"/>
                    <a:pt x="41" y="1529"/>
                    <a:pt x="43" y="1527"/>
                  </a:cubicBezTo>
                  <a:cubicBezTo>
                    <a:pt x="45" y="1526"/>
                    <a:pt x="44" y="1522"/>
                    <a:pt x="48" y="1523"/>
                  </a:cubicBezTo>
                  <a:cubicBezTo>
                    <a:pt x="49" y="1529"/>
                    <a:pt x="40" y="1527"/>
                    <a:pt x="38" y="1530"/>
                  </a:cubicBezTo>
                  <a:cubicBezTo>
                    <a:pt x="37" y="1532"/>
                    <a:pt x="38" y="1534"/>
                    <a:pt x="37" y="1536"/>
                  </a:cubicBezTo>
                  <a:cubicBezTo>
                    <a:pt x="35" y="1538"/>
                    <a:pt x="34" y="1539"/>
                    <a:pt x="32" y="1539"/>
                  </a:cubicBezTo>
                  <a:cubicBezTo>
                    <a:pt x="31" y="1546"/>
                    <a:pt x="32" y="1553"/>
                    <a:pt x="32" y="1559"/>
                  </a:cubicBezTo>
                  <a:cubicBezTo>
                    <a:pt x="32" y="1566"/>
                    <a:pt x="28" y="1572"/>
                    <a:pt x="30" y="1578"/>
                  </a:cubicBezTo>
                  <a:cubicBezTo>
                    <a:pt x="31" y="1579"/>
                    <a:pt x="32" y="1583"/>
                    <a:pt x="34" y="1583"/>
                  </a:cubicBezTo>
                  <a:cubicBezTo>
                    <a:pt x="38" y="1585"/>
                    <a:pt x="39" y="1580"/>
                    <a:pt x="39" y="1577"/>
                  </a:cubicBezTo>
                  <a:cubicBezTo>
                    <a:pt x="39" y="1576"/>
                    <a:pt x="38" y="1572"/>
                    <a:pt x="40" y="1571"/>
                  </a:cubicBezTo>
                  <a:cubicBezTo>
                    <a:pt x="43" y="1569"/>
                    <a:pt x="47" y="1578"/>
                    <a:pt x="47" y="1580"/>
                  </a:cubicBezTo>
                  <a:cubicBezTo>
                    <a:pt x="52" y="1582"/>
                    <a:pt x="51" y="1574"/>
                    <a:pt x="53" y="1571"/>
                  </a:cubicBezTo>
                  <a:cubicBezTo>
                    <a:pt x="55" y="1569"/>
                    <a:pt x="57" y="1570"/>
                    <a:pt x="58" y="1568"/>
                  </a:cubicBezTo>
                  <a:cubicBezTo>
                    <a:pt x="60" y="1567"/>
                    <a:pt x="59" y="1564"/>
                    <a:pt x="59" y="1562"/>
                  </a:cubicBezTo>
                  <a:cubicBezTo>
                    <a:pt x="62" y="1561"/>
                    <a:pt x="72" y="1561"/>
                    <a:pt x="70" y="1566"/>
                  </a:cubicBezTo>
                  <a:cubicBezTo>
                    <a:pt x="67" y="1566"/>
                    <a:pt x="66" y="1569"/>
                    <a:pt x="67" y="1571"/>
                  </a:cubicBezTo>
                  <a:cubicBezTo>
                    <a:pt x="71" y="1571"/>
                    <a:pt x="75" y="1570"/>
                    <a:pt x="79" y="1571"/>
                  </a:cubicBezTo>
                  <a:cubicBezTo>
                    <a:pt x="80" y="1575"/>
                    <a:pt x="80" y="1576"/>
                    <a:pt x="76" y="1578"/>
                  </a:cubicBezTo>
                  <a:cubicBezTo>
                    <a:pt x="75" y="1578"/>
                    <a:pt x="73" y="1579"/>
                    <a:pt x="72" y="1579"/>
                  </a:cubicBezTo>
                  <a:cubicBezTo>
                    <a:pt x="69" y="1578"/>
                    <a:pt x="68" y="1576"/>
                    <a:pt x="66" y="1577"/>
                  </a:cubicBezTo>
                  <a:cubicBezTo>
                    <a:pt x="65" y="1579"/>
                    <a:pt x="64" y="1583"/>
                    <a:pt x="65" y="1585"/>
                  </a:cubicBezTo>
                  <a:cubicBezTo>
                    <a:pt x="65" y="1588"/>
                    <a:pt x="67" y="1588"/>
                    <a:pt x="66" y="1591"/>
                  </a:cubicBezTo>
                  <a:cubicBezTo>
                    <a:pt x="65" y="1591"/>
                    <a:pt x="64" y="1591"/>
                    <a:pt x="63" y="1591"/>
                  </a:cubicBezTo>
                  <a:cubicBezTo>
                    <a:pt x="63" y="1589"/>
                    <a:pt x="63" y="1587"/>
                    <a:pt x="63" y="1585"/>
                  </a:cubicBezTo>
                  <a:cubicBezTo>
                    <a:pt x="58" y="1585"/>
                    <a:pt x="52" y="1584"/>
                    <a:pt x="47" y="1585"/>
                  </a:cubicBezTo>
                  <a:cubicBezTo>
                    <a:pt x="46" y="1589"/>
                    <a:pt x="49" y="1590"/>
                    <a:pt x="49" y="1593"/>
                  </a:cubicBezTo>
                  <a:cubicBezTo>
                    <a:pt x="50" y="1596"/>
                    <a:pt x="49" y="1597"/>
                    <a:pt x="49" y="1599"/>
                  </a:cubicBezTo>
                  <a:cubicBezTo>
                    <a:pt x="47" y="1604"/>
                    <a:pt x="48" y="1608"/>
                    <a:pt x="47" y="1613"/>
                  </a:cubicBezTo>
                  <a:cubicBezTo>
                    <a:pt x="47" y="1615"/>
                    <a:pt x="46" y="1619"/>
                    <a:pt x="47" y="1622"/>
                  </a:cubicBezTo>
                  <a:cubicBezTo>
                    <a:pt x="47" y="1624"/>
                    <a:pt x="49" y="1624"/>
                    <a:pt x="50" y="1626"/>
                  </a:cubicBezTo>
                  <a:cubicBezTo>
                    <a:pt x="52" y="1628"/>
                    <a:pt x="53" y="1631"/>
                    <a:pt x="54" y="1633"/>
                  </a:cubicBezTo>
                  <a:cubicBezTo>
                    <a:pt x="57" y="1637"/>
                    <a:pt x="62" y="1639"/>
                    <a:pt x="67" y="1641"/>
                  </a:cubicBezTo>
                  <a:cubicBezTo>
                    <a:pt x="66" y="1644"/>
                    <a:pt x="68" y="1644"/>
                    <a:pt x="69" y="1646"/>
                  </a:cubicBezTo>
                  <a:cubicBezTo>
                    <a:pt x="69" y="1647"/>
                    <a:pt x="68" y="1649"/>
                    <a:pt x="68" y="1651"/>
                  </a:cubicBezTo>
                  <a:cubicBezTo>
                    <a:pt x="69" y="1654"/>
                    <a:pt x="69" y="1657"/>
                    <a:pt x="72" y="1658"/>
                  </a:cubicBezTo>
                  <a:cubicBezTo>
                    <a:pt x="73" y="1659"/>
                    <a:pt x="76" y="1658"/>
                    <a:pt x="78" y="1659"/>
                  </a:cubicBezTo>
                  <a:cubicBezTo>
                    <a:pt x="80" y="1660"/>
                    <a:pt x="80" y="1663"/>
                    <a:pt x="83" y="1664"/>
                  </a:cubicBezTo>
                  <a:cubicBezTo>
                    <a:pt x="84" y="1664"/>
                    <a:pt x="86" y="1663"/>
                    <a:pt x="88" y="1664"/>
                  </a:cubicBezTo>
                  <a:cubicBezTo>
                    <a:pt x="90" y="1666"/>
                    <a:pt x="91" y="1668"/>
                    <a:pt x="93" y="1670"/>
                  </a:cubicBezTo>
                  <a:cubicBezTo>
                    <a:pt x="95" y="1671"/>
                    <a:pt x="95" y="1672"/>
                    <a:pt x="97" y="1673"/>
                  </a:cubicBezTo>
                  <a:cubicBezTo>
                    <a:pt x="99" y="1674"/>
                    <a:pt x="102" y="1673"/>
                    <a:pt x="105" y="1674"/>
                  </a:cubicBezTo>
                  <a:cubicBezTo>
                    <a:pt x="112" y="1676"/>
                    <a:pt x="108" y="1680"/>
                    <a:pt x="106" y="1684"/>
                  </a:cubicBezTo>
                  <a:cubicBezTo>
                    <a:pt x="104" y="1690"/>
                    <a:pt x="109" y="1690"/>
                    <a:pt x="114" y="1690"/>
                  </a:cubicBezTo>
                  <a:cubicBezTo>
                    <a:pt x="116" y="1690"/>
                    <a:pt x="118" y="1688"/>
                    <a:pt x="120" y="1689"/>
                  </a:cubicBezTo>
                  <a:cubicBezTo>
                    <a:pt x="122" y="1690"/>
                    <a:pt x="122" y="1692"/>
                    <a:pt x="123" y="1693"/>
                  </a:cubicBezTo>
                  <a:cubicBezTo>
                    <a:pt x="125" y="1697"/>
                    <a:pt x="129" y="1696"/>
                    <a:pt x="133" y="1698"/>
                  </a:cubicBezTo>
                  <a:cubicBezTo>
                    <a:pt x="135" y="1699"/>
                    <a:pt x="136" y="1701"/>
                    <a:pt x="138" y="1700"/>
                  </a:cubicBezTo>
                  <a:cubicBezTo>
                    <a:pt x="138" y="1693"/>
                    <a:pt x="143" y="1695"/>
                    <a:pt x="149" y="1697"/>
                  </a:cubicBezTo>
                  <a:cubicBezTo>
                    <a:pt x="154" y="1698"/>
                    <a:pt x="161" y="1699"/>
                    <a:pt x="167" y="1698"/>
                  </a:cubicBezTo>
                  <a:cubicBezTo>
                    <a:pt x="169" y="1697"/>
                    <a:pt x="171" y="1696"/>
                    <a:pt x="174" y="1695"/>
                  </a:cubicBezTo>
                  <a:cubicBezTo>
                    <a:pt x="177" y="1695"/>
                    <a:pt x="180" y="1695"/>
                    <a:pt x="183" y="1695"/>
                  </a:cubicBezTo>
                  <a:cubicBezTo>
                    <a:pt x="187" y="1696"/>
                    <a:pt x="187" y="1695"/>
                    <a:pt x="190" y="1692"/>
                  </a:cubicBezTo>
                  <a:cubicBezTo>
                    <a:pt x="194" y="1689"/>
                    <a:pt x="199" y="1690"/>
                    <a:pt x="202" y="1685"/>
                  </a:cubicBezTo>
                  <a:cubicBezTo>
                    <a:pt x="203" y="1683"/>
                    <a:pt x="202" y="1681"/>
                    <a:pt x="204" y="1679"/>
                  </a:cubicBezTo>
                  <a:cubicBezTo>
                    <a:pt x="204" y="1677"/>
                    <a:pt x="206" y="1676"/>
                    <a:pt x="207" y="1675"/>
                  </a:cubicBezTo>
                  <a:cubicBezTo>
                    <a:pt x="209" y="1672"/>
                    <a:pt x="212" y="1668"/>
                    <a:pt x="217" y="1666"/>
                  </a:cubicBezTo>
                  <a:cubicBezTo>
                    <a:pt x="220" y="1665"/>
                    <a:pt x="221" y="1666"/>
                    <a:pt x="223" y="1663"/>
                  </a:cubicBezTo>
                  <a:cubicBezTo>
                    <a:pt x="225" y="1661"/>
                    <a:pt x="225" y="1660"/>
                    <a:pt x="227" y="1658"/>
                  </a:cubicBezTo>
                  <a:cubicBezTo>
                    <a:pt x="229" y="1656"/>
                    <a:pt x="230" y="1655"/>
                    <a:pt x="232" y="1653"/>
                  </a:cubicBezTo>
                  <a:cubicBezTo>
                    <a:pt x="234" y="1649"/>
                    <a:pt x="237" y="1647"/>
                    <a:pt x="240" y="1644"/>
                  </a:cubicBezTo>
                  <a:cubicBezTo>
                    <a:pt x="243" y="1641"/>
                    <a:pt x="245" y="1639"/>
                    <a:pt x="248" y="1637"/>
                  </a:cubicBezTo>
                  <a:cubicBezTo>
                    <a:pt x="252" y="1634"/>
                    <a:pt x="252" y="1629"/>
                    <a:pt x="256" y="1625"/>
                  </a:cubicBezTo>
                  <a:cubicBezTo>
                    <a:pt x="257" y="1624"/>
                    <a:pt x="260" y="1623"/>
                    <a:pt x="261" y="1622"/>
                  </a:cubicBezTo>
                  <a:cubicBezTo>
                    <a:pt x="263" y="1620"/>
                    <a:pt x="264" y="1619"/>
                    <a:pt x="265" y="1617"/>
                  </a:cubicBezTo>
                  <a:cubicBezTo>
                    <a:pt x="266" y="1615"/>
                    <a:pt x="267" y="1614"/>
                    <a:pt x="268" y="1612"/>
                  </a:cubicBezTo>
                  <a:cubicBezTo>
                    <a:pt x="270" y="1610"/>
                    <a:pt x="272" y="1609"/>
                    <a:pt x="274" y="1605"/>
                  </a:cubicBezTo>
                  <a:cubicBezTo>
                    <a:pt x="275" y="1601"/>
                    <a:pt x="277" y="1597"/>
                    <a:pt x="279" y="1594"/>
                  </a:cubicBezTo>
                  <a:cubicBezTo>
                    <a:pt x="281" y="1592"/>
                    <a:pt x="280" y="1593"/>
                    <a:pt x="282" y="1592"/>
                  </a:cubicBezTo>
                  <a:cubicBezTo>
                    <a:pt x="283" y="1592"/>
                    <a:pt x="286" y="1592"/>
                    <a:pt x="287" y="1593"/>
                  </a:cubicBezTo>
                  <a:cubicBezTo>
                    <a:pt x="288" y="1594"/>
                    <a:pt x="287" y="1595"/>
                    <a:pt x="288" y="1596"/>
                  </a:cubicBezTo>
                  <a:cubicBezTo>
                    <a:pt x="290" y="1603"/>
                    <a:pt x="294" y="1599"/>
                    <a:pt x="296" y="1596"/>
                  </a:cubicBezTo>
                  <a:cubicBezTo>
                    <a:pt x="297" y="1594"/>
                    <a:pt x="298" y="1592"/>
                    <a:pt x="300" y="1592"/>
                  </a:cubicBezTo>
                  <a:cubicBezTo>
                    <a:pt x="302" y="1592"/>
                    <a:pt x="302" y="1594"/>
                    <a:pt x="304" y="1594"/>
                  </a:cubicBezTo>
                  <a:cubicBezTo>
                    <a:pt x="305" y="1595"/>
                    <a:pt x="307" y="1594"/>
                    <a:pt x="309" y="1594"/>
                  </a:cubicBezTo>
                  <a:cubicBezTo>
                    <a:pt x="316" y="1591"/>
                    <a:pt x="314" y="1581"/>
                    <a:pt x="314" y="1574"/>
                  </a:cubicBezTo>
                  <a:cubicBezTo>
                    <a:pt x="314" y="1568"/>
                    <a:pt x="316" y="1563"/>
                    <a:pt x="316" y="1557"/>
                  </a:cubicBezTo>
                  <a:cubicBezTo>
                    <a:pt x="316" y="1554"/>
                    <a:pt x="316" y="1552"/>
                    <a:pt x="315" y="1549"/>
                  </a:cubicBezTo>
                  <a:cubicBezTo>
                    <a:pt x="314" y="1545"/>
                    <a:pt x="312" y="1542"/>
                    <a:pt x="308" y="1540"/>
                  </a:cubicBezTo>
                  <a:cubicBezTo>
                    <a:pt x="307" y="1540"/>
                    <a:pt x="305" y="1540"/>
                    <a:pt x="304" y="1539"/>
                  </a:cubicBezTo>
                  <a:cubicBezTo>
                    <a:pt x="304" y="1538"/>
                    <a:pt x="303" y="1536"/>
                    <a:pt x="304" y="1535"/>
                  </a:cubicBezTo>
                  <a:cubicBezTo>
                    <a:pt x="307" y="1532"/>
                    <a:pt x="313" y="1539"/>
                    <a:pt x="316" y="1540"/>
                  </a:cubicBezTo>
                  <a:cubicBezTo>
                    <a:pt x="320" y="1540"/>
                    <a:pt x="321" y="1537"/>
                    <a:pt x="323" y="1534"/>
                  </a:cubicBezTo>
                  <a:cubicBezTo>
                    <a:pt x="325" y="1531"/>
                    <a:pt x="326" y="1530"/>
                    <a:pt x="325" y="1526"/>
                  </a:cubicBezTo>
                  <a:cubicBezTo>
                    <a:pt x="325" y="1525"/>
                    <a:pt x="324" y="1524"/>
                    <a:pt x="325" y="1522"/>
                  </a:cubicBezTo>
                  <a:cubicBezTo>
                    <a:pt x="331" y="1520"/>
                    <a:pt x="329" y="1530"/>
                    <a:pt x="329" y="1533"/>
                  </a:cubicBezTo>
                  <a:cubicBezTo>
                    <a:pt x="329" y="1538"/>
                    <a:pt x="333" y="1544"/>
                    <a:pt x="332" y="1548"/>
                  </a:cubicBezTo>
                  <a:cubicBezTo>
                    <a:pt x="331" y="1551"/>
                    <a:pt x="329" y="1552"/>
                    <a:pt x="329" y="1555"/>
                  </a:cubicBezTo>
                  <a:cubicBezTo>
                    <a:pt x="329" y="1556"/>
                    <a:pt x="330" y="1558"/>
                    <a:pt x="330" y="1559"/>
                  </a:cubicBezTo>
                  <a:cubicBezTo>
                    <a:pt x="331" y="1561"/>
                    <a:pt x="332" y="1562"/>
                    <a:pt x="333" y="1565"/>
                  </a:cubicBezTo>
                  <a:cubicBezTo>
                    <a:pt x="334" y="1568"/>
                    <a:pt x="334" y="1570"/>
                    <a:pt x="334" y="1573"/>
                  </a:cubicBezTo>
                  <a:cubicBezTo>
                    <a:pt x="336" y="1573"/>
                    <a:pt x="338" y="1573"/>
                    <a:pt x="340" y="1572"/>
                  </a:cubicBezTo>
                  <a:cubicBezTo>
                    <a:pt x="341" y="1574"/>
                    <a:pt x="345" y="1579"/>
                    <a:pt x="346" y="1580"/>
                  </a:cubicBezTo>
                  <a:cubicBezTo>
                    <a:pt x="350" y="1582"/>
                    <a:pt x="352" y="1578"/>
                    <a:pt x="352" y="1584"/>
                  </a:cubicBezTo>
                  <a:cubicBezTo>
                    <a:pt x="353" y="1593"/>
                    <a:pt x="346" y="1586"/>
                    <a:pt x="341" y="1587"/>
                  </a:cubicBezTo>
                  <a:cubicBezTo>
                    <a:pt x="340" y="1590"/>
                    <a:pt x="341" y="1592"/>
                    <a:pt x="343" y="1593"/>
                  </a:cubicBezTo>
                  <a:cubicBezTo>
                    <a:pt x="344" y="1594"/>
                    <a:pt x="345" y="1594"/>
                    <a:pt x="346" y="1594"/>
                  </a:cubicBezTo>
                  <a:cubicBezTo>
                    <a:pt x="347" y="1595"/>
                    <a:pt x="346" y="1595"/>
                    <a:pt x="346" y="1596"/>
                  </a:cubicBezTo>
                  <a:cubicBezTo>
                    <a:pt x="348" y="1601"/>
                    <a:pt x="345" y="1607"/>
                    <a:pt x="350" y="1610"/>
                  </a:cubicBezTo>
                  <a:cubicBezTo>
                    <a:pt x="355" y="1605"/>
                    <a:pt x="352" y="1595"/>
                    <a:pt x="357" y="1589"/>
                  </a:cubicBezTo>
                  <a:cubicBezTo>
                    <a:pt x="358" y="1588"/>
                    <a:pt x="361" y="1586"/>
                    <a:pt x="363" y="1587"/>
                  </a:cubicBezTo>
                  <a:cubicBezTo>
                    <a:pt x="366" y="1588"/>
                    <a:pt x="366" y="1594"/>
                    <a:pt x="367" y="1597"/>
                  </a:cubicBezTo>
                  <a:cubicBezTo>
                    <a:pt x="368" y="1600"/>
                    <a:pt x="368" y="1603"/>
                    <a:pt x="371" y="1605"/>
                  </a:cubicBezTo>
                  <a:cubicBezTo>
                    <a:pt x="372" y="1605"/>
                    <a:pt x="373" y="1605"/>
                    <a:pt x="374" y="1606"/>
                  </a:cubicBezTo>
                  <a:cubicBezTo>
                    <a:pt x="376" y="1606"/>
                    <a:pt x="375" y="1608"/>
                    <a:pt x="376" y="1608"/>
                  </a:cubicBezTo>
                  <a:cubicBezTo>
                    <a:pt x="381" y="1609"/>
                    <a:pt x="383" y="1605"/>
                    <a:pt x="384" y="1601"/>
                  </a:cubicBezTo>
                  <a:cubicBezTo>
                    <a:pt x="385" y="1597"/>
                    <a:pt x="384" y="1593"/>
                    <a:pt x="385" y="1588"/>
                  </a:cubicBezTo>
                  <a:cubicBezTo>
                    <a:pt x="388" y="1579"/>
                    <a:pt x="388" y="1570"/>
                    <a:pt x="388" y="1561"/>
                  </a:cubicBezTo>
                  <a:cubicBezTo>
                    <a:pt x="388" y="1553"/>
                    <a:pt x="385" y="1545"/>
                    <a:pt x="385" y="1537"/>
                  </a:cubicBezTo>
                  <a:cubicBezTo>
                    <a:pt x="385" y="1535"/>
                    <a:pt x="385" y="1532"/>
                    <a:pt x="385" y="1530"/>
                  </a:cubicBezTo>
                  <a:cubicBezTo>
                    <a:pt x="386" y="1527"/>
                    <a:pt x="390" y="1524"/>
                    <a:pt x="391" y="1522"/>
                  </a:cubicBezTo>
                  <a:cubicBezTo>
                    <a:pt x="393" y="1520"/>
                    <a:pt x="393" y="1519"/>
                    <a:pt x="394" y="1516"/>
                  </a:cubicBezTo>
                  <a:cubicBezTo>
                    <a:pt x="394" y="1512"/>
                    <a:pt x="389" y="1508"/>
                    <a:pt x="390" y="1504"/>
                  </a:cubicBezTo>
                  <a:cubicBezTo>
                    <a:pt x="396" y="1504"/>
                    <a:pt x="399" y="1499"/>
                    <a:pt x="404" y="1497"/>
                  </a:cubicBezTo>
                  <a:cubicBezTo>
                    <a:pt x="407" y="1496"/>
                    <a:pt x="412" y="1493"/>
                    <a:pt x="415" y="1489"/>
                  </a:cubicBezTo>
                  <a:cubicBezTo>
                    <a:pt x="417" y="1485"/>
                    <a:pt x="416" y="1478"/>
                    <a:pt x="418" y="1473"/>
                  </a:cubicBezTo>
                  <a:cubicBezTo>
                    <a:pt x="419" y="1470"/>
                    <a:pt x="421" y="1469"/>
                    <a:pt x="422" y="1466"/>
                  </a:cubicBezTo>
                  <a:cubicBezTo>
                    <a:pt x="422" y="1466"/>
                    <a:pt x="422" y="1464"/>
                    <a:pt x="422" y="1463"/>
                  </a:cubicBezTo>
                  <a:cubicBezTo>
                    <a:pt x="422" y="1463"/>
                    <a:pt x="421" y="1463"/>
                    <a:pt x="420" y="1464"/>
                  </a:cubicBezTo>
                  <a:cubicBezTo>
                    <a:pt x="422" y="1457"/>
                    <a:pt x="427" y="1451"/>
                    <a:pt x="430" y="1446"/>
                  </a:cubicBezTo>
                  <a:cubicBezTo>
                    <a:pt x="432" y="1443"/>
                    <a:pt x="433" y="1442"/>
                    <a:pt x="433" y="1440"/>
                  </a:cubicBezTo>
                  <a:cubicBezTo>
                    <a:pt x="434" y="1437"/>
                    <a:pt x="433" y="1434"/>
                    <a:pt x="433" y="1431"/>
                  </a:cubicBezTo>
                  <a:cubicBezTo>
                    <a:pt x="431" y="1419"/>
                    <a:pt x="423" y="1410"/>
                    <a:pt x="420" y="1398"/>
                  </a:cubicBezTo>
                  <a:cubicBezTo>
                    <a:pt x="419" y="1394"/>
                    <a:pt x="418" y="1390"/>
                    <a:pt x="417" y="1386"/>
                  </a:cubicBezTo>
                  <a:cubicBezTo>
                    <a:pt x="417" y="1383"/>
                    <a:pt x="415" y="1377"/>
                    <a:pt x="416" y="1374"/>
                  </a:cubicBezTo>
                  <a:cubicBezTo>
                    <a:pt x="418" y="1374"/>
                    <a:pt x="419" y="1375"/>
                    <a:pt x="421" y="1374"/>
                  </a:cubicBezTo>
                  <a:cubicBezTo>
                    <a:pt x="424" y="1374"/>
                    <a:pt x="426" y="1373"/>
                    <a:pt x="428" y="1372"/>
                  </a:cubicBezTo>
                  <a:cubicBezTo>
                    <a:pt x="429" y="1371"/>
                    <a:pt x="430" y="1371"/>
                    <a:pt x="431" y="1371"/>
                  </a:cubicBezTo>
                  <a:cubicBezTo>
                    <a:pt x="431" y="1370"/>
                    <a:pt x="431" y="1370"/>
                    <a:pt x="432" y="1370"/>
                  </a:cubicBezTo>
                  <a:cubicBezTo>
                    <a:pt x="434" y="1370"/>
                    <a:pt x="435" y="1369"/>
                    <a:pt x="436" y="1369"/>
                  </a:cubicBezTo>
                  <a:cubicBezTo>
                    <a:pt x="437" y="1367"/>
                    <a:pt x="436" y="1367"/>
                    <a:pt x="437" y="1365"/>
                  </a:cubicBezTo>
                  <a:cubicBezTo>
                    <a:pt x="437" y="1363"/>
                    <a:pt x="437" y="1364"/>
                    <a:pt x="439" y="1361"/>
                  </a:cubicBezTo>
                  <a:cubicBezTo>
                    <a:pt x="441" y="1356"/>
                    <a:pt x="443" y="1351"/>
                    <a:pt x="445" y="1346"/>
                  </a:cubicBezTo>
                  <a:cubicBezTo>
                    <a:pt x="447" y="1343"/>
                    <a:pt x="452" y="1338"/>
                    <a:pt x="451" y="1334"/>
                  </a:cubicBezTo>
                  <a:cubicBezTo>
                    <a:pt x="448" y="1333"/>
                    <a:pt x="445" y="1327"/>
                    <a:pt x="443" y="1325"/>
                  </a:cubicBezTo>
                  <a:cubicBezTo>
                    <a:pt x="442" y="1324"/>
                    <a:pt x="441" y="1324"/>
                    <a:pt x="440" y="1322"/>
                  </a:cubicBezTo>
                  <a:cubicBezTo>
                    <a:pt x="439" y="1322"/>
                    <a:pt x="440" y="1320"/>
                    <a:pt x="439" y="1320"/>
                  </a:cubicBezTo>
                  <a:cubicBezTo>
                    <a:pt x="435" y="1314"/>
                    <a:pt x="427" y="1318"/>
                    <a:pt x="423" y="1314"/>
                  </a:cubicBezTo>
                  <a:cubicBezTo>
                    <a:pt x="420" y="1311"/>
                    <a:pt x="419" y="1308"/>
                    <a:pt x="416" y="1306"/>
                  </a:cubicBezTo>
                  <a:cubicBezTo>
                    <a:pt x="413" y="1304"/>
                    <a:pt x="408" y="1303"/>
                    <a:pt x="406" y="1299"/>
                  </a:cubicBezTo>
                  <a:cubicBezTo>
                    <a:pt x="403" y="1293"/>
                    <a:pt x="408" y="1285"/>
                    <a:pt x="409" y="1279"/>
                  </a:cubicBezTo>
                  <a:cubicBezTo>
                    <a:pt x="412" y="1266"/>
                    <a:pt x="412" y="1253"/>
                    <a:pt x="412" y="1239"/>
                  </a:cubicBezTo>
                  <a:cubicBezTo>
                    <a:pt x="412" y="1235"/>
                    <a:pt x="413" y="1231"/>
                    <a:pt x="412" y="1227"/>
                  </a:cubicBezTo>
                  <a:cubicBezTo>
                    <a:pt x="412" y="1225"/>
                    <a:pt x="411" y="1223"/>
                    <a:pt x="410" y="1221"/>
                  </a:cubicBezTo>
                  <a:cubicBezTo>
                    <a:pt x="407" y="1214"/>
                    <a:pt x="404" y="1207"/>
                    <a:pt x="400" y="1201"/>
                  </a:cubicBezTo>
                  <a:cubicBezTo>
                    <a:pt x="399" y="1198"/>
                    <a:pt x="398" y="1198"/>
                    <a:pt x="398" y="1195"/>
                  </a:cubicBezTo>
                  <a:cubicBezTo>
                    <a:pt x="399" y="1190"/>
                    <a:pt x="400" y="1186"/>
                    <a:pt x="400" y="1182"/>
                  </a:cubicBezTo>
                  <a:cubicBezTo>
                    <a:pt x="400" y="1176"/>
                    <a:pt x="400" y="1171"/>
                    <a:pt x="400" y="1165"/>
                  </a:cubicBezTo>
                  <a:cubicBezTo>
                    <a:pt x="400" y="1163"/>
                    <a:pt x="399" y="1159"/>
                    <a:pt x="400" y="1157"/>
                  </a:cubicBezTo>
                  <a:cubicBezTo>
                    <a:pt x="400" y="1156"/>
                    <a:pt x="402" y="1157"/>
                    <a:pt x="402" y="1156"/>
                  </a:cubicBezTo>
                  <a:cubicBezTo>
                    <a:pt x="403" y="1155"/>
                    <a:pt x="403" y="1153"/>
                    <a:pt x="404" y="1152"/>
                  </a:cubicBezTo>
                  <a:cubicBezTo>
                    <a:pt x="405" y="1151"/>
                    <a:pt x="408" y="1149"/>
                    <a:pt x="408" y="1147"/>
                  </a:cubicBezTo>
                  <a:cubicBezTo>
                    <a:pt x="409" y="1145"/>
                    <a:pt x="408" y="1144"/>
                    <a:pt x="407" y="1142"/>
                  </a:cubicBezTo>
                  <a:cubicBezTo>
                    <a:pt x="405" y="1138"/>
                    <a:pt x="405" y="1134"/>
                    <a:pt x="404" y="1130"/>
                  </a:cubicBezTo>
                  <a:cubicBezTo>
                    <a:pt x="403" y="1127"/>
                    <a:pt x="402" y="1124"/>
                    <a:pt x="400" y="1121"/>
                  </a:cubicBezTo>
                  <a:cubicBezTo>
                    <a:pt x="400" y="1119"/>
                    <a:pt x="399" y="1117"/>
                    <a:pt x="399" y="1115"/>
                  </a:cubicBezTo>
                  <a:cubicBezTo>
                    <a:pt x="399" y="1113"/>
                    <a:pt x="400" y="1112"/>
                    <a:pt x="401" y="1110"/>
                  </a:cubicBezTo>
                  <a:cubicBezTo>
                    <a:pt x="404" y="1105"/>
                    <a:pt x="403" y="1097"/>
                    <a:pt x="403" y="1092"/>
                  </a:cubicBezTo>
                  <a:cubicBezTo>
                    <a:pt x="403" y="1088"/>
                    <a:pt x="403" y="1084"/>
                    <a:pt x="403" y="1080"/>
                  </a:cubicBezTo>
                  <a:cubicBezTo>
                    <a:pt x="404" y="1073"/>
                    <a:pt x="409" y="1071"/>
                    <a:pt x="412" y="1066"/>
                  </a:cubicBezTo>
                  <a:cubicBezTo>
                    <a:pt x="415" y="1062"/>
                    <a:pt x="418" y="1057"/>
                    <a:pt x="419" y="1053"/>
                  </a:cubicBezTo>
                  <a:cubicBezTo>
                    <a:pt x="420" y="1050"/>
                    <a:pt x="421" y="1047"/>
                    <a:pt x="422" y="1045"/>
                  </a:cubicBezTo>
                  <a:cubicBezTo>
                    <a:pt x="423" y="1041"/>
                    <a:pt x="422" y="1039"/>
                    <a:pt x="425" y="1036"/>
                  </a:cubicBezTo>
                  <a:cubicBezTo>
                    <a:pt x="427" y="1034"/>
                    <a:pt x="429" y="1032"/>
                    <a:pt x="431" y="1031"/>
                  </a:cubicBezTo>
                  <a:cubicBezTo>
                    <a:pt x="433" y="1030"/>
                    <a:pt x="435" y="1030"/>
                    <a:pt x="436" y="1029"/>
                  </a:cubicBezTo>
                  <a:cubicBezTo>
                    <a:pt x="439" y="1027"/>
                    <a:pt x="440" y="1023"/>
                    <a:pt x="444" y="1021"/>
                  </a:cubicBezTo>
                  <a:cubicBezTo>
                    <a:pt x="449" y="1019"/>
                    <a:pt x="453" y="1018"/>
                    <a:pt x="458" y="1018"/>
                  </a:cubicBezTo>
                  <a:cubicBezTo>
                    <a:pt x="463" y="1018"/>
                    <a:pt x="467" y="1017"/>
                    <a:pt x="472" y="1017"/>
                  </a:cubicBezTo>
                  <a:cubicBezTo>
                    <a:pt x="478" y="1018"/>
                    <a:pt x="483" y="1019"/>
                    <a:pt x="489" y="1019"/>
                  </a:cubicBezTo>
                  <a:cubicBezTo>
                    <a:pt x="493" y="1020"/>
                    <a:pt x="499" y="1020"/>
                    <a:pt x="503" y="1022"/>
                  </a:cubicBezTo>
                  <a:cubicBezTo>
                    <a:pt x="505" y="1019"/>
                    <a:pt x="506" y="1014"/>
                    <a:pt x="507" y="1011"/>
                  </a:cubicBezTo>
                  <a:cubicBezTo>
                    <a:pt x="509" y="1007"/>
                    <a:pt x="510" y="1004"/>
                    <a:pt x="510" y="1000"/>
                  </a:cubicBezTo>
                  <a:cubicBezTo>
                    <a:pt x="509" y="996"/>
                    <a:pt x="507" y="992"/>
                    <a:pt x="506" y="988"/>
                  </a:cubicBezTo>
                  <a:cubicBezTo>
                    <a:pt x="506" y="985"/>
                    <a:pt x="506" y="981"/>
                    <a:pt x="506" y="977"/>
                  </a:cubicBezTo>
                  <a:cubicBezTo>
                    <a:pt x="506" y="971"/>
                    <a:pt x="508" y="963"/>
                    <a:pt x="503" y="959"/>
                  </a:cubicBezTo>
                  <a:cubicBezTo>
                    <a:pt x="500" y="957"/>
                    <a:pt x="498" y="956"/>
                    <a:pt x="495" y="955"/>
                  </a:cubicBezTo>
                  <a:cubicBezTo>
                    <a:pt x="493" y="953"/>
                    <a:pt x="492" y="951"/>
                    <a:pt x="489" y="950"/>
                  </a:cubicBezTo>
                  <a:cubicBezTo>
                    <a:pt x="490" y="947"/>
                    <a:pt x="492" y="944"/>
                    <a:pt x="494" y="941"/>
                  </a:cubicBezTo>
                  <a:cubicBezTo>
                    <a:pt x="497" y="937"/>
                    <a:pt x="500" y="933"/>
                    <a:pt x="502" y="928"/>
                  </a:cubicBezTo>
                  <a:cubicBezTo>
                    <a:pt x="504" y="925"/>
                    <a:pt x="505" y="921"/>
                    <a:pt x="506" y="917"/>
                  </a:cubicBezTo>
                  <a:cubicBezTo>
                    <a:pt x="506" y="915"/>
                    <a:pt x="506" y="913"/>
                    <a:pt x="507" y="911"/>
                  </a:cubicBezTo>
                  <a:cubicBezTo>
                    <a:pt x="508" y="909"/>
                    <a:pt x="508" y="907"/>
                    <a:pt x="509" y="905"/>
                  </a:cubicBezTo>
                  <a:cubicBezTo>
                    <a:pt x="512" y="902"/>
                    <a:pt x="512" y="896"/>
                    <a:pt x="515" y="891"/>
                  </a:cubicBezTo>
                  <a:cubicBezTo>
                    <a:pt x="517" y="887"/>
                    <a:pt x="518" y="882"/>
                    <a:pt x="520" y="878"/>
                  </a:cubicBezTo>
                  <a:cubicBezTo>
                    <a:pt x="521" y="875"/>
                    <a:pt x="523" y="871"/>
                    <a:pt x="526" y="869"/>
                  </a:cubicBezTo>
                  <a:cubicBezTo>
                    <a:pt x="530" y="866"/>
                    <a:pt x="530" y="865"/>
                    <a:pt x="530" y="859"/>
                  </a:cubicBezTo>
                  <a:cubicBezTo>
                    <a:pt x="530" y="853"/>
                    <a:pt x="530" y="848"/>
                    <a:pt x="530" y="843"/>
                  </a:cubicBezTo>
                  <a:cubicBezTo>
                    <a:pt x="529" y="837"/>
                    <a:pt x="528" y="831"/>
                    <a:pt x="529" y="825"/>
                  </a:cubicBezTo>
                  <a:cubicBezTo>
                    <a:pt x="529" y="820"/>
                    <a:pt x="532" y="816"/>
                    <a:pt x="533" y="812"/>
                  </a:cubicBezTo>
                  <a:cubicBezTo>
                    <a:pt x="534" y="810"/>
                    <a:pt x="534" y="808"/>
                    <a:pt x="535" y="806"/>
                  </a:cubicBezTo>
                  <a:cubicBezTo>
                    <a:pt x="536" y="806"/>
                    <a:pt x="537" y="805"/>
                    <a:pt x="538" y="804"/>
                  </a:cubicBezTo>
                  <a:cubicBezTo>
                    <a:pt x="539" y="802"/>
                    <a:pt x="539" y="801"/>
                    <a:pt x="539" y="798"/>
                  </a:cubicBezTo>
                  <a:cubicBezTo>
                    <a:pt x="541" y="791"/>
                    <a:pt x="537" y="784"/>
                    <a:pt x="536" y="776"/>
                  </a:cubicBezTo>
                  <a:cubicBezTo>
                    <a:pt x="535" y="770"/>
                    <a:pt x="534" y="763"/>
                    <a:pt x="533" y="757"/>
                  </a:cubicBezTo>
                  <a:cubicBezTo>
                    <a:pt x="533" y="757"/>
                    <a:pt x="533" y="751"/>
                    <a:pt x="533" y="750"/>
                  </a:cubicBezTo>
                  <a:cubicBezTo>
                    <a:pt x="535" y="747"/>
                    <a:pt x="548" y="750"/>
                    <a:pt x="552" y="749"/>
                  </a:cubicBezTo>
                  <a:cubicBezTo>
                    <a:pt x="556" y="748"/>
                    <a:pt x="561" y="747"/>
                    <a:pt x="564" y="745"/>
                  </a:cubicBezTo>
                  <a:cubicBezTo>
                    <a:pt x="570" y="743"/>
                    <a:pt x="570" y="736"/>
                    <a:pt x="575" y="733"/>
                  </a:cubicBezTo>
                  <a:cubicBezTo>
                    <a:pt x="578" y="731"/>
                    <a:pt x="583" y="732"/>
                    <a:pt x="585" y="729"/>
                  </a:cubicBezTo>
                  <a:cubicBezTo>
                    <a:pt x="588" y="723"/>
                    <a:pt x="580" y="714"/>
                    <a:pt x="580" y="709"/>
                  </a:cubicBezTo>
                  <a:cubicBezTo>
                    <a:pt x="579" y="703"/>
                    <a:pt x="582" y="701"/>
                    <a:pt x="586" y="698"/>
                  </a:cubicBezTo>
                  <a:cubicBezTo>
                    <a:pt x="591" y="695"/>
                    <a:pt x="592" y="692"/>
                    <a:pt x="594" y="687"/>
                  </a:cubicBezTo>
                  <a:cubicBezTo>
                    <a:pt x="598" y="679"/>
                    <a:pt x="602" y="670"/>
                    <a:pt x="605" y="662"/>
                  </a:cubicBezTo>
                  <a:cubicBezTo>
                    <a:pt x="607" y="658"/>
                    <a:pt x="610" y="654"/>
                    <a:pt x="611" y="649"/>
                  </a:cubicBezTo>
                  <a:cubicBezTo>
                    <a:pt x="611" y="645"/>
                    <a:pt x="613" y="641"/>
                    <a:pt x="616" y="638"/>
                  </a:cubicBezTo>
                  <a:cubicBezTo>
                    <a:pt x="620" y="635"/>
                    <a:pt x="624" y="634"/>
                    <a:pt x="628" y="632"/>
                  </a:cubicBezTo>
                  <a:cubicBezTo>
                    <a:pt x="632" y="629"/>
                    <a:pt x="631" y="617"/>
                    <a:pt x="630" y="613"/>
                  </a:cubicBezTo>
                  <a:cubicBezTo>
                    <a:pt x="629" y="610"/>
                    <a:pt x="627" y="607"/>
                    <a:pt x="627" y="605"/>
                  </a:cubicBezTo>
                  <a:cubicBezTo>
                    <a:pt x="627" y="603"/>
                    <a:pt x="627" y="601"/>
                    <a:pt x="627" y="600"/>
                  </a:cubicBezTo>
                  <a:cubicBezTo>
                    <a:pt x="626" y="598"/>
                    <a:pt x="624" y="596"/>
                    <a:pt x="624" y="594"/>
                  </a:cubicBezTo>
                  <a:cubicBezTo>
                    <a:pt x="623" y="591"/>
                    <a:pt x="623" y="588"/>
                    <a:pt x="622" y="584"/>
                  </a:cubicBezTo>
                  <a:cubicBezTo>
                    <a:pt x="621" y="582"/>
                    <a:pt x="621" y="580"/>
                    <a:pt x="621" y="578"/>
                  </a:cubicBezTo>
                  <a:cubicBezTo>
                    <a:pt x="621" y="574"/>
                    <a:pt x="621" y="572"/>
                    <a:pt x="622" y="569"/>
                  </a:cubicBezTo>
                  <a:cubicBezTo>
                    <a:pt x="623" y="564"/>
                    <a:pt x="624" y="562"/>
                    <a:pt x="629" y="559"/>
                  </a:cubicBezTo>
                  <a:cubicBezTo>
                    <a:pt x="633" y="558"/>
                    <a:pt x="634" y="555"/>
                    <a:pt x="634" y="551"/>
                  </a:cubicBezTo>
                  <a:cubicBezTo>
                    <a:pt x="635" y="546"/>
                    <a:pt x="637" y="542"/>
                    <a:pt x="639" y="537"/>
                  </a:cubicBezTo>
                  <a:cubicBezTo>
                    <a:pt x="640" y="534"/>
                    <a:pt x="642" y="530"/>
                    <a:pt x="643" y="527"/>
                  </a:cubicBezTo>
                  <a:cubicBezTo>
                    <a:pt x="644" y="525"/>
                    <a:pt x="644" y="523"/>
                    <a:pt x="645" y="522"/>
                  </a:cubicBezTo>
                  <a:cubicBezTo>
                    <a:pt x="645" y="522"/>
                    <a:pt x="644" y="522"/>
                    <a:pt x="643" y="523"/>
                  </a:cubicBezTo>
                  <a:cubicBezTo>
                    <a:pt x="644" y="521"/>
                    <a:pt x="645" y="520"/>
                    <a:pt x="646" y="518"/>
                  </a:cubicBezTo>
                  <a:cubicBezTo>
                    <a:pt x="647" y="516"/>
                    <a:pt x="647" y="513"/>
                    <a:pt x="650" y="512"/>
                  </a:cubicBezTo>
                  <a:cubicBezTo>
                    <a:pt x="650" y="510"/>
                    <a:pt x="653" y="508"/>
                    <a:pt x="654" y="507"/>
                  </a:cubicBezTo>
                  <a:cubicBezTo>
                    <a:pt x="657" y="503"/>
                    <a:pt x="660" y="498"/>
                    <a:pt x="663" y="494"/>
                  </a:cubicBezTo>
                  <a:cubicBezTo>
                    <a:pt x="666" y="490"/>
                    <a:pt x="668" y="488"/>
                    <a:pt x="672" y="486"/>
                  </a:cubicBezTo>
                  <a:cubicBezTo>
                    <a:pt x="674" y="484"/>
                    <a:pt x="677" y="481"/>
                    <a:pt x="680" y="480"/>
                  </a:cubicBezTo>
                  <a:cubicBezTo>
                    <a:pt x="684" y="479"/>
                    <a:pt x="691" y="479"/>
                    <a:pt x="695" y="481"/>
                  </a:cubicBezTo>
                  <a:cubicBezTo>
                    <a:pt x="698" y="482"/>
                    <a:pt x="700" y="484"/>
                    <a:pt x="704" y="486"/>
                  </a:cubicBezTo>
                  <a:cubicBezTo>
                    <a:pt x="709" y="487"/>
                    <a:pt x="714" y="490"/>
                    <a:pt x="719" y="492"/>
                  </a:cubicBezTo>
                  <a:cubicBezTo>
                    <a:pt x="720" y="490"/>
                    <a:pt x="720" y="488"/>
                    <a:pt x="721" y="486"/>
                  </a:cubicBezTo>
                  <a:cubicBezTo>
                    <a:pt x="723" y="482"/>
                    <a:pt x="726" y="477"/>
                    <a:pt x="728" y="472"/>
                  </a:cubicBezTo>
                  <a:cubicBezTo>
                    <a:pt x="730" y="469"/>
                    <a:pt x="732" y="467"/>
                    <a:pt x="733" y="464"/>
                  </a:cubicBezTo>
                  <a:cubicBezTo>
                    <a:pt x="733" y="463"/>
                    <a:pt x="734" y="461"/>
                    <a:pt x="735" y="459"/>
                  </a:cubicBezTo>
                  <a:cubicBezTo>
                    <a:pt x="735" y="458"/>
                    <a:pt x="735" y="454"/>
                    <a:pt x="735" y="452"/>
                  </a:cubicBezTo>
                  <a:cubicBezTo>
                    <a:pt x="735" y="429"/>
                    <a:pt x="735" y="429"/>
                    <a:pt x="735" y="429"/>
                  </a:cubicBezTo>
                  <a:cubicBezTo>
                    <a:pt x="735" y="424"/>
                    <a:pt x="735" y="418"/>
                    <a:pt x="734" y="413"/>
                  </a:cubicBezTo>
                  <a:cubicBezTo>
                    <a:pt x="737" y="416"/>
                    <a:pt x="742" y="415"/>
                    <a:pt x="746" y="415"/>
                  </a:cubicBezTo>
                  <a:cubicBezTo>
                    <a:pt x="748" y="415"/>
                    <a:pt x="749" y="416"/>
                    <a:pt x="752" y="417"/>
                  </a:cubicBezTo>
                  <a:cubicBezTo>
                    <a:pt x="754" y="418"/>
                    <a:pt x="758" y="418"/>
                    <a:pt x="760" y="419"/>
                  </a:cubicBezTo>
                  <a:cubicBezTo>
                    <a:pt x="769" y="422"/>
                    <a:pt x="778" y="424"/>
                    <a:pt x="787" y="426"/>
                  </a:cubicBezTo>
                  <a:cubicBezTo>
                    <a:pt x="793" y="427"/>
                    <a:pt x="799" y="426"/>
                    <a:pt x="804" y="429"/>
                  </a:cubicBezTo>
                  <a:cubicBezTo>
                    <a:pt x="811" y="433"/>
                    <a:pt x="817" y="435"/>
                    <a:pt x="824" y="436"/>
                  </a:cubicBezTo>
                  <a:cubicBezTo>
                    <a:pt x="826" y="436"/>
                    <a:pt x="827" y="437"/>
                    <a:pt x="829" y="436"/>
                  </a:cubicBezTo>
                  <a:cubicBezTo>
                    <a:pt x="830" y="435"/>
                    <a:pt x="833" y="431"/>
                    <a:pt x="833" y="429"/>
                  </a:cubicBezTo>
                  <a:cubicBezTo>
                    <a:pt x="835" y="427"/>
                    <a:pt x="835" y="426"/>
                    <a:pt x="836" y="424"/>
                  </a:cubicBezTo>
                  <a:cubicBezTo>
                    <a:pt x="836" y="423"/>
                    <a:pt x="839" y="421"/>
                    <a:pt x="839" y="420"/>
                  </a:cubicBezTo>
                  <a:cubicBezTo>
                    <a:pt x="839" y="416"/>
                    <a:pt x="826" y="413"/>
                    <a:pt x="823" y="411"/>
                  </a:cubicBezTo>
                  <a:cubicBezTo>
                    <a:pt x="825" y="408"/>
                    <a:pt x="830" y="407"/>
                    <a:pt x="833" y="405"/>
                  </a:cubicBezTo>
                  <a:cubicBezTo>
                    <a:pt x="838" y="402"/>
                    <a:pt x="842" y="399"/>
                    <a:pt x="847" y="395"/>
                  </a:cubicBezTo>
                  <a:cubicBezTo>
                    <a:pt x="852" y="391"/>
                    <a:pt x="855" y="389"/>
                    <a:pt x="855" y="382"/>
                  </a:cubicBezTo>
                  <a:cubicBezTo>
                    <a:pt x="855" y="374"/>
                    <a:pt x="853" y="368"/>
                    <a:pt x="848" y="361"/>
                  </a:cubicBezTo>
                  <a:cubicBezTo>
                    <a:pt x="845" y="357"/>
                    <a:pt x="842" y="352"/>
                    <a:pt x="840" y="347"/>
                  </a:cubicBezTo>
                  <a:cubicBezTo>
                    <a:pt x="838" y="345"/>
                    <a:pt x="837" y="341"/>
                    <a:pt x="835" y="339"/>
                  </a:cubicBezTo>
                  <a:cubicBezTo>
                    <a:pt x="836" y="336"/>
                    <a:pt x="849" y="336"/>
                    <a:pt x="852" y="336"/>
                  </a:cubicBezTo>
                  <a:cubicBezTo>
                    <a:pt x="857" y="335"/>
                    <a:pt x="863" y="335"/>
                    <a:pt x="869" y="334"/>
                  </a:cubicBezTo>
                  <a:cubicBezTo>
                    <a:pt x="869" y="333"/>
                    <a:pt x="869" y="332"/>
                    <a:pt x="869" y="332"/>
                  </a:cubicBezTo>
                  <a:cubicBezTo>
                    <a:pt x="871" y="331"/>
                    <a:pt x="875" y="334"/>
                    <a:pt x="877" y="335"/>
                  </a:cubicBezTo>
                  <a:cubicBezTo>
                    <a:pt x="880" y="336"/>
                    <a:pt x="883" y="338"/>
                    <a:pt x="886" y="339"/>
                  </a:cubicBezTo>
                  <a:cubicBezTo>
                    <a:pt x="886" y="336"/>
                    <a:pt x="886" y="332"/>
                    <a:pt x="886" y="329"/>
                  </a:cubicBezTo>
                  <a:cubicBezTo>
                    <a:pt x="885" y="324"/>
                    <a:pt x="883" y="322"/>
                    <a:pt x="882" y="319"/>
                  </a:cubicBezTo>
                  <a:cubicBezTo>
                    <a:pt x="879" y="312"/>
                    <a:pt x="886" y="310"/>
                    <a:pt x="891" y="308"/>
                  </a:cubicBezTo>
                  <a:cubicBezTo>
                    <a:pt x="896" y="307"/>
                    <a:pt x="901" y="304"/>
                    <a:pt x="907" y="304"/>
                  </a:cubicBezTo>
                  <a:cubicBezTo>
                    <a:pt x="909" y="304"/>
                    <a:pt x="914" y="303"/>
                    <a:pt x="916" y="305"/>
                  </a:cubicBezTo>
                  <a:cubicBezTo>
                    <a:pt x="918" y="307"/>
                    <a:pt x="918" y="311"/>
                    <a:pt x="919" y="313"/>
                  </a:cubicBezTo>
                  <a:cubicBezTo>
                    <a:pt x="920" y="315"/>
                    <a:pt x="922" y="316"/>
                    <a:pt x="923" y="317"/>
                  </a:cubicBezTo>
                  <a:cubicBezTo>
                    <a:pt x="924" y="319"/>
                    <a:pt x="924" y="320"/>
                    <a:pt x="925" y="322"/>
                  </a:cubicBezTo>
                  <a:cubicBezTo>
                    <a:pt x="926" y="326"/>
                    <a:pt x="928" y="331"/>
                    <a:pt x="931" y="335"/>
                  </a:cubicBezTo>
                  <a:cubicBezTo>
                    <a:pt x="933" y="338"/>
                    <a:pt x="935" y="340"/>
                    <a:pt x="937" y="342"/>
                  </a:cubicBezTo>
                  <a:cubicBezTo>
                    <a:pt x="940" y="345"/>
                    <a:pt x="943" y="349"/>
                    <a:pt x="945" y="352"/>
                  </a:cubicBezTo>
                  <a:cubicBezTo>
                    <a:pt x="946" y="353"/>
                    <a:pt x="947" y="355"/>
                    <a:pt x="948" y="356"/>
                  </a:cubicBezTo>
                  <a:cubicBezTo>
                    <a:pt x="949" y="358"/>
                    <a:pt x="951" y="359"/>
                    <a:pt x="951" y="361"/>
                  </a:cubicBezTo>
                  <a:cubicBezTo>
                    <a:pt x="952" y="362"/>
                    <a:pt x="952" y="363"/>
                    <a:pt x="953" y="364"/>
                  </a:cubicBezTo>
                  <a:cubicBezTo>
                    <a:pt x="955" y="366"/>
                    <a:pt x="955" y="364"/>
                    <a:pt x="956" y="367"/>
                  </a:cubicBezTo>
                  <a:cubicBezTo>
                    <a:pt x="957" y="374"/>
                    <a:pt x="956" y="382"/>
                    <a:pt x="957" y="389"/>
                  </a:cubicBezTo>
                  <a:cubicBezTo>
                    <a:pt x="959" y="389"/>
                    <a:pt x="960" y="388"/>
                    <a:pt x="962" y="388"/>
                  </a:cubicBezTo>
                  <a:cubicBezTo>
                    <a:pt x="964" y="388"/>
                    <a:pt x="966" y="388"/>
                    <a:pt x="967" y="389"/>
                  </a:cubicBezTo>
                  <a:cubicBezTo>
                    <a:pt x="973" y="390"/>
                    <a:pt x="977" y="391"/>
                    <a:pt x="982" y="393"/>
                  </a:cubicBezTo>
                  <a:cubicBezTo>
                    <a:pt x="984" y="394"/>
                    <a:pt x="985" y="395"/>
                    <a:pt x="987" y="395"/>
                  </a:cubicBezTo>
                  <a:cubicBezTo>
                    <a:pt x="989" y="395"/>
                    <a:pt x="992" y="395"/>
                    <a:pt x="994" y="395"/>
                  </a:cubicBezTo>
                  <a:cubicBezTo>
                    <a:pt x="998" y="397"/>
                    <a:pt x="998" y="400"/>
                    <a:pt x="1002" y="401"/>
                  </a:cubicBezTo>
                  <a:cubicBezTo>
                    <a:pt x="1006" y="402"/>
                    <a:pt x="1011" y="398"/>
                    <a:pt x="1015" y="398"/>
                  </a:cubicBezTo>
                  <a:cubicBezTo>
                    <a:pt x="1017" y="398"/>
                    <a:pt x="1019" y="398"/>
                    <a:pt x="1021" y="398"/>
                  </a:cubicBezTo>
                  <a:cubicBezTo>
                    <a:pt x="1024" y="398"/>
                    <a:pt x="1022" y="398"/>
                    <a:pt x="1024" y="395"/>
                  </a:cubicBezTo>
                  <a:cubicBezTo>
                    <a:pt x="1024" y="395"/>
                    <a:pt x="1024" y="394"/>
                    <a:pt x="1024" y="393"/>
                  </a:cubicBezTo>
                  <a:cubicBezTo>
                    <a:pt x="1024" y="392"/>
                    <a:pt x="1026" y="393"/>
                    <a:pt x="1027" y="392"/>
                  </a:cubicBezTo>
                  <a:cubicBezTo>
                    <a:pt x="1028" y="390"/>
                    <a:pt x="1028" y="387"/>
                    <a:pt x="1030" y="384"/>
                  </a:cubicBezTo>
                  <a:cubicBezTo>
                    <a:pt x="1031" y="383"/>
                    <a:pt x="1033" y="381"/>
                    <a:pt x="1034" y="380"/>
                  </a:cubicBezTo>
                  <a:cubicBezTo>
                    <a:pt x="1035" y="378"/>
                    <a:pt x="1035" y="376"/>
                    <a:pt x="1036" y="374"/>
                  </a:cubicBezTo>
                  <a:cubicBezTo>
                    <a:pt x="1042" y="374"/>
                    <a:pt x="1047" y="378"/>
                    <a:pt x="1052" y="381"/>
                  </a:cubicBezTo>
                  <a:cubicBezTo>
                    <a:pt x="1056" y="384"/>
                    <a:pt x="1061" y="386"/>
                    <a:pt x="1065" y="389"/>
                  </a:cubicBezTo>
                  <a:cubicBezTo>
                    <a:pt x="1065" y="390"/>
                    <a:pt x="1066" y="390"/>
                    <a:pt x="1066" y="391"/>
                  </a:cubicBezTo>
                  <a:cubicBezTo>
                    <a:pt x="1067" y="391"/>
                    <a:pt x="1068" y="391"/>
                    <a:pt x="1069" y="392"/>
                  </a:cubicBezTo>
                  <a:cubicBezTo>
                    <a:pt x="1070" y="393"/>
                    <a:pt x="1072" y="393"/>
                    <a:pt x="1074" y="394"/>
                  </a:cubicBezTo>
                  <a:cubicBezTo>
                    <a:pt x="1077" y="395"/>
                    <a:pt x="1081" y="397"/>
                    <a:pt x="1084" y="398"/>
                  </a:cubicBezTo>
                  <a:cubicBezTo>
                    <a:pt x="1086" y="399"/>
                    <a:pt x="1086" y="401"/>
                    <a:pt x="1087" y="402"/>
                  </a:cubicBezTo>
                  <a:cubicBezTo>
                    <a:pt x="1089" y="404"/>
                    <a:pt x="1088" y="410"/>
                    <a:pt x="1091" y="410"/>
                  </a:cubicBezTo>
                  <a:cubicBezTo>
                    <a:pt x="1093" y="409"/>
                    <a:pt x="1093" y="407"/>
                    <a:pt x="1095" y="406"/>
                  </a:cubicBezTo>
                  <a:cubicBezTo>
                    <a:pt x="1097" y="404"/>
                    <a:pt x="1099" y="406"/>
                    <a:pt x="1101" y="405"/>
                  </a:cubicBezTo>
                  <a:cubicBezTo>
                    <a:pt x="1107" y="402"/>
                    <a:pt x="1099" y="392"/>
                    <a:pt x="1100" y="388"/>
                  </a:cubicBezTo>
                  <a:cubicBezTo>
                    <a:pt x="1101" y="385"/>
                    <a:pt x="1104" y="381"/>
                    <a:pt x="1106" y="379"/>
                  </a:cubicBezTo>
                  <a:cubicBezTo>
                    <a:pt x="1102" y="379"/>
                    <a:pt x="1095" y="376"/>
                    <a:pt x="1093" y="373"/>
                  </a:cubicBezTo>
                  <a:cubicBezTo>
                    <a:pt x="1096" y="374"/>
                    <a:pt x="1101" y="373"/>
                    <a:pt x="1104" y="376"/>
                  </a:cubicBezTo>
                  <a:cubicBezTo>
                    <a:pt x="1106" y="377"/>
                    <a:pt x="1106" y="379"/>
                    <a:pt x="1107" y="379"/>
                  </a:cubicBezTo>
                  <a:cubicBezTo>
                    <a:pt x="1107" y="380"/>
                    <a:pt x="1107" y="381"/>
                    <a:pt x="1108" y="381"/>
                  </a:cubicBezTo>
                  <a:cubicBezTo>
                    <a:pt x="1108" y="379"/>
                    <a:pt x="1109" y="380"/>
                    <a:pt x="1110" y="379"/>
                  </a:cubicBezTo>
                  <a:cubicBezTo>
                    <a:pt x="1111" y="378"/>
                    <a:pt x="1112" y="377"/>
                    <a:pt x="1112" y="376"/>
                  </a:cubicBezTo>
                  <a:cubicBezTo>
                    <a:pt x="1112" y="376"/>
                    <a:pt x="1115" y="374"/>
                    <a:pt x="1115" y="374"/>
                  </a:cubicBezTo>
                  <a:cubicBezTo>
                    <a:pt x="1117" y="372"/>
                    <a:pt x="1117" y="370"/>
                    <a:pt x="1118" y="367"/>
                  </a:cubicBezTo>
                  <a:cubicBezTo>
                    <a:pt x="1120" y="363"/>
                    <a:pt x="1120" y="363"/>
                    <a:pt x="1123" y="364"/>
                  </a:cubicBezTo>
                  <a:cubicBezTo>
                    <a:pt x="1126" y="364"/>
                    <a:pt x="1127" y="365"/>
                    <a:pt x="1130" y="365"/>
                  </a:cubicBezTo>
                  <a:cubicBezTo>
                    <a:pt x="1131" y="363"/>
                    <a:pt x="1130" y="362"/>
                    <a:pt x="1130" y="361"/>
                  </a:cubicBezTo>
                  <a:cubicBezTo>
                    <a:pt x="1131" y="358"/>
                    <a:pt x="1132" y="356"/>
                    <a:pt x="1133" y="355"/>
                  </a:cubicBezTo>
                  <a:cubicBezTo>
                    <a:pt x="1134" y="353"/>
                    <a:pt x="1135" y="350"/>
                    <a:pt x="1136" y="348"/>
                  </a:cubicBezTo>
                  <a:cubicBezTo>
                    <a:pt x="1137" y="347"/>
                    <a:pt x="1138" y="347"/>
                    <a:pt x="1139" y="345"/>
                  </a:cubicBezTo>
                  <a:cubicBezTo>
                    <a:pt x="1140" y="343"/>
                    <a:pt x="1140" y="342"/>
                    <a:pt x="1140" y="338"/>
                  </a:cubicBezTo>
                  <a:cubicBezTo>
                    <a:pt x="1140" y="330"/>
                    <a:pt x="1140" y="321"/>
                    <a:pt x="1140" y="313"/>
                  </a:cubicBezTo>
                  <a:cubicBezTo>
                    <a:pt x="1140" y="306"/>
                    <a:pt x="1140" y="299"/>
                    <a:pt x="1140" y="293"/>
                  </a:cubicBezTo>
                  <a:cubicBezTo>
                    <a:pt x="1140" y="288"/>
                    <a:pt x="1141" y="285"/>
                    <a:pt x="1142" y="280"/>
                  </a:cubicBezTo>
                  <a:cubicBezTo>
                    <a:pt x="1144" y="275"/>
                    <a:pt x="1143" y="269"/>
                    <a:pt x="1144" y="264"/>
                  </a:cubicBezTo>
                  <a:cubicBezTo>
                    <a:pt x="1144" y="261"/>
                    <a:pt x="1145" y="258"/>
                    <a:pt x="1145" y="256"/>
                  </a:cubicBezTo>
                  <a:cubicBezTo>
                    <a:pt x="1145" y="255"/>
                    <a:pt x="1144" y="253"/>
                    <a:pt x="1145" y="252"/>
                  </a:cubicBezTo>
                  <a:cubicBezTo>
                    <a:pt x="1145" y="251"/>
                    <a:pt x="1145" y="251"/>
                    <a:pt x="1146" y="250"/>
                  </a:cubicBezTo>
                  <a:cubicBezTo>
                    <a:pt x="1146" y="249"/>
                    <a:pt x="1146" y="248"/>
                    <a:pt x="1147" y="247"/>
                  </a:cubicBezTo>
                  <a:cubicBezTo>
                    <a:pt x="1149" y="243"/>
                    <a:pt x="1155" y="245"/>
                    <a:pt x="1158" y="242"/>
                  </a:cubicBezTo>
                  <a:cubicBezTo>
                    <a:pt x="1161" y="239"/>
                    <a:pt x="1158" y="234"/>
                    <a:pt x="1159" y="230"/>
                  </a:cubicBezTo>
                  <a:cubicBezTo>
                    <a:pt x="1159" y="228"/>
                    <a:pt x="1160" y="227"/>
                    <a:pt x="1161" y="226"/>
                  </a:cubicBezTo>
                  <a:cubicBezTo>
                    <a:pt x="1163" y="224"/>
                    <a:pt x="1163" y="221"/>
                    <a:pt x="1164" y="219"/>
                  </a:cubicBezTo>
                  <a:cubicBezTo>
                    <a:pt x="1167" y="214"/>
                    <a:pt x="1173" y="208"/>
                    <a:pt x="1178" y="205"/>
                  </a:cubicBezTo>
                  <a:cubicBezTo>
                    <a:pt x="1182" y="203"/>
                    <a:pt x="1187" y="204"/>
                    <a:pt x="1191" y="204"/>
                  </a:cubicBezTo>
                  <a:cubicBezTo>
                    <a:pt x="1195" y="204"/>
                    <a:pt x="1200" y="203"/>
                    <a:pt x="1204" y="204"/>
                  </a:cubicBezTo>
                  <a:cubicBezTo>
                    <a:pt x="1204" y="204"/>
                    <a:pt x="1204" y="206"/>
                    <a:pt x="1204" y="206"/>
                  </a:cubicBezTo>
                  <a:cubicBezTo>
                    <a:pt x="1207" y="207"/>
                    <a:pt x="1211" y="205"/>
                    <a:pt x="1214" y="205"/>
                  </a:cubicBezTo>
                  <a:cubicBezTo>
                    <a:pt x="1217" y="204"/>
                    <a:pt x="1220" y="204"/>
                    <a:pt x="1223" y="203"/>
                  </a:cubicBezTo>
                  <a:cubicBezTo>
                    <a:pt x="1224" y="199"/>
                    <a:pt x="1223" y="195"/>
                    <a:pt x="1226" y="192"/>
                  </a:cubicBezTo>
                  <a:cubicBezTo>
                    <a:pt x="1227" y="190"/>
                    <a:pt x="1229" y="189"/>
                    <a:pt x="1231" y="187"/>
                  </a:cubicBezTo>
                  <a:cubicBezTo>
                    <a:pt x="1233" y="185"/>
                    <a:pt x="1234" y="182"/>
                    <a:pt x="1237" y="180"/>
                  </a:cubicBezTo>
                  <a:cubicBezTo>
                    <a:pt x="1237" y="180"/>
                    <a:pt x="1238" y="179"/>
                    <a:pt x="1239" y="179"/>
                  </a:cubicBezTo>
                  <a:cubicBezTo>
                    <a:pt x="1240" y="179"/>
                    <a:pt x="1241" y="179"/>
                    <a:pt x="1242" y="178"/>
                  </a:cubicBezTo>
                  <a:cubicBezTo>
                    <a:pt x="1244" y="179"/>
                    <a:pt x="1244" y="180"/>
                    <a:pt x="1245" y="181"/>
                  </a:cubicBezTo>
                  <a:cubicBezTo>
                    <a:pt x="1249" y="183"/>
                    <a:pt x="1253" y="181"/>
                    <a:pt x="1256" y="181"/>
                  </a:cubicBezTo>
                  <a:cubicBezTo>
                    <a:pt x="1260" y="182"/>
                    <a:pt x="1257" y="180"/>
                    <a:pt x="1259" y="183"/>
                  </a:cubicBezTo>
                  <a:cubicBezTo>
                    <a:pt x="1260" y="183"/>
                    <a:pt x="1261" y="186"/>
                    <a:pt x="1261" y="187"/>
                  </a:cubicBezTo>
                  <a:cubicBezTo>
                    <a:pt x="1261" y="188"/>
                    <a:pt x="1260" y="191"/>
                    <a:pt x="1261" y="192"/>
                  </a:cubicBezTo>
                  <a:cubicBezTo>
                    <a:pt x="1262" y="195"/>
                    <a:pt x="1264" y="194"/>
                    <a:pt x="1266" y="195"/>
                  </a:cubicBezTo>
                  <a:cubicBezTo>
                    <a:pt x="1267" y="196"/>
                    <a:pt x="1269" y="199"/>
                    <a:pt x="1269" y="199"/>
                  </a:cubicBezTo>
                  <a:cubicBezTo>
                    <a:pt x="1271" y="202"/>
                    <a:pt x="1274" y="204"/>
                    <a:pt x="1275" y="207"/>
                  </a:cubicBezTo>
                  <a:cubicBezTo>
                    <a:pt x="1277" y="210"/>
                    <a:pt x="1278" y="212"/>
                    <a:pt x="1280" y="214"/>
                  </a:cubicBezTo>
                  <a:cubicBezTo>
                    <a:pt x="1280" y="215"/>
                    <a:pt x="1281" y="217"/>
                    <a:pt x="1282" y="218"/>
                  </a:cubicBezTo>
                  <a:cubicBezTo>
                    <a:pt x="1283" y="220"/>
                    <a:pt x="1284" y="221"/>
                    <a:pt x="1286" y="223"/>
                  </a:cubicBezTo>
                  <a:cubicBezTo>
                    <a:pt x="1293" y="226"/>
                    <a:pt x="1299" y="229"/>
                    <a:pt x="1304" y="234"/>
                  </a:cubicBezTo>
                  <a:cubicBezTo>
                    <a:pt x="1308" y="237"/>
                    <a:pt x="1310" y="241"/>
                    <a:pt x="1314" y="243"/>
                  </a:cubicBezTo>
                  <a:cubicBezTo>
                    <a:pt x="1316" y="244"/>
                    <a:pt x="1317" y="245"/>
                    <a:pt x="1318" y="247"/>
                  </a:cubicBezTo>
                  <a:cubicBezTo>
                    <a:pt x="1318" y="248"/>
                    <a:pt x="1318" y="250"/>
                    <a:pt x="1319" y="251"/>
                  </a:cubicBezTo>
                  <a:cubicBezTo>
                    <a:pt x="1320" y="255"/>
                    <a:pt x="1321" y="258"/>
                    <a:pt x="1323" y="262"/>
                  </a:cubicBezTo>
                  <a:cubicBezTo>
                    <a:pt x="1324" y="265"/>
                    <a:pt x="1326" y="269"/>
                    <a:pt x="1326" y="272"/>
                  </a:cubicBezTo>
                  <a:cubicBezTo>
                    <a:pt x="1326" y="274"/>
                    <a:pt x="1325" y="276"/>
                    <a:pt x="1324" y="278"/>
                  </a:cubicBezTo>
                  <a:cubicBezTo>
                    <a:pt x="1322" y="280"/>
                    <a:pt x="1321" y="282"/>
                    <a:pt x="1319" y="285"/>
                  </a:cubicBezTo>
                  <a:cubicBezTo>
                    <a:pt x="1315" y="290"/>
                    <a:pt x="1312" y="296"/>
                    <a:pt x="1308" y="303"/>
                  </a:cubicBezTo>
                  <a:cubicBezTo>
                    <a:pt x="1307" y="305"/>
                    <a:pt x="1306" y="308"/>
                    <a:pt x="1304" y="311"/>
                  </a:cubicBezTo>
                  <a:cubicBezTo>
                    <a:pt x="1303" y="312"/>
                    <a:pt x="1302" y="313"/>
                    <a:pt x="1302" y="314"/>
                  </a:cubicBezTo>
                  <a:cubicBezTo>
                    <a:pt x="1300" y="318"/>
                    <a:pt x="1299" y="321"/>
                    <a:pt x="1301" y="325"/>
                  </a:cubicBezTo>
                  <a:cubicBezTo>
                    <a:pt x="1302" y="326"/>
                    <a:pt x="1302" y="328"/>
                    <a:pt x="1303" y="330"/>
                  </a:cubicBezTo>
                  <a:cubicBezTo>
                    <a:pt x="1304" y="332"/>
                    <a:pt x="1305" y="334"/>
                    <a:pt x="1306" y="336"/>
                  </a:cubicBezTo>
                  <a:cubicBezTo>
                    <a:pt x="1307" y="337"/>
                    <a:pt x="1308" y="339"/>
                    <a:pt x="1310" y="340"/>
                  </a:cubicBezTo>
                  <a:cubicBezTo>
                    <a:pt x="1311" y="342"/>
                    <a:pt x="1314" y="341"/>
                    <a:pt x="1316" y="340"/>
                  </a:cubicBezTo>
                  <a:cubicBezTo>
                    <a:pt x="1319" y="339"/>
                    <a:pt x="1320" y="339"/>
                    <a:pt x="1322" y="337"/>
                  </a:cubicBezTo>
                  <a:cubicBezTo>
                    <a:pt x="1323" y="336"/>
                    <a:pt x="1325" y="336"/>
                    <a:pt x="1325" y="335"/>
                  </a:cubicBezTo>
                  <a:cubicBezTo>
                    <a:pt x="1326" y="333"/>
                    <a:pt x="1326" y="331"/>
                    <a:pt x="1327" y="330"/>
                  </a:cubicBezTo>
                  <a:cubicBezTo>
                    <a:pt x="1327" y="327"/>
                    <a:pt x="1327" y="325"/>
                    <a:pt x="1327" y="323"/>
                  </a:cubicBezTo>
                  <a:cubicBezTo>
                    <a:pt x="1328" y="320"/>
                    <a:pt x="1328" y="317"/>
                    <a:pt x="1329" y="315"/>
                  </a:cubicBezTo>
                  <a:cubicBezTo>
                    <a:pt x="1329" y="312"/>
                    <a:pt x="1330" y="309"/>
                    <a:pt x="1331" y="306"/>
                  </a:cubicBezTo>
                  <a:cubicBezTo>
                    <a:pt x="1331" y="305"/>
                    <a:pt x="1330" y="303"/>
                    <a:pt x="1330" y="302"/>
                  </a:cubicBezTo>
                  <a:cubicBezTo>
                    <a:pt x="1331" y="301"/>
                    <a:pt x="1332" y="300"/>
                    <a:pt x="1333" y="299"/>
                  </a:cubicBezTo>
                  <a:cubicBezTo>
                    <a:pt x="1335" y="298"/>
                    <a:pt x="1336" y="298"/>
                    <a:pt x="1338" y="298"/>
                  </a:cubicBezTo>
                  <a:cubicBezTo>
                    <a:pt x="1341" y="298"/>
                    <a:pt x="1344" y="295"/>
                    <a:pt x="1347" y="293"/>
                  </a:cubicBezTo>
                  <a:cubicBezTo>
                    <a:pt x="1348" y="292"/>
                    <a:pt x="1350" y="290"/>
                    <a:pt x="1351" y="289"/>
                  </a:cubicBezTo>
                  <a:cubicBezTo>
                    <a:pt x="1352" y="288"/>
                    <a:pt x="1353" y="288"/>
                    <a:pt x="1354" y="288"/>
                  </a:cubicBezTo>
                  <a:cubicBezTo>
                    <a:pt x="1354" y="287"/>
                    <a:pt x="1355" y="286"/>
                    <a:pt x="1356" y="286"/>
                  </a:cubicBezTo>
                  <a:cubicBezTo>
                    <a:pt x="1357" y="285"/>
                    <a:pt x="1358" y="285"/>
                    <a:pt x="1359" y="283"/>
                  </a:cubicBezTo>
                  <a:cubicBezTo>
                    <a:pt x="1360" y="282"/>
                    <a:pt x="1360" y="282"/>
                    <a:pt x="1362" y="282"/>
                  </a:cubicBezTo>
                  <a:cubicBezTo>
                    <a:pt x="1362" y="282"/>
                    <a:pt x="1363" y="282"/>
                    <a:pt x="1363" y="282"/>
                  </a:cubicBezTo>
                  <a:cubicBezTo>
                    <a:pt x="1364" y="282"/>
                    <a:pt x="1365" y="283"/>
                    <a:pt x="1365" y="283"/>
                  </a:cubicBezTo>
                  <a:cubicBezTo>
                    <a:pt x="1366" y="283"/>
                    <a:pt x="1366" y="281"/>
                    <a:pt x="1366" y="280"/>
                  </a:cubicBezTo>
                  <a:cubicBezTo>
                    <a:pt x="1367" y="278"/>
                    <a:pt x="1368" y="276"/>
                    <a:pt x="1370" y="274"/>
                  </a:cubicBezTo>
                  <a:cubicBezTo>
                    <a:pt x="1371" y="272"/>
                    <a:pt x="1372" y="269"/>
                    <a:pt x="1373" y="267"/>
                  </a:cubicBezTo>
                  <a:cubicBezTo>
                    <a:pt x="1374" y="265"/>
                    <a:pt x="1375" y="264"/>
                    <a:pt x="1375" y="261"/>
                  </a:cubicBezTo>
                  <a:cubicBezTo>
                    <a:pt x="1375" y="258"/>
                    <a:pt x="1375" y="255"/>
                    <a:pt x="1375" y="252"/>
                  </a:cubicBezTo>
                  <a:cubicBezTo>
                    <a:pt x="1375" y="251"/>
                    <a:pt x="1375" y="250"/>
                    <a:pt x="1374" y="249"/>
                  </a:cubicBezTo>
                  <a:cubicBezTo>
                    <a:pt x="1373" y="248"/>
                    <a:pt x="1370" y="247"/>
                    <a:pt x="1371" y="246"/>
                  </a:cubicBezTo>
                  <a:cubicBezTo>
                    <a:pt x="1372" y="245"/>
                    <a:pt x="1373" y="246"/>
                    <a:pt x="1374" y="246"/>
                  </a:cubicBezTo>
                  <a:cubicBezTo>
                    <a:pt x="1376" y="247"/>
                    <a:pt x="1378" y="248"/>
                    <a:pt x="1380" y="249"/>
                  </a:cubicBezTo>
                  <a:cubicBezTo>
                    <a:pt x="1382" y="250"/>
                    <a:pt x="1384" y="253"/>
                    <a:pt x="1385" y="256"/>
                  </a:cubicBezTo>
                  <a:cubicBezTo>
                    <a:pt x="1386" y="258"/>
                    <a:pt x="1388" y="258"/>
                    <a:pt x="1389" y="259"/>
                  </a:cubicBezTo>
                  <a:cubicBezTo>
                    <a:pt x="1392" y="260"/>
                    <a:pt x="1395" y="261"/>
                    <a:pt x="1397" y="263"/>
                  </a:cubicBezTo>
                  <a:cubicBezTo>
                    <a:pt x="1400" y="264"/>
                    <a:pt x="1402" y="266"/>
                    <a:pt x="1405" y="266"/>
                  </a:cubicBezTo>
                  <a:cubicBezTo>
                    <a:pt x="1408" y="267"/>
                    <a:pt x="1413" y="265"/>
                    <a:pt x="1415" y="264"/>
                  </a:cubicBezTo>
                  <a:cubicBezTo>
                    <a:pt x="1416" y="262"/>
                    <a:pt x="1417" y="260"/>
                    <a:pt x="1418" y="259"/>
                  </a:cubicBezTo>
                  <a:cubicBezTo>
                    <a:pt x="1420" y="255"/>
                    <a:pt x="1419" y="250"/>
                    <a:pt x="1418" y="246"/>
                  </a:cubicBezTo>
                  <a:cubicBezTo>
                    <a:pt x="1417" y="244"/>
                    <a:pt x="1417" y="242"/>
                    <a:pt x="1416" y="240"/>
                  </a:cubicBezTo>
                  <a:cubicBezTo>
                    <a:pt x="1416" y="238"/>
                    <a:pt x="1415" y="237"/>
                    <a:pt x="1415" y="235"/>
                  </a:cubicBezTo>
                  <a:cubicBezTo>
                    <a:pt x="1415" y="233"/>
                    <a:pt x="1414" y="232"/>
                    <a:pt x="1414" y="230"/>
                  </a:cubicBezTo>
                  <a:cubicBezTo>
                    <a:pt x="1413" y="229"/>
                    <a:pt x="1413" y="227"/>
                    <a:pt x="1412" y="226"/>
                  </a:cubicBezTo>
                  <a:cubicBezTo>
                    <a:pt x="1410" y="224"/>
                    <a:pt x="1407" y="227"/>
                    <a:pt x="1405" y="227"/>
                  </a:cubicBezTo>
                  <a:cubicBezTo>
                    <a:pt x="1403" y="227"/>
                    <a:pt x="1401" y="226"/>
                    <a:pt x="1400" y="226"/>
                  </a:cubicBezTo>
                  <a:cubicBezTo>
                    <a:pt x="1398" y="225"/>
                    <a:pt x="1397" y="224"/>
                    <a:pt x="1396" y="223"/>
                  </a:cubicBezTo>
                  <a:cubicBezTo>
                    <a:pt x="1396" y="223"/>
                    <a:pt x="1396" y="222"/>
                    <a:pt x="1396" y="222"/>
                  </a:cubicBezTo>
                  <a:cubicBezTo>
                    <a:pt x="1394" y="221"/>
                    <a:pt x="1392" y="223"/>
                    <a:pt x="1390" y="223"/>
                  </a:cubicBezTo>
                  <a:cubicBezTo>
                    <a:pt x="1386" y="222"/>
                    <a:pt x="1390" y="218"/>
                    <a:pt x="1390" y="215"/>
                  </a:cubicBezTo>
                  <a:cubicBezTo>
                    <a:pt x="1390" y="214"/>
                    <a:pt x="1384" y="212"/>
                    <a:pt x="1383" y="212"/>
                  </a:cubicBezTo>
                  <a:cubicBezTo>
                    <a:pt x="1381" y="211"/>
                    <a:pt x="1376" y="210"/>
                    <a:pt x="1374" y="213"/>
                  </a:cubicBezTo>
                  <a:cubicBezTo>
                    <a:pt x="1372" y="217"/>
                    <a:pt x="1377" y="220"/>
                    <a:pt x="1376" y="224"/>
                  </a:cubicBezTo>
                  <a:cubicBezTo>
                    <a:pt x="1375" y="224"/>
                    <a:pt x="1373" y="224"/>
                    <a:pt x="1372" y="224"/>
                  </a:cubicBezTo>
                  <a:cubicBezTo>
                    <a:pt x="1372" y="226"/>
                    <a:pt x="1373" y="228"/>
                    <a:pt x="1373" y="229"/>
                  </a:cubicBezTo>
                  <a:cubicBezTo>
                    <a:pt x="1374" y="230"/>
                    <a:pt x="1374" y="234"/>
                    <a:pt x="1373" y="235"/>
                  </a:cubicBezTo>
                  <a:cubicBezTo>
                    <a:pt x="1372" y="234"/>
                    <a:pt x="1373" y="233"/>
                    <a:pt x="1372" y="232"/>
                  </a:cubicBezTo>
                  <a:cubicBezTo>
                    <a:pt x="1371" y="231"/>
                    <a:pt x="1371" y="231"/>
                    <a:pt x="1370" y="230"/>
                  </a:cubicBezTo>
                  <a:cubicBezTo>
                    <a:pt x="1369" y="230"/>
                    <a:pt x="1367" y="229"/>
                    <a:pt x="1367" y="228"/>
                  </a:cubicBezTo>
                  <a:cubicBezTo>
                    <a:pt x="1367" y="226"/>
                    <a:pt x="1369" y="226"/>
                    <a:pt x="1370" y="225"/>
                  </a:cubicBezTo>
                  <a:cubicBezTo>
                    <a:pt x="1371" y="224"/>
                    <a:pt x="1372" y="223"/>
                    <a:pt x="1371" y="222"/>
                  </a:cubicBezTo>
                  <a:cubicBezTo>
                    <a:pt x="1371" y="221"/>
                    <a:pt x="1370" y="221"/>
                    <a:pt x="1370" y="220"/>
                  </a:cubicBezTo>
                  <a:cubicBezTo>
                    <a:pt x="1368" y="218"/>
                    <a:pt x="1369" y="218"/>
                    <a:pt x="1371" y="218"/>
                  </a:cubicBezTo>
                  <a:cubicBezTo>
                    <a:pt x="1372" y="218"/>
                    <a:pt x="1373" y="216"/>
                    <a:pt x="1373" y="215"/>
                  </a:cubicBezTo>
                  <a:cubicBezTo>
                    <a:pt x="1373" y="214"/>
                    <a:pt x="1371" y="213"/>
                    <a:pt x="1370" y="213"/>
                  </a:cubicBezTo>
                  <a:cubicBezTo>
                    <a:pt x="1369" y="211"/>
                    <a:pt x="1368" y="210"/>
                    <a:pt x="1367" y="209"/>
                  </a:cubicBezTo>
                  <a:cubicBezTo>
                    <a:pt x="1365" y="207"/>
                    <a:pt x="1362" y="207"/>
                    <a:pt x="1359" y="208"/>
                  </a:cubicBezTo>
                  <a:cubicBezTo>
                    <a:pt x="1357" y="208"/>
                    <a:pt x="1355" y="208"/>
                    <a:pt x="1353" y="208"/>
                  </a:cubicBezTo>
                  <a:cubicBezTo>
                    <a:pt x="1352" y="207"/>
                    <a:pt x="1350" y="207"/>
                    <a:pt x="1349" y="207"/>
                  </a:cubicBezTo>
                  <a:cubicBezTo>
                    <a:pt x="1348" y="207"/>
                    <a:pt x="1348" y="206"/>
                    <a:pt x="1347" y="206"/>
                  </a:cubicBezTo>
                  <a:cubicBezTo>
                    <a:pt x="1346" y="206"/>
                    <a:pt x="1345" y="206"/>
                    <a:pt x="1344" y="206"/>
                  </a:cubicBezTo>
                  <a:cubicBezTo>
                    <a:pt x="1342" y="206"/>
                    <a:pt x="1342" y="205"/>
                    <a:pt x="1341" y="204"/>
                  </a:cubicBezTo>
                  <a:cubicBezTo>
                    <a:pt x="1341" y="204"/>
                    <a:pt x="1340" y="204"/>
                    <a:pt x="1340" y="204"/>
                  </a:cubicBezTo>
                  <a:cubicBezTo>
                    <a:pt x="1339" y="203"/>
                    <a:pt x="1339" y="203"/>
                    <a:pt x="1339" y="202"/>
                  </a:cubicBezTo>
                  <a:cubicBezTo>
                    <a:pt x="1338" y="202"/>
                    <a:pt x="1338" y="202"/>
                    <a:pt x="1338" y="202"/>
                  </a:cubicBezTo>
                  <a:cubicBezTo>
                    <a:pt x="1339" y="202"/>
                    <a:pt x="1339" y="202"/>
                    <a:pt x="1339" y="200"/>
                  </a:cubicBezTo>
                  <a:cubicBezTo>
                    <a:pt x="1340" y="195"/>
                    <a:pt x="1338" y="195"/>
                    <a:pt x="1335" y="193"/>
                  </a:cubicBezTo>
                  <a:cubicBezTo>
                    <a:pt x="1325" y="188"/>
                    <a:pt x="1314" y="183"/>
                    <a:pt x="1303" y="180"/>
                  </a:cubicBezTo>
                  <a:cubicBezTo>
                    <a:pt x="1298" y="179"/>
                    <a:pt x="1295" y="177"/>
                    <a:pt x="1295" y="174"/>
                  </a:cubicBezTo>
                  <a:cubicBezTo>
                    <a:pt x="1307" y="173"/>
                    <a:pt x="1320" y="172"/>
                    <a:pt x="1332" y="174"/>
                  </a:cubicBezTo>
                  <a:cubicBezTo>
                    <a:pt x="1338" y="174"/>
                    <a:pt x="1346" y="173"/>
                    <a:pt x="1352" y="175"/>
                  </a:cubicBezTo>
                  <a:cubicBezTo>
                    <a:pt x="1355" y="176"/>
                    <a:pt x="1356" y="178"/>
                    <a:pt x="1359" y="178"/>
                  </a:cubicBezTo>
                  <a:cubicBezTo>
                    <a:pt x="1361" y="178"/>
                    <a:pt x="1363" y="178"/>
                    <a:pt x="1365" y="178"/>
                  </a:cubicBezTo>
                  <a:cubicBezTo>
                    <a:pt x="1369" y="178"/>
                    <a:pt x="1377" y="179"/>
                    <a:pt x="1381" y="178"/>
                  </a:cubicBezTo>
                  <a:cubicBezTo>
                    <a:pt x="1382" y="177"/>
                    <a:pt x="1386" y="174"/>
                    <a:pt x="1387" y="172"/>
                  </a:cubicBezTo>
                  <a:cubicBezTo>
                    <a:pt x="1390" y="169"/>
                    <a:pt x="1389" y="164"/>
                    <a:pt x="1392" y="162"/>
                  </a:cubicBezTo>
                  <a:cubicBezTo>
                    <a:pt x="1393" y="161"/>
                    <a:pt x="1397" y="161"/>
                    <a:pt x="1399" y="160"/>
                  </a:cubicBezTo>
                  <a:cubicBezTo>
                    <a:pt x="1401" y="159"/>
                    <a:pt x="1404" y="157"/>
                    <a:pt x="1406" y="156"/>
                  </a:cubicBezTo>
                  <a:cubicBezTo>
                    <a:pt x="1407" y="155"/>
                    <a:pt x="1406" y="154"/>
                    <a:pt x="1407" y="154"/>
                  </a:cubicBezTo>
                  <a:cubicBezTo>
                    <a:pt x="1408" y="154"/>
                    <a:pt x="1409" y="154"/>
                    <a:pt x="1410" y="154"/>
                  </a:cubicBezTo>
                  <a:cubicBezTo>
                    <a:pt x="1412" y="153"/>
                    <a:pt x="1411" y="151"/>
                    <a:pt x="1413" y="149"/>
                  </a:cubicBezTo>
                  <a:cubicBezTo>
                    <a:pt x="1416" y="146"/>
                    <a:pt x="1420" y="149"/>
                    <a:pt x="1423" y="146"/>
                  </a:cubicBezTo>
                  <a:cubicBezTo>
                    <a:pt x="1429" y="142"/>
                    <a:pt x="1419" y="130"/>
                    <a:pt x="1418" y="124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9" name="Freeform 139"/>
            <p:cNvSpPr>
              <a:spLocks/>
            </p:cNvSpPr>
            <p:nvPr/>
          </p:nvSpPr>
          <p:spPr bwMode="auto">
            <a:xfrm>
              <a:off x="4910138" y="6602413"/>
              <a:ext cx="34925" cy="20638"/>
            </a:xfrm>
            <a:custGeom>
              <a:avLst/>
              <a:gdLst/>
              <a:ahLst/>
              <a:cxnLst>
                <a:cxn ang="0">
                  <a:pos x="16" y="2"/>
                </a:cxn>
                <a:cxn ang="0">
                  <a:pos x="3" y="3"/>
                </a:cxn>
                <a:cxn ang="0">
                  <a:pos x="1" y="7"/>
                </a:cxn>
                <a:cxn ang="0">
                  <a:pos x="5" y="10"/>
                </a:cxn>
                <a:cxn ang="0">
                  <a:pos x="14" y="11"/>
                </a:cxn>
                <a:cxn ang="0">
                  <a:pos x="17" y="7"/>
                </a:cxn>
                <a:cxn ang="0">
                  <a:pos x="19" y="3"/>
                </a:cxn>
                <a:cxn ang="0">
                  <a:pos x="16" y="2"/>
                </a:cxn>
              </a:cxnLst>
              <a:rect l="0" t="0" r="r" b="b"/>
              <a:pathLst>
                <a:path w="19" h="11">
                  <a:moveTo>
                    <a:pt x="16" y="2"/>
                  </a:moveTo>
                  <a:cubicBezTo>
                    <a:pt x="12" y="0"/>
                    <a:pt x="6" y="0"/>
                    <a:pt x="3" y="3"/>
                  </a:cubicBezTo>
                  <a:cubicBezTo>
                    <a:pt x="2" y="4"/>
                    <a:pt x="0" y="5"/>
                    <a:pt x="1" y="7"/>
                  </a:cubicBezTo>
                  <a:cubicBezTo>
                    <a:pt x="1" y="9"/>
                    <a:pt x="3" y="9"/>
                    <a:pt x="5" y="10"/>
                  </a:cubicBezTo>
                  <a:cubicBezTo>
                    <a:pt x="7" y="11"/>
                    <a:pt x="11" y="11"/>
                    <a:pt x="14" y="11"/>
                  </a:cubicBezTo>
                  <a:cubicBezTo>
                    <a:pt x="15" y="10"/>
                    <a:pt x="15" y="9"/>
                    <a:pt x="17" y="7"/>
                  </a:cubicBezTo>
                  <a:cubicBezTo>
                    <a:pt x="19" y="6"/>
                    <a:pt x="19" y="6"/>
                    <a:pt x="19" y="3"/>
                  </a:cubicBezTo>
                  <a:lnTo>
                    <a:pt x="16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262" y="878886"/>
            <a:ext cx="4104008" cy="1089649"/>
          </a:xfrm>
        </p:spPr>
        <p:txBody>
          <a:bodyPr/>
          <a:lstStyle/>
          <a:p>
            <a:r>
              <a:rPr lang="de-DE" sz="7200" dirty="0">
                <a:solidFill>
                  <a:srgbClr val="00B0F0"/>
                </a:solidFill>
              </a:rPr>
              <a:t>ACTIV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812600" y="2452354"/>
            <a:ext cx="4459301" cy="1860424"/>
          </a:xfrm>
        </p:spPr>
        <p:txBody>
          <a:bodyPr/>
          <a:lstStyle/>
          <a:p>
            <a:r>
              <a:rPr lang="de-DE" sz="2400" b="1" dirty="0">
                <a:solidFill>
                  <a:schemeClr val="tx1"/>
                </a:solidFill>
              </a:rPr>
              <a:t>Erasmus+ KA229 </a:t>
            </a:r>
          </a:p>
          <a:p>
            <a:r>
              <a:rPr lang="de-DE" sz="2400" b="1" dirty="0">
                <a:solidFill>
                  <a:schemeClr val="tx1"/>
                </a:solidFill>
              </a:rPr>
              <a:t>School Exchange Partnership</a:t>
            </a:r>
          </a:p>
          <a:p>
            <a:r>
              <a:rPr lang="de-DE" sz="2400" b="1" dirty="0">
                <a:solidFill>
                  <a:schemeClr val="tx1"/>
                </a:solidFill>
              </a:rPr>
              <a:t>2019 - 2021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128F86-9DD0-4717-9910-F363AD73F237}" type="slidenum">
              <a:rPr lang="de-DE" smtClean="0"/>
              <a:pPr/>
              <a:t>1</a:t>
            </a:fld>
            <a:endParaRPr lang="de-DE" dirty="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xmlns="" id="{63B1C8A2-9792-458F-BFF0-DCD9C972DCC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423879" y="4840677"/>
            <a:ext cx="5696044" cy="116937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xmlns="" val="41426164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Slayt Numarası Yer Tutucusu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4" name="3 Metin kutusu"/>
          <p:cNvSpPr txBox="1"/>
          <p:nvPr/>
        </p:nvSpPr>
        <p:spPr>
          <a:xfrm>
            <a:off x="1259632" y="1412776"/>
            <a:ext cx="6768752" cy="3888432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72000" rtlCol="0">
            <a:noAutofit/>
          </a:bodyPr>
          <a:lstStyle/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endParaRPr lang="tr-TR" sz="20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taff Baseline Survey</a:t>
            </a:r>
            <a:r>
              <a:rPr lang="tr-TR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The staff´s understanding of how children learn.</a:t>
            </a:r>
            <a:r>
              <a:rPr lang="tr-TR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342900" lvl="0" indent="-342900">
              <a:spcBef>
                <a:spcPct val="20000"/>
              </a:spcBef>
            </a:pPr>
            <a:r>
              <a:rPr lang="tr-TR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(öğrencilerin nasıl öğrendiği ile ilgili öğretmenlerin algılarını anlamak için anket)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taff Training Activity in Malta</a:t>
            </a:r>
            <a:endParaRPr lang="tr-TR" sz="20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342900" lvl="0" indent="-342900">
              <a:spcBef>
                <a:spcPct val="20000"/>
              </a:spcBef>
            </a:pPr>
            <a:r>
              <a:rPr lang="tr-TR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 ( Malta’da öğretmen eğitimi)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tr-TR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Growth Mindset and e</a:t>
            </a:r>
            <a:r>
              <a:rPr lang="tr-TR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winning</a:t>
            </a:r>
            <a:endParaRPr lang="tr-TR" sz="20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342900" lvl="0" indent="-342900">
              <a:spcBef>
                <a:spcPct val="20000"/>
              </a:spcBef>
            </a:pPr>
            <a:r>
              <a:rPr lang="tr-TR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(</a:t>
            </a:r>
            <a:r>
              <a:rPr lang="tr-TR" sz="20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özgelişim</a:t>
            </a:r>
            <a:r>
              <a:rPr lang="tr-TR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teorisi)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Slayt Numarası Yer Tutucusu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4" name="3 Metin kutusu"/>
          <p:cNvSpPr txBox="1"/>
          <p:nvPr/>
        </p:nvSpPr>
        <p:spPr>
          <a:xfrm>
            <a:off x="539552" y="836712"/>
            <a:ext cx="8064896" cy="5328592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endParaRPr lang="tr-TR" sz="1400" dirty="0" smtClean="0"/>
          </a:p>
        </p:txBody>
      </p:sp>
      <p:pic>
        <p:nvPicPr>
          <p:cNvPr id="5" name="Picture 2" descr="carol dweck ile ilgili gÃ¶rsel sonuc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9213" y="476672"/>
            <a:ext cx="8499251" cy="583264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Slayt Numarası Yer Tutucusu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4" name="3 Metin kutusu"/>
          <p:cNvSpPr txBox="1"/>
          <p:nvPr/>
        </p:nvSpPr>
        <p:spPr>
          <a:xfrm>
            <a:off x="611560" y="764704"/>
            <a:ext cx="7992888" cy="5328592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72000" rtlCol="0">
            <a:noAutofit/>
          </a:bodyPr>
          <a:lstStyle/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tr-TR" sz="2400" dirty="0" err="1" smtClean="0">
                <a:solidFill>
                  <a:prstClr val="black"/>
                </a:solidFill>
                <a:latin typeface="Calibri"/>
              </a:rPr>
              <a:t>Carol</a:t>
            </a:r>
            <a:r>
              <a:rPr lang="tr-TR" sz="2400" dirty="0" smtClean="0">
                <a:solidFill>
                  <a:prstClr val="black"/>
                </a:solidFill>
                <a:latin typeface="Calibri"/>
              </a:rPr>
              <a:t> </a:t>
            </a:r>
            <a:r>
              <a:rPr lang="tr-TR" sz="2400" dirty="0" err="1" smtClean="0">
                <a:solidFill>
                  <a:prstClr val="black"/>
                </a:solidFill>
                <a:latin typeface="Calibri"/>
              </a:rPr>
              <a:t>Dweck’e</a:t>
            </a:r>
            <a:r>
              <a:rPr lang="tr-TR" sz="2400" dirty="0" smtClean="0">
                <a:solidFill>
                  <a:prstClr val="black"/>
                </a:solidFill>
                <a:latin typeface="Calibri"/>
              </a:rPr>
              <a:t> göre başarıya ulaşabilmek için en önemli faktör: Kendimize dair inancımız.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tr-TR" sz="2400" dirty="0" smtClean="0">
                <a:solidFill>
                  <a:prstClr val="black"/>
                </a:solidFill>
                <a:latin typeface="Calibri"/>
              </a:rPr>
              <a:t>Kendimize dair inançlarımız ve yeteneklerimizi değerlendirme biçimimiz ise iki başlıca teori altında toplanmakta.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tr-TR" sz="2400" b="1" dirty="0" smtClean="0">
                <a:solidFill>
                  <a:prstClr val="black"/>
                </a:solidFill>
                <a:latin typeface="Calibri"/>
              </a:rPr>
              <a:t>Varlık </a:t>
            </a:r>
            <a:r>
              <a:rPr lang="tr-TR" sz="2400" b="1" dirty="0" err="1" smtClean="0">
                <a:solidFill>
                  <a:prstClr val="black"/>
                </a:solidFill>
                <a:latin typeface="Calibri"/>
              </a:rPr>
              <a:t>Özteorisi</a:t>
            </a:r>
            <a:r>
              <a:rPr lang="tr-TR" sz="2400" b="1" dirty="0" smtClean="0">
                <a:solidFill>
                  <a:prstClr val="black"/>
                </a:solidFill>
                <a:latin typeface="Calibri"/>
              </a:rPr>
              <a:t> (</a:t>
            </a:r>
            <a:r>
              <a:rPr lang="tr-TR" sz="2400" b="1" dirty="0" err="1" smtClean="0">
                <a:solidFill>
                  <a:prstClr val="black"/>
                </a:solidFill>
                <a:latin typeface="Calibri"/>
              </a:rPr>
              <a:t>Fixed</a:t>
            </a:r>
            <a:r>
              <a:rPr lang="tr-TR" sz="2400" b="1" dirty="0" smtClean="0">
                <a:solidFill>
                  <a:prstClr val="black"/>
                </a:solidFill>
                <a:latin typeface="Calibri"/>
              </a:rPr>
              <a:t> </a:t>
            </a:r>
            <a:r>
              <a:rPr lang="tr-TR" sz="2400" b="1" dirty="0" err="1" smtClean="0">
                <a:solidFill>
                  <a:prstClr val="black"/>
                </a:solidFill>
                <a:latin typeface="Calibri"/>
              </a:rPr>
              <a:t>Mindset</a:t>
            </a:r>
            <a:r>
              <a:rPr lang="tr-TR" sz="2400" b="1" dirty="0" smtClean="0">
                <a:solidFill>
                  <a:prstClr val="black"/>
                </a:solidFill>
                <a:latin typeface="Calibri"/>
              </a:rPr>
              <a:t>):</a:t>
            </a:r>
            <a:r>
              <a:rPr lang="tr-TR" sz="2400" dirty="0" smtClean="0">
                <a:solidFill>
                  <a:prstClr val="black"/>
                </a:solidFill>
                <a:latin typeface="Calibri"/>
              </a:rPr>
              <a:t> Yetenekler doğuştan gelmektedir. Bir alanda ya başarılısınızdır ya da başarısız.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tr-TR" sz="2400" b="1" dirty="0" smtClean="0">
                <a:solidFill>
                  <a:prstClr val="black"/>
                </a:solidFill>
                <a:latin typeface="Calibri"/>
              </a:rPr>
              <a:t>Gelişim </a:t>
            </a:r>
            <a:r>
              <a:rPr lang="tr-TR" sz="2400" b="1" dirty="0" err="1" smtClean="0">
                <a:solidFill>
                  <a:prstClr val="black"/>
                </a:solidFill>
                <a:latin typeface="Calibri"/>
              </a:rPr>
              <a:t>Özteorisi</a:t>
            </a:r>
            <a:r>
              <a:rPr lang="tr-TR" sz="2400" b="1" dirty="0" smtClean="0">
                <a:solidFill>
                  <a:prstClr val="black"/>
                </a:solidFill>
                <a:latin typeface="Calibri"/>
              </a:rPr>
              <a:t> (</a:t>
            </a:r>
            <a:r>
              <a:rPr lang="tr-TR" sz="2400" b="1" dirty="0" err="1" smtClean="0">
                <a:solidFill>
                  <a:prstClr val="black"/>
                </a:solidFill>
                <a:latin typeface="Calibri"/>
              </a:rPr>
              <a:t>Growth</a:t>
            </a:r>
            <a:r>
              <a:rPr lang="tr-TR" sz="2400" b="1" dirty="0" smtClean="0">
                <a:solidFill>
                  <a:prstClr val="black"/>
                </a:solidFill>
                <a:latin typeface="Calibri"/>
              </a:rPr>
              <a:t> </a:t>
            </a:r>
            <a:r>
              <a:rPr lang="tr-TR" sz="2400" b="1" dirty="0" err="1" smtClean="0">
                <a:solidFill>
                  <a:prstClr val="black"/>
                </a:solidFill>
                <a:latin typeface="Calibri"/>
              </a:rPr>
              <a:t>Mindset</a:t>
            </a:r>
            <a:r>
              <a:rPr lang="tr-TR" sz="2400" b="1" dirty="0" smtClean="0">
                <a:solidFill>
                  <a:prstClr val="black"/>
                </a:solidFill>
                <a:latin typeface="Calibri"/>
              </a:rPr>
              <a:t>):</a:t>
            </a:r>
            <a:r>
              <a:rPr lang="tr-TR" sz="2400" dirty="0" smtClean="0">
                <a:solidFill>
                  <a:prstClr val="black"/>
                </a:solidFill>
                <a:latin typeface="Calibri"/>
              </a:rPr>
              <a:t> Yetenekler geliştirilebilir. Çaba göstererek kendinizi geliştirebilirsiniz.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tr-TR" sz="2400" b="1" dirty="0" smtClean="0">
                <a:solidFill>
                  <a:prstClr val="black"/>
                </a:solidFill>
                <a:latin typeface="Calibri"/>
              </a:rPr>
              <a:t>Gelişim </a:t>
            </a:r>
            <a:r>
              <a:rPr lang="tr-TR" sz="2400" b="1" dirty="0" err="1" smtClean="0">
                <a:solidFill>
                  <a:prstClr val="black"/>
                </a:solidFill>
                <a:latin typeface="Calibri"/>
              </a:rPr>
              <a:t>özteorisine</a:t>
            </a:r>
            <a:r>
              <a:rPr lang="tr-TR" sz="2400" b="1" dirty="0" smtClean="0">
                <a:solidFill>
                  <a:prstClr val="black"/>
                </a:solidFill>
                <a:latin typeface="Calibri"/>
              </a:rPr>
              <a:t> sahip, yani yeteneklerinin gelişebileceğine inanan insanlar, zorluklara karşı daha dirençlidirler. Bunun sonucu olarak da daha başarılıdırlar.</a:t>
            </a:r>
            <a:endParaRPr lang="tr-TR" sz="2400" dirty="0" smtClean="0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Slayt Numarası Yer Tutucusu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4" name="3 Metin kutusu"/>
          <p:cNvSpPr txBox="1"/>
          <p:nvPr/>
        </p:nvSpPr>
        <p:spPr>
          <a:xfrm>
            <a:off x="539552" y="620688"/>
            <a:ext cx="8208912" cy="5832648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72000" rtlCol="0">
            <a:noAutofit/>
          </a:bodyPr>
          <a:lstStyle/>
          <a:p>
            <a:pPr lvl="0"/>
            <a:endParaRPr lang="tr-TR" sz="2800" b="1" dirty="0" smtClean="0">
              <a:solidFill>
                <a:prstClr val="black"/>
              </a:solidFill>
              <a:latin typeface="Calibri"/>
            </a:endParaRPr>
          </a:p>
          <a:p>
            <a:pPr lvl="0"/>
            <a:r>
              <a:rPr lang="tr-TR" sz="2800" b="1" dirty="0" smtClean="0">
                <a:solidFill>
                  <a:prstClr val="black"/>
                </a:solidFill>
                <a:latin typeface="Calibri"/>
              </a:rPr>
              <a:t>  Varlık </a:t>
            </a:r>
            <a:r>
              <a:rPr lang="tr-TR" sz="2800" b="1" dirty="0" err="1" smtClean="0">
                <a:solidFill>
                  <a:prstClr val="black"/>
                </a:solidFill>
                <a:latin typeface="Calibri"/>
              </a:rPr>
              <a:t>özteorisinde</a:t>
            </a:r>
            <a:r>
              <a:rPr lang="tr-TR" sz="2800" b="1" dirty="0" smtClean="0">
                <a:solidFill>
                  <a:prstClr val="black"/>
                </a:solidFill>
                <a:latin typeface="Calibri"/>
              </a:rPr>
              <a:t> </a:t>
            </a:r>
            <a:r>
              <a:rPr lang="tr-TR" sz="2800" dirty="0" smtClean="0">
                <a:solidFill>
                  <a:prstClr val="black"/>
                </a:solidFill>
                <a:latin typeface="Calibri"/>
              </a:rPr>
              <a:t>“performans”, “</a:t>
            </a:r>
            <a:r>
              <a:rPr lang="tr-TR" sz="2800" dirty="0" err="1" smtClean="0">
                <a:solidFill>
                  <a:prstClr val="black"/>
                </a:solidFill>
                <a:latin typeface="Calibri"/>
              </a:rPr>
              <a:t>öğrenme”nin</a:t>
            </a:r>
            <a:r>
              <a:rPr lang="tr-TR" sz="2800" dirty="0" smtClean="0">
                <a:solidFill>
                  <a:prstClr val="black"/>
                </a:solidFill>
                <a:latin typeface="Calibri"/>
              </a:rPr>
              <a:t> önündedir (Sınavdan 95 almak her şeydir). Çaba, kibrin ve korkunun gölgesindedir, bu nedenle ihtiyaç duyulan en önemli anda etkili stratejileri denemekten kaçınılır.</a:t>
            </a:r>
          </a:p>
          <a:p>
            <a:pPr lvl="0"/>
            <a:endParaRPr lang="tr-TR" sz="2800" dirty="0" smtClean="0">
              <a:solidFill>
                <a:prstClr val="black"/>
              </a:solidFill>
              <a:latin typeface="Calibri"/>
            </a:endParaRPr>
          </a:p>
          <a:p>
            <a:pPr lvl="0"/>
            <a:r>
              <a:rPr lang="tr-TR" sz="2800" b="1" dirty="0" smtClean="0">
                <a:solidFill>
                  <a:prstClr val="black"/>
                </a:solidFill>
                <a:latin typeface="Calibri"/>
              </a:rPr>
              <a:t>  Gelişim </a:t>
            </a:r>
            <a:r>
              <a:rPr lang="tr-TR" sz="2800" b="1" dirty="0" err="1" smtClean="0">
                <a:solidFill>
                  <a:prstClr val="black"/>
                </a:solidFill>
                <a:latin typeface="Calibri"/>
              </a:rPr>
              <a:t>özteorisi</a:t>
            </a:r>
            <a:r>
              <a:rPr lang="tr-TR" sz="2800" b="1" dirty="0" smtClean="0">
                <a:solidFill>
                  <a:prstClr val="black"/>
                </a:solidFill>
                <a:latin typeface="Calibri"/>
              </a:rPr>
              <a:t> </a:t>
            </a:r>
            <a:r>
              <a:rPr lang="tr-TR" sz="2800" dirty="0" smtClean="0">
                <a:solidFill>
                  <a:prstClr val="black"/>
                </a:solidFill>
                <a:latin typeface="Calibri"/>
              </a:rPr>
              <a:t>ise bireyleri, meydan okuma ve öğrenme konusunda teşvik eder (Önce öğren, sonra zaten 95 alırsın.). Çabaya değer verir. Zorluklar karşısında inatçıdır.</a:t>
            </a:r>
            <a:endParaRPr lang="tr-TR" sz="2800" dirty="0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z="2400" dirty="0" smtClean="0"/>
              <a:t>OCTOBER-NOVEMBER-DECEMBER(Ekim –Kasım-Aralık)</a:t>
            </a:r>
            <a:endParaRPr lang="tr-TR" sz="2400" dirty="0"/>
          </a:p>
        </p:txBody>
      </p:sp>
      <p:sp>
        <p:nvSpPr>
          <p:cNvPr id="3" name="2 Slayt Numarası Yer Tutucusu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5" name="4 Metin kutusu"/>
          <p:cNvSpPr txBox="1"/>
          <p:nvPr/>
        </p:nvSpPr>
        <p:spPr>
          <a:xfrm>
            <a:off x="539552" y="1556792"/>
            <a:ext cx="8064896" cy="4536504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72000" rtlCol="0">
            <a:noAutofit/>
          </a:bodyPr>
          <a:lstStyle/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issemination of the C1</a:t>
            </a:r>
            <a:r>
              <a:rPr lang="tr-TR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(Malta’daki eğitimin yaygınlaştırılması)</a:t>
            </a:r>
          </a:p>
          <a:p>
            <a:pPr marL="342900" lvl="0" indent="-342900">
              <a:spcBef>
                <a:spcPct val="20000"/>
              </a:spcBef>
            </a:pPr>
            <a:r>
              <a:rPr lang="tr-TR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-</a:t>
            </a: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ake plans how to include Growth Mindset to support ACTIVE learners.</a:t>
            </a:r>
            <a:r>
              <a:rPr lang="tr-TR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(aktif </a:t>
            </a:r>
            <a:r>
              <a:rPr lang="tr-TR" sz="20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öğrenleri</a:t>
            </a:r>
            <a:r>
              <a:rPr lang="tr-TR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esteklemek için </a:t>
            </a:r>
            <a:r>
              <a:rPr lang="tr-TR" sz="20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özgelişim</a:t>
            </a:r>
            <a:r>
              <a:rPr lang="tr-TR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teorisini eğitime nasıl dahil ederiz?)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tr-TR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a-DK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CTIVE logo</a:t>
            </a:r>
            <a:r>
              <a:rPr lang="tr-TR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he best logo will be chosen during C2 in Finland.</a:t>
            </a:r>
            <a:r>
              <a:rPr lang="tr-TR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(Finlandiya’daki toplantıda en iyi logo seçilecek.)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he Project Website</a:t>
            </a:r>
            <a:endParaRPr lang="tr-TR" sz="20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Believe in Yourself</a:t>
            </a:r>
            <a:r>
              <a:rPr lang="tr-TR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“This is what I´m good at”. Videos, cartoons, drawings etc. to be shared through </a:t>
            </a:r>
            <a:r>
              <a:rPr lang="en-US" sz="20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winspace</a:t>
            </a: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/website. </a:t>
            </a:r>
            <a:r>
              <a:rPr lang="tr-TR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( Kendine güven. “Bu benim iyi olduğum şey”.)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CTIVE Project Song</a:t>
            </a:r>
            <a:r>
              <a:rPr lang="tr-TR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 (İzlanda. Her ülke öğrencileri  proje şarkısını söyleyip video çekecek)</a:t>
            </a:r>
            <a:endParaRPr lang="tr-TR" sz="2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Slayt Numarası Yer Tutucusu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4" name="3 Metin kutusu"/>
          <p:cNvSpPr txBox="1"/>
          <p:nvPr/>
        </p:nvSpPr>
        <p:spPr>
          <a:xfrm>
            <a:off x="755576" y="548680"/>
            <a:ext cx="7632848" cy="5256584"/>
          </a:xfrm>
          <a:prstGeom prst="rect">
            <a:avLst/>
          </a:prstGeom>
          <a:noFill/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endParaRPr lang="tr-TR" sz="1400" dirty="0" smtClean="0"/>
          </a:p>
        </p:txBody>
      </p:sp>
      <p:sp>
        <p:nvSpPr>
          <p:cNvPr id="5" name="4 Dikdörtgen"/>
          <p:cNvSpPr/>
          <p:nvPr/>
        </p:nvSpPr>
        <p:spPr>
          <a:xfrm>
            <a:off x="1259632" y="908720"/>
            <a:ext cx="6984776" cy="563231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endParaRPr lang="tr-TR" dirty="0" smtClean="0"/>
          </a:p>
          <a:p>
            <a:pPr>
              <a:buFont typeface="Arial" pitchFamily="34" charset="0"/>
              <a:buChar char="•"/>
            </a:pPr>
            <a:r>
              <a:rPr lang="en-US" dirty="0" smtClean="0"/>
              <a:t>GOAL setting</a:t>
            </a:r>
            <a:r>
              <a:rPr lang="tr-TR" dirty="0" smtClean="0"/>
              <a:t>( amaç belirleme). Öğretmenler ve öğrenciler ,daha azimli ve zorluklara karşı dirençli olmak için, proje bitiminde başarabilecekleri amaçlar belirleyecekler.</a:t>
            </a:r>
          </a:p>
          <a:p>
            <a:endParaRPr lang="tr-TR" dirty="0" smtClean="0"/>
          </a:p>
          <a:p>
            <a:pPr>
              <a:buFont typeface="Arial" pitchFamily="34" charset="0"/>
              <a:buChar char="•"/>
            </a:pPr>
            <a:r>
              <a:rPr lang="en-US" dirty="0" smtClean="0"/>
              <a:t>GOAL keepers</a:t>
            </a:r>
            <a:r>
              <a:rPr lang="tr-TR" dirty="0" smtClean="0"/>
              <a:t>( amaç yakalayıcılar). Okullar arasında arkadaş sistemi oluşturulacak. Eşleşen okullar ve öğrenciler birbirlerine  amaçlarına ulaşma noktasında destek olacaklar.</a:t>
            </a:r>
          </a:p>
          <a:p>
            <a:endParaRPr lang="tr-TR" dirty="0" smtClean="0"/>
          </a:p>
          <a:p>
            <a:pPr>
              <a:buFont typeface="Arial" pitchFamily="34" charset="0"/>
              <a:buChar char="•"/>
            </a:pPr>
            <a:r>
              <a:rPr lang="tr-TR" dirty="0" smtClean="0"/>
              <a:t> </a:t>
            </a:r>
            <a:r>
              <a:rPr lang="en-US" dirty="0" smtClean="0"/>
              <a:t>BRAIN BREAKS</a:t>
            </a:r>
            <a:r>
              <a:rPr lang="tr-TR" dirty="0" smtClean="0"/>
              <a:t>(kısa zihinsel aralar). Her okul en az beş dakikalık bir zihinsel aranın olduğu video yapacak ve platformlarda paylaşacak.</a:t>
            </a:r>
          </a:p>
          <a:p>
            <a:endParaRPr lang="tr-TR" dirty="0" smtClean="0"/>
          </a:p>
          <a:p>
            <a:pPr>
              <a:buFont typeface="Arial" pitchFamily="34" charset="0"/>
              <a:buChar char="•"/>
            </a:pPr>
            <a:r>
              <a:rPr lang="en-US" dirty="0" smtClean="0"/>
              <a:t>Learn Finnish in 5 minutes</a:t>
            </a:r>
            <a:r>
              <a:rPr lang="tr-TR" dirty="0" smtClean="0"/>
              <a:t>. </a:t>
            </a:r>
            <a:r>
              <a:rPr lang="en-GB" dirty="0" smtClean="0"/>
              <a:t>For</a:t>
            </a:r>
            <a:r>
              <a:rPr lang="tr-TR" dirty="0" smtClean="0"/>
              <a:t> </a:t>
            </a:r>
            <a:r>
              <a:rPr lang="en-GB" dirty="0" smtClean="0"/>
              <a:t>visiting</a:t>
            </a:r>
            <a:r>
              <a:rPr lang="tr-TR" dirty="0" smtClean="0"/>
              <a:t> </a:t>
            </a:r>
            <a:r>
              <a:rPr lang="en-GB" dirty="0" smtClean="0"/>
              <a:t>pupils</a:t>
            </a:r>
            <a:r>
              <a:rPr lang="tr-TR" dirty="0" smtClean="0"/>
              <a:t>. ( beş dakikada Fin’ce  öğrenme)</a:t>
            </a:r>
          </a:p>
          <a:p>
            <a:endParaRPr lang="tr-TR" dirty="0" smtClean="0"/>
          </a:p>
          <a:p>
            <a:pPr>
              <a:buFont typeface="Arial" pitchFamily="34" charset="0"/>
              <a:buChar char="•"/>
            </a:pPr>
            <a:r>
              <a:rPr lang="en-US" dirty="0" smtClean="0"/>
              <a:t>Pupil Learning Activity in Finland</a:t>
            </a:r>
            <a:r>
              <a:rPr lang="tr-TR" dirty="0" smtClean="0"/>
              <a:t>( Finlandiya’da öğrenci eğitimi)</a:t>
            </a:r>
            <a:r>
              <a:rPr lang="en-US" dirty="0" smtClean="0"/>
              <a:t> Nov 30th - Dec 6</a:t>
            </a:r>
            <a:r>
              <a:rPr lang="en-US" baseline="30000" dirty="0" smtClean="0"/>
              <a:t>th</a:t>
            </a:r>
            <a:r>
              <a:rPr lang="tr-TR" baseline="30000" dirty="0" smtClean="0"/>
              <a:t>.</a:t>
            </a:r>
            <a:r>
              <a:rPr lang="en-US" dirty="0" smtClean="0"/>
              <a:t> ACTIVE Body and Mind in Varied Learning Environments.</a:t>
            </a:r>
            <a:endParaRPr lang="tr-TR" dirty="0" smtClean="0"/>
          </a:p>
          <a:p>
            <a:endParaRPr lang="tr-TR" dirty="0" smtClean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z="2400" dirty="0" smtClean="0"/>
              <a:t>JANUARY –FEBRUARY-MARCH (Ocak- Şubat- Mart)</a:t>
            </a:r>
            <a:endParaRPr lang="tr-TR" sz="2400" dirty="0"/>
          </a:p>
        </p:txBody>
      </p:sp>
      <p:sp>
        <p:nvSpPr>
          <p:cNvPr id="3" name="2 Slayt Numarası Yer Tutucusu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5" name="4 Metin kutusu"/>
          <p:cNvSpPr txBox="1"/>
          <p:nvPr/>
        </p:nvSpPr>
        <p:spPr>
          <a:xfrm>
            <a:off x="539552" y="1268760"/>
            <a:ext cx="8064896" cy="4464496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72000" rtlCol="0">
            <a:noAutofit/>
          </a:bodyPr>
          <a:lstStyle/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  <a:latin typeface="Calibri"/>
              </a:rPr>
              <a:t>Dissemination of C2</a:t>
            </a:r>
            <a:r>
              <a:rPr lang="tr-TR" sz="2000" dirty="0" smtClean="0">
                <a:solidFill>
                  <a:prstClr val="black"/>
                </a:solidFill>
                <a:latin typeface="Calibri"/>
              </a:rPr>
              <a:t>. (eğitimlere katılanlar döndüklerinde deneyimlerini aktaracaklar)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tr-TR" sz="2000" dirty="0" smtClean="0">
                <a:solidFill>
                  <a:prstClr val="black"/>
                </a:solidFill>
                <a:latin typeface="Calibri"/>
              </a:rPr>
              <a:t> </a:t>
            </a:r>
            <a:r>
              <a:rPr lang="en-US" sz="2000" dirty="0" smtClean="0">
                <a:solidFill>
                  <a:prstClr val="black"/>
                </a:solidFill>
                <a:latin typeface="Calibri"/>
              </a:rPr>
              <a:t>ACTIVE Theme Days/Weeks</a:t>
            </a:r>
            <a:r>
              <a:rPr lang="tr-TR" sz="2000" dirty="0" smtClean="0">
                <a:solidFill>
                  <a:prstClr val="black"/>
                </a:solidFill>
                <a:latin typeface="Calibri"/>
              </a:rPr>
              <a:t>. (ACTIVE belirli gün ve haftası) öğrencilere müfredatı birlikte inşa etme fırsatı verilecek.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  <a:latin typeface="Calibri"/>
              </a:rPr>
              <a:t>Learning Outside Classroom</a:t>
            </a:r>
            <a:r>
              <a:rPr lang="tr-TR" sz="2000" dirty="0" smtClean="0">
                <a:solidFill>
                  <a:prstClr val="black"/>
                </a:solidFill>
                <a:latin typeface="Calibri"/>
              </a:rPr>
              <a:t> (sınıf dışında öğrenme)</a:t>
            </a:r>
          </a:p>
          <a:p>
            <a:pPr marL="342900" lvl="0" indent="-342900">
              <a:spcBef>
                <a:spcPct val="20000"/>
              </a:spcBef>
            </a:pPr>
            <a:r>
              <a:rPr lang="tr-TR" sz="2000" dirty="0" smtClean="0">
                <a:solidFill>
                  <a:prstClr val="black"/>
                </a:solidFill>
                <a:latin typeface="Calibri"/>
              </a:rPr>
              <a:t>                                             MAY(Mayıs)  </a:t>
            </a:r>
          </a:p>
          <a:p>
            <a:pPr marL="342900" lvl="5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  <a:latin typeface="Calibri"/>
              </a:rPr>
              <a:t>Pupil Learning Activity in England</a:t>
            </a:r>
            <a:r>
              <a:rPr lang="tr-TR" sz="2000" dirty="0" smtClean="0">
                <a:solidFill>
                  <a:prstClr val="black"/>
                </a:solidFill>
                <a:latin typeface="Calibri"/>
              </a:rPr>
              <a:t>( İngiltere’de öğrenci eğitimi)</a:t>
            </a:r>
          </a:p>
          <a:p>
            <a:pPr marL="342900" lvl="5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  <a:latin typeface="Calibri"/>
              </a:rPr>
              <a:t> Beaconing: Location Based Activities</a:t>
            </a:r>
            <a:r>
              <a:rPr lang="tr-TR" sz="2000" dirty="0" smtClean="0">
                <a:solidFill>
                  <a:prstClr val="black"/>
                </a:solidFill>
                <a:latin typeface="Calibri"/>
              </a:rPr>
              <a:t>(konum temelli aktiviteler)</a:t>
            </a:r>
          </a:p>
          <a:p>
            <a:pPr marL="342900" lvl="5" indent="-342900">
              <a:spcBef>
                <a:spcPct val="20000"/>
              </a:spcBef>
            </a:pPr>
            <a:r>
              <a:rPr lang="tr-TR" sz="2000" dirty="0" smtClean="0">
                <a:solidFill>
                  <a:prstClr val="black"/>
                </a:solidFill>
                <a:latin typeface="Calibri"/>
              </a:rPr>
              <a:t>       </a:t>
            </a:r>
            <a:r>
              <a:rPr lang="tr-TR" sz="2000" dirty="0" err="1" smtClean="0">
                <a:solidFill>
                  <a:prstClr val="black"/>
                </a:solidFill>
                <a:latin typeface="Calibri"/>
              </a:rPr>
              <a:t>Beacon</a:t>
            </a:r>
            <a:r>
              <a:rPr lang="tr-TR" sz="2000" dirty="0" smtClean="0">
                <a:solidFill>
                  <a:prstClr val="black"/>
                </a:solidFill>
                <a:latin typeface="Calibri"/>
              </a:rPr>
              <a:t>: Düşük enerjili </a:t>
            </a:r>
            <a:r>
              <a:rPr lang="tr-TR" sz="2000" dirty="0" err="1" smtClean="0">
                <a:solidFill>
                  <a:prstClr val="black"/>
                </a:solidFill>
                <a:latin typeface="Calibri"/>
              </a:rPr>
              <a:t>Bluetooth</a:t>
            </a:r>
            <a:r>
              <a:rPr lang="tr-TR" sz="2000" dirty="0" smtClean="0">
                <a:solidFill>
                  <a:prstClr val="black"/>
                </a:solidFill>
                <a:latin typeface="Calibri"/>
              </a:rPr>
              <a:t> teknolojisini kullanarak konum bilgisi sağlayan bir teknolojidir.  </a:t>
            </a:r>
            <a:r>
              <a:rPr lang="tr-TR" sz="2000" dirty="0" err="1" smtClean="0">
                <a:solidFill>
                  <a:prstClr val="black"/>
                </a:solidFill>
                <a:latin typeface="Calibri"/>
              </a:rPr>
              <a:t>Beacon</a:t>
            </a:r>
            <a:r>
              <a:rPr lang="tr-TR" sz="2000" dirty="0" smtClean="0">
                <a:solidFill>
                  <a:prstClr val="black"/>
                </a:solidFill>
                <a:latin typeface="Calibri"/>
              </a:rPr>
              <a:t> teknolojisine sahip ürünler veya cihazlar pasif sinyaller yayarak yakınlarındaki akıllı telefonlar ile etkileşime geçebilirler. Mesafeye bağlı olarak kişilere ulaşan bu teknoloji, sonrasında ise etkileşime geçtiği kişilere istenilen bilgileri iletebilir.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Slayt Numarası Yer Tutucusu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4" name="3 Metin kutusu"/>
          <p:cNvSpPr txBox="1"/>
          <p:nvPr/>
        </p:nvSpPr>
        <p:spPr>
          <a:xfrm>
            <a:off x="683568" y="764704"/>
            <a:ext cx="7776864" cy="5040560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72000" rtlCol="0">
            <a:noAutofit/>
          </a:bodyPr>
          <a:lstStyle/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tr-TR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BEACONING </a:t>
            </a:r>
            <a:r>
              <a:rPr lang="tr-TR" sz="20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novasyon</a:t>
            </a:r>
            <a:r>
              <a:rPr lang="tr-TR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projesinde bir oyun temelli öğrenme platform kurulup, oyunlaştırılmış ders planları öğrenci bazında kişiselleştirilip eğitsel kaynaklar bağlama göre </a:t>
            </a:r>
            <a:r>
              <a:rPr lang="tr-TR" sz="20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çeşitlenenecek</a:t>
            </a:r>
            <a:r>
              <a:rPr lang="tr-TR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böylece zaman-mekan bağımsız öğrenme fırsatları sunulacaktır.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tr-TR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BEACONING platformu oyunlaştırılmış ders planları çıkarmak, kişiselleştirme unsurlarını yerleştirmek için yazarlık araçları sağlar. Planlar bulut temelli platformdan sunulur, mobil cihazlardan takip edilir, analitik değerlendirmeleri yapılabilir.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taff Training Activity in England</a:t>
            </a:r>
            <a:r>
              <a:rPr lang="tr-TR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(öğretmen Eğitimi)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hythm4Inclusion project by Coventry University</a:t>
            </a:r>
            <a:r>
              <a:rPr lang="tr-TR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tr-TR" sz="20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üzik, Dans ve Dijital Yeterlilikler Üzerine Öğretmen Yeterlilikleri Geliştirerek Özel Eğitim İhtiyacı Olan veya olmayan Öğrencilerin Sosyal, Duygusal ve Öğrenme Becerilerinin Geliştirilmesi</a:t>
            </a:r>
            <a:r>
              <a:rPr lang="tr-TR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)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issemination of C3+C4</a:t>
            </a:r>
            <a:r>
              <a:rPr lang="tr-TR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İngiltere’deki eğitimlerin aktarılması)</a:t>
            </a:r>
            <a:endParaRPr lang="tr-TR" sz="20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4EE0B7E8-CE76-48C3-9D21-B6544968CF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 </a:t>
            </a:r>
            <a:r>
              <a:rPr lang="da-DK" sz="3600" dirty="0">
                <a:solidFill>
                  <a:schemeClr val="accent1">
                    <a:lumMod val="50000"/>
                  </a:schemeClr>
                </a:solidFill>
              </a:rPr>
              <a:t>ACTIVE</a:t>
            </a:r>
            <a:r>
              <a:rPr lang="da-DK" dirty="0"/>
              <a:t> Project Timeline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="" xmlns:a16="http://schemas.microsoft.com/office/drawing/2014/main" id="{5E9E527A-02E8-499F-8BDE-0E881E8CC4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18</a:t>
            </a:fld>
            <a:endParaRPr lang="de-DE" dirty="0"/>
          </a:p>
        </p:txBody>
      </p:sp>
      <p:graphicFrame>
        <p:nvGraphicFramePr>
          <p:cNvPr id="4" name="Objekt 3">
            <a:extLst>
              <a:ext uri="{FF2B5EF4-FFF2-40B4-BE49-F238E27FC236}">
                <a16:creationId xmlns="" xmlns:a16="http://schemas.microsoft.com/office/drawing/2014/main" id="{83CBE88F-5080-4B78-BA34-3F35F69431F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40187048"/>
              </p:ext>
            </p:extLst>
          </p:nvPr>
        </p:nvGraphicFramePr>
        <p:xfrm>
          <a:off x="754063" y="1300163"/>
          <a:ext cx="7811165" cy="4937149"/>
        </p:xfrm>
        <a:graphic>
          <a:graphicData uri="http://schemas.openxmlformats.org/presentationml/2006/ole">
            <p:oleObj spid="_x0000_s1026" name="Document" r:id="rId3" imgW="9574850" imgH="6176570" progId="Word.Document.12">
              <p:embed/>
            </p:oleObj>
          </a:graphicData>
        </a:graphic>
      </p:graphicFrame>
    </p:spTree>
    <p:extLst>
      <p:ext uri="{BB962C8B-B14F-4D97-AF65-F5344CB8AC3E}">
        <p14:creationId xmlns="" xmlns:p14="http://schemas.microsoft.com/office/powerpoint/2010/main" val="11348738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slidenummer 2">
            <a:extLst>
              <a:ext uri="{FF2B5EF4-FFF2-40B4-BE49-F238E27FC236}">
                <a16:creationId xmlns="" xmlns:a16="http://schemas.microsoft.com/office/drawing/2014/main" id="{1A7BC565-3B9E-4B22-B9F6-6618EA85612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19</a:t>
            </a:fld>
            <a:endParaRPr lang="de-DE" dirty="0"/>
          </a:p>
        </p:txBody>
      </p:sp>
      <p:pic>
        <p:nvPicPr>
          <p:cNvPr id="4" name="Billede 3">
            <a:extLst>
              <a:ext uri="{FF2B5EF4-FFF2-40B4-BE49-F238E27FC236}">
                <a16:creationId xmlns="" xmlns:a16="http://schemas.microsoft.com/office/drawing/2014/main" id="{D30E2AA4-876D-46CE-8023-99B756B6249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t="32168"/>
          <a:stretch/>
        </p:blipFill>
        <p:spPr>
          <a:xfrm>
            <a:off x="551485" y="912708"/>
            <a:ext cx="8064000" cy="521805"/>
          </a:xfrm>
          <a:prstGeom prst="rect">
            <a:avLst/>
          </a:prstGeom>
        </p:spPr>
      </p:pic>
      <p:pic>
        <p:nvPicPr>
          <p:cNvPr id="5" name="Billede 4">
            <a:extLst>
              <a:ext uri="{FF2B5EF4-FFF2-40B4-BE49-F238E27FC236}">
                <a16:creationId xmlns="" xmlns:a16="http://schemas.microsoft.com/office/drawing/2014/main" id="{AECDFA20-86E2-480D-B683-2F98A2A1C86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/>
          <a:srcRect t="26143" b="-1"/>
          <a:stretch/>
        </p:blipFill>
        <p:spPr>
          <a:xfrm>
            <a:off x="558268" y="1409180"/>
            <a:ext cx="8064000" cy="828291"/>
          </a:xfrm>
          <a:prstGeom prst="rect">
            <a:avLst/>
          </a:prstGeom>
        </p:spPr>
      </p:pic>
      <p:pic>
        <p:nvPicPr>
          <p:cNvPr id="6" name="Billede 5">
            <a:extLst>
              <a:ext uri="{FF2B5EF4-FFF2-40B4-BE49-F238E27FC236}">
                <a16:creationId xmlns="" xmlns:a16="http://schemas.microsoft.com/office/drawing/2014/main" id="{D912F8FD-892F-4737-9023-31DDEBD8D90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t="12948"/>
          <a:stretch/>
        </p:blipFill>
        <p:spPr>
          <a:xfrm>
            <a:off x="558268" y="2228677"/>
            <a:ext cx="8064000" cy="1720732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="" xmlns:a16="http://schemas.microsoft.com/office/drawing/2014/main" id="{87D8BBE3-63AC-467C-A219-0AD8383D5EF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l="654" t="28640" r="2083"/>
          <a:stretch/>
        </p:blipFill>
        <p:spPr>
          <a:xfrm>
            <a:off x="611560" y="3949409"/>
            <a:ext cx="7920880" cy="723676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8" name="Billede 7">
            <a:extLst>
              <a:ext uri="{FF2B5EF4-FFF2-40B4-BE49-F238E27FC236}">
                <a16:creationId xmlns="" xmlns:a16="http://schemas.microsoft.com/office/drawing/2014/main" id="{D7558179-3E8B-47DC-87A9-59AAAF7B7D5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/>
          <a:srcRect l="656" t="23986" r="1790"/>
          <a:stretch/>
        </p:blipFill>
        <p:spPr>
          <a:xfrm>
            <a:off x="611560" y="4673085"/>
            <a:ext cx="7920880" cy="775735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9" name="Billede 8">
            <a:extLst>
              <a:ext uri="{FF2B5EF4-FFF2-40B4-BE49-F238E27FC236}">
                <a16:creationId xmlns="" xmlns:a16="http://schemas.microsoft.com/office/drawing/2014/main" id="{D827D8BB-FA15-45BE-B58A-569EE475C26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/>
          <a:srcRect l="-1" t="30405" r="-7976"/>
          <a:stretch/>
        </p:blipFill>
        <p:spPr>
          <a:xfrm>
            <a:off x="551485" y="5448820"/>
            <a:ext cx="8773043" cy="87468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504153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52061" y="504177"/>
            <a:ext cx="3644462" cy="1093297"/>
          </a:xfrm>
        </p:spPr>
        <p:txBody>
          <a:bodyPr/>
          <a:lstStyle/>
          <a:p>
            <a:r>
              <a:rPr lang="de-DE" sz="4400" dirty="0">
                <a:solidFill>
                  <a:schemeClr val="accent1">
                    <a:lumMod val="50000"/>
                  </a:schemeClr>
                </a:solidFill>
              </a:rPr>
              <a:t>ACTIVE </a:t>
            </a:r>
            <a:r>
              <a:rPr lang="de-DE" sz="3200" dirty="0"/>
              <a:t/>
            </a:r>
            <a:br>
              <a:rPr lang="de-DE" sz="3200" dirty="0"/>
            </a:br>
            <a:r>
              <a:rPr lang="tr-TR" sz="3200" dirty="0" smtClean="0"/>
              <a:t>ORTAK ÜLKELER</a:t>
            </a:r>
            <a:endParaRPr lang="de-DE" sz="32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128F86-9DD0-4717-9910-F363AD73F237}" type="slidenum">
              <a:rPr lang="de-DE" smtClean="0"/>
              <a:pPr/>
              <a:t>2</a:t>
            </a:fld>
            <a:endParaRPr lang="de-DE" dirty="0"/>
          </a:p>
        </p:txBody>
      </p:sp>
      <p:grpSp>
        <p:nvGrpSpPr>
          <p:cNvPr id="174" name="Gruppieren 173"/>
          <p:cNvGrpSpPr>
            <a:grpSpLocks noChangeAspect="1"/>
          </p:cNvGrpSpPr>
          <p:nvPr/>
        </p:nvGrpSpPr>
        <p:grpSpPr>
          <a:xfrm>
            <a:off x="1619672" y="692696"/>
            <a:ext cx="6120680" cy="5787188"/>
            <a:chOff x="944563" y="-1588"/>
            <a:chExt cx="7254875" cy="6859588"/>
          </a:xfrm>
          <a:solidFill>
            <a:srgbClr val="FFCC00"/>
          </a:solidFill>
          <a:effectLst>
            <a:outerShdw blurRad="40005" dist="22860" dir="5400000" algn="ctr" rotWithShape="0">
              <a:schemeClr val="tx1">
                <a:alpha val="35000"/>
              </a:schemeClr>
            </a:outerShdw>
          </a:effectLst>
        </p:grpSpPr>
        <p:sp>
          <p:nvSpPr>
            <p:cNvPr id="175" name="Freeform 5"/>
            <p:cNvSpPr>
              <a:spLocks noEditPoints="1"/>
            </p:cNvSpPr>
            <p:nvPr/>
          </p:nvSpPr>
          <p:spPr bwMode="auto">
            <a:xfrm>
              <a:off x="5667375" y="4162425"/>
              <a:ext cx="1917700" cy="1274763"/>
            </a:xfrm>
            <a:custGeom>
              <a:avLst/>
              <a:gdLst/>
              <a:ahLst/>
              <a:cxnLst>
                <a:cxn ang="0">
                  <a:pos x="575" y="586"/>
                </a:cxn>
                <a:cxn ang="0">
                  <a:pos x="625" y="631"/>
                </a:cxn>
                <a:cxn ang="0">
                  <a:pos x="672" y="660"/>
                </a:cxn>
                <a:cxn ang="0">
                  <a:pos x="758" y="614"/>
                </a:cxn>
                <a:cxn ang="0">
                  <a:pos x="784" y="585"/>
                </a:cxn>
                <a:cxn ang="0">
                  <a:pos x="740" y="599"/>
                </a:cxn>
                <a:cxn ang="0">
                  <a:pos x="668" y="542"/>
                </a:cxn>
                <a:cxn ang="0">
                  <a:pos x="948" y="438"/>
                </a:cxn>
                <a:cxn ang="0">
                  <a:pos x="988" y="242"/>
                </a:cxn>
                <a:cxn ang="0">
                  <a:pos x="913" y="209"/>
                </a:cxn>
                <a:cxn ang="0">
                  <a:pos x="836" y="180"/>
                </a:cxn>
                <a:cxn ang="0">
                  <a:pos x="742" y="162"/>
                </a:cxn>
                <a:cxn ang="0">
                  <a:pos x="686" y="105"/>
                </a:cxn>
                <a:cxn ang="0">
                  <a:pos x="677" y="43"/>
                </a:cxn>
                <a:cxn ang="0">
                  <a:pos x="649" y="6"/>
                </a:cxn>
                <a:cxn ang="0">
                  <a:pos x="592" y="15"/>
                </a:cxn>
                <a:cxn ang="0">
                  <a:pos x="549" y="31"/>
                </a:cxn>
                <a:cxn ang="0">
                  <a:pos x="492" y="52"/>
                </a:cxn>
                <a:cxn ang="0">
                  <a:pos x="432" y="88"/>
                </a:cxn>
                <a:cxn ang="0">
                  <a:pos x="378" y="92"/>
                </a:cxn>
                <a:cxn ang="0">
                  <a:pos x="321" y="83"/>
                </a:cxn>
                <a:cxn ang="0">
                  <a:pos x="255" y="54"/>
                </a:cxn>
                <a:cxn ang="0">
                  <a:pos x="176" y="46"/>
                </a:cxn>
                <a:cxn ang="0">
                  <a:pos x="115" y="70"/>
                </a:cxn>
                <a:cxn ang="0">
                  <a:pos x="139" y="130"/>
                </a:cxn>
                <a:cxn ang="0">
                  <a:pos x="135" y="170"/>
                </a:cxn>
                <a:cxn ang="0">
                  <a:pos x="66" y="235"/>
                </a:cxn>
                <a:cxn ang="0">
                  <a:pos x="67" y="276"/>
                </a:cxn>
                <a:cxn ang="0">
                  <a:pos x="25" y="291"/>
                </a:cxn>
                <a:cxn ang="0">
                  <a:pos x="0" y="331"/>
                </a:cxn>
                <a:cxn ang="0">
                  <a:pos x="52" y="369"/>
                </a:cxn>
                <a:cxn ang="0">
                  <a:pos x="122" y="378"/>
                </a:cxn>
                <a:cxn ang="0">
                  <a:pos x="211" y="374"/>
                </a:cxn>
                <a:cxn ang="0">
                  <a:pos x="252" y="337"/>
                </a:cxn>
                <a:cxn ang="0">
                  <a:pos x="284" y="336"/>
                </a:cxn>
                <a:cxn ang="0">
                  <a:pos x="323" y="348"/>
                </a:cxn>
                <a:cxn ang="0">
                  <a:pos x="343" y="359"/>
                </a:cxn>
                <a:cxn ang="0">
                  <a:pos x="363" y="365"/>
                </a:cxn>
                <a:cxn ang="0">
                  <a:pos x="389" y="378"/>
                </a:cxn>
                <a:cxn ang="0">
                  <a:pos x="387" y="404"/>
                </a:cxn>
                <a:cxn ang="0">
                  <a:pos x="398" y="431"/>
                </a:cxn>
                <a:cxn ang="0">
                  <a:pos x="406" y="453"/>
                </a:cxn>
                <a:cxn ang="0">
                  <a:pos x="427" y="490"/>
                </a:cxn>
                <a:cxn ang="0">
                  <a:pos x="406" y="507"/>
                </a:cxn>
                <a:cxn ang="0">
                  <a:pos x="389" y="504"/>
                </a:cxn>
                <a:cxn ang="0">
                  <a:pos x="375" y="523"/>
                </a:cxn>
                <a:cxn ang="0">
                  <a:pos x="350" y="562"/>
                </a:cxn>
                <a:cxn ang="0">
                  <a:pos x="342" y="586"/>
                </a:cxn>
                <a:cxn ang="0">
                  <a:pos x="385" y="595"/>
                </a:cxn>
                <a:cxn ang="0">
                  <a:pos x="445" y="557"/>
                </a:cxn>
                <a:cxn ang="0">
                  <a:pos x="474" y="508"/>
                </a:cxn>
                <a:cxn ang="0">
                  <a:pos x="542" y="495"/>
                </a:cxn>
                <a:cxn ang="0">
                  <a:pos x="555" y="536"/>
                </a:cxn>
                <a:cxn ang="0">
                  <a:pos x="637" y="532"/>
                </a:cxn>
                <a:cxn ang="0">
                  <a:pos x="695" y="533"/>
                </a:cxn>
                <a:cxn ang="0">
                  <a:pos x="737" y="506"/>
                </a:cxn>
                <a:cxn ang="0">
                  <a:pos x="836" y="469"/>
                </a:cxn>
                <a:cxn ang="0">
                  <a:pos x="912" y="437"/>
                </a:cxn>
                <a:cxn ang="0">
                  <a:pos x="967" y="387"/>
                </a:cxn>
                <a:cxn ang="0">
                  <a:pos x="992" y="331"/>
                </a:cxn>
                <a:cxn ang="0">
                  <a:pos x="134" y="165"/>
                </a:cxn>
              </a:cxnLst>
              <a:rect l="0" t="0" r="r" b="b"/>
              <a:pathLst>
                <a:path w="1026" h="682">
                  <a:moveTo>
                    <a:pt x="641" y="535"/>
                  </a:moveTo>
                  <a:cubicBezTo>
                    <a:pt x="641" y="534"/>
                    <a:pt x="639" y="534"/>
                    <a:pt x="638" y="533"/>
                  </a:cubicBezTo>
                  <a:cubicBezTo>
                    <a:pt x="638" y="536"/>
                    <a:pt x="637" y="539"/>
                    <a:pt x="637" y="542"/>
                  </a:cubicBezTo>
                  <a:cubicBezTo>
                    <a:pt x="637" y="544"/>
                    <a:pt x="637" y="546"/>
                    <a:pt x="638" y="547"/>
                  </a:cubicBezTo>
                  <a:cubicBezTo>
                    <a:pt x="639" y="550"/>
                    <a:pt x="640" y="548"/>
                    <a:pt x="642" y="550"/>
                  </a:cubicBezTo>
                  <a:cubicBezTo>
                    <a:pt x="644" y="552"/>
                    <a:pt x="642" y="553"/>
                    <a:pt x="640" y="554"/>
                  </a:cubicBezTo>
                  <a:cubicBezTo>
                    <a:pt x="639" y="555"/>
                    <a:pt x="637" y="556"/>
                    <a:pt x="635" y="557"/>
                  </a:cubicBezTo>
                  <a:cubicBezTo>
                    <a:pt x="632" y="560"/>
                    <a:pt x="629" y="559"/>
                    <a:pt x="624" y="560"/>
                  </a:cubicBezTo>
                  <a:cubicBezTo>
                    <a:pt x="621" y="560"/>
                    <a:pt x="616" y="562"/>
                    <a:pt x="613" y="564"/>
                  </a:cubicBezTo>
                  <a:cubicBezTo>
                    <a:pt x="607" y="568"/>
                    <a:pt x="599" y="572"/>
                    <a:pt x="593" y="575"/>
                  </a:cubicBezTo>
                  <a:cubicBezTo>
                    <a:pt x="588" y="577"/>
                    <a:pt x="583" y="579"/>
                    <a:pt x="579" y="583"/>
                  </a:cubicBezTo>
                  <a:cubicBezTo>
                    <a:pt x="578" y="584"/>
                    <a:pt x="576" y="585"/>
                    <a:pt x="575" y="586"/>
                  </a:cubicBezTo>
                  <a:cubicBezTo>
                    <a:pt x="572" y="587"/>
                    <a:pt x="571" y="586"/>
                    <a:pt x="569" y="589"/>
                  </a:cubicBezTo>
                  <a:cubicBezTo>
                    <a:pt x="568" y="591"/>
                    <a:pt x="565" y="596"/>
                    <a:pt x="567" y="599"/>
                  </a:cubicBezTo>
                  <a:cubicBezTo>
                    <a:pt x="569" y="601"/>
                    <a:pt x="578" y="601"/>
                    <a:pt x="581" y="601"/>
                  </a:cubicBezTo>
                  <a:cubicBezTo>
                    <a:pt x="583" y="601"/>
                    <a:pt x="586" y="600"/>
                    <a:pt x="588" y="600"/>
                  </a:cubicBezTo>
                  <a:cubicBezTo>
                    <a:pt x="591" y="601"/>
                    <a:pt x="590" y="603"/>
                    <a:pt x="592" y="605"/>
                  </a:cubicBezTo>
                  <a:cubicBezTo>
                    <a:pt x="593" y="606"/>
                    <a:pt x="596" y="607"/>
                    <a:pt x="597" y="607"/>
                  </a:cubicBezTo>
                  <a:cubicBezTo>
                    <a:pt x="600" y="608"/>
                    <a:pt x="601" y="609"/>
                    <a:pt x="603" y="610"/>
                  </a:cubicBezTo>
                  <a:cubicBezTo>
                    <a:pt x="605" y="611"/>
                    <a:pt x="607" y="613"/>
                    <a:pt x="609" y="614"/>
                  </a:cubicBezTo>
                  <a:cubicBezTo>
                    <a:pt x="613" y="616"/>
                    <a:pt x="615" y="612"/>
                    <a:pt x="618" y="610"/>
                  </a:cubicBezTo>
                  <a:cubicBezTo>
                    <a:pt x="623" y="607"/>
                    <a:pt x="625" y="610"/>
                    <a:pt x="625" y="615"/>
                  </a:cubicBezTo>
                  <a:cubicBezTo>
                    <a:pt x="624" y="619"/>
                    <a:pt x="626" y="622"/>
                    <a:pt x="625" y="626"/>
                  </a:cubicBezTo>
                  <a:cubicBezTo>
                    <a:pt x="625" y="629"/>
                    <a:pt x="624" y="629"/>
                    <a:pt x="625" y="631"/>
                  </a:cubicBezTo>
                  <a:cubicBezTo>
                    <a:pt x="626" y="634"/>
                    <a:pt x="628" y="635"/>
                    <a:pt x="628" y="638"/>
                  </a:cubicBezTo>
                  <a:cubicBezTo>
                    <a:pt x="628" y="642"/>
                    <a:pt x="622" y="647"/>
                    <a:pt x="620" y="650"/>
                  </a:cubicBezTo>
                  <a:cubicBezTo>
                    <a:pt x="619" y="651"/>
                    <a:pt x="618" y="652"/>
                    <a:pt x="616" y="653"/>
                  </a:cubicBezTo>
                  <a:cubicBezTo>
                    <a:pt x="614" y="655"/>
                    <a:pt x="611" y="655"/>
                    <a:pt x="612" y="658"/>
                  </a:cubicBezTo>
                  <a:cubicBezTo>
                    <a:pt x="614" y="668"/>
                    <a:pt x="630" y="661"/>
                    <a:pt x="634" y="667"/>
                  </a:cubicBezTo>
                  <a:cubicBezTo>
                    <a:pt x="635" y="668"/>
                    <a:pt x="634" y="670"/>
                    <a:pt x="635" y="671"/>
                  </a:cubicBezTo>
                  <a:cubicBezTo>
                    <a:pt x="636" y="674"/>
                    <a:pt x="639" y="676"/>
                    <a:pt x="642" y="677"/>
                  </a:cubicBezTo>
                  <a:cubicBezTo>
                    <a:pt x="648" y="682"/>
                    <a:pt x="663" y="681"/>
                    <a:pt x="670" y="679"/>
                  </a:cubicBezTo>
                  <a:cubicBezTo>
                    <a:pt x="673" y="678"/>
                    <a:pt x="675" y="677"/>
                    <a:pt x="677" y="676"/>
                  </a:cubicBezTo>
                  <a:cubicBezTo>
                    <a:pt x="681" y="675"/>
                    <a:pt x="684" y="677"/>
                    <a:pt x="684" y="672"/>
                  </a:cubicBezTo>
                  <a:cubicBezTo>
                    <a:pt x="683" y="664"/>
                    <a:pt x="671" y="663"/>
                    <a:pt x="665" y="666"/>
                  </a:cubicBezTo>
                  <a:cubicBezTo>
                    <a:pt x="663" y="662"/>
                    <a:pt x="670" y="661"/>
                    <a:pt x="672" y="660"/>
                  </a:cubicBezTo>
                  <a:cubicBezTo>
                    <a:pt x="676" y="659"/>
                    <a:pt x="678" y="658"/>
                    <a:pt x="681" y="656"/>
                  </a:cubicBezTo>
                  <a:cubicBezTo>
                    <a:pt x="683" y="654"/>
                    <a:pt x="685" y="653"/>
                    <a:pt x="686" y="650"/>
                  </a:cubicBezTo>
                  <a:cubicBezTo>
                    <a:pt x="686" y="647"/>
                    <a:pt x="686" y="642"/>
                    <a:pt x="689" y="640"/>
                  </a:cubicBezTo>
                  <a:cubicBezTo>
                    <a:pt x="692" y="639"/>
                    <a:pt x="696" y="641"/>
                    <a:pt x="699" y="640"/>
                  </a:cubicBezTo>
                  <a:cubicBezTo>
                    <a:pt x="703" y="638"/>
                    <a:pt x="706" y="635"/>
                    <a:pt x="710" y="635"/>
                  </a:cubicBezTo>
                  <a:cubicBezTo>
                    <a:pt x="715" y="635"/>
                    <a:pt x="712" y="637"/>
                    <a:pt x="715" y="639"/>
                  </a:cubicBezTo>
                  <a:cubicBezTo>
                    <a:pt x="718" y="642"/>
                    <a:pt x="721" y="634"/>
                    <a:pt x="722" y="632"/>
                  </a:cubicBezTo>
                  <a:cubicBezTo>
                    <a:pt x="724" y="630"/>
                    <a:pt x="726" y="626"/>
                    <a:pt x="728" y="625"/>
                  </a:cubicBezTo>
                  <a:cubicBezTo>
                    <a:pt x="730" y="623"/>
                    <a:pt x="733" y="625"/>
                    <a:pt x="735" y="622"/>
                  </a:cubicBezTo>
                  <a:cubicBezTo>
                    <a:pt x="740" y="617"/>
                    <a:pt x="742" y="609"/>
                    <a:pt x="750" y="611"/>
                  </a:cubicBezTo>
                  <a:cubicBezTo>
                    <a:pt x="751" y="611"/>
                    <a:pt x="753" y="612"/>
                    <a:pt x="753" y="613"/>
                  </a:cubicBezTo>
                  <a:cubicBezTo>
                    <a:pt x="755" y="613"/>
                    <a:pt x="756" y="614"/>
                    <a:pt x="758" y="614"/>
                  </a:cubicBezTo>
                  <a:cubicBezTo>
                    <a:pt x="761" y="615"/>
                    <a:pt x="764" y="615"/>
                    <a:pt x="767" y="615"/>
                  </a:cubicBezTo>
                  <a:cubicBezTo>
                    <a:pt x="774" y="615"/>
                    <a:pt x="780" y="612"/>
                    <a:pt x="787" y="613"/>
                  </a:cubicBezTo>
                  <a:cubicBezTo>
                    <a:pt x="786" y="613"/>
                    <a:pt x="787" y="614"/>
                    <a:pt x="787" y="615"/>
                  </a:cubicBezTo>
                  <a:cubicBezTo>
                    <a:pt x="789" y="615"/>
                    <a:pt x="791" y="614"/>
                    <a:pt x="793" y="613"/>
                  </a:cubicBezTo>
                  <a:cubicBezTo>
                    <a:pt x="795" y="613"/>
                    <a:pt x="799" y="613"/>
                    <a:pt x="800" y="613"/>
                  </a:cubicBezTo>
                  <a:cubicBezTo>
                    <a:pt x="804" y="611"/>
                    <a:pt x="801" y="604"/>
                    <a:pt x="797" y="605"/>
                  </a:cubicBezTo>
                  <a:cubicBezTo>
                    <a:pt x="794" y="602"/>
                    <a:pt x="797" y="598"/>
                    <a:pt x="800" y="597"/>
                  </a:cubicBezTo>
                  <a:cubicBezTo>
                    <a:pt x="804" y="595"/>
                    <a:pt x="809" y="594"/>
                    <a:pt x="809" y="589"/>
                  </a:cubicBezTo>
                  <a:cubicBezTo>
                    <a:pt x="810" y="589"/>
                    <a:pt x="812" y="590"/>
                    <a:pt x="813" y="590"/>
                  </a:cubicBezTo>
                  <a:cubicBezTo>
                    <a:pt x="815" y="584"/>
                    <a:pt x="804" y="587"/>
                    <a:pt x="802" y="586"/>
                  </a:cubicBezTo>
                  <a:cubicBezTo>
                    <a:pt x="799" y="585"/>
                    <a:pt x="799" y="581"/>
                    <a:pt x="795" y="581"/>
                  </a:cubicBezTo>
                  <a:cubicBezTo>
                    <a:pt x="791" y="580"/>
                    <a:pt x="787" y="583"/>
                    <a:pt x="784" y="585"/>
                  </a:cubicBezTo>
                  <a:cubicBezTo>
                    <a:pt x="782" y="585"/>
                    <a:pt x="783" y="586"/>
                    <a:pt x="781" y="586"/>
                  </a:cubicBezTo>
                  <a:cubicBezTo>
                    <a:pt x="780" y="587"/>
                    <a:pt x="778" y="586"/>
                    <a:pt x="776" y="586"/>
                  </a:cubicBezTo>
                  <a:cubicBezTo>
                    <a:pt x="776" y="587"/>
                    <a:pt x="776" y="587"/>
                    <a:pt x="776" y="588"/>
                  </a:cubicBezTo>
                  <a:cubicBezTo>
                    <a:pt x="774" y="588"/>
                    <a:pt x="771" y="587"/>
                    <a:pt x="769" y="586"/>
                  </a:cubicBezTo>
                  <a:cubicBezTo>
                    <a:pt x="767" y="584"/>
                    <a:pt x="767" y="582"/>
                    <a:pt x="764" y="582"/>
                  </a:cubicBezTo>
                  <a:cubicBezTo>
                    <a:pt x="761" y="581"/>
                    <a:pt x="760" y="585"/>
                    <a:pt x="758" y="587"/>
                  </a:cubicBezTo>
                  <a:cubicBezTo>
                    <a:pt x="757" y="588"/>
                    <a:pt x="756" y="588"/>
                    <a:pt x="755" y="589"/>
                  </a:cubicBezTo>
                  <a:cubicBezTo>
                    <a:pt x="754" y="589"/>
                    <a:pt x="753" y="589"/>
                    <a:pt x="753" y="590"/>
                  </a:cubicBezTo>
                  <a:cubicBezTo>
                    <a:pt x="753" y="590"/>
                    <a:pt x="752" y="591"/>
                    <a:pt x="752" y="591"/>
                  </a:cubicBezTo>
                  <a:cubicBezTo>
                    <a:pt x="751" y="592"/>
                    <a:pt x="750" y="592"/>
                    <a:pt x="749" y="593"/>
                  </a:cubicBezTo>
                  <a:cubicBezTo>
                    <a:pt x="746" y="594"/>
                    <a:pt x="747" y="593"/>
                    <a:pt x="745" y="595"/>
                  </a:cubicBezTo>
                  <a:cubicBezTo>
                    <a:pt x="743" y="597"/>
                    <a:pt x="743" y="598"/>
                    <a:pt x="740" y="599"/>
                  </a:cubicBezTo>
                  <a:cubicBezTo>
                    <a:pt x="734" y="600"/>
                    <a:pt x="730" y="596"/>
                    <a:pt x="726" y="592"/>
                  </a:cubicBezTo>
                  <a:cubicBezTo>
                    <a:pt x="721" y="588"/>
                    <a:pt x="716" y="584"/>
                    <a:pt x="709" y="583"/>
                  </a:cubicBezTo>
                  <a:cubicBezTo>
                    <a:pt x="710" y="582"/>
                    <a:pt x="714" y="582"/>
                    <a:pt x="716" y="579"/>
                  </a:cubicBezTo>
                  <a:cubicBezTo>
                    <a:pt x="719" y="574"/>
                    <a:pt x="713" y="573"/>
                    <a:pt x="709" y="573"/>
                  </a:cubicBezTo>
                  <a:cubicBezTo>
                    <a:pt x="709" y="571"/>
                    <a:pt x="710" y="567"/>
                    <a:pt x="709" y="565"/>
                  </a:cubicBezTo>
                  <a:cubicBezTo>
                    <a:pt x="706" y="562"/>
                    <a:pt x="699" y="563"/>
                    <a:pt x="695" y="563"/>
                  </a:cubicBezTo>
                  <a:cubicBezTo>
                    <a:pt x="695" y="560"/>
                    <a:pt x="695" y="556"/>
                    <a:pt x="694" y="554"/>
                  </a:cubicBezTo>
                  <a:cubicBezTo>
                    <a:pt x="694" y="551"/>
                    <a:pt x="694" y="551"/>
                    <a:pt x="690" y="551"/>
                  </a:cubicBezTo>
                  <a:cubicBezTo>
                    <a:pt x="687" y="551"/>
                    <a:pt x="686" y="552"/>
                    <a:pt x="684" y="554"/>
                  </a:cubicBezTo>
                  <a:cubicBezTo>
                    <a:pt x="683" y="552"/>
                    <a:pt x="680" y="548"/>
                    <a:pt x="678" y="546"/>
                  </a:cubicBezTo>
                  <a:cubicBezTo>
                    <a:pt x="677" y="544"/>
                    <a:pt x="678" y="543"/>
                    <a:pt x="676" y="542"/>
                  </a:cubicBezTo>
                  <a:cubicBezTo>
                    <a:pt x="673" y="540"/>
                    <a:pt x="670" y="542"/>
                    <a:pt x="668" y="542"/>
                  </a:cubicBezTo>
                  <a:cubicBezTo>
                    <a:pt x="665" y="542"/>
                    <a:pt x="662" y="541"/>
                    <a:pt x="660" y="539"/>
                  </a:cubicBezTo>
                  <a:cubicBezTo>
                    <a:pt x="658" y="539"/>
                    <a:pt x="655" y="536"/>
                    <a:pt x="654" y="535"/>
                  </a:cubicBezTo>
                  <a:cubicBezTo>
                    <a:pt x="651" y="535"/>
                    <a:pt x="650" y="537"/>
                    <a:pt x="648" y="538"/>
                  </a:cubicBezTo>
                  <a:cubicBezTo>
                    <a:pt x="646" y="538"/>
                    <a:pt x="644" y="537"/>
                    <a:pt x="641" y="535"/>
                  </a:cubicBezTo>
                  <a:moveTo>
                    <a:pt x="638" y="532"/>
                  </a:moveTo>
                  <a:cubicBezTo>
                    <a:pt x="638" y="532"/>
                    <a:pt x="637" y="532"/>
                    <a:pt x="637" y="532"/>
                  </a:cubicBezTo>
                  <a:cubicBezTo>
                    <a:pt x="637" y="532"/>
                    <a:pt x="638" y="533"/>
                    <a:pt x="638" y="533"/>
                  </a:cubicBezTo>
                  <a:cubicBezTo>
                    <a:pt x="638" y="532"/>
                    <a:pt x="638" y="532"/>
                    <a:pt x="638" y="532"/>
                  </a:cubicBezTo>
                  <a:moveTo>
                    <a:pt x="931" y="441"/>
                  </a:moveTo>
                  <a:cubicBezTo>
                    <a:pt x="929" y="441"/>
                    <a:pt x="928" y="441"/>
                    <a:pt x="927" y="442"/>
                  </a:cubicBezTo>
                  <a:cubicBezTo>
                    <a:pt x="928" y="443"/>
                    <a:pt x="930" y="443"/>
                    <a:pt x="931" y="443"/>
                  </a:cubicBezTo>
                  <a:cubicBezTo>
                    <a:pt x="937" y="443"/>
                    <a:pt x="942" y="442"/>
                    <a:pt x="948" y="438"/>
                  </a:cubicBezTo>
                  <a:cubicBezTo>
                    <a:pt x="944" y="439"/>
                    <a:pt x="942" y="442"/>
                    <a:pt x="939" y="442"/>
                  </a:cubicBezTo>
                  <a:cubicBezTo>
                    <a:pt x="936" y="442"/>
                    <a:pt x="934" y="441"/>
                    <a:pt x="931" y="441"/>
                  </a:cubicBezTo>
                  <a:moveTo>
                    <a:pt x="1024" y="264"/>
                  </a:moveTo>
                  <a:cubicBezTo>
                    <a:pt x="1021" y="260"/>
                    <a:pt x="1014" y="262"/>
                    <a:pt x="1010" y="261"/>
                  </a:cubicBezTo>
                  <a:cubicBezTo>
                    <a:pt x="1010" y="260"/>
                    <a:pt x="1010" y="258"/>
                    <a:pt x="1009" y="257"/>
                  </a:cubicBezTo>
                  <a:cubicBezTo>
                    <a:pt x="1009" y="255"/>
                    <a:pt x="1007" y="255"/>
                    <a:pt x="1008" y="252"/>
                  </a:cubicBezTo>
                  <a:cubicBezTo>
                    <a:pt x="1008" y="250"/>
                    <a:pt x="1009" y="248"/>
                    <a:pt x="1009" y="247"/>
                  </a:cubicBezTo>
                  <a:cubicBezTo>
                    <a:pt x="1010" y="245"/>
                    <a:pt x="1012" y="245"/>
                    <a:pt x="1013" y="244"/>
                  </a:cubicBezTo>
                  <a:cubicBezTo>
                    <a:pt x="1013" y="243"/>
                    <a:pt x="1014" y="240"/>
                    <a:pt x="1013" y="239"/>
                  </a:cubicBezTo>
                  <a:cubicBezTo>
                    <a:pt x="1012" y="238"/>
                    <a:pt x="1008" y="239"/>
                    <a:pt x="1007" y="239"/>
                  </a:cubicBezTo>
                  <a:cubicBezTo>
                    <a:pt x="1004" y="240"/>
                    <a:pt x="1003" y="243"/>
                    <a:pt x="1001" y="244"/>
                  </a:cubicBezTo>
                  <a:cubicBezTo>
                    <a:pt x="997" y="245"/>
                    <a:pt x="991" y="244"/>
                    <a:pt x="988" y="242"/>
                  </a:cubicBezTo>
                  <a:cubicBezTo>
                    <a:pt x="986" y="241"/>
                    <a:pt x="985" y="238"/>
                    <a:pt x="984" y="236"/>
                  </a:cubicBezTo>
                  <a:cubicBezTo>
                    <a:pt x="983" y="235"/>
                    <a:pt x="983" y="232"/>
                    <a:pt x="982" y="231"/>
                  </a:cubicBezTo>
                  <a:cubicBezTo>
                    <a:pt x="980" y="229"/>
                    <a:pt x="975" y="229"/>
                    <a:pt x="972" y="229"/>
                  </a:cubicBezTo>
                  <a:cubicBezTo>
                    <a:pt x="970" y="229"/>
                    <a:pt x="968" y="230"/>
                    <a:pt x="966" y="229"/>
                  </a:cubicBezTo>
                  <a:cubicBezTo>
                    <a:pt x="964" y="229"/>
                    <a:pt x="962" y="226"/>
                    <a:pt x="960" y="225"/>
                  </a:cubicBezTo>
                  <a:cubicBezTo>
                    <a:pt x="957" y="224"/>
                    <a:pt x="953" y="220"/>
                    <a:pt x="950" y="221"/>
                  </a:cubicBezTo>
                  <a:cubicBezTo>
                    <a:pt x="950" y="227"/>
                    <a:pt x="943" y="223"/>
                    <a:pt x="941" y="221"/>
                  </a:cubicBezTo>
                  <a:cubicBezTo>
                    <a:pt x="939" y="219"/>
                    <a:pt x="937" y="219"/>
                    <a:pt x="934" y="217"/>
                  </a:cubicBezTo>
                  <a:cubicBezTo>
                    <a:pt x="929" y="215"/>
                    <a:pt x="931" y="215"/>
                    <a:pt x="930" y="211"/>
                  </a:cubicBezTo>
                  <a:cubicBezTo>
                    <a:pt x="929" y="208"/>
                    <a:pt x="928" y="207"/>
                    <a:pt x="925" y="208"/>
                  </a:cubicBezTo>
                  <a:cubicBezTo>
                    <a:pt x="923" y="209"/>
                    <a:pt x="923" y="212"/>
                    <a:pt x="921" y="213"/>
                  </a:cubicBezTo>
                  <a:cubicBezTo>
                    <a:pt x="917" y="215"/>
                    <a:pt x="916" y="211"/>
                    <a:pt x="913" y="209"/>
                  </a:cubicBezTo>
                  <a:cubicBezTo>
                    <a:pt x="911" y="208"/>
                    <a:pt x="909" y="209"/>
                    <a:pt x="907" y="208"/>
                  </a:cubicBezTo>
                  <a:cubicBezTo>
                    <a:pt x="906" y="206"/>
                    <a:pt x="907" y="204"/>
                    <a:pt x="907" y="202"/>
                  </a:cubicBezTo>
                  <a:cubicBezTo>
                    <a:pt x="898" y="201"/>
                    <a:pt x="904" y="206"/>
                    <a:pt x="901" y="210"/>
                  </a:cubicBezTo>
                  <a:cubicBezTo>
                    <a:pt x="899" y="212"/>
                    <a:pt x="894" y="213"/>
                    <a:pt x="891" y="212"/>
                  </a:cubicBezTo>
                  <a:cubicBezTo>
                    <a:pt x="890" y="212"/>
                    <a:pt x="889" y="209"/>
                    <a:pt x="887" y="208"/>
                  </a:cubicBezTo>
                  <a:cubicBezTo>
                    <a:pt x="885" y="207"/>
                    <a:pt x="882" y="206"/>
                    <a:pt x="879" y="204"/>
                  </a:cubicBezTo>
                  <a:cubicBezTo>
                    <a:pt x="874" y="202"/>
                    <a:pt x="873" y="201"/>
                    <a:pt x="872" y="195"/>
                  </a:cubicBezTo>
                  <a:cubicBezTo>
                    <a:pt x="871" y="190"/>
                    <a:pt x="871" y="177"/>
                    <a:pt x="862" y="182"/>
                  </a:cubicBezTo>
                  <a:cubicBezTo>
                    <a:pt x="863" y="177"/>
                    <a:pt x="859" y="172"/>
                    <a:pt x="855" y="172"/>
                  </a:cubicBezTo>
                  <a:cubicBezTo>
                    <a:pt x="853" y="173"/>
                    <a:pt x="853" y="174"/>
                    <a:pt x="851" y="175"/>
                  </a:cubicBezTo>
                  <a:cubicBezTo>
                    <a:pt x="849" y="176"/>
                    <a:pt x="850" y="177"/>
                    <a:pt x="847" y="177"/>
                  </a:cubicBezTo>
                  <a:cubicBezTo>
                    <a:pt x="843" y="178"/>
                    <a:pt x="840" y="179"/>
                    <a:pt x="836" y="180"/>
                  </a:cubicBezTo>
                  <a:cubicBezTo>
                    <a:pt x="834" y="180"/>
                    <a:pt x="832" y="181"/>
                    <a:pt x="829" y="181"/>
                  </a:cubicBezTo>
                  <a:cubicBezTo>
                    <a:pt x="825" y="182"/>
                    <a:pt x="821" y="184"/>
                    <a:pt x="817" y="187"/>
                  </a:cubicBezTo>
                  <a:cubicBezTo>
                    <a:pt x="815" y="188"/>
                    <a:pt x="815" y="188"/>
                    <a:pt x="814" y="191"/>
                  </a:cubicBezTo>
                  <a:cubicBezTo>
                    <a:pt x="813" y="195"/>
                    <a:pt x="812" y="197"/>
                    <a:pt x="808" y="194"/>
                  </a:cubicBezTo>
                  <a:cubicBezTo>
                    <a:pt x="804" y="192"/>
                    <a:pt x="806" y="182"/>
                    <a:pt x="799" y="185"/>
                  </a:cubicBezTo>
                  <a:cubicBezTo>
                    <a:pt x="796" y="186"/>
                    <a:pt x="797" y="187"/>
                    <a:pt x="794" y="186"/>
                  </a:cubicBezTo>
                  <a:cubicBezTo>
                    <a:pt x="792" y="185"/>
                    <a:pt x="791" y="182"/>
                    <a:pt x="790" y="180"/>
                  </a:cubicBezTo>
                  <a:cubicBezTo>
                    <a:pt x="788" y="179"/>
                    <a:pt x="786" y="178"/>
                    <a:pt x="784" y="178"/>
                  </a:cubicBezTo>
                  <a:cubicBezTo>
                    <a:pt x="780" y="177"/>
                    <a:pt x="777" y="175"/>
                    <a:pt x="773" y="175"/>
                  </a:cubicBezTo>
                  <a:cubicBezTo>
                    <a:pt x="767" y="175"/>
                    <a:pt x="762" y="176"/>
                    <a:pt x="762" y="183"/>
                  </a:cubicBezTo>
                  <a:cubicBezTo>
                    <a:pt x="758" y="184"/>
                    <a:pt x="753" y="175"/>
                    <a:pt x="751" y="173"/>
                  </a:cubicBezTo>
                  <a:cubicBezTo>
                    <a:pt x="747" y="170"/>
                    <a:pt x="741" y="167"/>
                    <a:pt x="742" y="162"/>
                  </a:cubicBezTo>
                  <a:cubicBezTo>
                    <a:pt x="743" y="157"/>
                    <a:pt x="749" y="156"/>
                    <a:pt x="749" y="152"/>
                  </a:cubicBezTo>
                  <a:cubicBezTo>
                    <a:pt x="749" y="151"/>
                    <a:pt x="747" y="148"/>
                    <a:pt x="747" y="147"/>
                  </a:cubicBezTo>
                  <a:cubicBezTo>
                    <a:pt x="746" y="143"/>
                    <a:pt x="745" y="139"/>
                    <a:pt x="744" y="135"/>
                  </a:cubicBezTo>
                  <a:cubicBezTo>
                    <a:pt x="744" y="132"/>
                    <a:pt x="742" y="130"/>
                    <a:pt x="742" y="127"/>
                  </a:cubicBezTo>
                  <a:cubicBezTo>
                    <a:pt x="742" y="125"/>
                    <a:pt x="742" y="124"/>
                    <a:pt x="744" y="123"/>
                  </a:cubicBezTo>
                  <a:cubicBezTo>
                    <a:pt x="740" y="122"/>
                    <a:pt x="736" y="122"/>
                    <a:pt x="733" y="121"/>
                  </a:cubicBezTo>
                  <a:cubicBezTo>
                    <a:pt x="730" y="120"/>
                    <a:pt x="730" y="116"/>
                    <a:pt x="729" y="113"/>
                  </a:cubicBezTo>
                  <a:cubicBezTo>
                    <a:pt x="728" y="110"/>
                    <a:pt x="726" y="108"/>
                    <a:pt x="726" y="106"/>
                  </a:cubicBezTo>
                  <a:cubicBezTo>
                    <a:pt x="721" y="104"/>
                    <a:pt x="720" y="111"/>
                    <a:pt x="716" y="111"/>
                  </a:cubicBezTo>
                  <a:cubicBezTo>
                    <a:pt x="712" y="111"/>
                    <a:pt x="707" y="110"/>
                    <a:pt x="703" y="108"/>
                  </a:cubicBezTo>
                  <a:cubicBezTo>
                    <a:pt x="699" y="106"/>
                    <a:pt x="695" y="103"/>
                    <a:pt x="690" y="104"/>
                  </a:cubicBezTo>
                  <a:cubicBezTo>
                    <a:pt x="689" y="104"/>
                    <a:pt x="688" y="105"/>
                    <a:pt x="686" y="105"/>
                  </a:cubicBezTo>
                  <a:cubicBezTo>
                    <a:pt x="683" y="105"/>
                    <a:pt x="680" y="106"/>
                    <a:pt x="677" y="105"/>
                  </a:cubicBezTo>
                  <a:cubicBezTo>
                    <a:pt x="677" y="103"/>
                    <a:pt x="677" y="99"/>
                    <a:pt x="680" y="99"/>
                  </a:cubicBezTo>
                  <a:cubicBezTo>
                    <a:pt x="680" y="96"/>
                    <a:pt x="671" y="94"/>
                    <a:pt x="672" y="89"/>
                  </a:cubicBezTo>
                  <a:cubicBezTo>
                    <a:pt x="673" y="86"/>
                    <a:pt x="678" y="88"/>
                    <a:pt x="680" y="85"/>
                  </a:cubicBezTo>
                  <a:cubicBezTo>
                    <a:pt x="682" y="83"/>
                    <a:pt x="681" y="77"/>
                    <a:pt x="681" y="74"/>
                  </a:cubicBezTo>
                  <a:cubicBezTo>
                    <a:pt x="678" y="74"/>
                    <a:pt x="672" y="72"/>
                    <a:pt x="670" y="70"/>
                  </a:cubicBezTo>
                  <a:cubicBezTo>
                    <a:pt x="667" y="67"/>
                    <a:pt x="669" y="65"/>
                    <a:pt x="673" y="65"/>
                  </a:cubicBezTo>
                  <a:cubicBezTo>
                    <a:pt x="677" y="64"/>
                    <a:pt x="680" y="65"/>
                    <a:pt x="684" y="65"/>
                  </a:cubicBezTo>
                  <a:cubicBezTo>
                    <a:pt x="687" y="65"/>
                    <a:pt x="687" y="65"/>
                    <a:pt x="690" y="62"/>
                  </a:cubicBezTo>
                  <a:cubicBezTo>
                    <a:pt x="692" y="60"/>
                    <a:pt x="691" y="45"/>
                    <a:pt x="686" y="45"/>
                  </a:cubicBezTo>
                  <a:cubicBezTo>
                    <a:pt x="684" y="45"/>
                    <a:pt x="682" y="45"/>
                    <a:pt x="680" y="45"/>
                  </a:cubicBezTo>
                  <a:cubicBezTo>
                    <a:pt x="678" y="44"/>
                    <a:pt x="678" y="45"/>
                    <a:pt x="677" y="43"/>
                  </a:cubicBezTo>
                  <a:cubicBezTo>
                    <a:pt x="676" y="41"/>
                    <a:pt x="676" y="37"/>
                    <a:pt x="673" y="37"/>
                  </a:cubicBezTo>
                  <a:cubicBezTo>
                    <a:pt x="676" y="44"/>
                    <a:pt x="676" y="44"/>
                    <a:pt x="676" y="44"/>
                  </a:cubicBezTo>
                  <a:cubicBezTo>
                    <a:pt x="676" y="44"/>
                    <a:pt x="676" y="45"/>
                    <a:pt x="676" y="45"/>
                  </a:cubicBezTo>
                  <a:cubicBezTo>
                    <a:pt x="676" y="44"/>
                    <a:pt x="676" y="44"/>
                    <a:pt x="676" y="44"/>
                  </a:cubicBezTo>
                  <a:cubicBezTo>
                    <a:pt x="675" y="42"/>
                    <a:pt x="673" y="41"/>
                    <a:pt x="672" y="40"/>
                  </a:cubicBezTo>
                  <a:cubicBezTo>
                    <a:pt x="672" y="39"/>
                    <a:pt x="668" y="36"/>
                    <a:pt x="668" y="35"/>
                  </a:cubicBezTo>
                  <a:cubicBezTo>
                    <a:pt x="666" y="32"/>
                    <a:pt x="668" y="31"/>
                    <a:pt x="669" y="29"/>
                  </a:cubicBezTo>
                  <a:cubicBezTo>
                    <a:pt x="670" y="27"/>
                    <a:pt x="671" y="26"/>
                    <a:pt x="671" y="23"/>
                  </a:cubicBezTo>
                  <a:cubicBezTo>
                    <a:pt x="670" y="19"/>
                    <a:pt x="668" y="21"/>
                    <a:pt x="666" y="19"/>
                  </a:cubicBezTo>
                  <a:cubicBezTo>
                    <a:pt x="665" y="18"/>
                    <a:pt x="664" y="18"/>
                    <a:pt x="664" y="17"/>
                  </a:cubicBezTo>
                  <a:cubicBezTo>
                    <a:pt x="662" y="13"/>
                    <a:pt x="662" y="10"/>
                    <a:pt x="658" y="7"/>
                  </a:cubicBezTo>
                  <a:cubicBezTo>
                    <a:pt x="655" y="4"/>
                    <a:pt x="652" y="0"/>
                    <a:pt x="649" y="6"/>
                  </a:cubicBezTo>
                  <a:cubicBezTo>
                    <a:pt x="646" y="12"/>
                    <a:pt x="647" y="15"/>
                    <a:pt x="639" y="14"/>
                  </a:cubicBezTo>
                  <a:cubicBezTo>
                    <a:pt x="639" y="10"/>
                    <a:pt x="639" y="10"/>
                    <a:pt x="636" y="9"/>
                  </a:cubicBezTo>
                  <a:cubicBezTo>
                    <a:pt x="634" y="8"/>
                    <a:pt x="632" y="8"/>
                    <a:pt x="630" y="8"/>
                  </a:cubicBezTo>
                  <a:cubicBezTo>
                    <a:pt x="629" y="9"/>
                    <a:pt x="629" y="10"/>
                    <a:pt x="628" y="11"/>
                  </a:cubicBezTo>
                  <a:cubicBezTo>
                    <a:pt x="627" y="11"/>
                    <a:pt x="625" y="11"/>
                    <a:pt x="624" y="11"/>
                  </a:cubicBezTo>
                  <a:cubicBezTo>
                    <a:pt x="621" y="11"/>
                    <a:pt x="618" y="10"/>
                    <a:pt x="615" y="11"/>
                  </a:cubicBezTo>
                  <a:cubicBezTo>
                    <a:pt x="615" y="11"/>
                    <a:pt x="612" y="14"/>
                    <a:pt x="612" y="14"/>
                  </a:cubicBezTo>
                  <a:cubicBezTo>
                    <a:pt x="612" y="14"/>
                    <a:pt x="610" y="16"/>
                    <a:pt x="609" y="17"/>
                  </a:cubicBezTo>
                  <a:cubicBezTo>
                    <a:pt x="608" y="18"/>
                    <a:pt x="606" y="18"/>
                    <a:pt x="603" y="17"/>
                  </a:cubicBezTo>
                  <a:cubicBezTo>
                    <a:pt x="601" y="17"/>
                    <a:pt x="600" y="16"/>
                    <a:pt x="598" y="16"/>
                  </a:cubicBezTo>
                  <a:cubicBezTo>
                    <a:pt x="596" y="15"/>
                    <a:pt x="595" y="15"/>
                    <a:pt x="594" y="15"/>
                  </a:cubicBezTo>
                  <a:cubicBezTo>
                    <a:pt x="593" y="15"/>
                    <a:pt x="592" y="15"/>
                    <a:pt x="592" y="15"/>
                  </a:cubicBezTo>
                  <a:cubicBezTo>
                    <a:pt x="591" y="15"/>
                    <a:pt x="590" y="14"/>
                    <a:pt x="590" y="13"/>
                  </a:cubicBezTo>
                  <a:cubicBezTo>
                    <a:pt x="589" y="12"/>
                    <a:pt x="589" y="11"/>
                    <a:pt x="587" y="10"/>
                  </a:cubicBezTo>
                  <a:cubicBezTo>
                    <a:pt x="586" y="9"/>
                    <a:pt x="585" y="9"/>
                    <a:pt x="584" y="9"/>
                  </a:cubicBezTo>
                  <a:cubicBezTo>
                    <a:pt x="582" y="8"/>
                    <a:pt x="584" y="7"/>
                    <a:pt x="582" y="7"/>
                  </a:cubicBezTo>
                  <a:cubicBezTo>
                    <a:pt x="582" y="7"/>
                    <a:pt x="579" y="10"/>
                    <a:pt x="579" y="9"/>
                  </a:cubicBezTo>
                  <a:cubicBezTo>
                    <a:pt x="575" y="14"/>
                    <a:pt x="577" y="17"/>
                    <a:pt x="576" y="23"/>
                  </a:cubicBezTo>
                  <a:cubicBezTo>
                    <a:pt x="576" y="24"/>
                    <a:pt x="575" y="28"/>
                    <a:pt x="574" y="29"/>
                  </a:cubicBezTo>
                  <a:cubicBezTo>
                    <a:pt x="573" y="30"/>
                    <a:pt x="570" y="30"/>
                    <a:pt x="569" y="31"/>
                  </a:cubicBezTo>
                  <a:cubicBezTo>
                    <a:pt x="567" y="33"/>
                    <a:pt x="566" y="35"/>
                    <a:pt x="564" y="36"/>
                  </a:cubicBezTo>
                  <a:cubicBezTo>
                    <a:pt x="561" y="36"/>
                    <a:pt x="554" y="36"/>
                    <a:pt x="552" y="34"/>
                  </a:cubicBezTo>
                  <a:cubicBezTo>
                    <a:pt x="550" y="31"/>
                    <a:pt x="552" y="30"/>
                    <a:pt x="549" y="29"/>
                  </a:cubicBezTo>
                  <a:cubicBezTo>
                    <a:pt x="549" y="30"/>
                    <a:pt x="549" y="30"/>
                    <a:pt x="549" y="31"/>
                  </a:cubicBezTo>
                  <a:cubicBezTo>
                    <a:pt x="548" y="33"/>
                    <a:pt x="545" y="31"/>
                    <a:pt x="543" y="30"/>
                  </a:cubicBezTo>
                  <a:cubicBezTo>
                    <a:pt x="537" y="29"/>
                    <a:pt x="530" y="27"/>
                    <a:pt x="523" y="27"/>
                  </a:cubicBezTo>
                  <a:cubicBezTo>
                    <a:pt x="521" y="27"/>
                    <a:pt x="521" y="27"/>
                    <a:pt x="520" y="29"/>
                  </a:cubicBezTo>
                  <a:cubicBezTo>
                    <a:pt x="519" y="31"/>
                    <a:pt x="517" y="34"/>
                    <a:pt x="516" y="35"/>
                  </a:cubicBezTo>
                  <a:cubicBezTo>
                    <a:pt x="514" y="35"/>
                    <a:pt x="510" y="36"/>
                    <a:pt x="508" y="35"/>
                  </a:cubicBezTo>
                  <a:cubicBezTo>
                    <a:pt x="506" y="34"/>
                    <a:pt x="507" y="34"/>
                    <a:pt x="506" y="33"/>
                  </a:cubicBezTo>
                  <a:cubicBezTo>
                    <a:pt x="505" y="32"/>
                    <a:pt x="504" y="29"/>
                    <a:pt x="502" y="31"/>
                  </a:cubicBezTo>
                  <a:cubicBezTo>
                    <a:pt x="501" y="32"/>
                    <a:pt x="502" y="35"/>
                    <a:pt x="502" y="36"/>
                  </a:cubicBezTo>
                  <a:cubicBezTo>
                    <a:pt x="502" y="38"/>
                    <a:pt x="501" y="40"/>
                    <a:pt x="500" y="42"/>
                  </a:cubicBezTo>
                  <a:cubicBezTo>
                    <a:pt x="499" y="42"/>
                    <a:pt x="499" y="42"/>
                    <a:pt x="498" y="43"/>
                  </a:cubicBezTo>
                  <a:cubicBezTo>
                    <a:pt x="497" y="44"/>
                    <a:pt x="497" y="45"/>
                    <a:pt x="496" y="46"/>
                  </a:cubicBezTo>
                  <a:cubicBezTo>
                    <a:pt x="495" y="48"/>
                    <a:pt x="493" y="51"/>
                    <a:pt x="492" y="52"/>
                  </a:cubicBezTo>
                  <a:cubicBezTo>
                    <a:pt x="491" y="53"/>
                    <a:pt x="490" y="53"/>
                    <a:pt x="490" y="54"/>
                  </a:cubicBezTo>
                  <a:cubicBezTo>
                    <a:pt x="488" y="55"/>
                    <a:pt x="488" y="56"/>
                    <a:pt x="487" y="58"/>
                  </a:cubicBezTo>
                  <a:cubicBezTo>
                    <a:pt x="485" y="61"/>
                    <a:pt x="483" y="64"/>
                    <a:pt x="481" y="67"/>
                  </a:cubicBezTo>
                  <a:cubicBezTo>
                    <a:pt x="476" y="75"/>
                    <a:pt x="478" y="84"/>
                    <a:pt x="480" y="92"/>
                  </a:cubicBezTo>
                  <a:cubicBezTo>
                    <a:pt x="481" y="95"/>
                    <a:pt x="483" y="98"/>
                    <a:pt x="482" y="101"/>
                  </a:cubicBezTo>
                  <a:cubicBezTo>
                    <a:pt x="481" y="103"/>
                    <a:pt x="479" y="106"/>
                    <a:pt x="476" y="105"/>
                  </a:cubicBezTo>
                  <a:cubicBezTo>
                    <a:pt x="474" y="105"/>
                    <a:pt x="473" y="104"/>
                    <a:pt x="472" y="103"/>
                  </a:cubicBezTo>
                  <a:cubicBezTo>
                    <a:pt x="470" y="101"/>
                    <a:pt x="468" y="99"/>
                    <a:pt x="466" y="97"/>
                  </a:cubicBezTo>
                  <a:cubicBezTo>
                    <a:pt x="464" y="94"/>
                    <a:pt x="461" y="94"/>
                    <a:pt x="459" y="92"/>
                  </a:cubicBezTo>
                  <a:cubicBezTo>
                    <a:pt x="457" y="91"/>
                    <a:pt x="456" y="86"/>
                    <a:pt x="453" y="85"/>
                  </a:cubicBezTo>
                  <a:cubicBezTo>
                    <a:pt x="450" y="83"/>
                    <a:pt x="446" y="87"/>
                    <a:pt x="442" y="88"/>
                  </a:cubicBezTo>
                  <a:cubicBezTo>
                    <a:pt x="439" y="88"/>
                    <a:pt x="435" y="88"/>
                    <a:pt x="432" y="88"/>
                  </a:cubicBezTo>
                  <a:cubicBezTo>
                    <a:pt x="432" y="85"/>
                    <a:pt x="431" y="82"/>
                    <a:pt x="428" y="81"/>
                  </a:cubicBezTo>
                  <a:cubicBezTo>
                    <a:pt x="424" y="79"/>
                    <a:pt x="419" y="82"/>
                    <a:pt x="418" y="87"/>
                  </a:cubicBezTo>
                  <a:cubicBezTo>
                    <a:pt x="418" y="89"/>
                    <a:pt x="418" y="90"/>
                    <a:pt x="417" y="92"/>
                  </a:cubicBezTo>
                  <a:cubicBezTo>
                    <a:pt x="416" y="93"/>
                    <a:pt x="416" y="94"/>
                    <a:pt x="414" y="95"/>
                  </a:cubicBezTo>
                  <a:cubicBezTo>
                    <a:pt x="412" y="95"/>
                    <a:pt x="409" y="94"/>
                    <a:pt x="408" y="93"/>
                  </a:cubicBezTo>
                  <a:cubicBezTo>
                    <a:pt x="405" y="90"/>
                    <a:pt x="403" y="83"/>
                    <a:pt x="403" y="79"/>
                  </a:cubicBezTo>
                  <a:cubicBezTo>
                    <a:pt x="402" y="76"/>
                    <a:pt x="400" y="71"/>
                    <a:pt x="395" y="73"/>
                  </a:cubicBezTo>
                  <a:cubicBezTo>
                    <a:pt x="393" y="74"/>
                    <a:pt x="393" y="76"/>
                    <a:pt x="392" y="77"/>
                  </a:cubicBezTo>
                  <a:cubicBezTo>
                    <a:pt x="391" y="79"/>
                    <a:pt x="389" y="80"/>
                    <a:pt x="387" y="80"/>
                  </a:cubicBezTo>
                  <a:cubicBezTo>
                    <a:pt x="385" y="81"/>
                    <a:pt x="384" y="81"/>
                    <a:pt x="382" y="82"/>
                  </a:cubicBezTo>
                  <a:cubicBezTo>
                    <a:pt x="379" y="83"/>
                    <a:pt x="379" y="82"/>
                    <a:pt x="378" y="84"/>
                  </a:cubicBezTo>
                  <a:cubicBezTo>
                    <a:pt x="378" y="86"/>
                    <a:pt x="380" y="91"/>
                    <a:pt x="378" y="92"/>
                  </a:cubicBezTo>
                  <a:cubicBezTo>
                    <a:pt x="377" y="93"/>
                    <a:pt x="374" y="93"/>
                    <a:pt x="372" y="93"/>
                  </a:cubicBezTo>
                  <a:cubicBezTo>
                    <a:pt x="372" y="88"/>
                    <a:pt x="374" y="79"/>
                    <a:pt x="368" y="77"/>
                  </a:cubicBezTo>
                  <a:cubicBezTo>
                    <a:pt x="367" y="77"/>
                    <a:pt x="364" y="77"/>
                    <a:pt x="363" y="77"/>
                  </a:cubicBezTo>
                  <a:cubicBezTo>
                    <a:pt x="361" y="78"/>
                    <a:pt x="360" y="80"/>
                    <a:pt x="359" y="81"/>
                  </a:cubicBezTo>
                  <a:cubicBezTo>
                    <a:pt x="357" y="82"/>
                    <a:pt x="356" y="81"/>
                    <a:pt x="354" y="78"/>
                  </a:cubicBezTo>
                  <a:cubicBezTo>
                    <a:pt x="353" y="75"/>
                    <a:pt x="351" y="66"/>
                    <a:pt x="347" y="66"/>
                  </a:cubicBezTo>
                  <a:cubicBezTo>
                    <a:pt x="344" y="65"/>
                    <a:pt x="343" y="70"/>
                    <a:pt x="343" y="72"/>
                  </a:cubicBezTo>
                  <a:cubicBezTo>
                    <a:pt x="342" y="74"/>
                    <a:pt x="341" y="75"/>
                    <a:pt x="338" y="75"/>
                  </a:cubicBezTo>
                  <a:cubicBezTo>
                    <a:pt x="336" y="75"/>
                    <a:pt x="333" y="72"/>
                    <a:pt x="332" y="73"/>
                  </a:cubicBezTo>
                  <a:cubicBezTo>
                    <a:pt x="330" y="74"/>
                    <a:pt x="331" y="77"/>
                    <a:pt x="331" y="79"/>
                  </a:cubicBezTo>
                  <a:cubicBezTo>
                    <a:pt x="330" y="81"/>
                    <a:pt x="329" y="82"/>
                    <a:pt x="327" y="84"/>
                  </a:cubicBezTo>
                  <a:cubicBezTo>
                    <a:pt x="324" y="86"/>
                    <a:pt x="323" y="86"/>
                    <a:pt x="321" y="83"/>
                  </a:cubicBezTo>
                  <a:cubicBezTo>
                    <a:pt x="320" y="81"/>
                    <a:pt x="319" y="78"/>
                    <a:pt x="318" y="75"/>
                  </a:cubicBezTo>
                  <a:cubicBezTo>
                    <a:pt x="317" y="72"/>
                    <a:pt x="314" y="72"/>
                    <a:pt x="311" y="72"/>
                  </a:cubicBezTo>
                  <a:cubicBezTo>
                    <a:pt x="308" y="72"/>
                    <a:pt x="305" y="75"/>
                    <a:pt x="303" y="74"/>
                  </a:cubicBezTo>
                  <a:cubicBezTo>
                    <a:pt x="302" y="73"/>
                    <a:pt x="302" y="72"/>
                    <a:pt x="302" y="71"/>
                  </a:cubicBezTo>
                  <a:cubicBezTo>
                    <a:pt x="301" y="70"/>
                    <a:pt x="301" y="70"/>
                    <a:pt x="300" y="68"/>
                  </a:cubicBezTo>
                  <a:cubicBezTo>
                    <a:pt x="300" y="67"/>
                    <a:pt x="300" y="67"/>
                    <a:pt x="299" y="66"/>
                  </a:cubicBezTo>
                  <a:cubicBezTo>
                    <a:pt x="299" y="65"/>
                    <a:pt x="298" y="64"/>
                    <a:pt x="298" y="64"/>
                  </a:cubicBezTo>
                  <a:cubicBezTo>
                    <a:pt x="297" y="62"/>
                    <a:pt x="297" y="60"/>
                    <a:pt x="296" y="59"/>
                  </a:cubicBezTo>
                  <a:cubicBezTo>
                    <a:pt x="291" y="53"/>
                    <a:pt x="284" y="62"/>
                    <a:pt x="279" y="61"/>
                  </a:cubicBezTo>
                  <a:cubicBezTo>
                    <a:pt x="276" y="60"/>
                    <a:pt x="274" y="58"/>
                    <a:pt x="272" y="57"/>
                  </a:cubicBezTo>
                  <a:cubicBezTo>
                    <a:pt x="270" y="56"/>
                    <a:pt x="267" y="55"/>
                    <a:pt x="265" y="54"/>
                  </a:cubicBezTo>
                  <a:cubicBezTo>
                    <a:pt x="262" y="54"/>
                    <a:pt x="259" y="54"/>
                    <a:pt x="255" y="54"/>
                  </a:cubicBezTo>
                  <a:cubicBezTo>
                    <a:pt x="253" y="55"/>
                    <a:pt x="250" y="56"/>
                    <a:pt x="248" y="55"/>
                  </a:cubicBezTo>
                  <a:cubicBezTo>
                    <a:pt x="246" y="54"/>
                    <a:pt x="247" y="51"/>
                    <a:pt x="244" y="50"/>
                  </a:cubicBezTo>
                  <a:cubicBezTo>
                    <a:pt x="243" y="49"/>
                    <a:pt x="240" y="50"/>
                    <a:pt x="239" y="50"/>
                  </a:cubicBezTo>
                  <a:cubicBezTo>
                    <a:pt x="237" y="50"/>
                    <a:pt x="235" y="49"/>
                    <a:pt x="234" y="49"/>
                  </a:cubicBezTo>
                  <a:cubicBezTo>
                    <a:pt x="231" y="48"/>
                    <a:pt x="229" y="48"/>
                    <a:pt x="227" y="48"/>
                  </a:cubicBezTo>
                  <a:cubicBezTo>
                    <a:pt x="226" y="48"/>
                    <a:pt x="224" y="48"/>
                    <a:pt x="223" y="47"/>
                  </a:cubicBezTo>
                  <a:cubicBezTo>
                    <a:pt x="222" y="47"/>
                    <a:pt x="221" y="46"/>
                    <a:pt x="220" y="46"/>
                  </a:cubicBezTo>
                  <a:cubicBezTo>
                    <a:pt x="219" y="45"/>
                    <a:pt x="216" y="46"/>
                    <a:pt x="214" y="46"/>
                  </a:cubicBezTo>
                  <a:cubicBezTo>
                    <a:pt x="210" y="46"/>
                    <a:pt x="206" y="45"/>
                    <a:pt x="202" y="45"/>
                  </a:cubicBezTo>
                  <a:cubicBezTo>
                    <a:pt x="198" y="45"/>
                    <a:pt x="194" y="44"/>
                    <a:pt x="190" y="44"/>
                  </a:cubicBezTo>
                  <a:cubicBezTo>
                    <a:pt x="188" y="44"/>
                    <a:pt x="187" y="44"/>
                    <a:pt x="185" y="44"/>
                  </a:cubicBezTo>
                  <a:cubicBezTo>
                    <a:pt x="182" y="43"/>
                    <a:pt x="179" y="46"/>
                    <a:pt x="176" y="46"/>
                  </a:cubicBezTo>
                  <a:cubicBezTo>
                    <a:pt x="174" y="47"/>
                    <a:pt x="172" y="47"/>
                    <a:pt x="171" y="47"/>
                  </a:cubicBezTo>
                  <a:cubicBezTo>
                    <a:pt x="169" y="47"/>
                    <a:pt x="167" y="45"/>
                    <a:pt x="165" y="45"/>
                  </a:cubicBezTo>
                  <a:cubicBezTo>
                    <a:pt x="163" y="44"/>
                    <a:pt x="161" y="44"/>
                    <a:pt x="159" y="44"/>
                  </a:cubicBezTo>
                  <a:cubicBezTo>
                    <a:pt x="156" y="43"/>
                    <a:pt x="153" y="44"/>
                    <a:pt x="151" y="46"/>
                  </a:cubicBezTo>
                  <a:cubicBezTo>
                    <a:pt x="151" y="46"/>
                    <a:pt x="149" y="48"/>
                    <a:pt x="149" y="48"/>
                  </a:cubicBezTo>
                  <a:cubicBezTo>
                    <a:pt x="148" y="48"/>
                    <a:pt x="147" y="48"/>
                    <a:pt x="146" y="48"/>
                  </a:cubicBezTo>
                  <a:cubicBezTo>
                    <a:pt x="145" y="48"/>
                    <a:pt x="143" y="49"/>
                    <a:pt x="142" y="51"/>
                  </a:cubicBezTo>
                  <a:cubicBezTo>
                    <a:pt x="139" y="54"/>
                    <a:pt x="141" y="57"/>
                    <a:pt x="139" y="60"/>
                  </a:cubicBezTo>
                  <a:cubicBezTo>
                    <a:pt x="138" y="64"/>
                    <a:pt x="133" y="64"/>
                    <a:pt x="131" y="66"/>
                  </a:cubicBezTo>
                  <a:cubicBezTo>
                    <a:pt x="128" y="68"/>
                    <a:pt x="127" y="68"/>
                    <a:pt x="124" y="68"/>
                  </a:cubicBezTo>
                  <a:cubicBezTo>
                    <a:pt x="121" y="69"/>
                    <a:pt x="118" y="70"/>
                    <a:pt x="115" y="70"/>
                  </a:cubicBezTo>
                  <a:cubicBezTo>
                    <a:pt x="115" y="70"/>
                    <a:pt x="115" y="70"/>
                    <a:pt x="115" y="70"/>
                  </a:cubicBezTo>
                  <a:cubicBezTo>
                    <a:pt x="116" y="71"/>
                    <a:pt x="116" y="74"/>
                    <a:pt x="117" y="76"/>
                  </a:cubicBezTo>
                  <a:cubicBezTo>
                    <a:pt x="117" y="78"/>
                    <a:pt x="117" y="79"/>
                    <a:pt x="117" y="81"/>
                  </a:cubicBezTo>
                  <a:cubicBezTo>
                    <a:pt x="117" y="84"/>
                    <a:pt x="118" y="87"/>
                    <a:pt x="119" y="90"/>
                  </a:cubicBezTo>
                  <a:cubicBezTo>
                    <a:pt x="120" y="94"/>
                    <a:pt x="122" y="97"/>
                    <a:pt x="124" y="101"/>
                  </a:cubicBezTo>
                  <a:cubicBezTo>
                    <a:pt x="124" y="103"/>
                    <a:pt x="125" y="104"/>
                    <a:pt x="126" y="106"/>
                  </a:cubicBezTo>
                  <a:cubicBezTo>
                    <a:pt x="126" y="107"/>
                    <a:pt x="126" y="107"/>
                    <a:pt x="127" y="108"/>
                  </a:cubicBezTo>
                  <a:cubicBezTo>
                    <a:pt x="127" y="108"/>
                    <a:pt x="127" y="109"/>
                    <a:pt x="127" y="109"/>
                  </a:cubicBezTo>
                  <a:cubicBezTo>
                    <a:pt x="127" y="110"/>
                    <a:pt x="127" y="111"/>
                    <a:pt x="128" y="111"/>
                  </a:cubicBezTo>
                  <a:cubicBezTo>
                    <a:pt x="129" y="111"/>
                    <a:pt x="130" y="111"/>
                    <a:pt x="130" y="111"/>
                  </a:cubicBezTo>
                  <a:cubicBezTo>
                    <a:pt x="131" y="112"/>
                    <a:pt x="132" y="115"/>
                    <a:pt x="132" y="116"/>
                  </a:cubicBezTo>
                  <a:cubicBezTo>
                    <a:pt x="134" y="119"/>
                    <a:pt x="136" y="122"/>
                    <a:pt x="138" y="124"/>
                  </a:cubicBezTo>
                  <a:cubicBezTo>
                    <a:pt x="138" y="126"/>
                    <a:pt x="138" y="128"/>
                    <a:pt x="139" y="130"/>
                  </a:cubicBezTo>
                  <a:cubicBezTo>
                    <a:pt x="140" y="131"/>
                    <a:pt x="140" y="130"/>
                    <a:pt x="141" y="132"/>
                  </a:cubicBezTo>
                  <a:cubicBezTo>
                    <a:pt x="141" y="133"/>
                    <a:pt x="141" y="134"/>
                    <a:pt x="140" y="135"/>
                  </a:cubicBezTo>
                  <a:cubicBezTo>
                    <a:pt x="140" y="135"/>
                    <a:pt x="125" y="134"/>
                    <a:pt x="129" y="139"/>
                  </a:cubicBezTo>
                  <a:cubicBezTo>
                    <a:pt x="129" y="139"/>
                    <a:pt x="131" y="140"/>
                    <a:pt x="132" y="140"/>
                  </a:cubicBezTo>
                  <a:cubicBezTo>
                    <a:pt x="132" y="140"/>
                    <a:pt x="134" y="141"/>
                    <a:pt x="135" y="142"/>
                  </a:cubicBezTo>
                  <a:cubicBezTo>
                    <a:pt x="136" y="144"/>
                    <a:pt x="136" y="145"/>
                    <a:pt x="136" y="147"/>
                  </a:cubicBezTo>
                  <a:cubicBezTo>
                    <a:pt x="136" y="152"/>
                    <a:pt x="136" y="157"/>
                    <a:pt x="136" y="162"/>
                  </a:cubicBezTo>
                  <a:cubicBezTo>
                    <a:pt x="136" y="162"/>
                    <a:pt x="135" y="163"/>
                    <a:pt x="135" y="164"/>
                  </a:cubicBezTo>
                  <a:cubicBezTo>
                    <a:pt x="136" y="163"/>
                    <a:pt x="136" y="163"/>
                    <a:pt x="136" y="162"/>
                  </a:cubicBezTo>
                  <a:cubicBezTo>
                    <a:pt x="136" y="162"/>
                    <a:pt x="136" y="161"/>
                    <a:pt x="136" y="161"/>
                  </a:cubicBezTo>
                  <a:cubicBezTo>
                    <a:pt x="136" y="161"/>
                    <a:pt x="136" y="162"/>
                    <a:pt x="136" y="162"/>
                  </a:cubicBezTo>
                  <a:cubicBezTo>
                    <a:pt x="136" y="165"/>
                    <a:pt x="137" y="169"/>
                    <a:pt x="135" y="170"/>
                  </a:cubicBezTo>
                  <a:cubicBezTo>
                    <a:pt x="134" y="171"/>
                    <a:pt x="128" y="170"/>
                    <a:pt x="126" y="170"/>
                  </a:cubicBezTo>
                  <a:cubicBezTo>
                    <a:pt x="120" y="170"/>
                    <a:pt x="114" y="172"/>
                    <a:pt x="109" y="176"/>
                  </a:cubicBezTo>
                  <a:cubicBezTo>
                    <a:pt x="105" y="178"/>
                    <a:pt x="101" y="183"/>
                    <a:pt x="98" y="186"/>
                  </a:cubicBezTo>
                  <a:cubicBezTo>
                    <a:pt x="96" y="190"/>
                    <a:pt x="92" y="192"/>
                    <a:pt x="90" y="196"/>
                  </a:cubicBezTo>
                  <a:cubicBezTo>
                    <a:pt x="89" y="197"/>
                    <a:pt x="87" y="197"/>
                    <a:pt x="86" y="199"/>
                  </a:cubicBezTo>
                  <a:cubicBezTo>
                    <a:pt x="85" y="199"/>
                    <a:pt x="85" y="201"/>
                    <a:pt x="85" y="203"/>
                  </a:cubicBezTo>
                  <a:cubicBezTo>
                    <a:pt x="84" y="203"/>
                    <a:pt x="84" y="204"/>
                    <a:pt x="84" y="204"/>
                  </a:cubicBezTo>
                  <a:cubicBezTo>
                    <a:pt x="84" y="205"/>
                    <a:pt x="84" y="206"/>
                    <a:pt x="84" y="206"/>
                  </a:cubicBezTo>
                  <a:cubicBezTo>
                    <a:pt x="83" y="207"/>
                    <a:pt x="82" y="209"/>
                    <a:pt x="81" y="211"/>
                  </a:cubicBezTo>
                  <a:cubicBezTo>
                    <a:pt x="78" y="216"/>
                    <a:pt x="75" y="220"/>
                    <a:pt x="72" y="225"/>
                  </a:cubicBezTo>
                  <a:cubicBezTo>
                    <a:pt x="71" y="228"/>
                    <a:pt x="69" y="231"/>
                    <a:pt x="68" y="233"/>
                  </a:cubicBezTo>
                  <a:cubicBezTo>
                    <a:pt x="68" y="234"/>
                    <a:pt x="67" y="235"/>
                    <a:pt x="66" y="235"/>
                  </a:cubicBezTo>
                  <a:cubicBezTo>
                    <a:pt x="65" y="237"/>
                    <a:pt x="64" y="237"/>
                    <a:pt x="62" y="238"/>
                  </a:cubicBezTo>
                  <a:cubicBezTo>
                    <a:pt x="61" y="239"/>
                    <a:pt x="60" y="241"/>
                    <a:pt x="58" y="242"/>
                  </a:cubicBezTo>
                  <a:cubicBezTo>
                    <a:pt x="57" y="244"/>
                    <a:pt x="57" y="242"/>
                    <a:pt x="57" y="244"/>
                  </a:cubicBezTo>
                  <a:cubicBezTo>
                    <a:pt x="57" y="244"/>
                    <a:pt x="57" y="245"/>
                    <a:pt x="57" y="246"/>
                  </a:cubicBezTo>
                  <a:cubicBezTo>
                    <a:pt x="57" y="247"/>
                    <a:pt x="57" y="247"/>
                    <a:pt x="57" y="248"/>
                  </a:cubicBezTo>
                  <a:cubicBezTo>
                    <a:pt x="58" y="251"/>
                    <a:pt x="59" y="252"/>
                    <a:pt x="59" y="254"/>
                  </a:cubicBezTo>
                  <a:cubicBezTo>
                    <a:pt x="59" y="255"/>
                    <a:pt x="59" y="257"/>
                    <a:pt x="59" y="258"/>
                  </a:cubicBezTo>
                  <a:cubicBezTo>
                    <a:pt x="60" y="258"/>
                    <a:pt x="60" y="259"/>
                    <a:pt x="61" y="259"/>
                  </a:cubicBezTo>
                  <a:cubicBezTo>
                    <a:pt x="62" y="261"/>
                    <a:pt x="61" y="264"/>
                    <a:pt x="61" y="266"/>
                  </a:cubicBezTo>
                  <a:cubicBezTo>
                    <a:pt x="61" y="269"/>
                    <a:pt x="60" y="274"/>
                    <a:pt x="64" y="275"/>
                  </a:cubicBezTo>
                  <a:cubicBezTo>
                    <a:pt x="65" y="275"/>
                    <a:pt x="66" y="275"/>
                    <a:pt x="66" y="275"/>
                  </a:cubicBezTo>
                  <a:cubicBezTo>
                    <a:pt x="67" y="275"/>
                    <a:pt x="67" y="276"/>
                    <a:pt x="67" y="276"/>
                  </a:cubicBezTo>
                  <a:cubicBezTo>
                    <a:pt x="68" y="277"/>
                    <a:pt x="68" y="277"/>
                    <a:pt x="69" y="277"/>
                  </a:cubicBezTo>
                  <a:cubicBezTo>
                    <a:pt x="69" y="280"/>
                    <a:pt x="72" y="282"/>
                    <a:pt x="71" y="285"/>
                  </a:cubicBezTo>
                  <a:cubicBezTo>
                    <a:pt x="69" y="285"/>
                    <a:pt x="65" y="285"/>
                    <a:pt x="63" y="285"/>
                  </a:cubicBezTo>
                  <a:cubicBezTo>
                    <a:pt x="62" y="284"/>
                    <a:pt x="62" y="283"/>
                    <a:pt x="61" y="283"/>
                  </a:cubicBezTo>
                  <a:cubicBezTo>
                    <a:pt x="60" y="283"/>
                    <a:pt x="59" y="283"/>
                    <a:pt x="58" y="283"/>
                  </a:cubicBezTo>
                  <a:cubicBezTo>
                    <a:pt x="55" y="283"/>
                    <a:pt x="54" y="282"/>
                    <a:pt x="52" y="280"/>
                  </a:cubicBezTo>
                  <a:cubicBezTo>
                    <a:pt x="52" y="281"/>
                    <a:pt x="52" y="281"/>
                    <a:pt x="51" y="281"/>
                  </a:cubicBezTo>
                  <a:cubicBezTo>
                    <a:pt x="51" y="283"/>
                    <a:pt x="50" y="284"/>
                    <a:pt x="50" y="285"/>
                  </a:cubicBezTo>
                  <a:cubicBezTo>
                    <a:pt x="47" y="289"/>
                    <a:pt x="44" y="290"/>
                    <a:pt x="40" y="291"/>
                  </a:cubicBezTo>
                  <a:cubicBezTo>
                    <a:pt x="39" y="291"/>
                    <a:pt x="37" y="291"/>
                    <a:pt x="35" y="291"/>
                  </a:cubicBezTo>
                  <a:cubicBezTo>
                    <a:pt x="33" y="291"/>
                    <a:pt x="31" y="290"/>
                    <a:pt x="29" y="290"/>
                  </a:cubicBezTo>
                  <a:cubicBezTo>
                    <a:pt x="28" y="290"/>
                    <a:pt x="27" y="291"/>
                    <a:pt x="25" y="291"/>
                  </a:cubicBezTo>
                  <a:cubicBezTo>
                    <a:pt x="24" y="292"/>
                    <a:pt x="21" y="291"/>
                    <a:pt x="20" y="292"/>
                  </a:cubicBezTo>
                  <a:cubicBezTo>
                    <a:pt x="19" y="292"/>
                    <a:pt x="18" y="293"/>
                    <a:pt x="18" y="293"/>
                  </a:cubicBezTo>
                  <a:cubicBezTo>
                    <a:pt x="17" y="294"/>
                    <a:pt x="18" y="294"/>
                    <a:pt x="17" y="295"/>
                  </a:cubicBezTo>
                  <a:cubicBezTo>
                    <a:pt x="17" y="297"/>
                    <a:pt x="15" y="299"/>
                    <a:pt x="14" y="300"/>
                  </a:cubicBezTo>
                  <a:cubicBezTo>
                    <a:pt x="13" y="302"/>
                    <a:pt x="12" y="303"/>
                    <a:pt x="12" y="305"/>
                  </a:cubicBezTo>
                  <a:cubicBezTo>
                    <a:pt x="11" y="307"/>
                    <a:pt x="11" y="308"/>
                    <a:pt x="11" y="310"/>
                  </a:cubicBezTo>
                  <a:cubicBezTo>
                    <a:pt x="11" y="311"/>
                    <a:pt x="9" y="313"/>
                    <a:pt x="9" y="314"/>
                  </a:cubicBezTo>
                  <a:cubicBezTo>
                    <a:pt x="8" y="315"/>
                    <a:pt x="7" y="317"/>
                    <a:pt x="7" y="318"/>
                  </a:cubicBezTo>
                  <a:cubicBezTo>
                    <a:pt x="6" y="320"/>
                    <a:pt x="6" y="321"/>
                    <a:pt x="5" y="322"/>
                  </a:cubicBezTo>
                  <a:cubicBezTo>
                    <a:pt x="5" y="324"/>
                    <a:pt x="4" y="324"/>
                    <a:pt x="4" y="326"/>
                  </a:cubicBezTo>
                  <a:cubicBezTo>
                    <a:pt x="4" y="328"/>
                    <a:pt x="4" y="327"/>
                    <a:pt x="3" y="328"/>
                  </a:cubicBezTo>
                  <a:cubicBezTo>
                    <a:pt x="2" y="329"/>
                    <a:pt x="1" y="330"/>
                    <a:pt x="0" y="331"/>
                  </a:cubicBezTo>
                  <a:cubicBezTo>
                    <a:pt x="20" y="353"/>
                    <a:pt x="20" y="353"/>
                    <a:pt x="20" y="353"/>
                  </a:cubicBezTo>
                  <a:cubicBezTo>
                    <a:pt x="22" y="353"/>
                    <a:pt x="22" y="353"/>
                    <a:pt x="23" y="354"/>
                  </a:cubicBezTo>
                  <a:cubicBezTo>
                    <a:pt x="23" y="355"/>
                    <a:pt x="23" y="356"/>
                    <a:pt x="23" y="357"/>
                  </a:cubicBezTo>
                  <a:cubicBezTo>
                    <a:pt x="23" y="359"/>
                    <a:pt x="22" y="362"/>
                    <a:pt x="24" y="362"/>
                  </a:cubicBezTo>
                  <a:cubicBezTo>
                    <a:pt x="25" y="360"/>
                    <a:pt x="28" y="362"/>
                    <a:pt x="31" y="362"/>
                  </a:cubicBezTo>
                  <a:cubicBezTo>
                    <a:pt x="32" y="362"/>
                    <a:pt x="33" y="362"/>
                    <a:pt x="34" y="362"/>
                  </a:cubicBezTo>
                  <a:cubicBezTo>
                    <a:pt x="35" y="363"/>
                    <a:pt x="36" y="363"/>
                    <a:pt x="37" y="363"/>
                  </a:cubicBezTo>
                  <a:cubicBezTo>
                    <a:pt x="37" y="364"/>
                    <a:pt x="38" y="364"/>
                    <a:pt x="39" y="365"/>
                  </a:cubicBezTo>
                  <a:cubicBezTo>
                    <a:pt x="39" y="366"/>
                    <a:pt x="39" y="368"/>
                    <a:pt x="39" y="369"/>
                  </a:cubicBezTo>
                  <a:cubicBezTo>
                    <a:pt x="39" y="370"/>
                    <a:pt x="39" y="371"/>
                    <a:pt x="39" y="372"/>
                  </a:cubicBezTo>
                  <a:cubicBezTo>
                    <a:pt x="42" y="371"/>
                    <a:pt x="46" y="373"/>
                    <a:pt x="49" y="372"/>
                  </a:cubicBezTo>
                  <a:cubicBezTo>
                    <a:pt x="50" y="371"/>
                    <a:pt x="51" y="370"/>
                    <a:pt x="52" y="369"/>
                  </a:cubicBezTo>
                  <a:cubicBezTo>
                    <a:pt x="53" y="368"/>
                    <a:pt x="54" y="367"/>
                    <a:pt x="56" y="366"/>
                  </a:cubicBezTo>
                  <a:cubicBezTo>
                    <a:pt x="59" y="364"/>
                    <a:pt x="62" y="365"/>
                    <a:pt x="64" y="367"/>
                  </a:cubicBezTo>
                  <a:cubicBezTo>
                    <a:pt x="66" y="370"/>
                    <a:pt x="65" y="372"/>
                    <a:pt x="69" y="373"/>
                  </a:cubicBezTo>
                  <a:cubicBezTo>
                    <a:pt x="73" y="373"/>
                    <a:pt x="76" y="372"/>
                    <a:pt x="80" y="372"/>
                  </a:cubicBezTo>
                  <a:cubicBezTo>
                    <a:pt x="81" y="372"/>
                    <a:pt x="83" y="371"/>
                    <a:pt x="85" y="373"/>
                  </a:cubicBezTo>
                  <a:cubicBezTo>
                    <a:pt x="86" y="373"/>
                    <a:pt x="88" y="377"/>
                    <a:pt x="88" y="378"/>
                  </a:cubicBezTo>
                  <a:cubicBezTo>
                    <a:pt x="89" y="376"/>
                    <a:pt x="89" y="375"/>
                    <a:pt x="91" y="375"/>
                  </a:cubicBezTo>
                  <a:cubicBezTo>
                    <a:pt x="93" y="375"/>
                    <a:pt x="95" y="375"/>
                    <a:pt x="97" y="375"/>
                  </a:cubicBezTo>
                  <a:cubicBezTo>
                    <a:pt x="99" y="375"/>
                    <a:pt x="104" y="375"/>
                    <a:pt x="106" y="376"/>
                  </a:cubicBezTo>
                  <a:cubicBezTo>
                    <a:pt x="107" y="377"/>
                    <a:pt x="107" y="378"/>
                    <a:pt x="108" y="378"/>
                  </a:cubicBezTo>
                  <a:cubicBezTo>
                    <a:pt x="108" y="378"/>
                    <a:pt x="109" y="378"/>
                    <a:pt x="110" y="378"/>
                  </a:cubicBezTo>
                  <a:cubicBezTo>
                    <a:pt x="114" y="380"/>
                    <a:pt x="117" y="380"/>
                    <a:pt x="122" y="378"/>
                  </a:cubicBezTo>
                  <a:cubicBezTo>
                    <a:pt x="123" y="378"/>
                    <a:pt x="133" y="374"/>
                    <a:pt x="132" y="378"/>
                  </a:cubicBezTo>
                  <a:cubicBezTo>
                    <a:pt x="135" y="378"/>
                    <a:pt x="134" y="379"/>
                    <a:pt x="135" y="380"/>
                  </a:cubicBezTo>
                  <a:cubicBezTo>
                    <a:pt x="136" y="381"/>
                    <a:pt x="138" y="382"/>
                    <a:pt x="139" y="383"/>
                  </a:cubicBezTo>
                  <a:cubicBezTo>
                    <a:pt x="140" y="384"/>
                    <a:pt x="141" y="386"/>
                    <a:pt x="143" y="388"/>
                  </a:cubicBezTo>
                  <a:cubicBezTo>
                    <a:pt x="147" y="391"/>
                    <a:pt x="153" y="393"/>
                    <a:pt x="158" y="391"/>
                  </a:cubicBezTo>
                  <a:cubicBezTo>
                    <a:pt x="161" y="390"/>
                    <a:pt x="162" y="386"/>
                    <a:pt x="163" y="384"/>
                  </a:cubicBezTo>
                  <a:cubicBezTo>
                    <a:pt x="165" y="381"/>
                    <a:pt x="166" y="379"/>
                    <a:pt x="170" y="379"/>
                  </a:cubicBezTo>
                  <a:cubicBezTo>
                    <a:pt x="175" y="379"/>
                    <a:pt x="181" y="379"/>
                    <a:pt x="187" y="379"/>
                  </a:cubicBezTo>
                  <a:cubicBezTo>
                    <a:pt x="187" y="379"/>
                    <a:pt x="189" y="379"/>
                    <a:pt x="189" y="379"/>
                  </a:cubicBezTo>
                  <a:cubicBezTo>
                    <a:pt x="190" y="379"/>
                    <a:pt x="190" y="378"/>
                    <a:pt x="190" y="378"/>
                  </a:cubicBezTo>
                  <a:cubicBezTo>
                    <a:pt x="192" y="377"/>
                    <a:pt x="195" y="376"/>
                    <a:pt x="197" y="376"/>
                  </a:cubicBezTo>
                  <a:cubicBezTo>
                    <a:pt x="202" y="376"/>
                    <a:pt x="207" y="374"/>
                    <a:pt x="211" y="374"/>
                  </a:cubicBezTo>
                  <a:cubicBezTo>
                    <a:pt x="215" y="374"/>
                    <a:pt x="216" y="375"/>
                    <a:pt x="218" y="372"/>
                  </a:cubicBezTo>
                  <a:cubicBezTo>
                    <a:pt x="220" y="370"/>
                    <a:pt x="220" y="367"/>
                    <a:pt x="222" y="365"/>
                  </a:cubicBezTo>
                  <a:cubicBezTo>
                    <a:pt x="223" y="362"/>
                    <a:pt x="227" y="360"/>
                    <a:pt x="230" y="359"/>
                  </a:cubicBezTo>
                  <a:cubicBezTo>
                    <a:pt x="233" y="357"/>
                    <a:pt x="235" y="356"/>
                    <a:pt x="238" y="355"/>
                  </a:cubicBezTo>
                  <a:cubicBezTo>
                    <a:pt x="238" y="355"/>
                    <a:pt x="238" y="355"/>
                    <a:pt x="238" y="355"/>
                  </a:cubicBezTo>
                  <a:cubicBezTo>
                    <a:pt x="241" y="354"/>
                    <a:pt x="244" y="351"/>
                    <a:pt x="248" y="351"/>
                  </a:cubicBezTo>
                  <a:cubicBezTo>
                    <a:pt x="248" y="350"/>
                    <a:pt x="248" y="350"/>
                    <a:pt x="248" y="350"/>
                  </a:cubicBezTo>
                  <a:cubicBezTo>
                    <a:pt x="249" y="349"/>
                    <a:pt x="249" y="349"/>
                    <a:pt x="250" y="348"/>
                  </a:cubicBezTo>
                  <a:cubicBezTo>
                    <a:pt x="250" y="347"/>
                    <a:pt x="250" y="346"/>
                    <a:pt x="250" y="345"/>
                  </a:cubicBezTo>
                  <a:cubicBezTo>
                    <a:pt x="250" y="344"/>
                    <a:pt x="249" y="344"/>
                    <a:pt x="249" y="343"/>
                  </a:cubicBezTo>
                  <a:cubicBezTo>
                    <a:pt x="249" y="342"/>
                    <a:pt x="249" y="341"/>
                    <a:pt x="249" y="340"/>
                  </a:cubicBezTo>
                  <a:cubicBezTo>
                    <a:pt x="249" y="338"/>
                    <a:pt x="250" y="338"/>
                    <a:pt x="252" y="337"/>
                  </a:cubicBezTo>
                  <a:cubicBezTo>
                    <a:pt x="252" y="337"/>
                    <a:pt x="253" y="337"/>
                    <a:pt x="254" y="337"/>
                  </a:cubicBezTo>
                  <a:cubicBezTo>
                    <a:pt x="255" y="337"/>
                    <a:pt x="254" y="340"/>
                    <a:pt x="256" y="340"/>
                  </a:cubicBezTo>
                  <a:cubicBezTo>
                    <a:pt x="257" y="341"/>
                    <a:pt x="258" y="340"/>
                    <a:pt x="259" y="341"/>
                  </a:cubicBezTo>
                  <a:cubicBezTo>
                    <a:pt x="260" y="341"/>
                    <a:pt x="260" y="342"/>
                    <a:pt x="260" y="343"/>
                  </a:cubicBezTo>
                  <a:cubicBezTo>
                    <a:pt x="261" y="344"/>
                    <a:pt x="262" y="344"/>
                    <a:pt x="263" y="343"/>
                  </a:cubicBezTo>
                  <a:cubicBezTo>
                    <a:pt x="266" y="342"/>
                    <a:pt x="266" y="341"/>
                    <a:pt x="267" y="339"/>
                  </a:cubicBezTo>
                  <a:cubicBezTo>
                    <a:pt x="267" y="337"/>
                    <a:pt x="267" y="337"/>
                    <a:pt x="269" y="338"/>
                  </a:cubicBezTo>
                  <a:cubicBezTo>
                    <a:pt x="271" y="338"/>
                    <a:pt x="272" y="339"/>
                    <a:pt x="273" y="341"/>
                  </a:cubicBezTo>
                  <a:cubicBezTo>
                    <a:pt x="273" y="342"/>
                    <a:pt x="273" y="342"/>
                    <a:pt x="274" y="342"/>
                  </a:cubicBezTo>
                  <a:cubicBezTo>
                    <a:pt x="276" y="342"/>
                    <a:pt x="279" y="341"/>
                    <a:pt x="280" y="340"/>
                  </a:cubicBezTo>
                  <a:cubicBezTo>
                    <a:pt x="281" y="339"/>
                    <a:pt x="282" y="339"/>
                    <a:pt x="283" y="338"/>
                  </a:cubicBezTo>
                  <a:cubicBezTo>
                    <a:pt x="283" y="337"/>
                    <a:pt x="283" y="336"/>
                    <a:pt x="284" y="336"/>
                  </a:cubicBezTo>
                  <a:cubicBezTo>
                    <a:pt x="284" y="335"/>
                    <a:pt x="285" y="336"/>
                    <a:pt x="285" y="337"/>
                  </a:cubicBezTo>
                  <a:cubicBezTo>
                    <a:pt x="286" y="337"/>
                    <a:pt x="286" y="338"/>
                    <a:pt x="287" y="339"/>
                  </a:cubicBezTo>
                  <a:cubicBezTo>
                    <a:pt x="288" y="340"/>
                    <a:pt x="289" y="340"/>
                    <a:pt x="290" y="340"/>
                  </a:cubicBezTo>
                  <a:cubicBezTo>
                    <a:pt x="293" y="339"/>
                    <a:pt x="296" y="337"/>
                    <a:pt x="296" y="334"/>
                  </a:cubicBezTo>
                  <a:cubicBezTo>
                    <a:pt x="296" y="334"/>
                    <a:pt x="296" y="332"/>
                    <a:pt x="297" y="332"/>
                  </a:cubicBezTo>
                  <a:cubicBezTo>
                    <a:pt x="299" y="330"/>
                    <a:pt x="301" y="335"/>
                    <a:pt x="302" y="335"/>
                  </a:cubicBezTo>
                  <a:cubicBezTo>
                    <a:pt x="302" y="336"/>
                    <a:pt x="304" y="336"/>
                    <a:pt x="305" y="336"/>
                  </a:cubicBezTo>
                  <a:cubicBezTo>
                    <a:pt x="307" y="336"/>
                    <a:pt x="306" y="336"/>
                    <a:pt x="308" y="337"/>
                  </a:cubicBezTo>
                  <a:cubicBezTo>
                    <a:pt x="308" y="338"/>
                    <a:pt x="309" y="338"/>
                    <a:pt x="309" y="338"/>
                  </a:cubicBezTo>
                  <a:cubicBezTo>
                    <a:pt x="310" y="339"/>
                    <a:pt x="311" y="340"/>
                    <a:pt x="312" y="341"/>
                  </a:cubicBezTo>
                  <a:cubicBezTo>
                    <a:pt x="314" y="342"/>
                    <a:pt x="316" y="342"/>
                    <a:pt x="317" y="343"/>
                  </a:cubicBezTo>
                  <a:cubicBezTo>
                    <a:pt x="319" y="344"/>
                    <a:pt x="321" y="347"/>
                    <a:pt x="323" y="348"/>
                  </a:cubicBezTo>
                  <a:cubicBezTo>
                    <a:pt x="324" y="348"/>
                    <a:pt x="325" y="348"/>
                    <a:pt x="325" y="349"/>
                  </a:cubicBezTo>
                  <a:cubicBezTo>
                    <a:pt x="325" y="349"/>
                    <a:pt x="325" y="350"/>
                    <a:pt x="325" y="350"/>
                  </a:cubicBezTo>
                  <a:cubicBezTo>
                    <a:pt x="325" y="352"/>
                    <a:pt x="325" y="351"/>
                    <a:pt x="327" y="351"/>
                  </a:cubicBezTo>
                  <a:cubicBezTo>
                    <a:pt x="328" y="352"/>
                    <a:pt x="327" y="352"/>
                    <a:pt x="328" y="353"/>
                  </a:cubicBezTo>
                  <a:cubicBezTo>
                    <a:pt x="328" y="354"/>
                    <a:pt x="330" y="355"/>
                    <a:pt x="331" y="355"/>
                  </a:cubicBezTo>
                  <a:cubicBezTo>
                    <a:pt x="331" y="354"/>
                    <a:pt x="332" y="354"/>
                    <a:pt x="332" y="353"/>
                  </a:cubicBezTo>
                  <a:cubicBezTo>
                    <a:pt x="334" y="353"/>
                    <a:pt x="335" y="354"/>
                    <a:pt x="336" y="353"/>
                  </a:cubicBezTo>
                  <a:cubicBezTo>
                    <a:pt x="338" y="353"/>
                    <a:pt x="339" y="352"/>
                    <a:pt x="340" y="354"/>
                  </a:cubicBezTo>
                  <a:cubicBezTo>
                    <a:pt x="341" y="356"/>
                    <a:pt x="340" y="358"/>
                    <a:pt x="339" y="359"/>
                  </a:cubicBezTo>
                  <a:cubicBezTo>
                    <a:pt x="338" y="360"/>
                    <a:pt x="337" y="360"/>
                    <a:pt x="337" y="361"/>
                  </a:cubicBezTo>
                  <a:cubicBezTo>
                    <a:pt x="338" y="362"/>
                    <a:pt x="339" y="361"/>
                    <a:pt x="340" y="361"/>
                  </a:cubicBezTo>
                  <a:cubicBezTo>
                    <a:pt x="341" y="361"/>
                    <a:pt x="342" y="359"/>
                    <a:pt x="343" y="359"/>
                  </a:cubicBezTo>
                  <a:cubicBezTo>
                    <a:pt x="343" y="360"/>
                    <a:pt x="343" y="362"/>
                    <a:pt x="343" y="362"/>
                  </a:cubicBezTo>
                  <a:cubicBezTo>
                    <a:pt x="343" y="363"/>
                    <a:pt x="343" y="365"/>
                    <a:pt x="343" y="365"/>
                  </a:cubicBezTo>
                  <a:cubicBezTo>
                    <a:pt x="344" y="365"/>
                    <a:pt x="344" y="365"/>
                    <a:pt x="345" y="365"/>
                  </a:cubicBezTo>
                  <a:cubicBezTo>
                    <a:pt x="345" y="366"/>
                    <a:pt x="345" y="367"/>
                    <a:pt x="345" y="367"/>
                  </a:cubicBezTo>
                  <a:cubicBezTo>
                    <a:pt x="346" y="367"/>
                    <a:pt x="347" y="365"/>
                    <a:pt x="347" y="364"/>
                  </a:cubicBezTo>
                  <a:cubicBezTo>
                    <a:pt x="347" y="364"/>
                    <a:pt x="347" y="361"/>
                    <a:pt x="347" y="360"/>
                  </a:cubicBezTo>
                  <a:cubicBezTo>
                    <a:pt x="348" y="359"/>
                    <a:pt x="351" y="360"/>
                    <a:pt x="352" y="360"/>
                  </a:cubicBezTo>
                  <a:cubicBezTo>
                    <a:pt x="353" y="360"/>
                    <a:pt x="354" y="360"/>
                    <a:pt x="355" y="361"/>
                  </a:cubicBezTo>
                  <a:cubicBezTo>
                    <a:pt x="356" y="361"/>
                    <a:pt x="357" y="362"/>
                    <a:pt x="357" y="362"/>
                  </a:cubicBezTo>
                  <a:cubicBezTo>
                    <a:pt x="358" y="362"/>
                    <a:pt x="359" y="362"/>
                    <a:pt x="359" y="362"/>
                  </a:cubicBezTo>
                  <a:cubicBezTo>
                    <a:pt x="361" y="362"/>
                    <a:pt x="360" y="362"/>
                    <a:pt x="361" y="363"/>
                  </a:cubicBezTo>
                  <a:cubicBezTo>
                    <a:pt x="362" y="363"/>
                    <a:pt x="362" y="364"/>
                    <a:pt x="363" y="365"/>
                  </a:cubicBezTo>
                  <a:cubicBezTo>
                    <a:pt x="364" y="365"/>
                    <a:pt x="364" y="364"/>
                    <a:pt x="365" y="365"/>
                  </a:cubicBezTo>
                  <a:cubicBezTo>
                    <a:pt x="366" y="365"/>
                    <a:pt x="365" y="367"/>
                    <a:pt x="365" y="368"/>
                  </a:cubicBezTo>
                  <a:cubicBezTo>
                    <a:pt x="365" y="370"/>
                    <a:pt x="365" y="370"/>
                    <a:pt x="367" y="372"/>
                  </a:cubicBezTo>
                  <a:cubicBezTo>
                    <a:pt x="368" y="373"/>
                    <a:pt x="368" y="375"/>
                    <a:pt x="369" y="375"/>
                  </a:cubicBezTo>
                  <a:cubicBezTo>
                    <a:pt x="371" y="375"/>
                    <a:pt x="371" y="375"/>
                    <a:pt x="372" y="376"/>
                  </a:cubicBezTo>
                  <a:cubicBezTo>
                    <a:pt x="373" y="377"/>
                    <a:pt x="372" y="377"/>
                    <a:pt x="373" y="378"/>
                  </a:cubicBezTo>
                  <a:cubicBezTo>
                    <a:pt x="374" y="378"/>
                    <a:pt x="376" y="378"/>
                    <a:pt x="377" y="378"/>
                  </a:cubicBezTo>
                  <a:cubicBezTo>
                    <a:pt x="377" y="378"/>
                    <a:pt x="378" y="378"/>
                    <a:pt x="378" y="378"/>
                  </a:cubicBezTo>
                  <a:cubicBezTo>
                    <a:pt x="379" y="378"/>
                    <a:pt x="379" y="377"/>
                    <a:pt x="380" y="376"/>
                  </a:cubicBezTo>
                  <a:cubicBezTo>
                    <a:pt x="381" y="375"/>
                    <a:pt x="383" y="376"/>
                    <a:pt x="384" y="376"/>
                  </a:cubicBezTo>
                  <a:cubicBezTo>
                    <a:pt x="385" y="377"/>
                    <a:pt x="386" y="377"/>
                    <a:pt x="387" y="378"/>
                  </a:cubicBezTo>
                  <a:cubicBezTo>
                    <a:pt x="388" y="378"/>
                    <a:pt x="389" y="378"/>
                    <a:pt x="389" y="378"/>
                  </a:cubicBezTo>
                  <a:cubicBezTo>
                    <a:pt x="391" y="379"/>
                    <a:pt x="391" y="381"/>
                    <a:pt x="390" y="382"/>
                  </a:cubicBezTo>
                  <a:cubicBezTo>
                    <a:pt x="390" y="383"/>
                    <a:pt x="390" y="383"/>
                    <a:pt x="390" y="383"/>
                  </a:cubicBezTo>
                  <a:cubicBezTo>
                    <a:pt x="389" y="384"/>
                    <a:pt x="389" y="384"/>
                    <a:pt x="389" y="385"/>
                  </a:cubicBezTo>
                  <a:cubicBezTo>
                    <a:pt x="389" y="385"/>
                    <a:pt x="389" y="386"/>
                    <a:pt x="389" y="386"/>
                  </a:cubicBezTo>
                  <a:cubicBezTo>
                    <a:pt x="389" y="388"/>
                    <a:pt x="389" y="388"/>
                    <a:pt x="388" y="389"/>
                  </a:cubicBezTo>
                  <a:cubicBezTo>
                    <a:pt x="388" y="389"/>
                    <a:pt x="388" y="390"/>
                    <a:pt x="388" y="390"/>
                  </a:cubicBezTo>
                  <a:cubicBezTo>
                    <a:pt x="388" y="391"/>
                    <a:pt x="389" y="391"/>
                    <a:pt x="390" y="392"/>
                  </a:cubicBezTo>
                  <a:cubicBezTo>
                    <a:pt x="391" y="393"/>
                    <a:pt x="390" y="393"/>
                    <a:pt x="389" y="393"/>
                  </a:cubicBezTo>
                  <a:cubicBezTo>
                    <a:pt x="389" y="394"/>
                    <a:pt x="388" y="395"/>
                    <a:pt x="388" y="396"/>
                  </a:cubicBezTo>
                  <a:cubicBezTo>
                    <a:pt x="388" y="397"/>
                    <a:pt x="388" y="398"/>
                    <a:pt x="387" y="400"/>
                  </a:cubicBezTo>
                  <a:cubicBezTo>
                    <a:pt x="387" y="400"/>
                    <a:pt x="387" y="401"/>
                    <a:pt x="387" y="402"/>
                  </a:cubicBezTo>
                  <a:cubicBezTo>
                    <a:pt x="387" y="403"/>
                    <a:pt x="387" y="404"/>
                    <a:pt x="387" y="404"/>
                  </a:cubicBezTo>
                  <a:cubicBezTo>
                    <a:pt x="387" y="406"/>
                    <a:pt x="384" y="406"/>
                    <a:pt x="383" y="408"/>
                  </a:cubicBezTo>
                  <a:cubicBezTo>
                    <a:pt x="382" y="409"/>
                    <a:pt x="382" y="410"/>
                    <a:pt x="383" y="411"/>
                  </a:cubicBezTo>
                  <a:cubicBezTo>
                    <a:pt x="383" y="412"/>
                    <a:pt x="383" y="413"/>
                    <a:pt x="383" y="414"/>
                  </a:cubicBezTo>
                  <a:cubicBezTo>
                    <a:pt x="383" y="414"/>
                    <a:pt x="383" y="414"/>
                    <a:pt x="384" y="415"/>
                  </a:cubicBezTo>
                  <a:cubicBezTo>
                    <a:pt x="385" y="416"/>
                    <a:pt x="385" y="418"/>
                    <a:pt x="386" y="419"/>
                  </a:cubicBezTo>
                  <a:cubicBezTo>
                    <a:pt x="387" y="419"/>
                    <a:pt x="387" y="420"/>
                    <a:pt x="388" y="421"/>
                  </a:cubicBezTo>
                  <a:cubicBezTo>
                    <a:pt x="389" y="422"/>
                    <a:pt x="389" y="423"/>
                    <a:pt x="389" y="424"/>
                  </a:cubicBezTo>
                  <a:cubicBezTo>
                    <a:pt x="389" y="425"/>
                    <a:pt x="391" y="426"/>
                    <a:pt x="392" y="426"/>
                  </a:cubicBezTo>
                  <a:cubicBezTo>
                    <a:pt x="392" y="426"/>
                    <a:pt x="393" y="425"/>
                    <a:pt x="393" y="424"/>
                  </a:cubicBezTo>
                  <a:cubicBezTo>
                    <a:pt x="393" y="425"/>
                    <a:pt x="394" y="426"/>
                    <a:pt x="394" y="426"/>
                  </a:cubicBezTo>
                  <a:cubicBezTo>
                    <a:pt x="394" y="427"/>
                    <a:pt x="394" y="429"/>
                    <a:pt x="395" y="430"/>
                  </a:cubicBezTo>
                  <a:cubicBezTo>
                    <a:pt x="396" y="430"/>
                    <a:pt x="397" y="431"/>
                    <a:pt x="398" y="431"/>
                  </a:cubicBezTo>
                  <a:cubicBezTo>
                    <a:pt x="401" y="433"/>
                    <a:pt x="402" y="430"/>
                    <a:pt x="404" y="428"/>
                  </a:cubicBezTo>
                  <a:cubicBezTo>
                    <a:pt x="404" y="428"/>
                    <a:pt x="405" y="428"/>
                    <a:pt x="405" y="428"/>
                  </a:cubicBezTo>
                  <a:cubicBezTo>
                    <a:pt x="406" y="427"/>
                    <a:pt x="407" y="427"/>
                    <a:pt x="408" y="427"/>
                  </a:cubicBezTo>
                  <a:cubicBezTo>
                    <a:pt x="408" y="428"/>
                    <a:pt x="408" y="430"/>
                    <a:pt x="408" y="431"/>
                  </a:cubicBezTo>
                  <a:cubicBezTo>
                    <a:pt x="408" y="433"/>
                    <a:pt x="410" y="435"/>
                    <a:pt x="409" y="437"/>
                  </a:cubicBezTo>
                  <a:cubicBezTo>
                    <a:pt x="408" y="439"/>
                    <a:pt x="406" y="439"/>
                    <a:pt x="407" y="442"/>
                  </a:cubicBezTo>
                  <a:cubicBezTo>
                    <a:pt x="407" y="442"/>
                    <a:pt x="407" y="443"/>
                    <a:pt x="407" y="443"/>
                  </a:cubicBezTo>
                  <a:cubicBezTo>
                    <a:pt x="407" y="444"/>
                    <a:pt x="407" y="444"/>
                    <a:pt x="407" y="445"/>
                  </a:cubicBezTo>
                  <a:cubicBezTo>
                    <a:pt x="406" y="446"/>
                    <a:pt x="406" y="445"/>
                    <a:pt x="405" y="447"/>
                  </a:cubicBezTo>
                  <a:cubicBezTo>
                    <a:pt x="405" y="448"/>
                    <a:pt x="405" y="449"/>
                    <a:pt x="406" y="450"/>
                  </a:cubicBezTo>
                  <a:cubicBezTo>
                    <a:pt x="404" y="449"/>
                    <a:pt x="403" y="448"/>
                    <a:pt x="402" y="450"/>
                  </a:cubicBezTo>
                  <a:cubicBezTo>
                    <a:pt x="400" y="452"/>
                    <a:pt x="404" y="453"/>
                    <a:pt x="406" y="453"/>
                  </a:cubicBezTo>
                  <a:cubicBezTo>
                    <a:pt x="407" y="453"/>
                    <a:pt x="410" y="453"/>
                    <a:pt x="411" y="453"/>
                  </a:cubicBezTo>
                  <a:cubicBezTo>
                    <a:pt x="412" y="454"/>
                    <a:pt x="412" y="456"/>
                    <a:pt x="412" y="456"/>
                  </a:cubicBezTo>
                  <a:cubicBezTo>
                    <a:pt x="412" y="457"/>
                    <a:pt x="412" y="458"/>
                    <a:pt x="412" y="458"/>
                  </a:cubicBezTo>
                  <a:cubicBezTo>
                    <a:pt x="411" y="460"/>
                    <a:pt x="411" y="462"/>
                    <a:pt x="411" y="463"/>
                  </a:cubicBezTo>
                  <a:cubicBezTo>
                    <a:pt x="411" y="463"/>
                    <a:pt x="412" y="464"/>
                    <a:pt x="412" y="464"/>
                  </a:cubicBezTo>
                  <a:cubicBezTo>
                    <a:pt x="413" y="465"/>
                    <a:pt x="413" y="465"/>
                    <a:pt x="413" y="466"/>
                  </a:cubicBezTo>
                  <a:cubicBezTo>
                    <a:pt x="413" y="468"/>
                    <a:pt x="415" y="471"/>
                    <a:pt x="415" y="473"/>
                  </a:cubicBezTo>
                  <a:cubicBezTo>
                    <a:pt x="416" y="474"/>
                    <a:pt x="416" y="474"/>
                    <a:pt x="417" y="474"/>
                  </a:cubicBezTo>
                  <a:cubicBezTo>
                    <a:pt x="418" y="473"/>
                    <a:pt x="419" y="473"/>
                    <a:pt x="421" y="472"/>
                  </a:cubicBezTo>
                  <a:cubicBezTo>
                    <a:pt x="422" y="471"/>
                    <a:pt x="423" y="472"/>
                    <a:pt x="424" y="473"/>
                  </a:cubicBezTo>
                  <a:cubicBezTo>
                    <a:pt x="426" y="474"/>
                    <a:pt x="428" y="474"/>
                    <a:pt x="428" y="477"/>
                  </a:cubicBezTo>
                  <a:cubicBezTo>
                    <a:pt x="428" y="481"/>
                    <a:pt x="428" y="486"/>
                    <a:pt x="427" y="490"/>
                  </a:cubicBezTo>
                  <a:cubicBezTo>
                    <a:pt x="427" y="491"/>
                    <a:pt x="426" y="493"/>
                    <a:pt x="426" y="495"/>
                  </a:cubicBezTo>
                  <a:cubicBezTo>
                    <a:pt x="426" y="496"/>
                    <a:pt x="427" y="497"/>
                    <a:pt x="426" y="498"/>
                  </a:cubicBezTo>
                  <a:cubicBezTo>
                    <a:pt x="424" y="499"/>
                    <a:pt x="423" y="497"/>
                    <a:pt x="421" y="498"/>
                  </a:cubicBezTo>
                  <a:cubicBezTo>
                    <a:pt x="421" y="499"/>
                    <a:pt x="421" y="500"/>
                    <a:pt x="421" y="500"/>
                  </a:cubicBezTo>
                  <a:cubicBezTo>
                    <a:pt x="420" y="501"/>
                    <a:pt x="420" y="501"/>
                    <a:pt x="419" y="502"/>
                  </a:cubicBezTo>
                  <a:cubicBezTo>
                    <a:pt x="418" y="503"/>
                    <a:pt x="419" y="504"/>
                    <a:pt x="418" y="505"/>
                  </a:cubicBezTo>
                  <a:cubicBezTo>
                    <a:pt x="418" y="506"/>
                    <a:pt x="417" y="507"/>
                    <a:pt x="416" y="508"/>
                  </a:cubicBezTo>
                  <a:cubicBezTo>
                    <a:pt x="414" y="510"/>
                    <a:pt x="414" y="512"/>
                    <a:pt x="414" y="515"/>
                  </a:cubicBezTo>
                  <a:cubicBezTo>
                    <a:pt x="413" y="515"/>
                    <a:pt x="411" y="515"/>
                    <a:pt x="411" y="515"/>
                  </a:cubicBezTo>
                  <a:cubicBezTo>
                    <a:pt x="410" y="514"/>
                    <a:pt x="409" y="513"/>
                    <a:pt x="408" y="512"/>
                  </a:cubicBezTo>
                  <a:cubicBezTo>
                    <a:pt x="408" y="511"/>
                    <a:pt x="407" y="510"/>
                    <a:pt x="407" y="510"/>
                  </a:cubicBezTo>
                  <a:cubicBezTo>
                    <a:pt x="407" y="509"/>
                    <a:pt x="406" y="508"/>
                    <a:pt x="406" y="507"/>
                  </a:cubicBezTo>
                  <a:cubicBezTo>
                    <a:pt x="405" y="507"/>
                    <a:pt x="404" y="506"/>
                    <a:pt x="403" y="506"/>
                  </a:cubicBezTo>
                  <a:cubicBezTo>
                    <a:pt x="403" y="505"/>
                    <a:pt x="403" y="505"/>
                    <a:pt x="403" y="504"/>
                  </a:cubicBezTo>
                  <a:cubicBezTo>
                    <a:pt x="403" y="503"/>
                    <a:pt x="403" y="502"/>
                    <a:pt x="402" y="502"/>
                  </a:cubicBezTo>
                  <a:cubicBezTo>
                    <a:pt x="399" y="501"/>
                    <a:pt x="397" y="506"/>
                    <a:pt x="396" y="507"/>
                  </a:cubicBezTo>
                  <a:cubicBezTo>
                    <a:pt x="395" y="506"/>
                    <a:pt x="394" y="502"/>
                    <a:pt x="394" y="501"/>
                  </a:cubicBezTo>
                  <a:cubicBezTo>
                    <a:pt x="394" y="500"/>
                    <a:pt x="395" y="499"/>
                    <a:pt x="394" y="498"/>
                  </a:cubicBezTo>
                  <a:cubicBezTo>
                    <a:pt x="393" y="499"/>
                    <a:pt x="392" y="502"/>
                    <a:pt x="392" y="505"/>
                  </a:cubicBezTo>
                  <a:cubicBezTo>
                    <a:pt x="392" y="506"/>
                    <a:pt x="392" y="507"/>
                    <a:pt x="391" y="508"/>
                  </a:cubicBezTo>
                  <a:cubicBezTo>
                    <a:pt x="391" y="509"/>
                    <a:pt x="390" y="509"/>
                    <a:pt x="390" y="510"/>
                  </a:cubicBezTo>
                  <a:cubicBezTo>
                    <a:pt x="390" y="510"/>
                    <a:pt x="390" y="511"/>
                    <a:pt x="389" y="512"/>
                  </a:cubicBezTo>
                  <a:cubicBezTo>
                    <a:pt x="388" y="513"/>
                    <a:pt x="388" y="510"/>
                    <a:pt x="387" y="509"/>
                  </a:cubicBezTo>
                  <a:cubicBezTo>
                    <a:pt x="387" y="507"/>
                    <a:pt x="387" y="506"/>
                    <a:pt x="389" y="504"/>
                  </a:cubicBezTo>
                  <a:cubicBezTo>
                    <a:pt x="390" y="502"/>
                    <a:pt x="391" y="501"/>
                    <a:pt x="391" y="499"/>
                  </a:cubicBezTo>
                  <a:cubicBezTo>
                    <a:pt x="391" y="494"/>
                    <a:pt x="385" y="496"/>
                    <a:pt x="383" y="498"/>
                  </a:cubicBezTo>
                  <a:cubicBezTo>
                    <a:pt x="382" y="499"/>
                    <a:pt x="383" y="499"/>
                    <a:pt x="382" y="499"/>
                  </a:cubicBezTo>
                  <a:cubicBezTo>
                    <a:pt x="381" y="500"/>
                    <a:pt x="380" y="500"/>
                    <a:pt x="379" y="500"/>
                  </a:cubicBezTo>
                  <a:cubicBezTo>
                    <a:pt x="378" y="500"/>
                    <a:pt x="377" y="501"/>
                    <a:pt x="375" y="502"/>
                  </a:cubicBezTo>
                  <a:cubicBezTo>
                    <a:pt x="374" y="502"/>
                    <a:pt x="374" y="502"/>
                    <a:pt x="373" y="504"/>
                  </a:cubicBezTo>
                  <a:cubicBezTo>
                    <a:pt x="373" y="504"/>
                    <a:pt x="372" y="506"/>
                    <a:pt x="372" y="507"/>
                  </a:cubicBezTo>
                  <a:cubicBezTo>
                    <a:pt x="373" y="508"/>
                    <a:pt x="374" y="507"/>
                    <a:pt x="375" y="509"/>
                  </a:cubicBezTo>
                  <a:cubicBezTo>
                    <a:pt x="375" y="510"/>
                    <a:pt x="374" y="511"/>
                    <a:pt x="374" y="512"/>
                  </a:cubicBezTo>
                  <a:cubicBezTo>
                    <a:pt x="374" y="514"/>
                    <a:pt x="374" y="516"/>
                    <a:pt x="373" y="518"/>
                  </a:cubicBezTo>
                  <a:cubicBezTo>
                    <a:pt x="373" y="519"/>
                    <a:pt x="371" y="522"/>
                    <a:pt x="372" y="523"/>
                  </a:cubicBezTo>
                  <a:cubicBezTo>
                    <a:pt x="372" y="524"/>
                    <a:pt x="374" y="523"/>
                    <a:pt x="375" y="523"/>
                  </a:cubicBezTo>
                  <a:cubicBezTo>
                    <a:pt x="376" y="524"/>
                    <a:pt x="376" y="524"/>
                    <a:pt x="376" y="525"/>
                  </a:cubicBezTo>
                  <a:cubicBezTo>
                    <a:pt x="377" y="527"/>
                    <a:pt x="377" y="528"/>
                    <a:pt x="376" y="530"/>
                  </a:cubicBezTo>
                  <a:cubicBezTo>
                    <a:pt x="375" y="532"/>
                    <a:pt x="373" y="534"/>
                    <a:pt x="374" y="536"/>
                  </a:cubicBezTo>
                  <a:cubicBezTo>
                    <a:pt x="375" y="537"/>
                    <a:pt x="376" y="538"/>
                    <a:pt x="376" y="539"/>
                  </a:cubicBezTo>
                  <a:cubicBezTo>
                    <a:pt x="376" y="540"/>
                    <a:pt x="375" y="540"/>
                    <a:pt x="374" y="541"/>
                  </a:cubicBezTo>
                  <a:cubicBezTo>
                    <a:pt x="370" y="543"/>
                    <a:pt x="366" y="544"/>
                    <a:pt x="363" y="546"/>
                  </a:cubicBezTo>
                  <a:cubicBezTo>
                    <a:pt x="361" y="547"/>
                    <a:pt x="358" y="549"/>
                    <a:pt x="359" y="551"/>
                  </a:cubicBezTo>
                  <a:cubicBezTo>
                    <a:pt x="360" y="553"/>
                    <a:pt x="361" y="555"/>
                    <a:pt x="359" y="557"/>
                  </a:cubicBezTo>
                  <a:cubicBezTo>
                    <a:pt x="358" y="557"/>
                    <a:pt x="357" y="558"/>
                    <a:pt x="356" y="558"/>
                  </a:cubicBezTo>
                  <a:cubicBezTo>
                    <a:pt x="355" y="558"/>
                    <a:pt x="355" y="558"/>
                    <a:pt x="354" y="558"/>
                  </a:cubicBezTo>
                  <a:cubicBezTo>
                    <a:pt x="353" y="559"/>
                    <a:pt x="352" y="559"/>
                    <a:pt x="352" y="560"/>
                  </a:cubicBezTo>
                  <a:cubicBezTo>
                    <a:pt x="351" y="560"/>
                    <a:pt x="350" y="561"/>
                    <a:pt x="350" y="562"/>
                  </a:cubicBezTo>
                  <a:cubicBezTo>
                    <a:pt x="350" y="563"/>
                    <a:pt x="350" y="563"/>
                    <a:pt x="349" y="564"/>
                  </a:cubicBezTo>
                  <a:cubicBezTo>
                    <a:pt x="348" y="564"/>
                    <a:pt x="347" y="564"/>
                    <a:pt x="347" y="565"/>
                  </a:cubicBezTo>
                  <a:cubicBezTo>
                    <a:pt x="347" y="566"/>
                    <a:pt x="347" y="567"/>
                    <a:pt x="347" y="568"/>
                  </a:cubicBezTo>
                  <a:cubicBezTo>
                    <a:pt x="347" y="570"/>
                    <a:pt x="349" y="571"/>
                    <a:pt x="348" y="573"/>
                  </a:cubicBezTo>
                  <a:cubicBezTo>
                    <a:pt x="348" y="573"/>
                    <a:pt x="347" y="574"/>
                    <a:pt x="347" y="574"/>
                  </a:cubicBezTo>
                  <a:cubicBezTo>
                    <a:pt x="347" y="574"/>
                    <a:pt x="347" y="575"/>
                    <a:pt x="347" y="575"/>
                  </a:cubicBezTo>
                  <a:cubicBezTo>
                    <a:pt x="347" y="576"/>
                    <a:pt x="347" y="577"/>
                    <a:pt x="347" y="578"/>
                  </a:cubicBezTo>
                  <a:cubicBezTo>
                    <a:pt x="346" y="579"/>
                    <a:pt x="346" y="580"/>
                    <a:pt x="346" y="580"/>
                  </a:cubicBezTo>
                  <a:cubicBezTo>
                    <a:pt x="346" y="581"/>
                    <a:pt x="346" y="582"/>
                    <a:pt x="346" y="583"/>
                  </a:cubicBezTo>
                  <a:cubicBezTo>
                    <a:pt x="346" y="583"/>
                    <a:pt x="345" y="583"/>
                    <a:pt x="345" y="584"/>
                  </a:cubicBezTo>
                  <a:cubicBezTo>
                    <a:pt x="344" y="584"/>
                    <a:pt x="344" y="585"/>
                    <a:pt x="344" y="585"/>
                  </a:cubicBezTo>
                  <a:cubicBezTo>
                    <a:pt x="343" y="586"/>
                    <a:pt x="343" y="586"/>
                    <a:pt x="342" y="586"/>
                  </a:cubicBezTo>
                  <a:cubicBezTo>
                    <a:pt x="339" y="586"/>
                    <a:pt x="339" y="579"/>
                    <a:pt x="336" y="582"/>
                  </a:cubicBezTo>
                  <a:cubicBezTo>
                    <a:pt x="335" y="582"/>
                    <a:pt x="334" y="583"/>
                    <a:pt x="333" y="584"/>
                  </a:cubicBezTo>
                  <a:cubicBezTo>
                    <a:pt x="332" y="585"/>
                    <a:pt x="331" y="586"/>
                    <a:pt x="330" y="586"/>
                  </a:cubicBezTo>
                  <a:cubicBezTo>
                    <a:pt x="330" y="587"/>
                    <a:pt x="331" y="587"/>
                    <a:pt x="331" y="588"/>
                  </a:cubicBezTo>
                  <a:cubicBezTo>
                    <a:pt x="332" y="588"/>
                    <a:pt x="337" y="596"/>
                    <a:pt x="337" y="597"/>
                  </a:cubicBezTo>
                  <a:cubicBezTo>
                    <a:pt x="339" y="598"/>
                    <a:pt x="345" y="601"/>
                    <a:pt x="347" y="601"/>
                  </a:cubicBezTo>
                  <a:cubicBezTo>
                    <a:pt x="349" y="602"/>
                    <a:pt x="351" y="603"/>
                    <a:pt x="353" y="605"/>
                  </a:cubicBezTo>
                  <a:cubicBezTo>
                    <a:pt x="356" y="606"/>
                    <a:pt x="357" y="608"/>
                    <a:pt x="360" y="605"/>
                  </a:cubicBezTo>
                  <a:cubicBezTo>
                    <a:pt x="361" y="604"/>
                    <a:pt x="361" y="601"/>
                    <a:pt x="362" y="601"/>
                  </a:cubicBezTo>
                  <a:cubicBezTo>
                    <a:pt x="364" y="600"/>
                    <a:pt x="366" y="601"/>
                    <a:pt x="368" y="601"/>
                  </a:cubicBezTo>
                  <a:cubicBezTo>
                    <a:pt x="370" y="601"/>
                    <a:pt x="372" y="601"/>
                    <a:pt x="377" y="599"/>
                  </a:cubicBezTo>
                  <a:cubicBezTo>
                    <a:pt x="381" y="598"/>
                    <a:pt x="384" y="596"/>
                    <a:pt x="385" y="595"/>
                  </a:cubicBezTo>
                  <a:cubicBezTo>
                    <a:pt x="387" y="593"/>
                    <a:pt x="387" y="592"/>
                    <a:pt x="390" y="592"/>
                  </a:cubicBezTo>
                  <a:cubicBezTo>
                    <a:pt x="397" y="590"/>
                    <a:pt x="401" y="593"/>
                    <a:pt x="406" y="596"/>
                  </a:cubicBezTo>
                  <a:cubicBezTo>
                    <a:pt x="408" y="597"/>
                    <a:pt x="413" y="599"/>
                    <a:pt x="416" y="600"/>
                  </a:cubicBezTo>
                  <a:cubicBezTo>
                    <a:pt x="417" y="597"/>
                    <a:pt x="414" y="596"/>
                    <a:pt x="412" y="592"/>
                  </a:cubicBezTo>
                  <a:cubicBezTo>
                    <a:pt x="409" y="588"/>
                    <a:pt x="406" y="582"/>
                    <a:pt x="406" y="578"/>
                  </a:cubicBezTo>
                  <a:cubicBezTo>
                    <a:pt x="405" y="574"/>
                    <a:pt x="410" y="572"/>
                    <a:pt x="409" y="569"/>
                  </a:cubicBezTo>
                  <a:cubicBezTo>
                    <a:pt x="409" y="573"/>
                    <a:pt x="414" y="575"/>
                    <a:pt x="415" y="580"/>
                  </a:cubicBezTo>
                  <a:cubicBezTo>
                    <a:pt x="417" y="580"/>
                    <a:pt x="423" y="578"/>
                    <a:pt x="424" y="576"/>
                  </a:cubicBezTo>
                  <a:cubicBezTo>
                    <a:pt x="425" y="573"/>
                    <a:pt x="422" y="570"/>
                    <a:pt x="423" y="568"/>
                  </a:cubicBezTo>
                  <a:cubicBezTo>
                    <a:pt x="428" y="567"/>
                    <a:pt x="435" y="568"/>
                    <a:pt x="434" y="561"/>
                  </a:cubicBezTo>
                  <a:cubicBezTo>
                    <a:pt x="439" y="560"/>
                    <a:pt x="438" y="564"/>
                    <a:pt x="442" y="561"/>
                  </a:cubicBezTo>
                  <a:cubicBezTo>
                    <a:pt x="443" y="560"/>
                    <a:pt x="444" y="558"/>
                    <a:pt x="445" y="557"/>
                  </a:cubicBezTo>
                  <a:cubicBezTo>
                    <a:pt x="447" y="556"/>
                    <a:pt x="450" y="556"/>
                    <a:pt x="452" y="553"/>
                  </a:cubicBezTo>
                  <a:cubicBezTo>
                    <a:pt x="453" y="550"/>
                    <a:pt x="452" y="546"/>
                    <a:pt x="452" y="543"/>
                  </a:cubicBezTo>
                  <a:cubicBezTo>
                    <a:pt x="453" y="542"/>
                    <a:pt x="454" y="541"/>
                    <a:pt x="453" y="539"/>
                  </a:cubicBezTo>
                  <a:cubicBezTo>
                    <a:pt x="452" y="538"/>
                    <a:pt x="447" y="537"/>
                    <a:pt x="446" y="536"/>
                  </a:cubicBezTo>
                  <a:cubicBezTo>
                    <a:pt x="444" y="535"/>
                    <a:pt x="432" y="528"/>
                    <a:pt x="434" y="523"/>
                  </a:cubicBezTo>
                  <a:cubicBezTo>
                    <a:pt x="436" y="519"/>
                    <a:pt x="446" y="521"/>
                    <a:pt x="448" y="523"/>
                  </a:cubicBezTo>
                  <a:cubicBezTo>
                    <a:pt x="450" y="526"/>
                    <a:pt x="452" y="529"/>
                    <a:pt x="454" y="532"/>
                  </a:cubicBezTo>
                  <a:cubicBezTo>
                    <a:pt x="455" y="534"/>
                    <a:pt x="459" y="535"/>
                    <a:pt x="460" y="538"/>
                  </a:cubicBezTo>
                  <a:cubicBezTo>
                    <a:pt x="459" y="532"/>
                    <a:pt x="464" y="532"/>
                    <a:pt x="467" y="528"/>
                  </a:cubicBezTo>
                  <a:cubicBezTo>
                    <a:pt x="469" y="527"/>
                    <a:pt x="469" y="525"/>
                    <a:pt x="470" y="523"/>
                  </a:cubicBezTo>
                  <a:cubicBezTo>
                    <a:pt x="472" y="522"/>
                    <a:pt x="474" y="520"/>
                    <a:pt x="474" y="517"/>
                  </a:cubicBezTo>
                  <a:cubicBezTo>
                    <a:pt x="473" y="513"/>
                    <a:pt x="466" y="511"/>
                    <a:pt x="474" y="508"/>
                  </a:cubicBezTo>
                  <a:cubicBezTo>
                    <a:pt x="476" y="507"/>
                    <a:pt x="479" y="507"/>
                    <a:pt x="482" y="507"/>
                  </a:cubicBezTo>
                  <a:cubicBezTo>
                    <a:pt x="484" y="507"/>
                    <a:pt x="487" y="508"/>
                    <a:pt x="489" y="507"/>
                  </a:cubicBezTo>
                  <a:cubicBezTo>
                    <a:pt x="491" y="506"/>
                    <a:pt x="491" y="505"/>
                    <a:pt x="492" y="503"/>
                  </a:cubicBezTo>
                  <a:cubicBezTo>
                    <a:pt x="495" y="499"/>
                    <a:pt x="501" y="496"/>
                    <a:pt x="506" y="496"/>
                  </a:cubicBezTo>
                  <a:cubicBezTo>
                    <a:pt x="508" y="495"/>
                    <a:pt x="510" y="496"/>
                    <a:pt x="513" y="495"/>
                  </a:cubicBezTo>
                  <a:cubicBezTo>
                    <a:pt x="515" y="495"/>
                    <a:pt x="517" y="493"/>
                    <a:pt x="519" y="493"/>
                  </a:cubicBezTo>
                  <a:cubicBezTo>
                    <a:pt x="520" y="493"/>
                    <a:pt x="522" y="494"/>
                    <a:pt x="523" y="495"/>
                  </a:cubicBezTo>
                  <a:cubicBezTo>
                    <a:pt x="524" y="495"/>
                    <a:pt x="528" y="495"/>
                    <a:pt x="529" y="495"/>
                  </a:cubicBezTo>
                  <a:cubicBezTo>
                    <a:pt x="533" y="496"/>
                    <a:pt x="533" y="495"/>
                    <a:pt x="535" y="492"/>
                  </a:cubicBezTo>
                  <a:cubicBezTo>
                    <a:pt x="537" y="489"/>
                    <a:pt x="538" y="489"/>
                    <a:pt x="538" y="486"/>
                  </a:cubicBezTo>
                  <a:cubicBezTo>
                    <a:pt x="538" y="485"/>
                    <a:pt x="537" y="483"/>
                    <a:pt x="539" y="481"/>
                  </a:cubicBezTo>
                  <a:cubicBezTo>
                    <a:pt x="543" y="484"/>
                    <a:pt x="541" y="491"/>
                    <a:pt x="542" y="495"/>
                  </a:cubicBezTo>
                  <a:cubicBezTo>
                    <a:pt x="545" y="495"/>
                    <a:pt x="548" y="494"/>
                    <a:pt x="550" y="496"/>
                  </a:cubicBezTo>
                  <a:cubicBezTo>
                    <a:pt x="553" y="497"/>
                    <a:pt x="558" y="502"/>
                    <a:pt x="557" y="505"/>
                  </a:cubicBezTo>
                  <a:cubicBezTo>
                    <a:pt x="552" y="506"/>
                    <a:pt x="547" y="503"/>
                    <a:pt x="543" y="502"/>
                  </a:cubicBezTo>
                  <a:cubicBezTo>
                    <a:pt x="540" y="502"/>
                    <a:pt x="537" y="501"/>
                    <a:pt x="534" y="501"/>
                  </a:cubicBezTo>
                  <a:cubicBezTo>
                    <a:pt x="532" y="501"/>
                    <a:pt x="521" y="502"/>
                    <a:pt x="521" y="506"/>
                  </a:cubicBezTo>
                  <a:cubicBezTo>
                    <a:pt x="526" y="507"/>
                    <a:pt x="529" y="510"/>
                    <a:pt x="533" y="512"/>
                  </a:cubicBezTo>
                  <a:cubicBezTo>
                    <a:pt x="535" y="514"/>
                    <a:pt x="539" y="516"/>
                    <a:pt x="537" y="519"/>
                  </a:cubicBezTo>
                  <a:cubicBezTo>
                    <a:pt x="536" y="521"/>
                    <a:pt x="532" y="519"/>
                    <a:pt x="531" y="521"/>
                  </a:cubicBezTo>
                  <a:cubicBezTo>
                    <a:pt x="528" y="525"/>
                    <a:pt x="533" y="524"/>
                    <a:pt x="534" y="525"/>
                  </a:cubicBezTo>
                  <a:cubicBezTo>
                    <a:pt x="537" y="526"/>
                    <a:pt x="538" y="528"/>
                    <a:pt x="540" y="530"/>
                  </a:cubicBezTo>
                  <a:cubicBezTo>
                    <a:pt x="542" y="532"/>
                    <a:pt x="545" y="533"/>
                    <a:pt x="548" y="534"/>
                  </a:cubicBezTo>
                  <a:cubicBezTo>
                    <a:pt x="550" y="535"/>
                    <a:pt x="552" y="536"/>
                    <a:pt x="555" y="536"/>
                  </a:cubicBezTo>
                  <a:cubicBezTo>
                    <a:pt x="557" y="537"/>
                    <a:pt x="558" y="536"/>
                    <a:pt x="560" y="536"/>
                  </a:cubicBezTo>
                  <a:cubicBezTo>
                    <a:pt x="563" y="537"/>
                    <a:pt x="563" y="540"/>
                    <a:pt x="566" y="542"/>
                  </a:cubicBezTo>
                  <a:cubicBezTo>
                    <a:pt x="569" y="543"/>
                    <a:pt x="569" y="540"/>
                    <a:pt x="571" y="538"/>
                  </a:cubicBezTo>
                  <a:cubicBezTo>
                    <a:pt x="574" y="537"/>
                    <a:pt x="578" y="539"/>
                    <a:pt x="581" y="539"/>
                  </a:cubicBezTo>
                  <a:cubicBezTo>
                    <a:pt x="584" y="539"/>
                    <a:pt x="586" y="540"/>
                    <a:pt x="589" y="540"/>
                  </a:cubicBezTo>
                  <a:cubicBezTo>
                    <a:pt x="591" y="540"/>
                    <a:pt x="595" y="540"/>
                    <a:pt x="597" y="540"/>
                  </a:cubicBezTo>
                  <a:cubicBezTo>
                    <a:pt x="599" y="540"/>
                    <a:pt x="603" y="540"/>
                    <a:pt x="604" y="539"/>
                  </a:cubicBezTo>
                  <a:cubicBezTo>
                    <a:pt x="606" y="538"/>
                    <a:pt x="608" y="535"/>
                    <a:pt x="610" y="535"/>
                  </a:cubicBezTo>
                  <a:cubicBezTo>
                    <a:pt x="612" y="534"/>
                    <a:pt x="616" y="534"/>
                    <a:pt x="618" y="534"/>
                  </a:cubicBezTo>
                  <a:cubicBezTo>
                    <a:pt x="618" y="537"/>
                    <a:pt x="621" y="537"/>
                    <a:pt x="622" y="538"/>
                  </a:cubicBezTo>
                  <a:cubicBezTo>
                    <a:pt x="624" y="540"/>
                    <a:pt x="623" y="542"/>
                    <a:pt x="627" y="542"/>
                  </a:cubicBezTo>
                  <a:cubicBezTo>
                    <a:pt x="632" y="541"/>
                    <a:pt x="633" y="533"/>
                    <a:pt x="637" y="532"/>
                  </a:cubicBezTo>
                  <a:cubicBezTo>
                    <a:pt x="637" y="532"/>
                    <a:pt x="637" y="532"/>
                    <a:pt x="637" y="531"/>
                  </a:cubicBezTo>
                  <a:cubicBezTo>
                    <a:pt x="634" y="526"/>
                    <a:pt x="640" y="526"/>
                    <a:pt x="642" y="526"/>
                  </a:cubicBezTo>
                  <a:cubicBezTo>
                    <a:pt x="646" y="526"/>
                    <a:pt x="647" y="524"/>
                    <a:pt x="650" y="526"/>
                  </a:cubicBezTo>
                  <a:cubicBezTo>
                    <a:pt x="653" y="528"/>
                    <a:pt x="654" y="534"/>
                    <a:pt x="658" y="536"/>
                  </a:cubicBezTo>
                  <a:cubicBezTo>
                    <a:pt x="661" y="537"/>
                    <a:pt x="663" y="535"/>
                    <a:pt x="666" y="535"/>
                  </a:cubicBezTo>
                  <a:cubicBezTo>
                    <a:pt x="668" y="535"/>
                    <a:pt x="669" y="536"/>
                    <a:pt x="671" y="536"/>
                  </a:cubicBezTo>
                  <a:cubicBezTo>
                    <a:pt x="676" y="536"/>
                    <a:pt x="678" y="531"/>
                    <a:pt x="675" y="527"/>
                  </a:cubicBezTo>
                  <a:cubicBezTo>
                    <a:pt x="678" y="527"/>
                    <a:pt x="681" y="528"/>
                    <a:pt x="683" y="529"/>
                  </a:cubicBezTo>
                  <a:cubicBezTo>
                    <a:pt x="686" y="530"/>
                    <a:pt x="690" y="533"/>
                    <a:pt x="692" y="533"/>
                  </a:cubicBezTo>
                  <a:cubicBezTo>
                    <a:pt x="693" y="533"/>
                    <a:pt x="694" y="533"/>
                    <a:pt x="695" y="533"/>
                  </a:cubicBezTo>
                  <a:cubicBezTo>
                    <a:pt x="695" y="533"/>
                    <a:pt x="695" y="532"/>
                    <a:pt x="696" y="532"/>
                  </a:cubicBezTo>
                  <a:cubicBezTo>
                    <a:pt x="696" y="533"/>
                    <a:pt x="695" y="533"/>
                    <a:pt x="695" y="533"/>
                  </a:cubicBezTo>
                  <a:cubicBezTo>
                    <a:pt x="693" y="535"/>
                    <a:pt x="691" y="537"/>
                    <a:pt x="690" y="539"/>
                  </a:cubicBezTo>
                  <a:cubicBezTo>
                    <a:pt x="688" y="541"/>
                    <a:pt x="687" y="542"/>
                    <a:pt x="688" y="545"/>
                  </a:cubicBezTo>
                  <a:cubicBezTo>
                    <a:pt x="692" y="545"/>
                    <a:pt x="696" y="544"/>
                    <a:pt x="698" y="540"/>
                  </a:cubicBezTo>
                  <a:cubicBezTo>
                    <a:pt x="698" y="538"/>
                    <a:pt x="698" y="535"/>
                    <a:pt x="698" y="533"/>
                  </a:cubicBezTo>
                  <a:cubicBezTo>
                    <a:pt x="700" y="533"/>
                    <a:pt x="701" y="532"/>
                    <a:pt x="702" y="532"/>
                  </a:cubicBezTo>
                  <a:cubicBezTo>
                    <a:pt x="705" y="531"/>
                    <a:pt x="707" y="530"/>
                    <a:pt x="709" y="530"/>
                  </a:cubicBezTo>
                  <a:cubicBezTo>
                    <a:pt x="712" y="529"/>
                    <a:pt x="719" y="527"/>
                    <a:pt x="721" y="525"/>
                  </a:cubicBezTo>
                  <a:cubicBezTo>
                    <a:pt x="723" y="522"/>
                    <a:pt x="722" y="518"/>
                    <a:pt x="722" y="515"/>
                  </a:cubicBezTo>
                  <a:cubicBezTo>
                    <a:pt x="723" y="513"/>
                    <a:pt x="723" y="510"/>
                    <a:pt x="724" y="509"/>
                  </a:cubicBezTo>
                  <a:cubicBezTo>
                    <a:pt x="725" y="508"/>
                    <a:pt x="728" y="505"/>
                    <a:pt x="730" y="506"/>
                  </a:cubicBezTo>
                  <a:cubicBezTo>
                    <a:pt x="734" y="508"/>
                    <a:pt x="729" y="514"/>
                    <a:pt x="736" y="512"/>
                  </a:cubicBezTo>
                  <a:cubicBezTo>
                    <a:pt x="737" y="510"/>
                    <a:pt x="737" y="507"/>
                    <a:pt x="737" y="506"/>
                  </a:cubicBezTo>
                  <a:cubicBezTo>
                    <a:pt x="736" y="504"/>
                    <a:pt x="734" y="503"/>
                    <a:pt x="734" y="501"/>
                  </a:cubicBezTo>
                  <a:cubicBezTo>
                    <a:pt x="733" y="499"/>
                    <a:pt x="733" y="493"/>
                    <a:pt x="734" y="490"/>
                  </a:cubicBezTo>
                  <a:cubicBezTo>
                    <a:pt x="737" y="489"/>
                    <a:pt x="740" y="501"/>
                    <a:pt x="742" y="502"/>
                  </a:cubicBezTo>
                  <a:cubicBezTo>
                    <a:pt x="746" y="506"/>
                    <a:pt x="752" y="500"/>
                    <a:pt x="754" y="497"/>
                  </a:cubicBezTo>
                  <a:cubicBezTo>
                    <a:pt x="758" y="491"/>
                    <a:pt x="761" y="484"/>
                    <a:pt x="769" y="482"/>
                  </a:cubicBezTo>
                  <a:cubicBezTo>
                    <a:pt x="772" y="482"/>
                    <a:pt x="775" y="482"/>
                    <a:pt x="778" y="482"/>
                  </a:cubicBezTo>
                  <a:cubicBezTo>
                    <a:pt x="781" y="482"/>
                    <a:pt x="784" y="483"/>
                    <a:pt x="786" y="483"/>
                  </a:cubicBezTo>
                  <a:cubicBezTo>
                    <a:pt x="792" y="485"/>
                    <a:pt x="791" y="482"/>
                    <a:pt x="796" y="479"/>
                  </a:cubicBezTo>
                  <a:cubicBezTo>
                    <a:pt x="797" y="478"/>
                    <a:pt x="800" y="478"/>
                    <a:pt x="801" y="478"/>
                  </a:cubicBezTo>
                  <a:cubicBezTo>
                    <a:pt x="805" y="477"/>
                    <a:pt x="809" y="477"/>
                    <a:pt x="813" y="477"/>
                  </a:cubicBezTo>
                  <a:cubicBezTo>
                    <a:pt x="816" y="476"/>
                    <a:pt x="821" y="475"/>
                    <a:pt x="823" y="477"/>
                  </a:cubicBezTo>
                  <a:cubicBezTo>
                    <a:pt x="824" y="473"/>
                    <a:pt x="832" y="470"/>
                    <a:pt x="836" y="469"/>
                  </a:cubicBezTo>
                  <a:cubicBezTo>
                    <a:pt x="839" y="468"/>
                    <a:pt x="846" y="470"/>
                    <a:pt x="848" y="467"/>
                  </a:cubicBezTo>
                  <a:cubicBezTo>
                    <a:pt x="851" y="470"/>
                    <a:pt x="856" y="461"/>
                    <a:pt x="857" y="459"/>
                  </a:cubicBezTo>
                  <a:cubicBezTo>
                    <a:pt x="860" y="456"/>
                    <a:pt x="861" y="454"/>
                    <a:pt x="865" y="453"/>
                  </a:cubicBezTo>
                  <a:cubicBezTo>
                    <a:pt x="867" y="453"/>
                    <a:pt x="870" y="453"/>
                    <a:pt x="872" y="453"/>
                  </a:cubicBezTo>
                  <a:cubicBezTo>
                    <a:pt x="876" y="452"/>
                    <a:pt x="879" y="449"/>
                    <a:pt x="883" y="448"/>
                  </a:cubicBezTo>
                  <a:cubicBezTo>
                    <a:pt x="886" y="448"/>
                    <a:pt x="889" y="449"/>
                    <a:pt x="892" y="448"/>
                  </a:cubicBezTo>
                  <a:cubicBezTo>
                    <a:pt x="895" y="448"/>
                    <a:pt x="898" y="448"/>
                    <a:pt x="901" y="447"/>
                  </a:cubicBezTo>
                  <a:cubicBezTo>
                    <a:pt x="905" y="447"/>
                    <a:pt x="907" y="446"/>
                    <a:pt x="910" y="443"/>
                  </a:cubicBezTo>
                  <a:cubicBezTo>
                    <a:pt x="912" y="442"/>
                    <a:pt x="914" y="441"/>
                    <a:pt x="916" y="441"/>
                  </a:cubicBezTo>
                  <a:cubicBezTo>
                    <a:pt x="919" y="440"/>
                    <a:pt x="920" y="444"/>
                    <a:pt x="923" y="444"/>
                  </a:cubicBezTo>
                  <a:cubicBezTo>
                    <a:pt x="924" y="444"/>
                    <a:pt x="926" y="443"/>
                    <a:pt x="927" y="442"/>
                  </a:cubicBezTo>
                  <a:cubicBezTo>
                    <a:pt x="922" y="441"/>
                    <a:pt x="918" y="438"/>
                    <a:pt x="912" y="437"/>
                  </a:cubicBezTo>
                  <a:cubicBezTo>
                    <a:pt x="907" y="437"/>
                    <a:pt x="906" y="438"/>
                    <a:pt x="906" y="432"/>
                  </a:cubicBezTo>
                  <a:cubicBezTo>
                    <a:pt x="905" y="427"/>
                    <a:pt x="904" y="422"/>
                    <a:pt x="905" y="417"/>
                  </a:cubicBezTo>
                  <a:cubicBezTo>
                    <a:pt x="906" y="414"/>
                    <a:pt x="908" y="410"/>
                    <a:pt x="911" y="408"/>
                  </a:cubicBezTo>
                  <a:cubicBezTo>
                    <a:pt x="914" y="407"/>
                    <a:pt x="915" y="407"/>
                    <a:pt x="917" y="405"/>
                  </a:cubicBezTo>
                  <a:cubicBezTo>
                    <a:pt x="919" y="403"/>
                    <a:pt x="920" y="402"/>
                    <a:pt x="923" y="401"/>
                  </a:cubicBezTo>
                  <a:cubicBezTo>
                    <a:pt x="926" y="400"/>
                    <a:pt x="931" y="403"/>
                    <a:pt x="934" y="401"/>
                  </a:cubicBezTo>
                  <a:cubicBezTo>
                    <a:pt x="938" y="399"/>
                    <a:pt x="935" y="394"/>
                    <a:pt x="937" y="391"/>
                  </a:cubicBezTo>
                  <a:cubicBezTo>
                    <a:pt x="939" y="389"/>
                    <a:pt x="943" y="390"/>
                    <a:pt x="946" y="390"/>
                  </a:cubicBezTo>
                  <a:cubicBezTo>
                    <a:pt x="947" y="390"/>
                    <a:pt x="949" y="389"/>
                    <a:pt x="949" y="389"/>
                  </a:cubicBezTo>
                  <a:cubicBezTo>
                    <a:pt x="951" y="389"/>
                    <a:pt x="952" y="391"/>
                    <a:pt x="954" y="391"/>
                  </a:cubicBezTo>
                  <a:cubicBezTo>
                    <a:pt x="955" y="391"/>
                    <a:pt x="957" y="389"/>
                    <a:pt x="958" y="389"/>
                  </a:cubicBezTo>
                  <a:cubicBezTo>
                    <a:pt x="961" y="387"/>
                    <a:pt x="964" y="387"/>
                    <a:pt x="967" y="387"/>
                  </a:cubicBezTo>
                  <a:cubicBezTo>
                    <a:pt x="972" y="387"/>
                    <a:pt x="976" y="387"/>
                    <a:pt x="979" y="388"/>
                  </a:cubicBezTo>
                  <a:cubicBezTo>
                    <a:pt x="984" y="390"/>
                    <a:pt x="987" y="391"/>
                    <a:pt x="992" y="387"/>
                  </a:cubicBezTo>
                  <a:cubicBezTo>
                    <a:pt x="993" y="386"/>
                    <a:pt x="994" y="384"/>
                    <a:pt x="995" y="383"/>
                  </a:cubicBezTo>
                  <a:cubicBezTo>
                    <a:pt x="997" y="382"/>
                    <a:pt x="998" y="382"/>
                    <a:pt x="999" y="381"/>
                  </a:cubicBezTo>
                  <a:cubicBezTo>
                    <a:pt x="1001" y="379"/>
                    <a:pt x="1000" y="379"/>
                    <a:pt x="1001" y="377"/>
                  </a:cubicBezTo>
                  <a:cubicBezTo>
                    <a:pt x="1002" y="371"/>
                    <a:pt x="1000" y="365"/>
                    <a:pt x="1002" y="359"/>
                  </a:cubicBezTo>
                  <a:cubicBezTo>
                    <a:pt x="1003" y="357"/>
                    <a:pt x="1005" y="355"/>
                    <a:pt x="1006" y="353"/>
                  </a:cubicBezTo>
                  <a:cubicBezTo>
                    <a:pt x="1007" y="352"/>
                    <a:pt x="1010" y="352"/>
                    <a:pt x="1009" y="349"/>
                  </a:cubicBezTo>
                  <a:cubicBezTo>
                    <a:pt x="1005" y="349"/>
                    <a:pt x="1004" y="349"/>
                    <a:pt x="1002" y="346"/>
                  </a:cubicBezTo>
                  <a:cubicBezTo>
                    <a:pt x="1002" y="347"/>
                    <a:pt x="1001" y="347"/>
                    <a:pt x="1001" y="347"/>
                  </a:cubicBezTo>
                  <a:cubicBezTo>
                    <a:pt x="998" y="342"/>
                    <a:pt x="998" y="336"/>
                    <a:pt x="997" y="331"/>
                  </a:cubicBezTo>
                  <a:cubicBezTo>
                    <a:pt x="995" y="331"/>
                    <a:pt x="994" y="331"/>
                    <a:pt x="992" y="331"/>
                  </a:cubicBezTo>
                  <a:cubicBezTo>
                    <a:pt x="991" y="326"/>
                    <a:pt x="992" y="319"/>
                    <a:pt x="992" y="314"/>
                  </a:cubicBezTo>
                  <a:cubicBezTo>
                    <a:pt x="992" y="313"/>
                    <a:pt x="991" y="308"/>
                    <a:pt x="992" y="306"/>
                  </a:cubicBezTo>
                  <a:cubicBezTo>
                    <a:pt x="994" y="302"/>
                    <a:pt x="1014" y="306"/>
                    <a:pt x="1011" y="300"/>
                  </a:cubicBezTo>
                  <a:cubicBezTo>
                    <a:pt x="1010" y="297"/>
                    <a:pt x="1003" y="298"/>
                    <a:pt x="1001" y="298"/>
                  </a:cubicBezTo>
                  <a:cubicBezTo>
                    <a:pt x="995" y="298"/>
                    <a:pt x="993" y="295"/>
                    <a:pt x="988" y="291"/>
                  </a:cubicBezTo>
                  <a:cubicBezTo>
                    <a:pt x="983" y="287"/>
                    <a:pt x="982" y="283"/>
                    <a:pt x="990" y="282"/>
                  </a:cubicBezTo>
                  <a:cubicBezTo>
                    <a:pt x="996" y="282"/>
                    <a:pt x="1002" y="283"/>
                    <a:pt x="1008" y="282"/>
                  </a:cubicBezTo>
                  <a:cubicBezTo>
                    <a:pt x="1008" y="280"/>
                    <a:pt x="1008" y="278"/>
                    <a:pt x="1009" y="276"/>
                  </a:cubicBezTo>
                  <a:cubicBezTo>
                    <a:pt x="1012" y="269"/>
                    <a:pt x="1018" y="273"/>
                    <a:pt x="1024" y="269"/>
                  </a:cubicBezTo>
                  <a:cubicBezTo>
                    <a:pt x="1026" y="267"/>
                    <a:pt x="1026" y="266"/>
                    <a:pt x="1024" y="264"/>
                  </a:cubicBezTo>
                  <a:moveTo>
                    <a:pt x="134" y="165"/>
                  </a:moveTo>
                  <a:cubicBezTo>
                    <a:pt x="134" y="165"/>
                    <a:pt x="134" y="165"/>
                    <a:pt x="134" y="165"/>
                  </a:cubicBezTo>
                  <a:cubicBezTo>
                    <a:pt x="134" y="165"/>
                    <a:pt x="134" y="165"/>
                    <a:pt x="133" y="165"/>
                  </a:cubicBezTo>
                  <a:lnTo>
                    <a:pt x="134" y="16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6" name="Freeform 6"/>
            <p:cNvSpPr>
              <a:spLocks/>
            </p:cNvSpPr>
            <p:nvPr/>
          </p:nvSpPr>
          <p:spPr bwMode="auto">
            <a:xfrm>
              <a:off x="3535363" y="5638800"/>
              <a:ext cx="84138" cy="50800"/>
            </a:xfrm>
            <a:custGeom>
              <a:avLst/>
              <a:gdLst/>
              <a:ahLst/>
              <a:cxnLst>
                <a:cxn ang="0">
                  <a:pos x="17" y="3"/>
                </a:cxn>
                <a:cxn ang="0">
                  <a:pos x="15" y="1"/>
                </a:cxn>
                <a:cxn ang="0">
                  <a:pos x="13" y="0"/>
                </a:cxn>
                <a:cxn ang="0">
                  <a:pos x="10" y="4"/>
                </a:cxn>
                <a:cxn ang="0">
                  <a:pos x="9" y="5"/>
                </a:cxn>
                <a:cxn ang="0">
                  <a:pos x="8" y="6"/>
                </a:cxn>
                <a:cxn ang="0">
                  <a:pos x="7" y="6"/>
                </a:cxn>
                <a:cxn ang="0">
                  <a:pos x="7" y="7"/>
                </a:cxn>
                <a:cxn ang="0">
                  <a:pos x="1" y="10"/>
                </a:cxn>
                <a:cxn ang="0">
                  <a:pos x="1" y="14"/>
                </a:cxn>
                <a:cxn ang="0">
                  <a:pos x="5" y="19"/>
                </a:cxn>
                <a:cxn ang="0">
                  <a:pos x="9" y="22"/>
                </a:cxn>
                <a:cxn ang="0">
                  <a:pos x="15" y="22"/>
                </a:cxn>
                <a:cxn ang="0">
                  <a:pos x="18" y="22"/>
                </a:cxn>
                <a:cxn ang="0">
                  <a:pos x="20" y="21"/>
                </a:cxn>
                <a:cxn ang="0">
                  <a:pos x="22" y="21"/>
                </a:cxn>
                <a:cxn ang="0">
                  <a:pos x="25" y="21"/>
                </a:cxn>
                <a:cxn ang="0">
                  <a:pos x="29" y="22"/>
                </a:cxn>
                <a:cxn ang="0">
                  <a:pos x="32" y="24"/>
                </a:cxn>
                <a:cxn ang="0">
                  <a:pos x="39" y="26"/>
                </a:cxn>
                <a:cxn ang="0">
                  <a:pos x="44" y="25"/>
                </a:cxn>
                <a:cxn ang="0">
                  <a:pos x="44" y="19"/>
                </a:cxn>
                <a:cxn ang="0">
                  <a:pos x="43" y="16"/>
                </a:cxn>
                <a:cxn ang="0">
                  <a:pos x="42" y="13"/>
                </a:cxn>
                <a:cxn ang="0">
                  <a:pos x="38" y="10"/>
                </a:cxn>
                <a:cxn ang="0">
                  <a:pos x="35" y="9"/>
                </a:cxn>
                <a:cxn ang="0">
                  <a:pos x="33" y="9"/>
                </a:cxn>
                <a:cxn ang="0">
                  <a:pos x="27" y="5"/>
                </a:cxn>
                <a:cxn ang="0">
                  <a:pos x="23" y="4"/>
                </a:cxn>
                <a:cxn ang="0">
                  <a:pos x="20" y="3"/>
                </a:cxn>
                <a:cxn ang="0">
                  <a:pos x="17" y="3"/>
                </a:cxn>
              </a:cxnLst>
              <a:rect l="0" t="0" r="r" b="b"/>
              <a:pathLst>
                <a:path w="45" h="27">
                  <a:moveTo>
                    <a:pt x="17" y="3"/>
                  </a:moveTo>
                  <a:cubicBezTo>
                    <a:pt x="17" y="2"/>
                    <a:pt x="16" y="2"/>
                    <a:pt x="15" y="1"/>
                  </a:cubicBezTo>
                  <a:cubicBezTo>
                    <a:pt x="14" y="1"/>
                    <a:pt x="13" y="0"/>
                    <a:pt x="13" y="0"/>
                  </a:cubicBezTo>
                  <a:cubicBezTo>
                    <a:pt x="11" y="1"/>
                    <a:pt x="11" y="2"/>
                    <a:pt x="10" y="4"/>
                  </a:cubicBezTo>
                  <a:cubicBezTo>
                    <a:pt x="10" y="4"/>
                    <a:pt x="10" y="5"/>
                    <a:pt x="9" y="5"/>
                  </a:cubicBezTo>
                  <a:cubicBezTo>
                    <a:pt x="9" y="5"/>
                    <a:pt x="9" y="6"/>
                    <a:pt x="8" y="6"/>
                  </a:cubicBezTo>
                  <a:cubicBezTo>
                    <a:pt x="8" y="6"/>
                    <a:pt x="8" y="6"/>
                    <a:pt x="7" y="6"/>
                  </a:cubicBezTo>
                  <a:cubicBezTo>
                    <a:pt x="7" y="6"/>
                    <a:pt x="7" y="6"/>
                    <a:pt x="7" y="7"/>
                  </a:cubicBezTo>
                  <a:cubicBezTo>
                    <a:pt x="5" y="8"/>
                    <a:pt x="2" y="8"/>
                    <a:pt x="1" y="10"/>
                  </a:cubicBezTo>
                  <a:cubicBezTo>
                    <a:pt x="0" y="11"/>
                    <a:pt x="0" y="13"/>
                    <a:pt x="1" y="14"/>
                  </a:cubicBezTo>
                  <a:cubicBezTo>
                    <a:pt x="1" y="16"/>
                    <a:pt x="3" y="17"/>
                    <a:pt x="5" y="19"/>
                  </a:cubicBezTo>
                  <a:cubicBezTo>
                    <a:pt x="6" y="20"/>
                    <a:pt x="7" y="21"/>
                    <a:pt x="9" y="22"/>
                  </a:cubicBezTo>
                  <a:cubicBezTo>
                    <a:pt x="11" y="22"/>
                    <a:pt x="13" y="22"/>
                    <a:pt x="15" y="22"/>
                  </a:cubicBezTo>
                  <a:cubicBezTo>
                    <a:pt x="16" y="23"/>
                    <a:pt x="17" y="23"/>
                    <a:pt x="18" y="22"/>
                  </a:cubicBezTo>
                  <a:cubicBezTo>
                    <a:pt x="19" y="22"/>
                    <a:pt x="19" y="22"/>
                    <a:pt x="20" y="21"/>
                  </a:cubicBezTo>
                  <a:cubicBezTo>
                    <a:pt x="20" y="21"/>
                    <a:pt x="21" y="21"/>
                    <a:pt x="22" y="21"/>
                  </a:cubicBezTo>
                  <a:cubicBezTo>
                    <a:pt x="23" y="21"/>
                    <a:pt x="24" y="21"/>
                    <a:pt x="25" y="21"/>
                  </a:cubicBezTo>
                  <a:cubicBezTo>
                    <a:pt x="27" y="21"/>
                    <a:pt x="28" y="22"/>
                    <a:pt x="29" y="22"/>
                  </a:cubicBezTo>
                  <a:cubicBezTo>
                    <a:pt x="30" y="22"/>
                    <a:pt x="31" y="23"/>
                    <a:pt x="32" y="24"/>
                  </a:cubicBezTo>
                  <a:cubicBezTo>
                    <a:pt x="34" y="25"/>
                    <a:pt x="36" y="26"/>
                    <a:pt x="39" y="26"/>
                  </a:cubicBezTo>
                  <a:cubicBezTo>
                    <a:pt x="40" y="27"/>
                    <a:pt x="43" y="27"/>
                    <a:pt x="44" y="25"/>
                  </a:cubicBezTo>
                  <a:cubicBezTo>
                    <a:pt x="45" y="23"/>
                    <a:pt x="44" y="21"/>
                    <a:pt x="44" y="19"/>
                  </a:cubicBezTo>
                  <a:cubicBezTo>
                    <a:pt x="43" y="18"/>
                    <a:pt x="43" y="17"/>
                    <a:pt x="43" y="16"/>
                  </a:cubicBezTo>
                  <a:cubicBezTo>
                    <a:pt x="43" y="15"/>
                    <a:pt x="43" y="14"/>
                    <a:pt x="42" y="13"/>
                  </a:cubicBezTo>
                  <a:cubicBezTo>
                    <a:pt x="41" y="11"/>
                    <a:pt x="39" y="11"/>
                    <a:pt x="38" y="10"/>
                  </a:cubicBezTo>
                  <a:cubicBezTo>
                    <a:pt x="37" y="10"/>
                    <a:pt x="36" y="9"/>
                    <a:pt x="35" y="9"/>
                  </a:cubicBezTo>
                  <a:cubicBezTo>
                    <a:pt x="34" y="9"/>
                    <a:pt x="34" y="9"/>
                    <a:pt x="33" y="9"/>
                  </a:cubicBezTo>
                  <a:cubicBezTo>
                    <a:pt x="31" y="8"/>
                    <a:pt x="29" y="6"/>
                    <a:pt x="27" y="5"/>
                  </a:cubicBezTo>
                  <a:cubicBezTo>
                    <a:pt x="26" y="5"/>
                    <a:pt x="24" y="5"/>
                    <a:pt x="23" y="4"/>
                  </a:cubicBezTo>
                  <a:cubicBezTo>
                    <a:pt x="22" y="4"/>
                    <a:pt x="21" y="4"/>
                    <a:pt x="20" y="3"/>
                  </a:cubicBezTo>
                  <a:cubicBezTo>
                    <a:pt x="20" y="3"/>
                    <a:pt x="19" y="4"/>
                    <a:pt x="17" y="3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7" name="Freeform 7"/>
            <p:cNvSpPr>
              <a:spLocks noEditPoints="1"/>
            </p:cNvSpPr>
            <p:nvPr/>
          </p:nvSpPr>
          <p:spPr bwMode="auto">
            <a:xfrm>
              <a:off x="2355850" y="3716338"/>
              <a:ext cx="463550" cy="674688"/>
            </a:xfrm>
            <a:custGeom>
              <a:avLst/>
              <a:gdLst/>
              <a:ahLst/>
              <a:cxnLst>
                <a:cxn ang="0">
                  <a:pos x="182" y="8"/>
                </a:cxn>
                <a:cxn ang="0">
                  <a:pos x="163" y="8"/>
                </a:cxn>
                <a:cxn ang="0">
                  <a:pos x="124" y="24"/>
                </a:cxn>
                <a:cxn ang="0">
                  <a:pos x="114" y="53"/>
                </a:cxn>
                <a:cxn ang="0">
                  <a:pos x="94" y="68"/>
                </a:cxn>
                <a:cxn ang="0">
                  <a:pos x="127" y="72"/>
                </a:cxn>
                <a:cxn ang="0">
                  <a:pos x="110" y="90"/>
                </a:cxn>
                <a:cxn ang="0">
                  <a:pos x="100" y="105"/>
                </a:cxn>
                <a:cxn ang="0">
                  <a:pos x="75" y="113"/>
                </a:cxn>
                <a:cxn ang="0">
                  <a:pos x="33" y="106"/>
                </a:cxn>
                <a:cxn ang="0">
                  <a:pos x="31" y="131"/>
                </a:cxn>
                <a:cxn ang="0">
                  <a:pos x="14" y="139"/>
                </a:cxn>
                <a:cxn ang="0">
                  <a:pos x="40" y="142"/>
                </a:cxn>
                <a:cxn ang="0">
                  <a:pos x="35" y="153"/>
                </a:cxn>
                <a:cxn ang="0">
                  <a:pos x="24" y="179"/>
                </a:cxn>
                <a:cxn ang="0">
                  <a:pos x="37" y="189"/>
                </a:cxn>
                <a:cxn ang="0">
                  <a:pos x="45" y="197"/>
                </a:cxn>
                <a:cxn ang="0">
                  <a:pos x="74" y="214"/>
                </a:cxn>
                <a:cxn ang="0">
                  <a:pos x="55" y="240"/>
                </a:cxn>
                <a:cxn ang="0">
                  <a:pos x="39" y="257"/>
                </a:cxn>
                <a:cxn ang="0">
                  <a:pos x="70" y="260"/>
                </a:cxn>
                <a:cxn ang="0">
                  <a:pos x="40" y="289"/>
                </a:cxn>
                <a:cxn ang="0">
                  <a:pos x="4" y="292"/>
                </a:cxn>
                <a:cxn ang="0">
                  <a:pos x="24" y="304"/>
                </a:cxn>
                <a:cxn ang="0">
                  <a:pos x="23" y="310"/>
                </a:cxn>
                <a:cxn ang="0">
                  <a:pos x="10" y="331"/>
                </a:cxn>
                <a:cxn ang="0">
                  <a:pos x="51" y="325"/>
                </a:cxn>
                <a:cxn ang="0">
                  <a:pos x="19" y="346"/>
                </a:cxn>
                <a:cxn ang="0">
                  <a:pos x="56" y="341"/>
                </a:cxn>
                <a:cxn ang="0">
                  <a:pos x="60" y="357"/>
                </a:cxn>
                <a:cxn ang="0">
                  <a:pos x="104" y="344"/>
                </a:cxn>
                <a:cxn ang="0">
                  <a:pos x="134" y="322"/>
                </a:cxn>
                <a:cxn ang="0">
                  <a:pos x="173" y="302"/>
                </a:cxn>
                <a:cxn ang="0">
                  <a:pos x="208" y="294"/>
                </a:cxn>
                <a:cxn ang="0">
                  <a:pos x="219" y="277"/>
                </a:cxn>
                <a:cxn ang="0">
                  <a:pos x="238" y="240"/>
                </a:cxn>
                <a:cxn ang="0">
                  <a:pos x="230" y="195"/>
                </a:cxn>
                <a:cxn ang="0">
                  <a:pos x="245" y="187"/>
                </a:cxn>
                <a:cxn ang="0">
                  <a:pos x="225" y="161"/>
                </a:cxn>
                <a:cxn ang="0">
                  <a:pos x="231" y="134"/>
                </a:cxn>
                <a:cxn ang="0">
                  <a:pos x="234" y="126"/>
                </a:cxn>
                <a:cxn ang="0">
                  <a:pos x="218" y="123"/>
                </a:cxn>
                <a:cxn ang="0">
                  <a:pos x="201" y="112"/>
                </a:cxn>
                <a:cxn ang="0">
                  <a:pos x="184" y="95"/>
                </a:cxn>
                <a:cxn ang="0">
                  <a:pos x="172" y="114"/>
                </a:cxn>
                <a:cxn ang="0">
                  <a:pos x="153" y="114"/>
                </a:cxn>
                <a:cxn ang="0">
                  <a:pos x="137" y="104"/>
                </a:cxn>
                <a:cxn ang="0">
                  <a:pos x="130" y="90"/>
                </a:cxn>
                <a:cxn ang="0">
                  <a:pos x="149" y="73"/>
                </a:cxn>
                <a:cxn ang="0">
                  <a:pos x="147" y="63"/>
                </a:cxn>
                <a:cxn ang="0">
                  <a:pos x="165" y="46"/>
                </a:cxn>
                <a:cxn ang="0">
                  <a:pos x="184" y="28"/>
                </a:cxn>
                <a:cxn ang="0">
                  <a:pos x="191" y="16"/>
                </a:cxn>
                <a:cxn ang="0">
                  <a:pos x="240" y="128"/>
                </a:cxn>
                <a:cxn ang="0">
                  <a:pos x="216" y="17"/>
                </a:cxn>
                <a:cxn ang="0">
                  <a:pos x="214" y="18"/>
                </a:cxn>
              </a:cxnLst>
              <a:rect l="0" t="0" r="r" b="b"/>
              <a:pathLst>
                <a:path w="248" h="361">
                  <a:moveTo>
                    <a:pt x="203" y="10"/>
                  </a:moveTo>
                  <a:cubicBezTo>
                    <a:pt x="201" y="10"/>
                    <a:pt x="199" y="10"/>
                    <a:pt x="198" y="10"/>
                  </a:cubicBezTo>
                  <a:cubicBezTo>
                    <a:pt x="197" y="10"/>
                    <a:pt x="195" y="11"/>
                    <a:pt x="194" y="10"/>
                  </a:cubicBezTo>
                  <a:cubicBezTo>
                    <a:pt x="191" y="10"/>
                    <a:pt x="189" y="8"/>
                    <a:pt x="187" y="8"/>
                  </a:cubicBezTo>
                  <a:cubicBezTo>
                    <a:pt x="185" y="8"/>
                    <a:pt x="183" y="9"/>
                    <a:pt x="182" y="8"/>
                  </a:cubicBezTo>
                  <a:cubicBezTo>
                    <a:pt x="180" y="7"/>
                    <a:pt x="181" y="6"/>
                    <a:pt x="179" y="5"/>
                  </a:cubicBezTo>
                  <a:cubicBezTo>
                    <a:pt x="178" y="4"/>
                    <a:pt x="176" y="4"/>
                    <a:pt x="175" y="4"/>
                  </a:cubicBezTo>
                  <a:cubicBezTo>
                    <a:pt x="172" y="4"/>
                    <a:pt x="172" y="4"/>
                    <a:pt x="170" y="3"/>
                  </a:cubicBezTo>
                  <a:cubicBezTo>
                    <a:pt x="168" y="2"/>
                    <a:pt x="167" y="0"/>
                    <a:pt x="165" y="3"/>
                  </a:cubicBezTo>
                  <a:cubicBezTo>
                    <a:pt x="163" y="4"/>
                    <a:pt x="165" y="7"/>
                    <a:pt x="163" y="8"/>
                  </a:cubicBezTo>
                  <a:cubicBezTo>
                    <a:pt x="162" y="9"/>
                    <a:pt x="160" y="8"/>
                    <a:pt x="159" y="8"/>
                  </a:cubicBezTo>
                  <a:cubicBezTo>
                    <a:pt x="154" y="8"/>
                    <a:pt x="137" y="8"/>
                    <a:pt x="138" y="16"/>
                  </a:cubicBezTo>
                  <a:cubicBezTo>
                    <a:pt x="135" y="17"/>
                    <a:pt x="133" y="13"/>
                    <a:pt x="131" y="11"/>
                  </a:cubicBezTo>
                  <a:cubicBezTo>
                    <a:pt x="128" y="14"/>
                    <a:pt x="133" y="21"/>
                    <a:pt x="128" y="24"/>
                  </a:cubicBezTo>
                  <a:cubicBezTo>
                    <a:pt x="127" y="24"/>
                    <a:pt x="125" y="24"/>
                    <a:pt x="124" y="24"/>
                  </a:cubicBezTo>
                  <a:cubicBezTo>
                    <a:pt x="123" y="24"/>
                    <a:pt x="122" y="25"/>
                    <a:pt x="121" y="26"/>
                  </a:cubicBezTo>
                  <a:cubicBezTo>
                    <a:pt x="120" y="26"/>
                    <a:pt x="117" y="25"/>
                    <a:pt x="116" y="26"/>
                  </a:cubicBezTo>
                  <a:cubicBezTo>
                    <a:pt x="112" y="29"/>
                    <a:pt x="116" y="34"/>
                    <a:pt x="112" y="37"/>
                  </a:cubicBezTo>
                  <a:cubicBezTo>
                    <a:pt x="110" y="39"/>
                    <a:pt x="104" y="40"/>
                    <a:pt x="105" y="46"/>
                  </a:cubicBezTo>
                  <a:cubicBezTo>
                    <a:pt x="109" y="46"/>
                    <a:pt x="115" y="48"/>
                    <a:pt x="114" y="53"/>
                  </a:cubicBezTo>
                  <a:cubicBezTo>
                    <a:pt x="112" y="58"/>
                    <a:pt x="109" y="54"/>
                    <a:pt x="106" y="55"/>
                  </a:cubicBezTo>
                  <a:cubicBezTo>
                    <a:pt x="103" y="55"/>
                    <a:pt x="104" y="55"/>
                    <a:pt x="103" y="57"/>
                  </a:cubicBezTo>
                  <a:cubicBezTo>
                    <a:pt x="103" y="58"/>
                    <a:pt x="103" y="58"/>
                    <a:pt x="103" y="59"/>
                  </a:cubicBezTo>
                  <a:cubicBezTo>
                    <a:pt x="102" y="60"/>
                    <a:pt x="102" y="59"/>
                    <a:pt x="101" y="60"/>
                  </a:cubicBezTo>
                  <a:cubicBezTo>
                    <a:pt x="98" y="62"/>
                    <a:pt x="96" y="65"/>
                    <a:pt x="94" y="68"/>
                  </a:cubicBezTo>
                  <a:cubicBezTo>
                    <a:pt x="91" y="71"/>
                    <a:pt x="88" y="75"/>
                    <a:pt x="94" y="76"/>
                  </a:cubicBezTo>
                  <a:cubicBezTo>
                    <a:pt x="96" y="77"/>
                    <a:pt x="98" y="76"/>
                    <a:pt x="100" y="76"/>
                  </a:cubicBezTo>
                  <a:cubicBezTo>
                    <a:pt x="102" y="76"/>
                    <a:pt x="103" y="78"/>
                    <a:pt x="105" y="78"/>
                  </a:cubicBezTo>
                  <a:cubicBezTo>
                    <a:pt x="110" y="80"/>
                    <a:pt x="112" y="77"/>
                    <a:pt x="117" y="76"/>
                  </a:cubicBezTo>
                  <a:cubicBezTo>
                    <a:pt x="120" y="75"/>
                    <a:pt x="123" y="74"/>
                    <a:pt x="127" y="72"/>
                  </a:cubicBezTo>
                  <a:cubicBezTo>
                    <a:pt x="127" y="75"/>
                    <a:pt x="127" y="76"/>
                    <a:pt x="126" y="77"/>
                  </a:cubicBezTo>
                  <a:cubicBezTo>
                    <a:pt x="124" y="80"/>
                    <a:pt x="123" y="80"/>
                    <a:pt x="122" y="83"/>
                  </a:cubicBezTo>
                  <a:cubicBezTo>
                    <a:pt x="121" y="85"/>
                    <a:pt x="122" y="85"/>
                    <a:pt x="120" y="86"/>
                  </a:cubicBezTo>
                  <a:cubicBezTo>
                    <a:pt x="119" y="87"/>
                    <a:pt x="117" y="87"/>
                    <a:pt x="115" y="88"/>
                  </a:cubicBezTo>
                  <a:cubicBezTo>
                    <a:pt x="113" y="88"/>
                    <a:pt x="112" y="90"/>
                    <a:pt x="110" y="90"/>
                  </a:cubicBezTo>
                  <a:cubicBezTo>
                    <a:pt x="109" y="91"/>
                    <a:pt x="108" y="90"/>
                    <a:pt x="107" y="90"/>
                  </a:cubicBezTo>
                  <a:cubicBezTo>
                    <a:pt x="106" y="91"/>
                    <a:pt x="106" y="92"/>
                    <a:pt x="105" y="93"/>
                  </a:cubicBezTo>
                  <a:cubicBezTo>
                    <a:pt x="103" y="95"/>
                    <a:pt x="98" y="97"/>
                    <a:pt x="99" y="100"/>
                  </a:cubicBezTo>
                  <a:cubicBezTo>
                    <a:pt x="100" y="100"/>
                    <a:pt x="101" y="100"/>
                    <a:pt x="102" y="100"/>
                  </a:cubicBezTo>
                  <a:cubicBezTo>
                    <a:pt x="103" y="103"/>
                    <a:pt x="103" y="104"/>
                    <a:pt x="100" y="105"/>
                  </a:cubicBezTo>
                  <a:cubicBezTo>
                    <a:pt x="99" y="106"/>
                    <a:pt x="97" y="105"/>
                    <a:pt x="96" y="105"/>
                  </a:cubicBezTo>
                  <a:cubicBezTo>
                    <a:pt x="94" y="106"/>
                    <a:pt x="94" y="106"/>
                    <a:pt x="93" y="106"/>
                  </a:cubicBezTo>
                  <a:cubicBezTo>
                    <a:pt x="90" y="107"/>
                    <a:pt x="90" y="105"/>
                    <a:pt x="87" y="104"/>
                  </a:cubicBezTo>
                  <a:cubicBezTo>
                    <a:pt x="85" y="104"/>
                    <a:pt x="82" y="104"/>
                    <a:pt x="80" y="105"/>
                  </a:cubicBezTo>
                  <a:cubicBezTo>
                    <a:pt x="79" y="108"/>
                    <a:pt x="80" y="114"/>
                    <a:pt x="75" y="113"/>
                  </a:cubicBezTo>
                  <a:cubicBezTo>
                    <a:pt x="69" y="112"/>
                    <a:pt x="72" y="105"/>
                    <a:pt x="66" y="103"/>
                  </a:cubicBezTo>
                  <a:cubicBezTo>
                    <a:pt x="61" y="103"/>
                    <a:pt x="57" y="103"/>
                    <a:pt x="52" y="102"/>
                  </a:cubicBezTo>
                  <a:cubicBezTo>
                    <a:pt x="49" y="102"/>
                    <a:pt x="46" y="101"/>
                    <a:pt x="43" y="101"/>
                  </a:cubicBezTo>
                  <a:cubicBezTo>
                    <a:pt x="40" y="101"/>
                    <a:pt x="37" y="102"/>
                    <a:pt x="33" y="102"/>
                  </a:cubicBezTo>
                  <a:cubicBezTo>
                    <a:pt x="33" y="103"/>
                    <a:pt x="33" y="105"/>
                    <a:pt x="33" y="106"/>
                  </a:cubicBezTo>
                  <a:cubicBezTo>
                    <a:pt x="29" y="107"/>
                    <a:pt x="25" y="107"/>
                    <a:pt x="22" y="111"/>
                  </a:cubicBezTo>
                  <a:cubicBezTo>
                    <a:pt x="20" y="115"/>
                    <a:pt x="17" y="123"/>
                    <a:pt x="20" y="126"/>
                  </a:cubicBezTo>
                  <a:cubicBezTo>
                    <a:pt x="21" y="125"/>
                    <a:pt x="22" y="123"/>
                    <a:pt x="23" y="122"/>
                  </a:cubicBezTo>
                  <a:cubicBezTo>
                    <a:pt x="24" y="120"/>
                    <a:pt x="27" y="117"/>
                    <a:pt x="29" y="117"/>
                  </a:cubicBezTo>
                  <a:cubicBezTo>
                    <a:pt x="33" y="117"/>
                    <a:pt x="32" y="128"/>
                    <a:pt x="31" y="131"/>
                  </a:cubicBezTo>
                  <a:cubicBezTo>
                    <a:pt x="35" y="133"/>
                    <a:pt x="39" y="132"/>
                    <a:pt x="42" y="134"/>
                  </a:cubicBezTo>
                  <a:cubicBezTo>
                    <a:pt x="40" y="137"/>
                    <a:pt x="32" y="136"/>
                    <a:pt x="30" y="134"/>
                  </a:cubicBezTo>
                  <a:cubicBezTo>
                    <a:pt x="27" y="133"/>
                    <a:pt x="28" y="132"/>
                    <a:pt x="24" y="131"/>
                  </a:cubicBezTo>
                  <a:cubicBezTo>
                    <a:pt x="21" y="131"/>
                    <a:pt x="18" y="131"/>
                    <a:pt x="16" y="132"/>
                  </a:cubicBezTo>
                  <a:cubicBezTo>
                    <a:pt x="14" y="133"/>
                    <a:pt x="12" y="136"/>
                    <a:pt x="14" y="139"/>
                  </a:cubicBezTo>
                  <a:cubicBezTo>
                    <a:pt x="16" y="141"/>
                    <a:pt x="19" y="138"/>
                    <a:pt x="21" y="139"/>
                  </a:cubicBezTo>
                  <a:cubicBezTo>
                    <a:pt x="22" y="140"/>
                    <a:pt x="23" y="141"/>
                    <a:pt x="24" y="142"/>
                  </a:cubicBezTo>
                  <a:cubicBezTo>
                    <a:pt x="25" y="144"/>
                    <a:pt x="25" y="143"/>
                    <a:pt x="27" y="144"/>
                  </a:cubicBezTo>
                  <a:cubicBezTo>
                    <a:pt x="31" y="146"/>
                    <a:pt x="34" y="147"/>
                    <a:pt x="38" y="146"/>
                  </a:cubicBezTo>
                  <a:cubicBezTo>
                    <a:pt x="38" y="145"/>
                    <a:pt x="39" y="143"/>
                    <a:pt x="40" y="142"/>
                  </a:cubicBezTo>
                  <a:cubicBezTo>
                    <a:pt x="42" y="141"/>
                    <a:pt x="45" y="142"/>
                    <a:pt x="45" y="145"/>
                  </a:cubicBezTo>
                  <a:cubicBezTo>
                    <a:pt x="45" y="145"/>
                    <a:pt x="46" y="145"/>
                    <a:pt x="47" y="145"/>
                  </a:cubicBezTo>
                  <a:cubicBezTo>
                    <a:pt x="47" y="147"/>
                    <a:pt x="46" y="150"/>
                    <a:pt x="44" y="151"/>
                  </a:cubicBezTo>
                  <a:cubicBezTo>
                    <a:pt x="42" y="151"/>
                    <a:pt x="41" y="150"/>
                    <a:pt x="39" y="151"/>
                  </a:cubicBezTo>
                  <a:cubicBezTo>
                    <a:pt x="38" y="151"/>
                    <a:pt x="36" y="153"/>
                    <a:pt x="35" y="153"/>
                  </a:cubicBezTo>
                  <a:cubicBezTo>
                    <a:pt x="32" y="155"/>
                    <a:pt x="32" y="155"/>
                    <a:pt x="32" y="159"/>
                  </a:cubicBezTo>
                  <a:cubicBezTo>
                    <a:pt x="31" y="162"/>
                    <a:pt x="32" y="165"/>
                    <a:pt x="31" y="169"/>
                  </a:cubicBezTo>
                  <a:cubicBezTo>
                    <a:pt x="29" y="169"/>
                    <a:pt x="26" y="168"/>
                    <a:pt x="24" y="169"/>
                  </a:cubicBezTo>
                  <a:cubicBezTo>
                    <a:pt x="21" y="169"/>
                    <a:pt x="18" y="173"/>
                    <a:pt x="19" y="176"/>
                  </a:cubicBezTo>
                  <a:cubicBezTo>
                    <a:pt x="21" y="176"/>
                    <a:pt x="25" y="176"/>
                    <a:pt x="24" y="179"/>
                  </a:cubicBezTo>
                  <a:cubicBezTo>
                    <a:pt x="21" y="179"/>
                    <a:pt x="21" y="182"/>
                    <a:pt x="18" y="182"/>
                  </a:cubicBezTo>
                  <a:cubicBezTo>
                    <a:pt x="17" y="185"/>
                    <a:pt x="18" y="185"/>
                    <a:pt x="20" y="187"/>
                  </a:cubicBezTo>
                  <a:cubicBezTo>
                    <a:pt x="21" y="188"/>
                    <a:pt x="25" y="190"/>
                    <a:pt x="26" y="190"/>
                  </a:cubicBezTo>
                  <a:cubicBezTo>
                    <a:pt x="28" y="191"/>
                    <a:pt x="30" y="191"/>
                    <a:pt x="31" y="191"/>
                  </a:cubicBezTo>
                  <a:cubicBezTo>
                    <a:pt x="33" y="190"/>
                    <a:pt x="34" y="188"/>
                    <a:pt x="37" y="189"/>
                  </a:cubicBezTo>
                  <a:cubicBezTo>
                    <a:pt x="37" y="190"/>
                    <a:pt x="37" y="191"/>
                    <a:pt x="37" y="192"/>
                  </a:cubicBezTo>
                  <a:cubicBezTo>
                    <a:pt x="36" y="191"/>
                    <a:pt x="35" y="192"/>
                    <a:pt x="34" y="192"/>
                  </a:cubicBezTo>
                  <a:cubicBezTo>
                    <a:pt x="34" y="194"/>
                    <a:pt x="35" y="197"/>
                    <a:pt x="38" y="196"/>
                  </a:cubicBezTo>
                  <a:cubicBezTo>
                    <a:pt x="39" y="195"/>
                    <a:pt x="41" y="191"/>
                    <a:pt x="43" y="191"/>
                  </a:cubicBezTo>
                  <a:cubicBezTo>
                    <a:pt x="45" y="191"/>
                    <a:pt x="44" y="196"/>
                    <a:pt x="45" y="197"/>
                  </a:cubicBezTo>
                  <a:cubicBezTo>
                    <a:pt x="46" y="199"/>
                    <a:pt x="51" y="201"/>
                    <a:pt x="53" y="202"/>
                  </a:cubicBezTo>
                  <a:cubicBezTo>
                    <a:pt x="60" y="203"/>
                    <a:pt x="67" y="200"/>
                    <a:pt x="74" y="200"/>
                  </a:cubicBezTo>
                  <a:cubicBezTo>
                    <a:pt x="78" y="200"/>
                    <a:pt x="82" y="202"/>
                    <a:pt x="81" y="207"/>
                  </a:cubicBezTo>
                  <a:cubicBezTo>
                    <a:pt x="78" y="207"/>
                    <a:pt x="77" y="206"/>
                    <a:pt x="75" y="210"/>
                  </a:cubicBezTo>
                  <a:cubicBezTo>
                    <a:pt x="75" y="212"/>
                    <a:pt x="76" y="213"/>
                    <a:pt x="74" y="214"/>
                  </a:cubicBezTo>
                  <a:cubicBezTo>
                    <a:pt x="72" y="215"/>
                    <a:pt x="69" y="213"/>
                    <a:pt x="69" y="210"/>
                  </a:cubicBezTo>
                  <a:cubicBezTo>
                    <a:pt x="65" y="209"/>
                    <a:pt x="63" y="215"/>
                    <a:pt x="61" y="218"/>
                  </a:cubicBezTo>
                  <a:cubicBezTo>
                    <a:pt x="60" y="221"/>
                    <a:pt x="51" y="228"/>
                    <a:pt x="52" y="232"/>
                  </a:cubicBezTo>
                  <a:cubicBezTo>
                    <a:pt x="55" y="232"/>
                    <a:pt x="57" y="233"/>
                    <a:pt x="59" y="230"/>
                  </a:cubicBezTo>
                  <a:cubicBezTo>
                    <a:pt x="59" y="235"/>
                    <a:pt x="56" y="235"/>
                    <a:pt x="55" y="240"/>
                  </a:cubicBezTo>
                  <a:cubicBezTo>
                    <a:pt x="54" y="243"/>
                    <a:pt x="54" y="243"/>
                    <a:pt x="51" y="245"/>
                  </a:cubicBezTo>
                  <a:cubicBezTo>
                    <a:pt x="50" y="247"/>
                    <a:pt x="49" y="248"/>
                    <a:pt x="48" y="249"/>
                  </a:cubicBezTo>
                  <a:cubicBezTo>
                    <a:pt x="47" y="250"/>
                    <a:pt x="46" y="250"/>
                    <a:pt x="45" y="251"/>
                  </a:cubicBezTo>
                  <a:cubicBezTo>
                    <a:pt x="45" y="251"/>
                    <a:pt x="45" y="252"/>
                    <a:pt x="45" y="253"/>
                  </a:cubicBezTo>
                  <a:cubicBezTo>
                    <a:pt x="44" y="255"/>
                    <a:pt x="41" y="256"/>
                    <a:pt x="39" y="257"/>
                  </a:cubicBezTo>
                  <a:cubicBezTo>
                    <a:pt x="36" y="258"/>
                    <a:pt x="31" y="260"/>
                    <a:pt x="32" y="264"/>
                  </a:cubicBezTo>
                  <a:cubicBezTo>
                    <a:pt x="37" y="265"/>
                    <a:pt x="43" y="264"/>
                    <a:pt x="48" y="261"/>
                  </a:cubicBezTo>
                  <a:cubicBezTo>
                    <a:pt x="51" y="258"/>
                    <a:pt x="51" y="258"/>
                    <a:pt x="55" y="258"/>
                  </a:cubicBezTo>
                  <a:cubicBezTo>
                    <a:pt x="57" y="258"/>
                    <a:pt x="59" y="259"/>
                    <a:pt x="62" y="259"/>
                  </a:cubicBezTo>
                  <a:cubicBezTo>
                    <a:pt x="64" y="260"/>
                    <a:pt x="67" y="259"/>
                    <a:pt x="70" y="260"/>
                  </a:cubicBezTo>
                  <a:cubicBezTo>
                    <a:pt x="72" y="267"/>
                    <a:pt x="52" y="263"/>
                    <a:pt x="48" y="264"/>
                  </a:cubicBezTo>
                  <a:cubicBezTo>
                    <a:pt x="46" y="270"/>
                    <a:pt x="39" y="271"/>
                    <a:pt x="35" y="273"/>
                  </a:cubicBezTo>
                  <a:cubicBezTo>
                    <a:pt x="31" y="275"/>
                    <a:pt x="32" y="275"/>
                    <a:pt x="33" y="279"/>
                  </a:cubicBezTo>
                  <a:cubicBezTo>
                    <a:pt x="33" y="282"/>
                    <a:pt x="33" y="284"/>
                    <a:pt x="33" y="287"/>
                  </a:cubicBezTo>
                  <a:cubicBezTo>
                    <a:pt x="35" y="287"/>
                    <a:pt x="39" y="288"/>
                    <a:pt x="40" y="289"/>
                  </a:cubicBezTo>
                  <a:cubicBezTo>
                    <a:pt x="39" y="292"/>
                    <a:pt x="33" y="291"/>
                    <a:pt x="30" y="290"/>
                  </a:cubicBezTo>
                  <a:cubicBezTo>
                    <a:pt x="30" y="284"/>
                    <a:pt x="26" y="283"/>
                    <a:pt x="21" y="286"/>
                  </a:cubicBezTo>
                  <a:cubicBezTo>
                    <a:pt x="20" y="286"/>
                    <a:pt x="19" y="287"/>
                    <a:pt x="18" y="288"/>
                  </a:cubicBezTo>
                  <a:cubicBezTo>
                    <a:pt x="17" y="288"/>
                    <a:pt x="15" y="288"/>
                    <a:pt x="14" y="288"/>
                  </a:cubicBezTo>
                  <a:cubicBezTo>
                    <a:pt x="11" y="289"/>
                    <a:pt x="7" y="291"/>
                    <a:pt x="4" y="292"/>
                  </a:cubicBezTo>
                  <a:cubicBezTo>
                    <a:pt x="4" y="293"/>
                    <a:pt x="4" y="295"/>
                    <a:pt x="4" y="296"/>
                  </a:cubicBezTo>
                  <a:cubicBezTo>
                    <a:pt x="3" y="296"/>
                    <a:pt x="3" y="297"/>
                    <a:pt x="2" y="297"/>
                  </a:cubicBezTo>
                  <a:cubicBezTo>
                    <a:pt x="2" y="298"/>
                    <a:pt x="2" y="299"/>
                    <a:pt x="2" y="300"/>
                  </a:cubicBezTo>
                  <a:cubicBezTo>
                    <a:pt x="0" y="308"/>
                    <a:pt x="8" y="306"/>
                    <a:pt x="15" y="306"/>
                  </a:cubicBezTo>
                  <a:cubicBezTo>
                    <a:pt x="18" y="305"/>
                    <a:pt x="21" y="304"/>
                    <a:pt x="24" y="304"/>
                  </a:cubicBezTo>
                  <a:cubicBezTo>
                    <a:pt x="26" y="304"/>
                    <a:pt x="29" y="304"/>
                    <a:pt x="31" y="304"/>
                  </a:cubicBezTo>
                  <a:cubicBezTo>
                    <a:pt x="32" y="303"/>
                    <a:pt x="35" y="303"/>
                    <a:pt x="36" y="303"/>
                  </a:cubicBezTo>
                  <a:cubicBezTo>
                    <a:pt x="37" y="302"/>
                    <a:pt x="37" y="300"/>
                    <a:pt x="40" y="301"/>
                  </a:cubicBezTo>
                  <a:cubicBezTo>
                    <a:pt x="41" y="309"/>
                    <a:pt x="35" y="305"/>
                    <a:pt x="30" y="307"/>
                  </a:cubicBezTo>
                  <a:cubicBezTo>
                    <a:pt x="28" y="307"/>
                    <a:pt x="26" y="309"/>
                    <a:pt x="23" y="310"/>
                  </a:cubicBezTo>
                  <a:cubicBezTo>
                    <a:pt x="20" y="311"/>
                    <a:pt x="16" y="312"/>
                    <a:pt x="14" y="313"/>
                  </a:cubicBezTo>
                  <a:cubicBezTo>
                    <a:pt x="12" y="314"/>
                    <a:pt x="12" y="315"/>
                    <a:pt x="11" y="316"/>
                  </a:cubicBezTo>
                  <a:cubicBezTo>
                    <a:pt x="10" y="316"/>
                    <a:pt x="9" y="318"/>
                    <a:pt x="8" y="319"/>
                  </a:cubicBezTo>
                  <a:cubicBezTo>
                    <a:pt x="7" y="321"/>
                    <a:pt x="8" y="322"/>
                    <a:pt x="9" y="325"/>
                  </a:cubicBezTo>
                  <a:cubicBezTo>
                    <a:pt x="9" y="328"/>
                    <a:pt x="8" y="329"/>
                    <a:pt x="10" y="331"/>
                  </a:cubicBezTo>
                  <a:cubicBezTo>
                    <a:pt x="13" y="333"/>
                    <a:pt x="15" y="330"/>
                    <a:pt x="18" y="330"/>
                  </a:cubicBezTo>
                  <a:cubicBezTo>
                    <a:pt x="20" y="334"/>
                    <a:pt x="24" y="337"/>
                    <a:pt x="29" y="337"/>
                  </a:cubicBezTo>
                  <a:cubicBezTo>
                    <a:pt x="34" y="336"/>
                    <a:pt x="31" y="333"/>
                    <a:pt x="34" y="330"/>
                  </a:cubicBezTo>
                  <a:cubicBezTo>
                    <a:pt x="36" y="328"/>
                    <a:pt x="39" y="328"/>
                    <a:pt x="41" y="327"/>
                  </a:cubicBezTo>
                  <a:cubicBezTo>
                    <a:pt x="45" y="326"/>
                    <a:pt x="48" y="324"/>
                    <a:pt x="51" y="325"/>
                  </a:cubicBezTo>
                  <a:cubicBezTo>
                    <a:pt x="52" y="328"/>
                    <a:pt x="48" y="330"/>
                    <a:pt x="46" y="332"/>
                  </a:cubicBezTo>
                  <a:cubicBezTo>
                    <a:pt x="43" y="333"/>
                    <a:pt x="41" y="335"/>
                    <a:pt x="38" y="337"/>
                  </a:cubicBezTo>
                  <a:cubicBezTo>
                    <a:pt x="37" y="338"/>
                    <a:pt x="35" y="339"/>
                    <a:pt x="33" y="340"/>
                  </a:cubicBezTo>
                  <a:cubicBezTo>
                    <a:pt x="31" y="340"/>
                    <a:pt x="30" y="339"/>
                    <a:pt x="28" y="340"/>
                  </a:cubicBezTo>
                  <a:cubicBezTo>
                    <a:pt x="26" y="341"/>
                    <a:pt x="19" y="344"/>
                    <a:pt x="19" y="346"/>
                  </a:cubicBezTo>
                  <a:cubicBezTo>
                    <a:pt x="17" y="350"/>
                    <a:pt x="25" y="351"/>
                    <a:pt x="27" y="350"/>
                  </a:cubicBezTo>
                  <a:cubicBezTo>
                    <a:pt x="30" y="350"/>
                    <a:pt x="30" y="349"/>
                    <a:pt x="31" y="348"/>
                  </a:cubicBezTo>
                  <a:cubicBezTo>
                    <a:pt x="34" y="347"/>
                    <a:pt x="37" y="348"/>
                    <a:pt x="40" y="347"/>
                  </a:cubicBezTo>
                  <a:cubicBezTo>
                    <a:pt x="42" y="346"/>
                    <a:pt x="45" y="345"/>
                    <a:pt x="47" y="343"/>
                  </a:cubicBezTo>
                  <a:cubicBezTo>
                    <a:pt x="50" y="342"/>
                    <a:pt x="53" y="340"/>
                    <a:pt x="56" y="341"/>
                  </a:cubicBezTo>
                  <a:cubicBezTo>
                    <a:pt x="58" y="347"/>
                    <a:pt x="40" y="352"/>
                    <a:pt x="36" y="356"/>
                  </a:cubicBezTo>
                  <a:cubicBezTo>
                    <a:pt x="32" y="361"/>
                    <a:pt x="43" y="361"/>
                    <a:pt x="46" y="361"/>
                  </a:cubicBezTo>
                  <a:cubicBezTo>
                    <a:pt x="49" y="360"/>
                    <a:pt x="52" y="360"/>
                    <a:pt x="56" y="358"/>
                  </a:cubicBezTo>
                  <a:cubicBezTo>
                    <a:pt x="57" y="358"/>
                    <a:pt x="56" y="357"/>
                    <a:pt x="58" y="357"/>
                  </a:cubicBezTo>
                  <a:cubicBezTo>
                    <a:pt x="58" y="356"/>
                    <a:pt x="60" y="357"/>
                    <a:pt x="60" y="357"/>
                  </a:cubicBezTo>
                  <a:cubicBezTo>
                    <a:pt x="65" y="357"/>
                    <a:pt x="69" y="357"/>
                    <a:pt x="74" y="355"/>
                  </a:cubicBezTo>
                  <a:cubicBezTo>
                    <a:pt x="77" y="354"/>
                    <a:pt x="81" y="354"/>
                    <a:pt x="84" y="353"/>
                  </a:cubicBezTo>
                  <a:cubicBezTo>
                    <a:pt x="86" y="353"/>
                    <a:pt x="88" y="352"/>
                    <a:pt x="89" y="351"/>
                  </a:cubicBezTo>
                  <a:cubicBezTo>
                    <a:pt x="94" y="350"/>
                    <a:pt x="96" y="351"/>
                    <a:pt x="100" y="348"/>
                  </a:cubicBezTo>
                  <a:cubicBezTo>
                    <a:pt x="101" y="347"/>
                    <a:pt x="103" y="345"/>
                    <a:pt x="104" y="344"/>
                  </a:cubicBezTo>
                  <a:cubicBezTo>
                    <a:pt x="107" y="342"/>
                    <a:pt x="107" y="343"/>
                    <a:pt x="109" y="341"/>
                  </a:cubicBezTo>
                  <a:cubicBezTo>
                    <a:pt x="112" y="338"/>
                    <a:pt x="115" y="338"/>
                    <a:pt x="117" y="335"/>
                  </a:cubicBezTo>
                  <a:cubicBezTo>
                    <a:pt x="119" y="331"/>
                    <a:pt x="120" y="330"/>
                    <a:pt x="124" y="329"/>
                  </a:cubicBezTo>
                  <a:cubicBezTo>
                    <a:pt x="126" y="328"/>
                    <a:pt x="128" y="328"/>
                    <a:pt x="130" y="327"/>
                  </a:cubicBezTo>
                  <a:cubicBezTo>
                    <a:pt x="131" y="325"/>
                    <a:pt x="132" y="324"/>
                    <a:pt x="134" y="322"/>
                  </a:cubicBezTo>
                  <a:cubicBezTo>
                    <a:pt x="136" y="322"/>
                    <a:pt x="138" y="320"/>
                    <a:pt x="140" y="319"/>
                  </a:cubicBezTo>
                  <a:cubicBezTo>
                    <a:pt x="142" y="318"/>
                    <a:pt x="143" y="319"/>
                    <a:pt x="145" y="317"/>
                  </a:cubicBezTo>
                  <a:cubicBezTo>
                    <a:pt x="148" y="315"/>
                    <a:pt x="152" y="312"/>
                    <a:pt x="154" y="310"/>
                  </a:cubicBezTo>
                  <a:cubicBezTo>
                    <a:pt x="157" y="308"/>
                    <a:pt x="158" y="305"/>
                    <a:pt x="161" y="304"/>
                  </a:cubicBezTo>
                  <a:cubicBezTo>
                    <a:pt x="164" y="302"/>
                    <a:pt x="169" y="303"/>
                    <a:pt x="173" y="302"/>
                  </a:cubicBezTo>
                  <a:cubicBezTo>
                    <a:pt x="176" y="301"/>
                    <a:pt x="175" y="301"/>
                    <a:pt x="177" y="299"/>
                  </a:cubicBezTo>
                  <a:cubicBezTo>
                    <a:pt x="181" y="296"/>
                    <a:pt x="189" y="300"/>
                    <a:pt x="192" y="295"/>
                  </a:cubicBezTo>
                  <a:cubicBezTo>
                    <a:pt x="193" y="297"/>
                    <a:pt x="192" y="299"/>
                    <a:pt x="193" y="301"/>
                  </a:cubicBezTo>
                  <a:cubicBezTo>
                    <a:pt x="195" y="301"/>
                    <a:pt x="197" y="301"/>
                    <a:pt x="199" y="300"/>
                  </a:cubicBezTo>
                  <a:cubicBezTo>
                    <a:pt x="202" y="298"/>
                    <a:pt x="206" y="295"/>
                    <a:pt x="208" y="294"/>
                  </a:cubicBezTo>
                  <a:cubicBezTo>
                    <a:pt x="211" y="294"/>
                    <a:pt x="214" y="294"/>
                    <a:pt x="217" y="294"/>
                  </a:cubicBezTo>
                  <a:cubicBezTo>
                    <a:pt x="218" y="294"/>
                    <a:pt x="218" y="295"/>
                    <a:pt x="220" y="295"/>
                  </a:cubicBezTo>
                  <a:cubicBezTo>
                    <a:pt x="221" y="294"/>
                    <a:pt x="222" y="293"/>
                    <a:pt x="223" y="292"/>
                  </a:cubicBezTo>
                  <a:cubicBezTo>
                    <a:pt x="225" y="292"/>
                    <a:pt x="228" y="293"/>
                    <a:pt x="227" y="289"/>
                  </a:cubicBezTo>
                  <a:cubicBezTo>
                    <a:pt x="223" y="288"/>
                    <a:pt x="217" y="281"/>
                    <a:pt x="219" y="277"/>
                  </a:cubicBezTo>
                  <a:cubicBezTo>
                    <a:pt x="223" y="277"/>
                    <a:pt x="223" y="273"/>
                    <a:pt x="225" y="270"/>
                  </a:cubicBezTo>
                  <a:cubicBezTo>
                    <a:pt x="226" y="267"/>
                    <a:pt x="229" y="266"/>
                    <a:pt x="230" y="264"/>
                  </a:cubicBezTo>
                  <a:cubicBezTo>
                    <a:pt x="230" y="262"/>
                    <a:pt x="230" y="259"/>
                    <a:pt x="230" y="257"/>
                  </a:cubicBezTo>
                  <a:cubicBezTo>
                    <a:pt x="230" y="253"/>
                    <a:pt x="230" y="249"/>
                    <a:pt x="233" y="245"/>
                  </a:cubicBezTo>
                  <a:cubicBezTo>
                    <a:pt x="235" y="243"/>
                    <a:pt x="237" y="243"/>
                    <a:pt x="238" y="240"/>
                  </a:cubicBezTo>
                  <a:cubicBezTo>
                    <a:pt x="239" y="238"/>
                    <a:pt x="238" y="238"/>
                    <a:pt x="238" y="236"/>
                  </a:cubicBezTo>
                  <a:cubicBezTo>
                    <a:pt x="238" y="231"/>
                    <a:pt x="238" y="226"/>
                    <a:pt x="238" y="221"/>
                  </a:cubicBezTo>
                  <a:cubicBezTo>
                    <a:pt x="238" y="217"/>
                    <a:pt x="239" y="212"/>
                    <a:pt x="237" y="209"/>
                  </a:cubicBezTo>
                  <a:cubicBezTo>
                    <a:pt x="235" y="206"/>
                    <a:pt x="233" y="204"/>
                    <a:pt x="233" y="200"/>
                  </a:cubicBezTo>
                  <a:cubicBezTo>
                    <a:pt x="232" y="197"/>
                    <a:pt x="232" y="197"/>
                    <a:pt x="230" y="195"/>
                  </a:cubicBezTo>
                  <a:cubicBezTo>
                    <a:pt x="229" y="194"/>
                    <a:pt x="229" y="193"/>
                    <a:pt x="228" y="192"/>
                  </a:cubicBezTo>
                  <a:cubicBezTo>
                    <a:pt x="227" y="192"/>
                    <a:pt x="225" y="193"/>
                    <a:pt x="224" y="192"/>
                  </a:cubicBezTo>
                  <a:cubicBezTo>
                    <a:pt x="226" y="191"/>
                    <a:pt x="229" y="190"/>
                    <a:pt x="232" y="189"/>
                  </a:cubicBezTo>
                  <a:cubicBezTo>
                    <a:pt x="235" y="189"/>
                    <a:pt x="239" y="192"/>
                    <a:pt x="242" y="191"/>
                  </a:cubicBezTo>
                  <a:cubicBezTo>
                    <a:pt x="242" y="189"/>
                    <a:pt x="244" y="188"/>
                    <a:pt x="245" y="187"/>
                  </a:cubicBezTo>
                  <a:cubicBezTo>
                    <a:pt x="247" y="184"/>
                    <a:pt x="248" y="179"/>
                    <a:pt x="248" y="175"/>
                  </a:cubicBezTo>
                  <a:cubicBezTo>
                    <a:pt x="244" y="175"/>
                    <a:pt x="242" y="175"/>
                    <a:pt x="239" y="173"/>
                  </a:cubicBezTo>
                  <a:cubicBezTo>
                    <a:pt x="236" y="172"/>
                    <a:pt x="235" y="170"/>
                    <a:pt x="232" y="168"/>
                  </a:cubicBezTo>
                  <a:cubicBezTo>
                    <a:pt x="231" y="168"/>
                    <a:pt x="226" y="166"/>
                    <a:pt x="225" y="165"/>
                  </a:cubicBezTo>
                  <a:cubicBezTo>
                    <a:pt x="225" y="164"/>
                    <a:pt x="225" y="162"/>
                    <a:pt x="225" y="161"/>
                  </a:cubicBezTo>
                  <a:cubicBezTo>
                    <a:pt x="226" y="159"/>
                    <a:pt x="228" y="159"/>
                    <a:pt x="228" y="156"/>
                  </a:cubicBezTo>
                  <a:cubicBezTo>
                    <a:pt x="228" y="154"/>
                    <a:pt x="228" y="150"/>
                    <a:pt x="228" y="148"/>
                  </a:cubicBezTo>
                  <a:cubicBezTo>
                    <a:pt x="227" y="146"/>
                    <a:pt x="225" y="144"/>
                    <a:pt x="224" y="142"/>
                  </a:cubicBezTo>
                  <a:cubicBezTo>
                    <a:pt x="223" y="139"/>
                    <a:pt x="224" y="137"/>
                    <a:pt x="226" y="135"/>
                  </a:cubicBezTo>
                  <a:cubicBezTo>
                    <a:pt x="228" y="134"/>
                    <a:pt x="229" y="134"/>
                    <a:pt x="231" y="134"/>
                  </a:cubicBezTo>
                  <a:cubicBezTo>
                    <a:pt x="231" y="134"/>
                    <a:pt x="232" y="134"/>
                    <a:pt x="233" y="134"/>
                  </a:cubicBezTo>
                  <a:cubicBezTo>
                    <a:pt x="234" y="133"/>
                    <a:pt x="233" y="132"/>
                    <a:pt x="234" y="131"/>
                  </a:cubicBezTo>
                  <a:cubicBezTo>
                    <a:pt x="235" y="131"/>
                    <a:pt x="237" y="131"/>
                    <a:pt x="238" y="131"/>
                  </a:cubicBezTo>
                  <a:cubicBezTo>
                    <a:pt x="238" y="130"/>
                    <a:pt x="239" y="129"/>
                    <a:pt x="239" y="129"/>
                  </a:cubicBezTo>
                  <a:cubicBezTo>
                    <a:pt x="238" y="128"/>
                    <a:pt x="236" y="127"/>
                    <a:pt x="234" y="126"/>
                  </a:cubicBezTo>
                  <a:cubicBezTo>
                    <a:pt x="232" y="125"/>
                    <a:pt x="232" y="125"/>
                    <a:pt x="230" y="125"/>
                  </a:cubicBezTo>
                  <a:cubicBezTo>
                    <a:pt x="228" y="125"/>
                    <a:pt x="227" y="123"/>
                    <a:pt x="225" y="122"/>
                  </a:cubicBezTo>
                  <a:cubicBezTo>
                    <a:pt x="223" y="121"/>
                    <a:pt x="222" y="121"/>
                    <a:pt x="220" y="120"/>
                  </a:cubicBezTo>
                  <a:cubicBezTo>
                    <a:pt x="219" y="121"/>
                    <a:pt x="219" y="122"/>
                    <a:pt x="219" y="123"/>
                  </a:cubicBezTo>
                  <a:cubicBezTo>
                    <a:pt x="218" y="123"/>
                    <a:pt x="218" y="123"/>
                    <a:pt x="218" y="123"/>
                  </a:cubicBezTo>
                  <a:cubicBezTo>
                    <a:pt x="217" y="125"/>
                    <a:pt x="216" y="125"/>
                    <a:pt x="215" y="126"/>
                  </a:cubicBezTo>
                  <a:cubicBezTo>
                    <a:pt x="213" y="127"/>
                    <a:pt x="211" y="127"/>
                    <a:pt x="209" y="127"/>
                  </a:cubicBezTo>
                  <a:cubicBezTo>
                    <a:pt x="206" y="127"/>
                    <a:pt x="206" y="125"/>
                    <a:pt x="206" y="123"/>
                  </a:cubicBezTo>
                  <a:cubicBezTo>
                    <a:pt x="206" y="120"/>
                    <a:pt x="205" y="118"/>
                    <a:pt x="204" y="115"/>
                  </a:cubicBezTo>
                  <a:cubicBezTo>
                    <a:pt x="204" y="114"/>
                    <a:pt x="203" y="113"/>
                    <a:pt x="201" y="112"/>
                  </a:cubicBezTo>
                  <a:cubicBezTo>
                    <a:pt x="199" y="112"/>
                    <a:pt x="196" y="112"/>
                    <a:pt x="196" y="110"/>
                  </a:cubicBezTo>
                  <a:cubicBezTo>
                    <a:pt x="196" y="108"/>
                    <a:pt x="197" y="107"/>
                    <a:pt x="196" y="105"/>
                  </a:cubicBezTo>
                  <a:cubicBezTo>
                    <a:pt x="195" y="103"/>
                    <a:pt x="194" y="102"/>
                    <a:pt x="192" y="100"/>
                  </a:cubicBezTo>
                  <a:cubicBezTo>
                    <a:pt x="191" y="98"/>
                    <a:pt x="190" y="96"/>
                    <a:pt x="188" y="94"/>
                  </a:cubicBezTo>
                  <a:cubicBezTo>
                    <a:pt x="187" y="95"/>
                    <a:pt x="185" y="94"/>
                    <a:pt x="184" y="95"/>
                  </a:cubicBezTo>
                  <a:cubicBezTo>
                    <a:pt x="182" y="95"/>
                    <a:pt x="181" y="98"/>
                    <a:pt x="180" y="99"/>
                  </a:cubicBezTo>
                  <a:cubicBezTo>
                    <a:pt x="179" y="101"/>
                    <a:pt x="178" y="102"/>
                    <a:pt x="178" y="104"/>
                  </a:cubicBezTo>
                  <a:cubicBezTo>
                    <a:pt x="178" y="105"/>
                    <a:pt x="178" y="106"/>
                    <a:pt x="179" y="107"/>
                  </a:cubicBezTo>
                  <a:cubicBezTo>
                    <a:pt x="180" y="109"/>
                    <a:pt x="180" y="112"/>
                    <a:pt x="178" y="113"/>
                  </a:cubicBezTo>
                  <a:cubicBezTo>
                    <a:pt x="177" y="114"/>
                    <a:pt x="173" y="112"/>
                    <a:pt x="172" y="114"/>
                  </a:cubicBezTo>
                  <a:cubicBezTo>
                    <a:pt x="171" y="116"/>
                    <a:pt x="173" y="119"/>
                    <a:pt x="171" y="120"/>
                  </a:cubicBezTo>
                  <a:cubicBezTo>
                    <a:pt x="169" y="120"/>
                    <a:pt x="166" y="119"/>
                    <a:pt x="165" y="119"/>
                  </a:cubicBezTo>
                  <a:cubicBezTo>
                    <a:pt x="163" y="118"/>
                    <a:pt x="160" y="119"/>
                    <a:pt x="158" y="118"/>
                  </a:cubicBezTo>
                  <a:cubicBezTo>
                    <a:pt x="157" y="117"/>
                    <a:pt x="156" y="116"/>
                    <a:pt x="155" y="116"/>
                  </a:cubicBezTo>
                  <a:cubicBezTo>
                    <a:pt x="154" y="115"/>
                    <a:pt x="154" y="115"/>
                    <a:pt x="153" y="114"/>
                  </a:cubicBezTo>
                  <a:cubicBezTo>
                    <a:pt x="152" y="114"/>
                    <a:pt x="153" y="114"/>
                    <a:pt x="152" y="113"/>
                  </a:cubicBezTo>
                  <a:cubicBezTo>
                    <a:pt x="151" y="112"/>
                    <a:pt x="148" y="112"/>
                    <a:pt x="147" y="112"/>
                  </a:cubicBezTo>
                  <a:cubicBezTo>
                    <a:pt x="145" y="112"/>
                    <a:pt x="142" y="111"/>
                    <a:pt x="141" y="110"/>
                  </a:cubicBezTo>
                  <a:cubicBezTo>
                    <a:pt x="140" y="109"/>
                    <a:pt x="140" y="108"/>
                    <a:pt x="140" y="107"/>
                  </a:cubicBezTo>
                  <a:cubicBezTo>
                    <a:pt x="139" y="105"/>
                    <a:pt x="138" y="105"/>
                    <a:pt x="137" y="104"/>
                  </a:cubicBezTo>
                  <a:cubicBezTo>
                    <a:pt x="137" y="103"/>
                    <a:pt x="137" y="102"/>
                    <a:pt x="136" y="102"/>
                  </a:cubicBezTo>
                  <a:cubicBezTo>
                    <a:pt x="136" y="101"/>
                    <a:pt x="137" y="101"/>
                    <a:pt x="136" y="100"/>
                  </a:cubicBezTo>
                  <a:cubicBezTo>
                    <a:pt x="136" y="100"/>
                    <a:pt x="135" y="99"/>
                    <a:pt x="135" y="99"/>
                  </a:cubicBezTo>
                  <a:cubicBezTo>
                    <a:pt x="133" y="98"/>
                    <a:pt x="132" y="97"/>
                    <a:pt x="131" y="96"/>
                  </a:cubicBezTo>
                  <a:cubicBezTo>
                    <a:pt x="130" y="94"/>
                    <a:pt x="130" y="92"/>
                    <a:pt x="130" y="90"/>
                  </a:cubicBezTo>
                  <a:cubicBezTo>
                    <a:pt x="130" y="88"/>
                    <a:pt x="132" y="88"/>
                    <a:pt x="133" y="86"/>
                  </a:cubicBezTo>
                  <a:cubicBezTo>
                    <a:pt x="135" y="84"/>
                    <a:pt x="136" y="83"/>
                    <a:pt x="138" y="82"/>
                  </a:cubicBezTo>
                  <a:cubicBezTo>
                    <a:pt x="140" y="81"/>
                    <a:pt x="143" y="79"/>
                    <a:pt x="144" y="78"/>
                  </a:cubicBezTo>
                  <a:cubicBezTo>
                    <a:pt x="145" y="77"/>
                    <a:pt x="146" y="76"/>
                    <a:pt x="146" y="75"/>
                  </a:cubicBezTo>
                  <a:cubicBezTo>
                    <a:pt x="147" y="74"/>
                    <a:pt x="148" y="73"/>
                    <a:pt x="149" y="73"/>
                  </a:cubicBezTo>
                  <a:cubicBezTo>
                    <a:pt x="148" y="73"/>
                    <a:pt x="147" y="72"/>
                    <a:pt x="146" y="72"/>
                  </a:cubicBezTo>
                  <a:cubicBezTo>
                    <a:pt x="144" y="72"/>
                    <a:pt x="143" y="72"/>
                    <a:pt x="141" y="71"/>
                  </a:cubicBezTo>
                  <a:cubicBezTo>
                    <a:pt x="140" y="70"/>
                    <a:pt x="140" y="70"/>
                    <a:pt x="140" y="69"/>
                  </a:cubicBezTo>
                  <a:cubicBezTo>
                    <a:pt x="140" y="68"/>
                    <a:pt x="141" y="66"/>
                    <a:pt x="141" y="65"/>
                  </a:cubicBezTo>
                  <a:cubicBezTo>
                    <a:pt x="142" y="63"/>
                    <a:pt x="145" y="63"/>
                    <a:pt x="147" y="63"/>
                  </a:cubicBezTo>
                  <a:cubicBezTo>
                    <a:pt x="150" y="63"/>
                    <a:pt x="152" y="63"/>
                    <a:pt x="154" y="63"/>
                  </a:cubicBezTo>
                  <a:cubicBezTo>
                    <a:pt x="157" y="63"/>
                    <a:pt x="157" y="63"/>
                    <a:pt x="158" y="61"/>
                  </a:cubicBezTo>
                  <a:cubicBezTo>
                    <a:pt x="158" y="59"/>
                    <a:pt x="159" y="56"/>
                    <a:pt x="161" y="54"/>
                  </a:cubicBezTo>
                  <a:cubicBezTo>
                    <a:pt x="162" y="53"/>
                    <a:pt x="163" y="53"/>
                    <a:pt x="163" y="51"/>
                  </a:cubicBezTo>
                  <a:cubicBezTo>
                    <a:pt x="164" y="50"/>
                    <a:pt x="164" y="48"/>
                    <a:pt x="165" y="46"/>
                  </a:cubicBezTo>
                  <a:cubicBezTo>
                    <a:pt x="166" y="44"/>
                    <a:pt x="167" y="43"/>
                    <a:pt x="168" y="41"/>
                  </a:cubicBezTo>
                  <a:cubicBezTo>
                    <a:pt x="170" y="39"/>
                    <a:pt x="171" y="39"/>
                    <a:pt x="171" y="36"/>
                  </a:cubicBezTo>
                  <a:cubicBezTo>
                    <a:pt x="172" y="32"/>
                    <a:pt x="173" y="34"/>
                    <a:pt x="176" y="33"/>
                  </a:cubicBezTo>
                  <a:cubicBezTo>
                    <a:pt x="178" y="33"/>
                    <a:pt x="178" y="32"/>
                    <a:pt x="180" y="31"/>
                  </a:cubicBezTo>
                  <a:cubicBezTo>
                    <a:pt x="181" y="30"/>
                    <a:pt x="183" y="29"/>
                    <a:pt x="184" y="28"/>
                  </a:cubicBezTo>
                  <a:cubicBezTo>
                    <a:pt x="184" y="28"/>
                    <a:pt x="185" y="26"/>
                    <a:pt x="185" y="26"/>
                  </a:cubicBezTo>
                  <a:cubicBezTo>
                    <a:pt x="186" y="25"/>
                    <a:pt x="186" y="24"/>
                    <a:pt x="186" y="23"/>
                  </a:cubicBezTo>
                  <a:cubicBezTo>
                    <a:pt x="187" y="23"/>
                    <a:pt x="187" y="23"/>
                    <a:pt x="188" y="23"/>
                  </a:cubicBezTo>
                  <a:cubicBezTo>
                    <a:pt x="188" y="22"/>
                    <a:pt x="188" y="21"/>
                    <a:pt x="188" y="20"/>
                  </a:cubicBezTo>
                  <a:cubicBezTo>
                    <a:pt x="188" y="19"/>
                    <a:pt x="190" y="17"/>
                    <a:pt x="191" y="16"/>
                  </a:cubicBezTo>
                  <a:cubicBezTo>
                    <a:pt x="193" y="15"/>
                    <a:pt x="194" y="13"/>
                    <a:pt x="196" y="13"/>
                  </a:cubicBezTo>
                  <a:cubicBezTo>
                    <a:pt x="198" y="12"/>
                    <a:pt x="201" y="12"/>
                    <a:pt x="203" y="10"/>
                  </a:cubicBezTo>
                  <a:cubicBezTo>
                    <a:pt x="203" y="10"/>
                    <a:pt x="203" y="10"/>
                    <a:pt x="203" y="10"/>
                  </a:cubicBezTo>
                  <a:moveTo>
                    <a:pt x="240" y="128"/>
                  </a:moveTo>
                  <a:cubicBezTo>
                    <a:pt x="240" y="128"/>
                    <a:pt x="240" y="128"/>
                    <a:pt x="240" y="128"/>
                  </a:cubicBezTo>
                  <a:cubicBezTo>
                    <a:pt x="240" y="128"/>
                    <a:pt x="240" y="128"/>
                    <a:pt x="240" y="128"/>
                  </a:cubicBezTo>
                  <a:moveTo>
                    <a:pt x="203" y="10"/>
                  </a:moveTo>
                  <a:cubicBezTo>
                    <a:pt x="204" y="10"/>
                    <a:pt x="205" y="10"/>
                    <a:pt x="205" y="10"/>
                  </a:cubicBezTo>
                  <a:cubicBezTo>
                    <a:pt x="205" y="10"/>
                    <a:pt x="204" y="10"/>
                    <a:pt x="203" y="10"/>
                  </a:cubicBezTo>
                  <a:moveTo>
                    <a:pt x="216" y="17"/>
                  </a:moveTo>
                  <a:cubicBezTo>
                    <a:pt x="216" y="17"/>
                    <a:pt x="217" y="16"/>
                    <a:pt x="218" y="16"/>
                  </a:cubicBezTo>
                  <a:cubicBezTo>
                    <a:pt x="217" y="16"/>
                    <a:pt x="216" y="17"/>
                    <a:pt x="216" y="17"/>
                  </a:cubicBezTo>
                  <a:moveTo>
                    <a:pt x="214" y="18"/>
                  </a:moveTo>
                  <a:cubicBezTo>
                    <a:pt x="215" y="18"/>
                    <a:pt x="215" y="17"/>
                    <a:pt x="216" y="17"/>
                  </a:cubicBezTo>
                  <a:cubicBezTo>
                    <a:pt x="215" y="17"/>
                    <a:pt x="215" y="18"/>
                    <a:pt x="214" y="1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8" name="Freeform 8"/>
            <p:cNvSpPr>
              <a:spLocks/>
            </p:cNvSpPr>
            <p:nvPr/>
          </p:nvSpPr>
          <p:spPr bwMode="auto">
            <a:xfrm>
              <a:off x="944563" y="1371600"/>
              <a:ext cx="1119188" cy="758825"/>
            </a:xfrm>
            <a:custGeom>
              <a:avLst/>
              <a:gdLst/>
              <a:ahLst/>
              <a:cxnLst>
                <a:cxn ang="0">
                  <a:pos x="500" y="44"/>
                </a:cxn>
                <a:cxn ang="0">
                  <a:pos x="476" y="22"/>
                </a:cxn>
                <a:cxn ang="0">
                  <a:pos x="449" y="8"/>
                </a:cxn>
                <a:cxn ang="0">
                  <a:pos x="438" y="31"/>
                </a:cxn>
                <a:cxn ang="0">
                  <a:pos x="399" y="48"/>
                </a:cxn>
                <a:cxn ang="0">
                  <a:pos x="370" y="67"/>
                </a:cxn>
                <a:cxn ang="0">
                  <a:pos x="341" y="79"/>
                </a:cxn>
                <a:cxn ang="0">
                  <a:pos x="331" y="81"/>
                </a:cxn>
                <a:cxn ang="0">
                  <a:pos x="294" y="62"/>
                </a:cxn>
                <a:cxn ang="0">
                  <a:pos x="278" y="96"/>
                </a:cxn>
                <a:cxn ang="0">
                  <a:pos x="251" y="73"/>
                </a:cxn>
                <a:cxn ang="0">
                  <a:pos x="227" y="97"/>
                </a:cxn>
                <a:cxn ang="0">
                  <a:pos x="217" y="135"/>
                </a:cxn>
                <a:cxn ang="0">
                  <a:pos x="190" y="151"/>
                </a:cxn>
                <a:cxn ang="0">
                  <a:pos x="165" y="148"/>
                </a:cxn>
                <a:cxn ang="0">
                  <a:pos x="159" y="111"/>
                </a:cxn>
                <a:cxn ang="0">
                  <a:pos x="174" y="77"/>
                </a:cxn>
                <a:cxn ang="0">
                  <a:pos x="143" y="46"/>
                </a:cxn>
                <a:cxn ang="0">
                  <a:pos x="118" y="19"/>
                </a:cxn>
                <a:cxn ang="0">
                  <a:pos x="78" y="15"/>
                </a:cxn>
                <a:cxn ang="0">
                  <a:pos x="105" y="61"/>
                </a:cxn>
                <a:cxn ang="0">
                  <a:pos x="107" y="92"/>
                </a:cxn>
                <a:cxn ang="0">
                  <a:pos x="72" y="51"/>
                </a:cxn>
                <a:cxn ang="0">
                  <a:pos x="60" y="75"/>
                </a:cxn>
                <a:cxn ang="0">
                  <a:pos x="40" y="101"/>
                </a:cxn>
                <a:cxn ang="0">
                  <a:pos x="59" y="112"/>
                </a:cxn>
                <a:cxn ang="0">
                  <a:pos x="37" y="123"/>
                </a:cxn>
                <a:cxn ang="0">
                  <a:pos x="23" y="128"/>
                </a:cxn>
                <a:cxn ang="0">
                  <a:pos x="36" y="153"/>
                </a:cxn>
                <a:cxn ang="0">
                  <a:pos x="76" y="137"/>
                </a:cxn>
                <a:cxn ang="0">
                  <a:pos x="107" y="136"/>
                </a:cxn>
                <a:cxn ang="0">
                  <a:pos x="136" y="142"/>
                </a:cxn>
                <a:cxn ang="0">
                  <a:pos x="126" y="164"/>
                </a:cxn>
                <a:cxn ang="0">
                  <a:pos x="151" y="182"/>
                </a:cxn>
                <a:cxn ang="0">
                  <a:pos x="106" y="199"/>
                </a:cxn>
                <a:cxn ang="0">
                  <a:pos x="69" y="212"/>
                </a:cxn>
                <a:cxn ang="0">
                  <a:pos x="25" y="222"/>
                </a:cxn>
                <a:cxn ang="0">
                  <a:pos x="69" y="229"/>
                </a:cxn>
                <a:cxn ang="0">
                  <a:pos x="117" y="245"/>
                </a:cxn>
                <a:cxn ang="0">
                  <a:pos x="135" y="282"/>
                </a:cxn>
                <a:cxn ang="0">
                  <a:pos x="160" y="282"/>
                </a:cxn>
                <a:cxn ang="0">
                  <a:pos x="144" y="311"/>
                </a:cxn>
                <a:cxn ang="0">
                  <a:pos x="104" y="323"/>
                </a:cxn>
                <a:cxn ang="0">
                  <a:pos x="98" y="354"/>
                </a:cxn>
                <a:cxn ang="0">
                  <a:pos x="152" y="350"/>
                </a:cxn>
                <a:cxn ang="0">
                  <a:pos x="193" y="356"/>
                </a:cxn>
                <a:cxn ang="0">
                  <a:pos x="241" y="387"/>
                </a:cxn>
                <a:cxn ang="0">
                  <a:pos x="313" y="405"/>
                </a:cxn>
                <a:cxn ang="0">
                  <a:pos x="397" y="362"/>
                </a:cxn>
                <a:cxn ang="0">
                  <a:pos x="455" y="328"/>
                </a:cxn>
                <a:cxn ang="0">
                  <a:pos x="526" y="287"/>
                </a:cxn>
                <a:cxn ang="0">
                  <a:pos x="557" y="248"/>
                </a:cxn>
                <a:cxn ang="0">
                  <a:pos x="577" y="229"/>
                </a:cxn>
                <a:cxn ang="0">
                  <a:pos x="565" y="200"/>
                </a:cxn>
                <a:cxn ang="0">
                  <a:pos x="589" y="184"/>
                </a:cxn>
                <a:cxn ang="0">
                  <a:pos x="572" y="167"/>
                </a:cxn>
                <a:cxn ang="0">
                  <a:pos x="584" y="136"/>
                </a:cxn>
                <a:cxn ang="0">
                  <a:pos x="548" y="126"/>
                </a:cxn>
                <a:cxn ang="0">
                  <a:pos x="525" y="97"/>
                </a:cxn>
                <a:cxn ang="0">
                  <a:pos x="511" y="65"/>
                </a:cxn>
                <a:cxn ang="0">
                  <a:pos x="527" y="28"/>
                </a:cxn>
              </a:cxnLst>
              <a:rect l="0" t="0" r="r" b="b"/>
              <a:pathLst>
                <a:path w="599" h="406">
                  <a:moveTo>
                    <a:pt x="536" y="27"/>
                  </a:moveTo>
                  <a:cubicBezTo>
                    <a:pt x="533" y="28"/>
                    <a:pt x="531" y="25"/>
                    <a:pt x="528" y="25"/>
                  </a:cubicBezTo>
                  <a:cubicBezTo>
                    <a:pt x="528" y="24"/>
                    <a:pt x="528" y="23"/>
                    <a:pt x="527" y="22"/>
                  </a:cubicBezTo>
                  <a:cubicBezTo>
                    <a:pt x="527" y="23"/>
                    <a:pt x="525" y="21"/>
                    <a:pt x="525" y="21"/>
                  </a:cubicBezTo>
                  <a:cubicBezTo>
                    <a:pt x="522" y="20"/>
                    <a:pt x="520" y="21"/>
                    <a:pt x="519" y="24"/>
                  </a:cubicBezTo>
                  <a:cubicBezTo>
                    <a:pt x="518" y="26"/>
                    <a:pt x="517" y="28"/>
                    <a:pt x="516" y="30"/>
                  </a:cubicBezTo>
                  <a:cubicBezTo>
                    <a:pt x="516" y="33"/>
                    <a:pt x="514" y="34"/>
                    <a:pt x="512" y="36"/>
                  </a:cubicBezTo>
                  <a:cubicBezTo>
                    <a:pt x="511" y="37"/>
                    <a:pt x="509" y="38"/>
                    <a:pt x="507" y="39"/>
                  </a:cubicBezTo>
                  <a:cubicBezTo>
                    <a:pt x="506" y="39"/>
                    <a:pt x="505" y="40"/>
                    <a:pt x="504" y="40"/>
                  </a:cubicBezTo>
                  <a:cubicBezTo>
                    <a:pt x="503" y="40"/>
                    <a:pt x="501" y="40"/>
                    <a:pt x="501" y="41"/>
                  </a:cubicBezTo>
                  <a:cubicBezTo>
                    <a:pt x="500" y="41"/>
                    <a:pt x="500" y="43"/>
                    <a:pt x="500" y="44"/>
                  </a:cubicBezTo>
                  <a:cubicBezTo>
                    <a:pt x="499" y="45"/>
                    <a:pt x="499" y="46"/>
                    <a:pt x="499" y="47"/>
                  </a:cubicBezTo>
                  <a:cubicBezTo>
                    <a:pt x="498" y="49"/>
                    <a:pt x="498" y="48"/>
                    <a:pt x="497" y="50"/>
                  </a:cubicBezTo>
                  <a:cubicBezTo>
                    <a:pt x="497" y="51"/>
                    <a:pt x="496" y="51"/>
                    <a:pt x="496" y="53"/>
                  </a:cubicBezTo>
                  <a:cubicBezTo>
                    <a:pt x="495" y="53"/>
                    <a:pt x="493" y="53"/>
                    <a:pt x="492" y="53"/>
                  </a:cubicBezTo>
                  <a:cubicBezTo>
                    <a:pt x="492" y="51"/>
                    <a:pt x="489" y="47"/>
                    <a:pt x="488" y="46"/>
                  </a:cubicBezTo>
                  <a:cubicBezTo>
                    <a:pt x="486" y="46"/>
                    <a:pt x="485" y="47"/>
                    <a:pt x="484" y="47"/>
                  </a:cubicBezTo>
                  <a:cubicBezTo>
                    <a:pt x="481" y="47"/>
                    <a:pt x="477" y="44"/>
                    <a:pt x="479" y="40"/>
                  </a:cubicBezTo>
                  <a:cubicBezTo>
                    <a:pt x="476" y="39"/>
                    <a:pt x="474" y="38"/>
                    <a:pt x="476" y="35"/>
                  </a:cubicBezTo>
                  <a:cubicBezTo>
                    <a:pt x="477" y="33"/>
                    <a:pt x="478" y="33"/>
                    <a:pt x="478" y="30"/>
                  </a:cubicBezTo>
                  <a:cubicBezTo>
                    <a:pt x="478" y="29"/>
                    <a:pt x="479" y="27"/>
                    <a:pt x="479" y="25"/>
                  </a:cubicBezTo>
                  <a:cubicBezTo>
                    <a:pt x="479" y="23"/>
                    <a:pt x="478" y="23"/>
                    <a:pt x="476" y="22"/>
                  </a:cubicBezTo>
                  <a:cubicBezTo>
                    <a:pt x="476" y="22"/>
                    <a:pt x="474" y="21"/>
                    <a:pt x="474" y="21"/>
                  </a:cubicBezTo>
                  <a:cubicBezTo>
                    <a:pt x="474" y="21"/>
                    <a:pt x="474" y="21"/>
                    <a:pt x="473" y="21"/>
                  </a:cubicBezTo>
                  <a:cubicBezTo>
                    <a:pt x="473" y="21"/>
                    <a:pt x="472" y="20"/>
                    <a:pt x="472" y="20"/>
                  </a:cubicBezTo>
                  <a:cubicBezTo>
                    <a:pt x="470" y="19"/>
                    <a:pt x="469" y="19"/>
                    <a:pt x="469" y="17"/>
                  </a:cubicBezTo>
                  <a:cubicBezTo>
                    <a:pt x="469" y="14"/>
                    <a:pt x="469" y="13"/>
                    <a:pt x="468" y="11"/>
                  </a:cubicBezTo>
                  <a:cubicBezTo>
                    <a:pt x="468" y="10"/>
                    <a:pt x="467" y="8"/>
                    <a:pt x="466" y="8"/>
                  </a:cubicBezTo>
                  <a:cubicBezTo>
                    <a:pt x="465" y="7"/>
                    <a:pt x="464" y="8"/>
                    <a:pt x="464" y="7"/>
                  </a:cubicBezTo>
                  <a:cubicBezTo>
                    <a:pt x="463" y="7"/>
                    <a:pt x="463" y="6"/>
                    <a:pt x="463" y="6"/>
                  </a:cubicBezTo>
                  <a:cubicBezTo>
                    <a:pt x="461" y="3"/>
                    <a:pt x="458" y="0"/>
                    <a:pt x="455" y="2"/>
                  </a:cubicBezTo>
                  <a:cubicBezTo>
                    <a:pt x="454" y="3"/>
                    <a:pt x="453" y="5"/>
                    <a:pt x="453" y="6"/>
                  </a:cubicBezTo>
                  <a:cubicBezTo>
                    <a:pt x="451" y="8"/>
                    <a:pt x="451" y="8"/>
                    <a:pt x="449" y="8"/>
                  </a:cubicBezTo>
                  <a:cubicBezTo>
                    <a:pt x="449" y="8"/>
                    <a:pt x="447" y="8"/>
                    <a:pt x="447" y="8"/>
                  </a:cubicBezTo>
                  <a:cubicBezTo>
                    <a:pt x="446" y="8"/>
                    <a:pt x="447" y="9"/>
                    <a:pt x="446" y="10"/>
                  </a:cubicBezTo>
                  <a:cubicBezTo>
                    <a:pt x="445" y="10"/>
                    <a:pt x="441" y="10"/>
                    <a:pt x="440" y="10"/>
                  </a:cubicBezTo>
                  <a:cubicBezTo>
                    <a:pt x="440" y="9"/>
                    <a:pt x="440" y="9"/>
                    <a:pt x="440" y="8"/>
                  </a:cubicBezTo>
                  <a:cubicBezTo>
                    <a:pt x="439" y="8"/>
                    <a:pt x="438" y="8"/>
                    <a:pt x="437" y="8"/>
                  </a:cubicBezTo>
                  <a:cubicBezTo>
                    <a:pt x="435" y="8"/>
                    <a:pt x="435" y="7"/>
                    <a:pt x="434" y="9"/>
                  </a:cubicBezTo>
                  <a:cubicBezTo>
                    <a:pt x="433" y="10"/>
                    <a:pt x="434" y="14"/>
                    <a:pt x="434" y="16"/>
                  </a:cubicBezTo>
                  <a:cubicBezTo>
                    <a:pt x="434" y="16"/>
                    <a:pt x="435" y="17"/>
                    <a:pt x="435" y="18"/>
                  </a:cubicBezTo>
                  <a:cubicBezTo>
                    <a:pt x="435" y="19"/>
                    <a:pt x="435" y="19"/>
                    <a:pt x="435" y="20"/>
                  </a:cubicBezTo>
                  <a:cubicBezTo>
                    <a:pt x="436" y="23"/>
                    <a:pt x="437" y="24"/>
                    <a:pt x="438" y="27"/>
                  </a:cubicBezTo>
                  <a:cubicBezTo>
                    <a:pt x="439" y="28"/>
                    <a:pt x="438" y="30"/>
                    <a:pt x="438" y="31"/>
                  </a:cubicBezTo>
                  <a:cubicBezTo>
                    <a:pt x="437" y="34"/>
                    <a:pt x="438" y="34"/>
                    <a:pt x="439" y="36"/>
                  </a:cubicBezTo>
                  <a:cubicBezTo>
                    <a:pt x="440" y="38"/>
                    <a:pt x="439" y="39"/>
                    <a:pt x="438" y="40"/>
                  </a:cubicBezTo>
                  <a:cubicBezTo>
                    <a:pt x="437" y="42"/>
                    <a:pt x="437" y="45"/>
                    <a:pt x="436" y="46"/>
                  </a:cubicBezTo>
                  <a:cubicBezTo>
                    <a:pt x="435" y="47"/>
                    <a:pt x="434" y="48"/>
                    <a:pt x="433" y="49"/>
                  </a:cubicBezTo>
                  <a:cubicBezTo>
                    <a:pt x="431" y="50"/>
                    <a:pt x="429" y="51"/>
                    <a:pt x="426" y="52"/>
                  </a:cubicBezTo>
                  <a:cubicBezTo>
                    <a:pt x="424" y="53"/>
                    <a:pt x="423" y="54"/>
                    <a:pt x="422" y="56"/>
                  </a:cubicBezTo>
                  <a:cubicBezTo>
                    <a:pt x="422" y="58"/>
                    <a:pt x="423" y="58"/>
                    <a:pt x="420" y="58"/>
                  </a:cubicBezTo>
                  <a:cubicBezTo>
                    <a:pt x="416" y="59"/>
                    <a:pt x="413" y="57"/>
                    <a:pt x="409" y="56"/>
                  </a:cubicBezTo>
                  <a:cubicBezTo>
                    <a:pt x="409" y="55"/>
                    <a:pt x="409" y="53"/>
                    <a:pt x="408" y="52"/>
                  </a:cubicBezTo>
                  <a:cubicBezTo>
                    <a:pt x="408" y="51"/>
                    <a:pt x="407" y="50"/>
                    <a:pt x="406" y="50"/>
                  </a:cubicBezTo>
                  <a:cubicBezTo>
                    <a:pt x="404" y="48"/>
                    <a:pt x="401" y="46"/>
                    <a:pt x="399" y="48"/>
                  </a:cubicBezTo>
                  <a:cubicBezTo>
                    <a:pt x="398" y="49"/>
                    <a:pt x="398" y="50"/>
                    <a:pt x="397" y="51"/>
                  </a:cubicBezTo>
                  <a:cubicBezTo>
                    <a:pt x="397" y="52"/>
                    <a:pt x="397" y="52"/>
                    <a:pt x="396" y="52"/>
                  </a:cubicBezTo>
                  <a:cubicBezTo>
                    <a:pt x="396" y="53"/>
                    <a:pt x="394" y="53"/>
                    <a:pt x="393" y="54"/>
                  </a:cubicBezTo>
                  <a:cubicBezTo>
                    <a:pt x="391" y="56"/>
                    <a:pt x="391" y="60"/>
                    <a:pt x="392" y="62"/>
                  </a:cubicBezTo>
                  <a:cubicBezTo>
                    <a:pt x="391" y="62"/>
                    <a:pt x="389" y="65"/>
                    <a:pt x="388" y="66"/>
                  </a:cubicBezTo>
                  <a:cubicBezTo>
                    <a:pt x="386" y="68"/>
                    <a:pt x="385" y="71"/>
                    <a:pt x="383" y="73"/>
                  </a:cubicBezTo>
                  <a:cubicBezTo>
                    <a:pt x="380" y="77"/>
                    <a:pt x="374" y="74"/>
                    <a:pt x="369" y="75"/>
                  </a:cubicBezTo>
                  <a:cubicBezTo>
                    <a:pt x="370" y="76"/>
                    <a:pt x="372" y="76"/>
                    <a:pt x="373" y="76"/>
                  </a:cubicBezTo>
                  <a:cubicBezTo>
                    <a:pt x="373" y="75"/>
                    <a:pt x="372" y="75"/>
                    <a:pt x="372" y="74"/>
                  </a:cubicBezTo>
                  <a:cubicBezTo>
                    <a:pt x="371" y="73"/>
                    <a:pt x="372" y="72"/>
                    <a:pt x="372" y="71"/>
                  </a:cubicBezTo>
                  <a:cubicBezTo>
                    <a:pt x="371" y="69"/>
                    <a:pt x="372" y="68"/>
                    <a:pt x="370" y="67"/>
                  </a:cubicBezTo>
                  <a:cubicBezTo>
                    <a:pt x="369" y="65"/>
                    <a:pt x="367" y="66"/>
                    <a:pt x="366" y="64"/>
                  </a:cubicBezTo>
                  <a:cubicBezTo>
                    <a:pt x="365" y="62"/>
                    <a:pt x="364" y="59"/>
                    <a:pt x="364" y="58"/>
                  </a:cubicBezTo>
                  <a:cubicBezTo>
                    <a:pt x="361" y="58"/>
                    <a:pt x="360" y="56"/>
                    <a:pt x="357" y="55"/>
                  </a:cubicBezTo>
                  <a:cubicBezTo>
                    <a:pt x="356" y="54"/>
                    <a:pt x="355" y="55"/>
                    <a:pt x="355" y="54"/>
                  </a:cubicBezTo>
                  <a:cubicBezTo>
                    <a:pt x="354" y="54"/>
                    <a:pt x="353" y="53"/>
                    <a:pt x="352" y="53"/>
                  </a:cubicBezTo>
                  <a:cubicBezTo>
                    <a:pt x="351" y="52"/>
                    <a:pt x="349" y="53"/>
                    <a:pt x="348" y="52"/>
                  </a:cubicBezTo>
                  <a:cubicBezTo>
                    <a:pt x="346" y="52"/>
                    <a:pt x="345" y="51"/>
                    <a:pt x="343" y="51"/>
                  </a:cubicBezTo>
                  <a:cubicBezTo>
                    <a:pt x="342" y="51"/>
                    <a:pt x="339" y="50"/>
                    <a:pt x="338" y="51"/>
                  </a:cubicBezTo>
                  <a:cubicBezTo>
                    <a:pt x="336" y="52"/>
                    <a:pt x="336" y="54"/>
                    <a:pt x="335" y="56"/>
                  </a:cubicBezTo>
                  <a:cubicBezTo>
                    <a:pt x="335" y="60"/>
                    <a:pt x="335" y="64"/>
                    <a:pt x="336" y="68"/>
                  </a:cubicBezTo>
                  <a:cubicBezTo>
                    <a:pt x="337" y="71"/>
                    <a:pt x="339" y="76"/>
                    <a:pt x="341" y="79"/>
                  </a:cubicBezTo>
                  <a:cubicBezTo>
                    <a:pt x="342" y="81"/>
                    <a:pt x="344" y="81"/>
                    <a:pt x="346" y="83"/>
                  </a:cubicBezTo>
                  <a:cubicBezTo>
                    <a:pt x="347" y="85"/>
                    <a:pt x="347" y="87"/>
                    <a:pt x="347" y="89"/>
                  </a:cubicBezTo>
                  <a:cubicBezTo>
                    <a:pt x="348" y="92"/>
                    <a:pt x="348" y="96"/>
                    <a:pt x="348" y="99"/>
                  </a:cubicBezTo>
                  <a:cubicBezTo>
                    <a:pt x="349" y="103"/>
                    <a:pt x="350" y="110"/>
                    <a:pt x="349" y="114"/>
                  </a:cubicBezTo>
                  <a:cubicBezTo>
                    <a:pt x="346" y="114"/>
                    <a:pt x="346" y="112"/>
                    <a:pt x="346" y="110"/>
                  </a:cubicBezTo>
                  <a:cubicBezTo>
                    <a:pt x="346" y="108"/>
                    <a:pt x="346" y="106"/>
                    <a:pt x="346" y="104"/>
                  </a:cubicBezTo>
                  <a:cubicBezTo>
                    <a:pt x="345" y="102"/>
                    <a:pt x="344" y="101"/>
                    <a:pt x="343" y="99"/>
                  </a:cubicBezTo>
                  <a:cubicBezTo>
                    <a:pt x="341" y="96"/>
                    <a:pt x="342" y="94"/>
                    <a:pt x="341" y="91"/>
                  </a:cubicBezTo>
                  <a:cubicBezTo>
                    <a:pt x="338" y="91"/>
                    <a:pt x="339" y="85"/>
                    <a:pt x="338" y="84"/>
                  </a:cubicBezTo>
                  <a:cubicBezTo>
                    <a:pt x="338" y="83"/>
                    <a:pt x="335" y="82"/>
                    <a:pt x="335" y="82"/>
                  </a:cubicBezTo>
                  <a:cubicBezTo>
                    <a:pt x="333" y="81"/>
                    <a:pt x="332" y="81"/>
                    <a:pt x="331" y="81"/>
                  </a:cubicBezTo>
                  <a:cubicBezTo>
                    <a:pt x="329" y="80"/>
                    <a:pt x="327" y="79"/>
                    <a:pt x="326" y="77"/>
                  </a:cubicBezTo>
                  <a:cubicBezTo>
                    <a:pt x="326" y="76"/>
                    <a:pt x="326" y="73"/>
                    <a:pt x="326" y="71"/>
                  </a:cubicBezTo>
                  <a:cubicBezTo>
                    <a:pt x="326" y="67"/>
                    <a:pt x="323" y="66"/>
                    <a:pt x="320" y="64"/>
                  </a:cubicBezTo>
                  <a:cubicBezTo>
                    <a:pt x="319" y="65"/>
                    <a:pt x="316" y="67"/>
                    <a:pt x="316" y="68"/>
                  </a:cubicBezTo>
                  <a:cubicBezTo>
                    <a:pt x="315" y="66"/>
                    <a:pt x="316" y="62"/>
                    <a:pt x="318" y="62"/>
                  </a:cubicBezTo>
                  <a:cubicBezTo>
                    <a:pt x="319" y="60"/>
                    <a:pt x="322" y="56"/>
                    <a:pt x="318" y="54"/>
                  </a:cubicBezTo>
                  <a:cubicBezTo>
                    <a:pt x="316" y="54"/>
                    <a:pt x="313" y="55"/>
                    <a:pt x="312" y="56"/>
                  </a:cubicBezTo>
                  <a:cubicBezTo>
                    <a:pt x="312" y="53"/>
                    <a:pt x="313" y="51"/>
                    <a:pt x="310" y="51"/>
                  </a:cubicBezTo>
                  <a:cubicBezTo>
                    <a:pt x="309" y="51"/>
                    <a:pt x="307" y="50"/>
                    <a:pt x="307" y="51"/>
                  </a:cubicBezTo>
                  <a:cubicBezTo>
                    <a:pt x="306" y="51"/>
                    <a:pt x="306" y="53"/>
                    <a:pt x="305" y="53"/>
                  </a:cubicBezTo>
                  <a:cubicBezTo>
                    <a:pt x="304" y="49"/>
                    <a:pt x="293" y="58"/>
                    <a:pt x="294" y="62"/>
                  </a:cubicBezTo>
                  <a:cubicBezTo>
                    <a:pt x="296" y="62"/>
                    <a:pt x="297" y="65"/>
                    <a:pt x="295" y="66"/>
                  </a:cubicBezTo>
                  <a:cubicBezTo>
                    <a:pt x="293" y="64"/>
                    <a:pt x="291" y="65"/>
                    <a:pt x="288" y="65"/>
                  </a:cubicBezTo>
                  <a:cubicBezTo>
                    <a:pt x="285" y="65"/>
                    <a:pt x="282" y="64"/>
                    <a:pt x="280" y="65"/>
                  </a:cubicBezTo>
                  <a:cubicBezTo>
                    <a:pt x="278" y="65"/>
                    <a:pt x="278" y="67"/>
                    <a:pt x="277" y="67"/>
                  </a:cubicBezTo>
                  <a:cubicBezTo>
                    <a:pt x="276" y="69"/>
                    <a:pt x="276" y="68"/>
                    <a:pt x="275" y="69"/>
                  </a:cubicBezTo>
                  <a:cubicBezTo>
                    <a:pt x="274" y="72"/>
                    <a:pt x="275" y="78"/>
                    <a:pt x="275" y="81"/>
                  </a:cubicBezTo>
                  <a:cubicBezTo>
                    <a:pt x="275" y="82"/>
                    <a:pt x="276" y="83"/>
                    <a:pt x="276" y="85"/>
                  </a:cubicBezTo>
                  <a:cubicBezTo>
                    <a:pt x="276" y="86"/>
                    <a:pt x="276" y="86"/>
                    <a:pt x="276" y="87"/>
                  </a:cubicBezTo>
                  <a:cubicBezTo>
                    <a:pt x="276" y="88"/>
                    <a:pt x="277" y="89"/>
                    <a:pt x="277" y="89"/>
                  </a:cubicBezTo>
                  <a:cubicBezTo>
                    <a:pt x="277" y="91"/>
                    <a:pt x="277" y="92"/>
                    <a:pt x="277" y="93"/>
                  </a:cubicBezTo>
                  <a:cubicBezTo>
                    <a:pt x="277" y="94"/>
                    <a:pt x="278" y="95"/>
                    <a:pt x="278" y="96"/>
                  </a:cubicBezTo>
                  <a:cubicBezTo>
                    <a:pt x="278" y="97"/>
                    <a:pt x="279" y="98"/>
                    <a:pt x="279" y="99"/>
                  </a:cubicBezTo>
                  <a:cubicBezTo>
                    <a:pt x="280" y="102"/>
                    <a:pt x="280" y="105"/>
                    <a:pt x="276" y="105"/>
                  </a:cubicBezTo>
                  <a:cubicBezTo>
                    <a:pt x="274" y="105"/>
                    <a:pt x="272" y="104"/>
                    <a:pt x="270" y="104"/>
                  </a:cubicBezTo>
                  <a:cubicBezTo>
                    <a:pt x="270" y="105"/>
                    <a:pt x="269" y="107"/>
                    <a:pt x="268" y="107"/>
                  </a:cubicBezTo>
                  <a:cubicBezTo>
                    <a:pt x="267" y="105"/>
                    <a:pt x="265" y="105"/>
                    <a:pt x="264" y="104"/>
                  </a:cubicBezTo>
                  <a:cubicBezTo>
                    <a:pt x="264" y="102"/>
                    <a:pt x="264" y="99"/>
                    <a:pt x="264" y="97"/>
                  </a:cubicBezTo>
                  <a:cubicBezTo>
                    <a:pt x="264" y="94"/>
                    <a:pt x="264" y="91"/>
                    <a:pt x="261" y="89"/>
                  </a:cubicBezTo>
                  <a:cubicBezTo>
                    <a:pt x="259" y="88"/>
                    <a:pt x="259" y="89"/>
                    <a:pt x="257" y="88"/>
                  </a:cubicBezTo>
                  <a:cubicBezTo>
                    <a:pt x="256" y="86"/>
                    <a:pt x="256" y="85"/>
                    <a:pt x="255" y="83"/>
                  </a:cubicBezTo>
                  <a:cubicBezTo>
                    <a:pt x="254" y="81"/>
                    <a:pt x="253" y="80"/>
                    <a:pt x="252" y="79"/>
                  </a:cubicBezTo>
                  <a:cubicBezTo>
                    <a:pt x="251" y="77"/>
                    <a:pt x="251" y="76"/>
                    <a:pt x="251" y="73"/>
                  </a:cubicBezTo>
                  <a:cubicBezTo>
                    <a:pt x="250" y="73"/>
                    <a:pt x="247" y="72"/>
                    <a:pt x="246" y="72"/>
                  </a:cubicBezTo>
                  <a:cubicBezTo>
                    <a:pt x="244" y="70"/>
                    <a:pt x="245" y="67"/>
                    <a:pt x="244" y="65"/>
                  </a:cubicBezTo>
                  <a:cubicBezTo>
                    <a:pt x="244" y="62"/>
                    <a:pt x="243" y="62"/>
                    <a:pt x="241" y="61"/>
                  </a:cubicBezTo>
                  <a:cubicBezTo>
                    <a:pt x="239" y="60"/>
                    <a:pt x="238" y="59"/>
                    <a:pt x="236" y="58"/>
                  </a:cubicBezTo>
                  <a:cubicBezTo>
                    <a:pt x="231" y="56"/>
                    <a:pt x="229" y="60"/>
                    <a:pt x="227" y="64"/>
                  </a:cubicBezTo>
                  <a:cubicBezTo>
                    <a:pt x="225" y="65"/>
                    <a:pt x="224" y="67"/>
                    <a:pt x="223" y="69"/>
                  </a:cubicBezTo>
                  <a:cubicBezTo>
                    <a:pt x="223" y="69"/>
                    <a:pt x="222" y="69"/>
                    <a:pt x="222" y="70"/>
                  </a:cubicBezTo>
                  <a:cubicBezTo>
                    <a:pt x="221" y="71"/>
                    <a:pt x="221" y="74"/>
                    <a:pt x="222" y="75"/>
                  </a:cubicBezTo>
                  <a:cubicBezTo>
                    <a:pt x="222" y="78"/>
                    <a:pt x="222" y="80"/>
                    <a:pt x="222" y="83"/>
                  </a:cubicBezTo>
                  <a:cubicBezTo>
                    <a:pt x="222" y="86"/>
                    <a:pt x="225" y="88"/>
                    <a:pt x="226" y="91"/>
                  </a:cubicBezTo>
                  <a:cubicBezTo>
                    <a:pt x="227" y="93"/>
                    <a:pt x="227" y="95"/>
                    <a:pt x="227" y="97"/>
                  </a:cubicBezTo>
                  <a:cubicBezTo>
                    <a:pt x="227" y="101"/>
                    <a:pt x="229" y="105"/>
                    <a:pt x="229" y="108"/>
                  </a:cubicBezTo>
                  <a:cubicBezTo>
                    <a:pt x="228" y="111"/>
                    <a:pt x="228" y="112"/>
                    <a:pt x="228" y="114"/>
                  </a:cubicBezTo>
                  <a:cubicBezTo>
                    <a:pt x="228" y="116"/>
                    <a:pt x="229" y="120"/>
                    <a:pt x="228" y="122"/>
                  </a:cubicBezTo>
                  <a:cubicBezTo>
                    <a:pt x="227" y="122"/>
                    <a:pt x="225" y="123"/>
                    <a:pt x="225" y="124"/>
                  </a:cubicBezTo>
                  <a:cubicBezTo>
                    <a:pt x="224" y="125"/>
                    <a:pt x="225" y="127"/>
                    <a:pt x="224" y="128"/>
                  </a:cubicBezTo>
                  <a:cubicBezTo>
                    <a:pt x="223" y="129"/>
                    <a:pt x="221" y="128"/>
                    <a:pt x="220" y="128"/>
                  </a:cubicBezTo>
                  <a:cubicBezTo>
                    <a:pt x="219" y="131"/>
                    <a:pt x="221" y="132"/>
                    <a:pt x="221" y="134"/>
                  </a:cubicBezTo>
                  <a:cubicBezTo>
                    <a:pt x="220" y="136"/>
                    <a:pt x="219" y="137"/>
                    <a:pt x="219" y="139"/>
                  </a:cubicBezTo>
                  <a:cubicBezTo>
                    <a:pt x="219" y="140"/>
                    <a:pt x="219" y="142"/>
                    <a:pt x="219" y="143"/>
                  </a:cubicBezTo>
                  <a:cubicBezTo>
                    <a:pt x="219" y="143"/>
                    <a:pt x="218" y="143"/>
                    <a:pt x="218" y="143"/>
                  </a:cubicBezTo>
                  <a:cubicBezTo>
                    <a:pt x="217" y="140"/>
                    <a:pt x="218" y="137"/>
                    <a:pt x="217" y="135"/>
                  </a:cubicBezTo>
                  <a:cubicBezTo>
                    <a:pt x="216" y="134"/>
                    <a:pt x="215" y="133"/>
                    <a:pt x="214" y="132"/>
                  </a:cubicBezTo>
                  <a:cubicBezTo>
                    <a:pt x="214" y="131"/>
                    <a:pt x="212" y="129"/>
                    <a:pt x="212" y="127"/>
                  </a:cubicBezTo>
                  <a:cubicBezTo>
                    <a:pt x="211" y="123"/>
                    <a:pt x="215" y="117"/>
                    <a:pt x="212" y="113"/>
                  </a:cubicBezTo>
                  <a:cubicBezTo>
                    <a:pt x="210" y="111"/>
                    <a:pt x="210" y="113"/>
                    <a:pt x="208" y="114"/>
                  </a:cubicBezTo>
                  <a:cubicBezTo>
                    <a:pt x="206" y="116"/>
                    <a:pt x="205" y="118"/>
                    <a:pt x="204" y="120"/>
                  </a:cubicBezTo>
                  <a:cubicBezTo>
                    <a:pt x="201" y="122"/>
                    <a:pt x="197" y="125"/>
                    <a:pt x="196" y="128"/>
                  </a:cubicBezTo>
                  <a:cubicBezTo>
                    <a:pt x="194" y="132"/>
                    <a:pt x="196" y="136"/>
                    <a:pt x="195" y="140"/>
                  </a:cubicBezTo>
                  <a:cubicBezTo>
                    <a:pt x="195" y="142"/>
                    <a:pt x="193" y="143"/>
                    <a:pt x="193" y="144"/>
                  </a:cubicBezTo>
                  <a:cubicBezTo>
                    <a:pt x="191" y="146"/>
                    <a:pt x="191" y="147"/>
                    <a:pt x="191" y="149"/>
                  </a:cubicBezTo>
                  <a:cubicBezTo>
                    <a:pt x="191" y="153"/>
                    <a:pt x="191" y="157"/>
                    <a:pt x="193" y="160"/>
                  </a:cubicBezTo>
                  <a:cubicBezTo>
                    <a:pt x="192" y="158"/>
                    <a:pt x="191" y="154"/>
                    <a:pt x="190" y="151"/>
                  </a:cubicBezTo>
                  <a:cubicBezTo>
                    <a:pt x="189" y="150"/>
                    <a:pt x="188" y="149"/>
                    <a:pt x="187" y="148"/>
                  </a:cubicBezTo>
                  <a:cubicBezTo>
                    <a:pt x="186" y="147"/>
                    <a:pt x="186" y="145"/>
                    <a:pt x="185" y="144"/>
                  </a:cubicBezTo>
                  <a:cubicBezTo>
                    <a:pt x="183" y="148"/>
                    <a:pt x="183" y="152"/>
                    <a:pt x="183" y="156"/>
                  </a:cubicBezTo>
                  <a:cubicBezTo>
                    <a:pt x="183" y="160"/>
                    <a:pt x="183" y="164"/>
                    <a:pt x="183" y="168"/>
                  </a:cubicBezTo>
                  <a:cubicBezTo>
                    <a:pt x="184" y="173"/>
                    <a:pt x="184" y="178"/>
                    <a:pt x="184" y="184"/>
                  </a:cubicBezTo>
                  <a:cubicBezTo>
                    <a:pt x="183" y="182"/>
                    <a:pt x="183" y="180"/>
                    <a:pt x="183" y="178"/>
                  </a:cubicBezTo>
                  <a:cubicBezTo>
                    <a:pt x="183" y="176"/>
                    <a:pt x="183" y="173"/>
                    <a:pt x="183" y="170"/>
                  </a:cubicBezTo>
                  <a:cubicBezTo>
                    <a:pt x="183" y="165"/>
                    <a:pt x="183" y="160"/>
                    <a:pt x="182" y="155"/>
                  </a:cubicBezTo>
                  <a:cubicBezTo>
                    <a:pt x="182" y="151"/>
                    <a:pt x="180" y="147"/>
                    <a:pt x="176" y="146"/>
                  </a:cubicBezTo>
                  <a:cubicBezTo>
                    <a:pt x="175" y="145"/>
                    <a:pt x="172" y="145"/>
                    <a:pt x="171" y="145"/>
                  </a:cubicBezTo>
                  <a:cubicBezTo>
                    <a:pt x="169" y="146"/>
                    <a:pt x="167" y="148"/>
                    <a:pt x="165" y="148"/>
                  </a:cubicBezTo>
                  <a:cubicBezTo>
                    <a:pt x="167" y="146"/>
                    <a:pt x="168" y="143"/>
                    <a:pt x="171" y="141"/>
                  </a:cubicBezTo>
                  <a:cubicBezTo>
                    <a:pt x="173" y="138"/>
                    <a:pt x="175" y="139"/>
                    <a:pt x="176" y="135"/>
                  </a:cubicBezTo>
                  <a:cubicBezTo>
                    <a:pt x="176" y="132"/>
                    <a:pt x="175" y="131"/>
                    <a:pt x="172" y="130"/>
                  </a:cubicBezTo>
                  <a:cubicBezTo>
                    <a:pt x="169" y="130"/>
                    <a:pt x="169" y="131"/>
                    <a:pt x="169" y="127"/>
                  </a:cubicBezTo>
                  <a:cubicBezTo>
                    <a:pt x="170" y="125"/>
                    <a:pt x="169" y="123"/>
                    <a:pt x="167" y="122"/>
                  </a:cubicBezTo>
                  <a:cubicBezTo>
                    <a:pt x="164" y="121"/>
                    <a:pt x="162" y="123"/>
                    <a:pt x="160" y="121"/>
                  </a:cubicBezTo>
                  <a:cubicBezTo>
                    <a:pt x="160" y="120"/>
                    <a:pt x="159" y="119"/>
                    <a:pt x="159" y="118"/>
                  </a:cubicBezTo>
                  <a:cubicBezTo>
                    <a:pt x="158" y="117"/>
                    <a:pt x="157" y="116"/>
                    <a:pt x="157" y="116"/>
                  </a:cubicBezTo>
                  <a:cubicBezTo>
                    <a:pt x="157" y="114"/>
                    <a:pt x="159" y="108"/>
                    <a:pt x="156" y="109"/>
                  </a:cubicBezTo>
                  <a:cubicBezTo>
                    <a:pt x="156" y="107"/>
                    <a:pt x="154" y="105"/>
                    <a:pt x="153" y="105"/>
                  </a:cubicBezTo>
                  <a:cubicBezTo>
                    <a:pt x="153" y="107"/>
                    <a:pt x="157" y="109"/>
                    <a:pt x="159" y="111"/>
                  </a:cubicBezTo>
                  <a:cubicBezTo>
                    <a:pt x="160" y="112"/>
                    <a:pt x="165" y="117"/>
                    <a:pt x="167" y="116"/>
                  </a:cubicBezTo>
                  <a:cubicBezTo>
                    <a:pt x="168" y="115"/>
                    <a:pt x="168" y="114"/>
                    <a:pt x="168" y="114"/>
                  </a:cubicBezTo>
                  <a:cubicBezTo>
                    <a:pt x="169" y="113"/>
                    <a:pt x="169" y="113"/>
                    <a:pt x="170" y="112"/>
                  </a:cubicBezTo>
                  <a:cubicBezTo>
                    <a:pt x="171" y="111"/>
                    <a:pt x="174" y="111"/>
                    <a:pt x="174" y="109"/>
                  </a:cubicBezTo>
                  <a:cubicBezTo>
                    <a:pt x="175" y="105"/>
                    <a:pt x="171" y="105"/>
                    <a:pt x="168" y="105"/>
                  </a:cubicBezTo>
                  <a:cubicBezTo>
                    <a:pt x="172" y="105"/>
                    <a:pt x="173" y="103"/>
                    <a:pt x="175" y="100"/>
                  </a:cubicBezTo>
                  <a:cubicBezTo>
                    <a:pt x="177" y="98"/>
                    <a:pt x="178" y="94"/>
                    <a:pt x="178" y="91"/>
                  </a:cubicBezTo>
                  <a:cubicBezTo>
                    <a:pt x="179" y="88"/>
                    <a:pt x="178" y="84"/>
                    <a:pt x="176" y="83"/>
                  </a:cubicBezTo>
                  <a:cubicBezTo>
                    <a:pt x="173" y="81"/>
                    <a:pt x="170" y="82"/>
                    <a:pt x="167" y="82"/>
                  </a:cubicBezTo>
                  <a:cubicBezTo>
                    <a:pt x="167" y="78"/>
                    <a:pt x="161" y="78"/>
                    <a:pt x="159" y="79"/>
                  </a:cubicBezTo>
                  <a:cubicBezTo>
                    <a:pt x="164" y="78"/>
                    <a:pt x="168" y="77"/>
                    <a:pt x="174" y="77"/>
                  </a:cubicBezTo>
                  <a:cubicBezTo>
                    <a:pt x="176" y="77"/>
                    <a:pt x="178" y="77"/>
                    <a:pt x="177" y="74"/>
                  </a:cubicBezTo>
                  <a:cubicBezTo>
                    <a:pt x="175" y="71"/>
                    <a:pt x="173" y="70"/>
                    <a:pt x="170" y="70"/>
                  </a:cubicBezTo>
                  <a:cubicBezTo>
                    <a:pt x="169" y="70"/>
                    <a:pt x="168" y="70"/>
                    <a:pt x="167" y="71"/>
                  </a:cubicBezTo>
                  <a:cubicBezTo>
                    <a:pt x="166" y="71"/>
                    <a:pt x="166" y="72"/>
                    <a:pt x="165" y="71"/>
                  </a:cubicBezTo>
                  <a:cubicBezTo>
                    <a:pt x="167" y="67"/>
                    <a:pt x="165" y="63"/>
                    <a:pt x="160" y="64"/>
                  </a:cubicBezTo>
                  <a:cubicBezTo>
                    <a:pt x="160" y="66"/>
                    <a:pt x="160" y="69"/>
                    <a:pt x="159" y="71"/>
                  </a:cubicBezTo>
                  <a:cubicBezTo>
                    <a:pt x="158" y="70"/>
                    <a:pt x="156" y="64"/>
                    <a:pt x="154" y="66"/>
                  </a:cubicBezTo>
                  <a:cubicBezTo>
                    <a:pt x="154" y="62"/>
                    <a:pt x="155" y="58"/>
                    <a:pt x="153" y="55"/>
                  </a:cubicBezTo>
                  <a:cubicBezTo>
                    <a:pt x="153" y="54"/>
                    <a:pt x="153" y="52"/>
                    <a:pt x="152" y="51"/>
                  </a:cubicBezTo>
                  <a:cubicBezTo>
                    <a:pt x="151" y="50"/>
                    <a:pt x="147" y="49"/>
                    <a:pt x="146" y="49"/>
                  </a:cubicBezTo>
                  <a:cubicBezTo>
                    <a:pt x="145" y="48"/>
                    <a:pt x="144" y="48"/>
                    <a:pt x="143" y="46"/>
                  </a:cubicBezTo>
                  <a:cubicBezTo>
                    <a:pt x="143" y="45"/>
                    <a:pt x="143" y="42"/>
                    <a:pt x="142" y="41"/>
                  </a:cubicBezTo>
                  <a:cubicBezTo>
                    <a:pt x="141" y="40"/>
                    <a:pt x="140" y="40"/>
                    <a:pt x="138" y="40"/>
                  </a:cubicBezTo>
                  <a:cubicBezTo>
                    <a:pt x="138" y="40"/>
                    <a:pt x="138" y="39"/>
                    <a:pt x="137" y="39"/>
                  </a:cubicBezTo>
                  <a:cubicBezTo>
                    <a:pt x="135" y="38"/>
                    <a:pt x="133" y="39"/>
                    <a:pt x="132" y="39"/>
                  </a:cubicBezTo>
                  <a:cubicBezTo>
                    <a:pt x="131" y="37"/>
                    <a:pt x="133" y="37"/>
                    <a:pt x="133" y="35"/>
                  </a:cubicBezTo>
                  <a:cubicBezTo>
                    <a:pt x="131" y="34"/>
                    <a:pt x="132" y="38"/>
                    <a:pt x="131" y="39"/>
                  </a:cubicBezTo>
                  <a:cubicBezTo>
                    <a:pt x="129" y="40"/>
                    <a:pt x="129" y="37"/>
                    <a:pt x="127" y="37"/>
                  </a:cubicBezTo>
                  <a:cubicBezTo>
                    <a:pt x="126" y="32"/>
                    <a:pt x="129" y="31"/>
                    <a:pt x="125" y="27"/>
                  </a:cubicBezTo>
                  <a:cubicBezTo>
                    <a:pt x="124" y="26"/>
                    <a:pt x="123" y="25"/>
                    <a:pt x="122" y="23"/>
                  </a:cubicBezTo>
                  <a:cubicBezTo>
                    <a:pt x="122" y="22"/>
                    <a:pt x="122" y="21"/>
                    <a:pt x="121" y="21"/>
                  </a:cubicBezTo>
                  <a:cubicBezTo>
                    <a:pt x="120" y="19"/>
                    <a:pt x="119" y="20"/>
                    <a:pt x="118" y="19"/>
                  </a:cubicBezTo>
                  <a:cubicBezTo>
                    <a:pt x="117" y="17"/>
                    <a:pt x="119" y="14"/>
                    <a:pt x="118" y="13"/>
                  </a:cubicBezTo>
                  <a:cubicBezTo>
                    <a:pt x="117" y="11"/>
                    <a:pt x="113" y="10"/>
                    <a:pt x="111" y="11"/>
                  </a:cubicBezTo>
                  <a:cubicBezTo>
                    <a:pt x="107" y="13"/>
                    <a:pt x="115" y="16"/>
                    <a:pt x="114" y="19"/>
                  </a:cubicBezTo>
                  <a:cubicBezTo>
                    <a:pt x="111" y="16"/>
                    <a:pt x="109" y="13"/>
                    <a:pt x="105" y="15"/>
                  </a:cubicBezTo>
                  <a:cubicBezTo>
                    <a:pt x="103" y="16"/>
                    <a:pt x="103" y="19"/>
                    <a:pt x="101" y="19"/>
                  </a:cubicBezTo>
                  <a:cubicBezTo>
                    <a:pt x="99" y="17"/>
                    <a:pt x="97" y="16"/>
                    <a:pt x="95" y="15"/>
                  </a:cubicBezTo>
                  <a:cubicBezTo>
                    <a:pt x="93" y="15"/>
                    <a:pt x="91" y="15"/>
                    <a:pt x="89" y="15"/>
                  </a:cubicBezTo>
                  <a:cubicBezTo>
                    <a:pt x="89" y="17"/>
                    <a:pt x="92" y="17"/>
                    <a:pt x="92" y="19"/>
                  </a:cubicBezTo>
                  <a:cubicBezTo>
                    <a:pt x="89" y="19"/>
                    <a:pt x="88" y="17"/>
                    <a:pt x="85" y="17"/>
                  </a:cubicBezTo>
                  <a:cubicBezTo>
                    <a:pt x="84" y="17"/>
                    <a:pt x="83" y="17"/>
                    <a:pt x="81" y="17"/>
                  </a:cubicBezTo>
                  <a:cubicBezTo>
                    <a:pt x="79" y="17"/>
                    <a:pt x="79" y="17"/>
                    <a:pt x="78" y="15"/>
                  </a:cubicBezTo>
                  <a:cubicBezTo>
                    <a:pt x="76" y="18"/>
                    <a:pt x="78" y="18"/>
                    <a:pt x="79" y="19"/>
                  </a:cubicBezTo>
                  <a:cubicBezTo>
                    <a:pt x="81" y="21"/>
                    <a:pt x="80" y="21"/>
                    <a:pt x="80" y="23"/>
                  </a:cubicBezTo>
                  <a:cubicBezTo>
                    <a:pt x="81" y="28"/>
                    <a:pt x="80" y="27"/>
                    <a:pt x="76" y="27"/>
                  </a:cubicBezTo>
                  <a:cubicBezTo>
                    <a:pt x="75" y="27"/>
                    <a:pt x="74" y="27"/>
                    <a:pt x="73" y="28"/>
                  </a:cubicBezTo>
                  <a:cubicBezTo>
                    <a:pt x="72" y="31"/>
                    <a:pt x="76" y="32"/>
                    <a:pt x="77" y="33"/>
                  </a:cubicBezTo>
                  <a:cubicBezTo>
                    <a:pt x="78" y="35"/>
                    <a:pt x="78" y="36"/>
                    <a:pt x="78" y="37"/>
                  </a:cubicBezTo>
                  <a:cubicBezTo>
                    <a:pt x="79" y="40"/>
                    <a:pt x="81" y="40"/>
                    <a:pt x="82" y="42"/>
                  </a:cubicBezTo>
                  <a:cubicBezTo>
                    <a:pt x="84" y="44"/>
                    <a:pt x="83" y="46"/>
                    <a:pt x="83" y="48"/>
                  </a:cubicBezTo>
                  <a:cubicBezTo>
                    <a:pt x="84" y="51"/>
                    <a:pt x="87" y="53"/>
                    <a:pt x="89" y="55"/>
                  </a:cubicBezTo>
                  <a:cubicBezTo>
                    <a:pt x="92" y="57"/>
                    <a:pt x="95" y="58"/>
                    <a:pt x="99" y="58"/>
                  </a:cubicBezTo>
                  <a:cubicBezTo>
                    <a:pt x="101" y="58"/>
                    <a:pt x="103" y="59"/>
                    <a:pt x="105" y="61"/>
                  </a:cubicBezTo>
                  <a:cubicBezTo>
                    <a:pt x="105" y="61"/>
                    <a:pt x="107" y="62"/>
                    <a:pt x="107" y="62"/>
                  </a:cubicBezTo>
                  <a:cubicBezTo>
                    <a:pt x="108" y="63"/>
                    <a:pt x="108" y="64"/>
                    <a:pt x="108" y="64"/>
                  </a:cubicBezTo>
                  <a:cubicBezTo>
                    <a:pt x="110" y="66"/>
                    <a:pt x="110" y="65"/>
                    <a:pt x="112" y="66"/>
                  </a:cubicBezTo>
                  <a:cubicBezTo>
                    <a:pt x="113" y="66"/>
                    <a:pt x="116" y="69"/>
                    <a:pt x="113" y="70"/>
                  </a:cubicBezTo>
                  <a:cubicBezTo>
                    <a:pt x="113" y="73"/>
                    <a:pt x="115" y="74"/>
                    <a:pt x="116" y="77"/>
                  </a:cubicBezTo>
                  <a:cubicBezTo>
                    <a:pt x="118" y="81"/>
                    <a:pt x="118" y="86"/>
                    <a:pt x="120" y="90"/>
                  </a:cubicBezTo>
                  <a:cubicBezTo>
                    <a:pt x="120" y="88"/>
                    <a:pt x="117" y="85"/>
                    <a:pt x="116" y="84"/>
                  </a:cubicBezTo>
                  <a:cubicBezTo>
                    <a:pt x="115" y="83"/>
                    <a:pt x="114" y="83"/>
                    <a:pt x="114" y="81"/>
                  </a:cubicBezTo>
                  <a:cubicBezTo>
                    <a:pt x="113" y="81"/>
                    <a:pt x="112" y="81"/>
                    <a:pt x="111" y="81"/>
                  </a:cubicBezTo>
                  <a:cubicBezTo>
                    <a:pt x="111" y="85"/>
                    <a:pt x="112" y="87"/>
                    <a:pt x="109" y="90"/>
                  </a:cubicBezTo>
                  <a:cubicBezTo>
                    <a:pt x="108" y="90"/>
                    <a:pt x="108" y="91"/>
                    <a:pt x="107" y="92"/>
                  </a:cubicBezTo>
                  <a:cubicBezTo>
                    <a:pt x="106" y="93"/>
                    <a:pt x="104" y="95"/>
                    <a:pt x="103" y="95"/>
                  </a:cubicBezTo>
                  <a:cubicBezTo>
                    <a:pt x="100" y="94"/>
                    <a:pt x="104" y="86"/>
                    <a:pt x="105" y="84"/>
                  </a:cubicBezTo>
                  <a:cubicBezTo>
                    <a:pt x="105" y="81"/>
                    <a:pt x="105" y="75"/>
                    <a:pt x="103" y="73"/>
                  </a:cubicBezTo>
                  <a:cubicBezTo>
                    <a:pt x="100" y="69"/>
                    <a:pt x="90" y="69"/>
                    <a:pt x="90" y="75"/>
                  </a:cubicBezTo>
                  <a:cubicBezTo>
                    <a:pt x="89" y="74"/>
                    <a:pt x="89" y="73"/>
                    <a:pt x="89" y="72"/>
                  </a:cubicBezTo>
                  <a:cubicBezTo>
                    <a:pt x="88" y="72"/>
                    <a:pt x="88" y="71"/>
                    <a:pt x="88" y="70"/>
                  </a:cubicBezTo>
                  <a:cubicBezTo>
                    <a:pt x="88" y="69"/>
                    <a:pt x="88" y="68"/>
                    <a:pt x="88" y="67"/>
                  </a:cubicBezTo>
                  <a:cubicBezTo>
                    <a:pt x="87" y="65"/>
                    <a:pt x="85" y="65"/>
                    <a:pt x="83" y="64"/>
                  </a:cubicBezTo>
                  <a:cubicBezTo>
                    <a:pt x="82" y="62"/>
                    <a:pt x="82" y="60"/>
                    <a:pt x="80" y="58"/>
                  </a:cubicBezTo>
                  <a:cubicBezTo>
                    <a:pt x="79" y="56"/>
                    <a:pt x="77" y="55"/>
                    <a:pt x="76" y="54"/>
                  </a:cubicBezTo>
                  <a:cubicBezTo>
                    <a:pt x="75" y="52"/>
                    <a:pt x="74" y="51"/>
                    <a:pt x="72" y="51"/>
                  </a:cubicBezTo>
                  <a:cubicBezTo>
                    <a:pt x="69" y="50"/>
                    <a:pt x="67" y="49"/>
                    <a:pt x="65" y="49"/>
                  </a:cubicBezTo>
                  <a:cubicBezTo>
                    <a:pt x="62" y="49"/>
                    <a:pt x="59" y="48"/>
                    <a:pt x="57" y="49"/>
                  </a:cubicBezTo>
                  <a:cubicBezTo>
                    <a:pt x="55" y="50"/>
                    <a:pt x="54" y="52"/>
                    <a:pt x="53" y="54"/>
                  </a:cubicBezTo>
                  <a:cubicBezTo>
                    <a:pt x="54" y="57"/>
                    <a:pt x="59" y="57"/>
                    <a:pt x="58" y="60"/>
                  </a:cubicBezTo>
                  <a:cubicBezTo>
                    <a:pt x="55" y="60"/>
                    <a:pt x="54" y="57"/>
                    <a:pt x="51" y="58"/>
                  </a:cubicBezTo>
                  <a:cubicBezTo>
                    <a:pt x="51" y="59"/>
                    <a:pt x="51" y="60"/>
                    <a:pt x="51" y="61"/>
                  </a:cubicBezTo>
                  <a:cubicBezTo>
                    <a:pt x="51" y="62"/>
                    <a:pt x="50" y="62"/>
                    <a:pt x="50" y="63"/>
                  </a:cubicBezTo>
                  <a:cubicBezTo>
                    <a:pt x="50" y="65"/>
                    <a:pt x="52" y="65"/>
                    <a:pt x="53" y="67"/>
                  </a:cubicBezTo>
                  <a:cubicBezTo>
                    <a:pt x="54" y="67"/>
                    <a:pt x="54" y="69"/>
                    <a:pt x="55" y="69"/>
                  </a:cubicBezTo>
                  <a:cubicBezTo>
                    <a:pt x="56" y="70"/>
                    <a:pt x="57" y="70"/>
                    <a:pt x="58" y="71"/>
                  </a:cubicBezTo>
                  <a:cubicBezTo>
                    <a:pt x="59" y="72"/>
                    <a:pt x="60" y="74"/>
                    <a:pt x="60" y="75"/>
                  </a:cubicBezTo>
                  <a:cubicBezTo>
                    <a:pt x="57" y="76"/>
                    <a:pt x="53" y="73"/>
                    <a:pt x="49" y="72"/>
                  </a:cubicBezTo>
                  <a:cubicBezTo>
                    <a:pt x="46" y="72"/>
                    <a:pt x="43" y="71"/>
                    <a:pt x="40" y="72"/>
                  </a:cubicBezTo>
                  <a:cubicBezTo>
                    <a:pt x="39" y="79"/>
                    <a:pt x="46" y="83"/>
                    <a:pt x="51" y="87"/>
                  </a:cubicBezTo>
                  <a:cubicBezTo>
                    <a:pt x="53" y="89"/>
                    <a:pt x="55" y="89"/>
                    <a:pt x="57" y="90"/>
                  </a:cubicBezTo>
                  <a:cubicBezTo>
                    <a:pt x="60" y="91"/>
                    <a:pt x="65" y="91"/>
                    <a:pt x="67" y="93"/>
                  </a:cubicBezTo>
                  <a:cubicBezTo>
                    <a:pt x="63" y="95"/>
                    <a:pt x="56" y="90"/>
                    <a:pt x="52" y="89"/>
                  </a:cubicBezTo>
                  <a:cubicBezTo>
                    <a:pt x="51" y="89"/>
                    <a:pt x="51" y="89"/>
                    <a:pt x="50" y="89"/>
                  </a:cubicBezTo>
                  <a:cubicBezTo>
                    <a:pt x="49" y="89"/>
                    <a:pt x="48" y="87"/>
                    <a:pt x="47" y="87"/>
                  </a:cubicBezTo>
                  <a:cubicBezTo>
                    <a:pt x="45" y="86"/>
                    <a:pt x="44" y="85"/>
                    <a:pt x="42" y="85"/>
                  </a:cubicBezTo>
                  <a:cubicBezTo>
                    <a:pt x="39" y="86"/>
                    <a:pt x="40" y="86"/>
                    <a:pt x="40" y="89"/>
                  </a:cubicBezTo>
                  <a:cubicBezTo>
                    <a:pt x="39" y="93"/>
                    <a:pt x="36" y="98"/>
                    <a:pt x="40" y="101"/>
                  </a:cubicBezTo>
                  <a:cubicBezTo>
                    <a:pt x="41" y="101"/>
                    <a:pt x="42" y="101"/>
                    <a:pt x="43" y="101"/>
                  </a:cubicBezTo>
                  <a:cubicBezTo>
                    <a:pt x="43" y="102"/>
                    <a:pt x="44" y="104"/>
                    <a:pt x="45" y="105"/>
                  </a:cubicBezTo>
                  <a:cubicBezTo>
                    <a:pt x="46" y="106"/>
                    <a:pt x="49" y="110"/>
                    <a:pt x="50" y="110"/>
                  </a:cubicBezTo>
                  <a:cubicBezTo>
                    <a:pt x="52" y="111"/>
                    <a:pt x="51" y="110"/>
                    <a:pt x="53" y="109"/>
                  </a:cubicBezTo>
                  <a:cubicBezTo>
                    <a:pt x="54" y="109"/>
                    <a:pt x="53" y="109"/>
                    <a:pt x="54" y="109"/>
                  </a:cubicBezTo>
                  <a:cubicBezTo>
                    <a:pt x="56" y="108"/>
                    <a:pt x="59" y="109"/>
                    <a:pt x="61" y="109"/>
                  </a:cubicBezTo>
                  <a:cubicBezTo>
                    <a:pt x="63" y="108"/>
                    <a:pt x="64" y="106"/>
                    <a:pt x="66" y="105"/>
                  </a:cubicBezTo>
                  <a:cubicBezTo>
                    <a:pt x="68" y="105"/>
                    <a:pt x="77" y="104"/>
                    <a:pt x="74" y="108"/>
                  </a:cubicBezTo>
                  <a:cubicBezTo>
                    <a:pt x="73" y="110"/>
                    <a:pt x="70" y="108"/>
                    <a:pt x="69" y="109"/>
                  </a:cubicBezTo>
                  <a:cubicBezTo>
                    <a:pt x="67" y="109"/>
                    <a:pt x="66" y="110"/>
                    <a:pt x="65" y="110"/>
                  </a:cubicBezTo>
                  <a:cubicBezTo>
                    <a:pt x="62" y="111"/>
                    <a:pt x="60" y="110"/>
                    <a:pt x="59" y="112"/>
                  </a:cubicBezTo>
                  <a:cubicBezTo>
                    <a:pt x="55" y="117"/>
                    <a:pt x="61" y="119"/>
                    <a:pt x="65" y="120"/>
                  </a:cubicBezTo>
                  <a:cubicBezTo>
                    <a:pt x="63" y="120"/>
                    <a:pt x="60" y="120"/>
                    <a:pt x="58" y="120"/>
                  </a:cubicBezTo>
                  <a:cubicBezTo>
                    <a:pt x="57" y="118"/>
                    <a:pt x="56" y="116"/>
                    <a:pt x="54" y="115"/>
                  </a:cubicBezTo>
                  <a:cubicBezTo>
                    <a:pt x="52" y="114"/>
                    <a:pt x="50" y="115"/>
                    <a:pt x="47" y="114"/>
                  </a:cubicBezTo>
                  <a:cubicBezTo>
                    <a:pt x="44" y="114"/>
                    <a:pt x="42" y="111"/>
                    <a:pt x="40" y="109"/>
                  </a:cubicBezTo>
                  <a:cubicBezTo>
                    <a:pt x="38" y="106"/>
                    <a:pt x="37" y="105"/>
                    <a:pt x="33" y="105"/>
                  </a:cubicBezTo>
                  <a:cubicBezTo>
                    <a:pt x="31" y="105"/>
                    <a:pt x="30" y="104"/>
                    <a:pt x="29" y="104"/>
                  </a:cubicBezTo>
                  <a:cubicBezTo>
                    <a:pt x="28" y="103"/>
                    <a:pt x="27" y="102"/>
                    <a:pt x="26" y="102"/>
                  </a:cubicBezTo>
                  <a:cubicBezTo>
                    <a:pt x="24" y="103"/>
                    <a:pt x="24" y="113"/>
                    <a:pt x="25" y="115"/>
                  </a:cubicBezTo>
                  <a:cubicBezTo>
                    <a:pt x="27" y="117"/>
                    <a:pt x="31" y="118"/>
                    <a:pt x="33" y="119"/>
                  </a:cubicBezTo>
                  <a:cubicBezTo>
                    <a:pt x="37" y="120"/>
                    <a:pt x="36" y="120"/>
                    <a:pt x="37" y="123"/>
                  </a:cubicBezTo>
                  <a:cubicBezTo>
                    <a:pt x="37" y="124"/>
                    <a:pt x="40" y="125"/>
                    <a:pt x="38" y="126"/>
                  </a:cubicBezTo>
                  <a:cubicBezTo>
                    <a:pt x="35" y="125"/>
                    <a:pt x="34" y="123"/>
                    <a:pt x="32" y="123"/>
                  </a:cubicBezTo>
                  <a:cubicBezTo>
                    <a:pt x="29" y="123"/>
                    <a:pt x="27" y="123"/>
                    <a:pt x="25" y="123"/>
                  </a:cubicBezTo>
                  <a:cubicBezTo>
                    <a:pt x="24" y="126"/>
                    <a:pt x="26" y="126"/>
                    <a:pt x="27" y="128"/>
                  </a:cubicBezTo>
                  <a:cubicBezTo>
                    <a:pt x="29" y="129"/>
                    <a:pt x="29" y="131"/>
                    <a:pt x="31" y="132"/>
                  </a:cubicBezTo>
                  <a:cubicBezTo>
                    <a:pt x="31" y="132"/>
                    <a:pt x="31" y="132"/>
                    <a:pt x="32" y="132"/>
                  </a:cubicBezTo>
                  <a:cubicBezTo>
                    <a:pt x="32" y="133"/>
                    <a:pt x="32" y="133"/>
                    <a:pt x="33" y="134"/>
                  </a:cubicBezTo>
                  <a:cubicBezTo>
                    <a:pt x="35" y="136"/>
                    <a:pt x="36" y="136"/>
                    <a:pt x="39" y="136"/>
                  </a:cubicBezTo>
                  <a:cubicBezTo>
                    <a:pt x="37" y="136"/>
                    <a:pt x="34" y="136"/>
                    <a:pt x="33" y="135"/>
                  </a:cubicBezTo>
                  <a:cubicBezTo>
                    <a:pt x="32" y="135"/>
                    <a:pt x="32" y="134"/>
                    <a:pt x="31" y="133"/>
                  </a:cubicBezTo>
                  <a:cubicBezTo>
                    <a:pt x="29" y="131"/>
                    <a:pt x="26" y="129"/>
                    <a:pt x="23" y="128"/>
                  </a:cubicBezTo>
                  <a:cubicBezTo>
                    <a:pt x="19" y="127"/>
                    <a:pt x="13" y="127"/>
                    <a:pt x="8" y="128"/>
                  </a:cubicBezTo>
                  <a:cubicBezTo>
                    <a:pt x="8" y="130"/>
                    <a:pt x="9" y="132"/>
                    <a:pt x="8" y="134"/>
                  </a:cubicBezTo>
                  <a:cubicBezTo>
                    <a:pt x="6" y="136"/>
                    <a:pt x="3" y="135"/>
                    <a:pt x="1" y="135"/>
                  </a:cubicBezTo>
                  <a:cubicBezTo>
                    <a:pt x="0" y="141"/>
                    <a:pt x="6" y="141"/>
                    <a:pt x="11" y="141"/>
                  </a:cubicBezTo>
                  <a:cubicBezTo>
                    <a:pt x="14" y="141"/>
                    <a:pt x="15" y="142"/>
                    <a:pt x="18" y="143"/>
                  </a:cubicBezTo>
                  <a:cubicBezTo>
                    <a:pt x="19" y="143"/>
                    <a:pt x="21" y="143"/>
                    <a:pt x="22" y="143"/>
                  </a:cubicBezTo>
                  <a:cubicBezTo>
                    <a:pt x="22" y="144"/>
                    <a:pt x="22" y="145"/>
                    <a:pt x="22" y="145"/>
                  </a:cubicBezTo>
                  <a:cubicBezTo>
                    <a:pt x="23" y="146"/>
                    <a:pt x="24" y="145"/>
                    <a:pt x="25" y="146"/>
                  </a:cubicBezTo>
                  <a:cubicBezTo>
                    <a:pt x="27" y="147"/>
                    <a:pt x="28" y="147"/>
                    <a:pt x="30" y="148"/>
                  </a:cubicBezTo>
                  <a:cubicBezTo>
                    <a:pt x="31" y="149"/>
                    <a:pt x="32" y="149"/>
                    <a:pt x="33" y="151"/>
                  </a:cubicBezTo>
                  <a:cubicBezTo>
                    <a:pt x="34" y="152"/>
                    <a:pt x="34" y="153"/>
                    <a:pt x="36" y="153"/>
                  </a:cubicBezTo>
                  <a:cubicBezTo>
                    <a:pt x="39" y="154"/>
                    <a:pt x="39" y="153"/>
                    <a:pt x="41" y="152"/>
                  </a:cubicBezTo>
                  <a:cubicBezTo>
                    <a:pt x="42" y="152"/>
                    <a:pt x="44" y="152"/>
                    <a:pt x="44" y="152"/>
                  </a:cubicBezTo>
                  <a:cubicBezTo>
                    <a:pt x="47" y="151"/>
                    <a:pt x="46" y="150"/>
                    <a:pt x="48" y="148"/>
                  </a:cubicBezTo>
                  <a:cubicBezTo>
                    <a:pt x="49" y="147"/>
                    <a:pt x="55" y="148"/>
                    <a:pt x="58" y="148"/>
                  </a:cubicBezTo>
                  <a:cubicBezTo>
                    <a:pt x="59" y="148"/>
                    <a:pt x="60" y="148"/>
                    <a:pt x="61" y="147"/>
                  </a:cubicBezTo>
                  <a:cubicBezTo>
                    <a:pt x="62" y="146"/>
                    <a:pt x="61" y="145"/>
                    <a:pt x="63" y="144"/>
                  </a:cubicBezTo>
                  <a:cubicBezTo>
                    <a:pt x="64" y="143"/>
                    <a:pt x="67" y="143"/>
                    <a:pt x="69" y="143"/>
                  </a:cubicBezTo>
                  <a:cubicBezTo>
                    <a:pt x="69" y="143"/>
                    <a:pt x="70" y="143"/>
                    <a:pt x="71" y="143"/>
                  </a:cubicBezTo>
                  <a:cubicBezTo>
                    <a:pt x="72" y="143"/>
                    <a:pt x="72" y="142"/>
                    <a:pt x="72" y="141"/>
                  </a:cubicBezTo>
                  <a:cubicBezTo>
                    <a:pt x="73" y="141"/>
                    <a:pt x="74" y="140"/>
                    <a:pt x="74" y="139"/>
                  </a:cubicBezTo>
                  <a:cubicBezTo>
                    <a:pt x="75" y="139"/>
                    <a:pt x="76" y="138"/>
                    <a:pt x="76" y="137"/>
                  </a:cubicBezTo>
                  <a:cubicBezTo>
                    <a:pt x="76" y="137"/>
                    <a:pt x="76" y="134"/>
                    <a:pt x="77" y="134"/>
                  </a:cubicBezTo>
                  <a:cubicBezTo>
                    <a:pt x="78" y="133"/>
                    <a:pt x="82" y="134"/>
                    <a:pt x="84" y="134"/>
                  </a:cubicBezTo>
                  <a:cubicBezTo>
                    <a:pt x="86" y="134"/>
                    <a:pt x="86" y="132"/>
                    <a:pt x="88" y="131"/>
                  </a:cubicBezTo>
                  <a:cubicBezTo>
                    <a:pt x="89" y="131"/>
                    <a:pt x="90" y="131"/>
                    <a:pt x="91" y="131"/>
                  </a:cubicBezTo>
                  <a:cubicBezTo>
                    <a:pt x="94" y="131"/>
                    <a:pt x="95" y="130"/>
                    <a:pt x="96" y="128"/>
                  </a:cubicBezTo>
                  <a:cubicBezTo>
                    <a:pt x="98" y="129"/>
                    <a:pt x="96" y="131"/>
                    <a:pt x="96" y="132"/>
                  </a:cubicBezTo>
                  <a:cubicBezTo>
                    <a:pt x="95" y="134"/>
                    <a:pt x="95" y="137"/>
                    <a:pt x="95" y="139"/>
                  </a:cubicBezTo>
                  <a:cubicBezTo>
                    <a:pt x="102" y="140"/>
                    <a:pt x="97" y="133"/>
                    <a:pt x="100" y="132"/>
                  </a:cubicBezTo>
                  <a:cubicBezTo>
                    <a:pt x="101" y="133"/>
                    <a:pt x="100" y="135"/>
                    <a:pt x="102" y="135"/>
                  </a:cubicBezTo>
                  <a:cubicBezTo>
                    <a:pt x="103" y="135"/>
                    <a:pt x="105" y="133"/>
                    <a:pt x="105" y="132"/>
                  </a:cubicBezTo>
                  <a:cubicBezTo>
                    <a:pt x="106" y="133"/>
                    <a:pt x="105" y="135"/>
                    <a:pt x="107" y="136"/>
                  </a:cubicBezTo>
                  <a:cubicBezTo>
                    <a:pt x="108" y="135"/>
                    <a:pt x="108" y="131"/>
                    <a:pt x="111" y="132"/>
                  </a:cubicBezTo>
                  <a:cubicBezTo>
                    <a:pt x="111" y="134"/>
                    <a:pt x="109" y="135"/>
                    <a:pt x="109" y="138"/>
                  </a:cubicBezTo>
                  <a:cubicBezTo>
                    <a:pt x="110" y="141"/>
                    <a:pt x="112" y="138"/>
                    <a:pt x="113" y="136"/>
                  </a:cubicBezTo>
                  <a:cubicBezTo>
                    <a:pt x="114" y="136"/>
                    <a:pt x="115" y="136"/>
                    <a:pt x="116" y="136"/>
                  </a:cubicBezTo>
                  <a:cubicBezTo>
                    <a:pt x="116" y="137"/>
                    <a:pt x="116" y="138"/>
                    <a:pt x="117" y="139"/>
                  </a:cubicBezTo>
                  <a:cubicBezTo>
                    <a:pt x="119" y="140"/>
                    <a:pt x="122" y="138"/>
                    <a:pt x="124" y="139"/>
                  </a:cubicBezTo>
                  <a:cubicBezTo>
                    <a:pt x="122" y="139"/>
                    <a:pt x="120" y="141"/>
                    <a:pt x="119" y="143"/>
                  </a:cubicBezTo>
                  <a:cubicBezTo>
                    <a:pt x="117" y="148"/>
                    <a:pt x="121" y="149"/>
                    <a:pt x="125" y="151"/>
                  </a:cubicBezTo>
                  <a:cubicBezTo>
                    <a:pt x="128" y="152"/>
                    <a:pt x="129" y="152"/>
                    <a:pt x="131" y="148"/>
                  </a:cubicBezTo>
                  <a:cubicBezTo>
                    <a:pt x="131" y="148"/>
                    <a:pt x="132" y="145"/>
                    <a:pt x="133" y="144"/>
                  </a:cubicBezTo>
                  <a:cubicBezTo>
                    <a:pt x="134" y="143"/>
                    <a:pt x="135" y="143"/>
                    <a:pt x="136" y="142"/>
                  </a:cubicBezTo>
                  <a:cubicBezTo>
                    <a:pt x="137" y="143"/>
                    <a:pt x="137" y="143"/>
                    <a:pt x="138" y="144"/>
                  </a:cubicBezTo>
                  <a:cubicBezTo>
                    <a:pt x="138" y="144"/>
                    <a:pt x="139" y="145"/>
                    <a:pt x="140" y="145"/>
                  </a:cubicBezTo>
                  <a:cubicBezTo>
                    <a:pt x="141" y="146"/>
                    <a:pt x="141" y="148"/>
                    <a:pt x="142" y="148"/>
                  </a:cubicBezTo>
                  <a:cubicBezTo>
                    <a:pt x="143" y="149"/>
                    <a:pt x="142" y="149"/>
                    <a:pt x="143" y="150"/>
                  </a:cubicBezTo>
                  <a:cubicBezTo>
                    <a:pt x="144" y="150"/>
                    <a:pt x="145" y="150"/>
                    <a:pt x="145" y="150"/>
                  </a:cubicBezTo>
                  <a:cubicBezTo>
                    <a:pt x="147" y="150"/>
                    <a:pt x="147" y="151"/>
                    <a:pt x="149" y="151"/>
                  </a:cubicBezTo>
                  <a:cubicBezTo>
                    <a:pt x="149" y="156"/>
                    <a:pt x="140" y="154"/>
                    <a:pt x="138" y="156"/>
                  </a:cubicBezTo>
                  <a:cubicBezTo>
                    <a:pt x="137" y="156"/>
                    <a:pt x="137" y="158"/>
                    <a:pt x="136" y="159"/>
                  </a:cubicBezTo>
                  <a:cubicBezTo>
                    <a:pt x="135" y="160"/>
                    <a:pt x="133" y="160"/>
                    <a:pt x="132" y="161"/>
                  </a:cubicBezTo>
                  <a:cubicBezTo>
                    <a:pt x="131" y="162"/>
                    <a:pt x="129" y="162"/>
                    <a:pt x="128" y="163"/>
                  </a:cubicBezTo>
                  <a:cubicBezTo>
                    <a:pt x="127" y="163"/>
                    <a:pt x="127" y="163"/>
                    <a:pt x="126" y="164"/>
                  </a:cubicBezTo>
                  <a:cubicBezTo>
                    <a:pt x="125" y="165"/>
                    <a:pt x="124" y="166"/>
                    <a:pt x="124" y="166"/>
                  </a:cubicBezTo>
                  <a:cubicBezTo>
                    <a:pt x="124" y="167"/>
                    <a:pt x="123" y="167"/>
                    <a:pt x="123" y="167"/>
                  </a:cubicBezTo>
                  <a:cubicBezTo>
                    <a:pt x="123" y="167"/>
                    <a:pt x="121" y="169"/>
                    <a:pt x="121" y="169"/>
                  </a:cubicBezTo>
                  <a:cubicBezTo>
                    <a:pt x="120" y="170"/>
                    <a:pt x="119" y="169"/>
                    <a:pt x="118" y="169"/>
                  </a:cubicBezTo>
                  <a:cubicBezTo>
                    <a:pt x="115" y="171"/>
                    <a:pt x="112" y="175"/>
                    <a:pt x="112" y="178"/>
                  </a:cubicBezTo>
                  <a:cubicBezTo>
                    <a:pt x="112" y="179"/>
                    <a:pt x="112" y="181"/>
                    <a:pt x="113" y="182"/>
                  </a:cubicBezTo>
                  <a:cubicBezTo>
                    <a:pt x="114" y="184"/>
                    <a:pt x="116" y="184"/>
                    <a:pt x="117" y="184"/>
                  </a:cubicBezTo>
                  <a:cubicBezTo>
                    <a:pt x="121" y="187"/>
                    <a:pt x="124" y="189"/>
                    <a:pt x="127" y="191"/>
                  </a:cubicBezTo>
                  <a:cubicBezTo>
                    <a:pt x="130" y="193"/>
                    <a:pt x="137" y="195"/>
                    <a:pt x="141" y="193"/>
                  </a:cubicBezTo>
                  <a:cubicBezTo>
                    <a:pt x="141" y="191"/>
                    <a:pt x="141" y="190"/>
                    <a:pt x="142" y="188"/>
                  </a:cubicBezTo>
                  <a:cubicBezTo>
                    <a:pt x="145" y="185"/>
                    <a:pt x="149" y="185"/>
                    <a:pt x="151" y="182"/>
                  </a:cubicBezTo>
                  <a:cubicBezTo>
                    <a:pt x="152" y="182"/>
                    <a:pt x="152" y="179"/>
                    <a:pt x="154" y="180"/>
                  </a:cubicBezTo>
                  <a:cubicBezTo>
                    <a:pt x="155" y="181"/>
                    <a:pt x="155" y="182"/>
                    <a:pt x="155" y="182"/>
                  </a:cubicBezTo>
                  <a:cubicBezTo>
                    <a:pt x="155" y="185"/>
                    <a:pt x="154" y="183"/>
                    <a:pt x="154" y="184"/>
                  </a:cubicBezTo>
                  <a:cubicBezTo>
                    <a:pt x="152" y="185"/>
                    <a:pt x="151" y="187"/>
                    <a:pt x="151" y="189"/>
                  </a:cubicBezTo>
                  <a:cubicBezTo>
                    <a:pt x="150" y="192"/>
                    <a:pt x="151" y="196"/>
                    <a:pt x="150" y="199"/>
                  </a:cubicBezTo>
                  <a:cubicBezTo>
                    <a:pt x="149" y="201"/>
                    <a:pt x="145" y="200"/>
                    <a:pt x="142" y="200"/>
                  </a:cubicBezTo>
                  <a:cubicBezTo>
                    <a:pt x="140" y="200"/>
                    <a:pt x="138" y="200"/>
                    <a:pt x="136" y="200"/>
                  </a:cubicBezTo>
                  <a:cubicBezTo>
                    <a:pt x="133" y="200"/>
                    <a:pt x="131" y="199"/>
                    <a:pt x="128" y="199"/>
                  </a:cubicBezTo>
                  <a:cubicBezTo>
                    <a:pt x="126" y="199"/>
                    <a:pt x="123" y="199"/>
                    <a:pt x="121" y="199"/>
                  </a:cubicBezTo>
                  <a:cubicBezTo>
                    <a:pt x="118" y="199"/>
                    <a:pt x="115" y="198"/>
                    <a:pt x="113" y="198"/>
                  </a:cubicBezTo>
                  <a:cubicBezTo>
                    <a:pt x="110" y="198"/>
                    <a:pt x="108" y="197"/>
                    <a:pt x="106" y="199"/>
                  </a:cubicBezTo>
                  <a:cubicBezTo>
                    <a:pt x="105" y="200"/>
                    <a:pt x="106" y="203"/>
                    <a:pt x="104" y="204"/>
                  </a:cubicBezTo>
                  <a:cubicBezTo>
                    <a:pt x="101" y="206"/>
                    <a:pt x="102" y="201"/>
                    <a:pt x="101" y="200"/>
                  </a:cubicBezTo>
                  <a:cubicBezTo>
                    <a:pt x="101" y="199"/>
                    <a:pt x="98" y="196"/>
                    <a:pt x="96" y="196"/>
                  </a:cubicBezTo>
                  <a:cubicBezTo>
                    <a:pt x="95" y="197"/>
                    <a:pt x="96" y="199"/>
                    <a:pt x="95" y="200"/>
                  </a:cubicBezTo>
                  <a:cubicBezTo>
                    <a:pt x="94" y="200"/>
                    <a:pt x="93" y="200"/>
                    <a:pt x="92" y="200"/>
                  </a:cubicBezTo>
                  <a:cubicBezTo>
                    <a:pt x="91" y="202"/>
                    <a:pt x="95" y="202"/>
                    <a:pt x="95" y="204"/>
                  </a:cubicBezTo>
                  <a:cubicBezTo>
                    <a:pt x="93" y="204"/>
                    <a:pt x="89" y="203"/>
                    <a:pt x="86" y="204"/>
                  </a:cubicBezTo>
                  <a:cubicBezTo>
                    <a:pt x="84" y="204"/>
                    <a:pt x="76" y="208"/>
                    <a:pt x="77" y="210"/>
                  </a:cubicBezTo>
                  <a:cubicBezTo>
                    <a:pt x="77" y="210"/>
                    <a:pt x="75" y="204"/>
                    <a:pt x="74" y="204"/>
                  </a:cubicBezTo>
                  <a:cubicBezTo>
                    <a:pt x="72" y="203"/>
                    <a:pt x="73" y="209"/>
                    <a:pt x="72" y="211"/>
                  </a:cubicBezTo>
                  <a:cubicBezTo>
                    <a:pt x="71" y="211"/>
                    <a:pt x="70" y="211"/>
                    <a:pt x="69" y="212"/>
                  </a:cubicBezTo>
                  <a:cubicBezTo>
                    <a:pt x="67" y="211"/>
                    <a:pt x="65" y="209"/>
                    <a:pt x="62" y="210"/>
                  </a:cubicBezTo>
                  <a:cubicBezTo>
                    <a:pt x="61" y="210"/>
                    <a:pt x="62" y="211"/>
                    <a:pt x="61" y="212"/>
                  </a:cubicBezTo>
                  <a:cubicBezTo>
                    <a:pt x="60" y="212"/>
                    <a:pt x="59" y="212"/>
                    <a:pt x="58" y="212"/>
                  </a:cubicBezTo>
                  <a:cubicBezTo>
                    <a:pt x="57" y="213"/>
                    <a:pt x="57" y="213"/>
                    <a:pt x="55" y="213"/>
                  </a:cubicBezTo>
                  <a:cubicBezTo>
                    <a:pt x="55" y="214"/>
                    <a:pt x="54" y="214"/>
                    <a:pt x="53" y="214"/>
                  </a:cubicBezTo>
                  <a:cubicBezTo>
                    <a:pt x="53" y="214"/>
                    <a:pt x="53" y="215"/>
                    <a:pt x="53" y="215"/>
                  </a:cubicBezTo>
                  <a:cubicBezTo>
                    <a:pt x="52" y="216"/>
                    <a:pt x="51" y="215"/>
                    <a:pt x="50" y="216"/>
                  </a:cubicBezTo>
                  <a:cubicBezTo>
                    <a:pt x="49" y="216"/>
                    <a:pt x="49" y="217"/>
                    <a:pt x="48" y="217"/>
                  </a:cubicBezTo>
                  <a:cubicBezTo>
                    <a:pt x="43" y="218"/>
                    <a:pt x="41" y="212"/>
                    <a:pt x="36" y="214"/>
                  </a:cubicBezTo>
                  <a:cubicBezTo>
                    <a:pt x="35" y="214"/>
                    <a:pt x="34" y="217"/>
                    <a:pt x="32" y="218"/>
                  </a:cubicBezTo>
                  <a:cubicBezTo>
                    <a:pt x="30" y="220"/>
                    <a:pt x="28" y="221"/>
                    <a:pt x="25" y="222"/>
                  </a:cubicBezTo>
                  <a:cubicBezTo>
                    <a:pt x="25" y="224"/>
                    <a:pt x="25" y="226"/>
                    <a:pt x="25" y="228"/>
                  </a:cubicBezTo>
                  <a:cubicBezTo>
                    <a:pt x="26" y="230"/>
                    <a:pt x="26" y="229"/>
                    <a:pt x="27" y="230"/>
                  </a:cubicBezTo>
                  <a:cubicBezTo>
                    <a:pt x="29" y="230"/>
                    <a:pt x="30" y="229"/>
                    <a:pt x="32" y="231"/>
                  </a:cubicBezTo>
                  <a:cubicBezTo>
                    <a:pt x="34" y="234"/>
                    <a:pt x="34" y="237"/>
                    <a:pt x="38" y="238"/>
                  </a:cubicBezTo>
                  <a:cubicBezTo>
                    <a:pt x="40" y="239"/>
                    <a:pt x="41" y="239"/>
                    <a:pt x="43" y="239"/>
                  </a:cubicBezTo>
                  <a:cubicBezTo>
                    <a:pt x="44" y="239"/>
                    <a:pt x="45" y="238"/>
                    <a:pt x="46" y="238"/>
                  </a:cubicBezTo>
                  <a:cubicBezTo>
                    <a:pt x="46" y="238"/>
                    <a:pt x="48" y="237"/>
                    <a:pt x="48" y="237"/>
                  </a:cubicBezTo>
                  <a:cubicBezTo>
                    <a:pt x="50" y="236"/>
                    <a:pt x="52" y="234"/>
                    <a:pt x="53" y="233"/>
                  </a:cubicBezTo>
                  <a:cubicBezTo>
                    <a:pt x="54" y="232"/>
                    <a:pt x="53" y="231"/>
                    <a:pt x="54" y="230"/>
                  </a:cubicBezTo>
                  <a:cubicBezTo>
                    <a:pt x="56" y="229"/>
                    <a:pt x="59" y="232"/>
                    <a:pt x="60" y="233"/>
                  </a:cubicBezTo>
                  <a:cubicBezTo>
                    <a:pt x="65" y="235"/>
                    <a:pt x="65" y="230"/>
                    <a:pt x="69" y="229"/>
                  </a:cubicBezTo>
                  <a:cubicBezTo>
                    <a:pt x="72" y="228"/>
                    <a:pt x="76" y="229"/>
                    <a:pt x="79" y="230"/>
                  </a:cubicBezTo>
                  <a:cubicBezTo>
                    <a:pt x="81" y="230"/>
                    <a:pt x="83" y="230"/>
                    <a:pt x="85" y="230"/>
                  </a:cubicBezTo>
                  <a:cubicBezTo>
                    <a:pt x="88" y="231"/>
                    <a:pt x="89" y="232"/>
                    <a:pt x="92" y="231"/>
                  </a:cubicBezTo>
                  <a:cubicBezTo>
                    <a:pt x="94" y="231"/>
                    <a:pt x="96" y="232"/>
                    <a:pt x="99" y="232"/>
                  </a:cubicBezTo>
                  <a:cubicBezTo>
                    <a:pt x="100" y="233"/>
                    <a:pt x="102" y="233"/>
                    <a:pt x="103" y="233"/>
                  </a:cubicBezTo>
                  <a:cubicBezTo>
                    <a:pt x="105" y="233"/>
                    <a:pt x="105" y="233"/>
                    <a:pt x="106" y="234"/>
                  </a:cubicBezTo>
                  <a:cubicBezTo>
                    <a:pt x="107" y="235"/>
                    <a:pt x="109" y="237"/>
                    <a:pt x="109" y="233"/>
                  </a:cubicBezTo>
                  <a:cubicBezTo>
                    <a:pt x="111" y="234"/>
                    <a:pt x="112" y="233"/>
                    <a:pt x="114" y="233"/>
                  </a:cubicBezTo>
                  <a:cubicBezTo>
                    <a:pt x="115" y="234"/>
                    <a:pt x="113" y="236"/>
                    <a:pt x="114" y="237"/>
                  </a:cubicBezTo>
                  <a:cubicBezTo>
                    <a:pt x="115" y="239"/>
                    <a:pt x="117" y="238"/>
                    <a:pt x="118" y="239"/>
                  </a:cubicBezTo>
                  <a:cubicBezTo>
                    <a:pt x="122" y="241"/>
                    <a:pt x="118" y="243"/>
                    <a:pt x="117" y="245"/>
                  </a:cubicBezTo>
                  <a:cubicBezTo>
                    <a:pt x="115" y="248"/>
                    <a:pt x="118" y="250"/>
                    <a:pt x="118" y="254"/>
                  </a:cubicBezTo>
                  <a:cubicBezTo>
                    <a:pt x="118" y="256"/>
                    <a:pt x="117" y="257"/>
                    <a:pt x="119" y="259"/>
                  </a:cubicBezTo>
                  <a:cubicBezTo>
                    <a:pt x="120" y="260"/>
                    <a:pt x="121" y="260"/>
                    <a:pt x="123" y="260"/>
                  </a:cubicBezTo>
                  <a:cubicBezTo>
                    <a:pt x="123" y="262"/>
                    <a:pt x="122" y="265"/>
                    <a:pt x="123" y="267"/>
                  </a:cubicBezTo>
                  <a:cubicBezTo>
                    <a:pt x="125" y="270"/>
                    <a:pt x="126" y="268"/>
                    <a:pt x="128" y="269"/>
                  </a:cubicBezTo>
                  <a:cubicBezTo>
                    <a:pt x="129" y="269"/>
                    <a:pt x="129" y="270"/>
                    <a:pt x="130" y="271"/>
                  </a:cubicBezTo>
                  <a:cubicBezTo>
                    <a:pt x="131" y="271"/>
                    <a:pt x="133" y="270"/>
                    <a:pt x="133" y="270"/>
                  </a:cubicBezTo>
                  <a:cubicBezTo>
                    <a:pt x="135" y="268"/>
                    <a:pt x="134" y="264"/>
                    <a:pt x="137" y="264"/>
                  </a:cubicBezTo>
                  <a:cubicBezTo>
                    <a:pt x="139" y="264"/>
                    <a:pt x="139" y="268"/>
                    <a:pt x="139" y="269"/>
                  </a:cubicBezTo>
                  <a:cubicBezTo>
                    <a:pt x="139" y="274"/>
                    <a:pt x="133" y="275"/>
                    <a:pt x="132" y="279"/>
                  </a:cubicBezTo>
                  <a:cubicBezTo>
                    <a:pt x="131" y="282"/>
                    <a:pt x="133" y="282"/>
                    <a:pt x="135" y="282"/>
                  </a:cubicBezTo>
                  <a:cubicBezTo>
                    <a:pt x="137" y="282"/>
                    <a:pt x="139" y="282"/>
                    <a:pt x="142" y="282"/>
                  </a:cubicBezTo>
                  <a:cubicBezTo>
                    <a:pt x="138" y="283"/>
                    <a:pt x="137" y="283"/>
                    <a:pt x="135" y="286"/>
                  </a:cubicBezTo>
                  <a:cubicBezTo>
                    <a:pt x="133" y="288"/>
                    <a:pt x="132" y="289"/>
                    <a:pt x="133" y="292"/>
                  </a:cubicBezTo>
                  <a:cubicBezTo>
                    <a:pt x="134" y="292"/>
                    <a:pt x="135" y="292"/>
                    <a:pt x="137" y="292"/>
                  </a:cubicBezTo>
                  <a:cubicBezTo>
                    <a:pt x="138" y="292"/>
                    <a:pt x="140" y="294"/>
                    <a:pt x="142" y="294"/>
                  </a:cubicBezTo>
                  <a:cubicBezTo>
                    <a:pt x="145" y="294"/>
                    <a:pt x="146" y="288"/>
                    <a:pt x="149" y="286"/>
                  </a:cubicBezTo>
                  <a:cubicBezTo>
                    <a:pt x="150" y="286"/>
                    <a:pt x="151" y="286"/>
                    <a:pt x="151" y="286"/>
                  </a:cubicBezTo>
                  <a:cubicBezTo>
                    <a:pt x="152" y="285"/>
                    <a:pt x="152" y="285"/>
                    <a:pt x="152" y="284"/>
                  </a:cubicBezTo>
                  <a:cubicBezTo>
                    <a:pt x="153" y="283"/>
                    <a:pt x="153" y="284"/>
                    <a:pt x="154" y="283"/>
                  </a:cubicBezTo>
                  <a:cubicBezTo>
                    <a:pt x="155" y="282"/>
                    <a:pt x="155" y="281"/>
                    <a:pt x="155" y="281"/>
                  </a:cubicBezTo>
                  <a:cubicBezTo>
                    <a:pt x="157" y="280"/>
                    <a:pt x="159" y="281"/>
                    <a:pt x="160" y="282"/>
                  </a:cubicBezTo>
                  <a:cubicBezTo>
                    <a:pt x="162" y="282"/>
                    <a:pt x="163" y="283"/>
                    <a:pt x="164" y="284"/>
                  </a:cubicBezTo>
                  <a:cubicBezTo>
                    <a:pt x="162" y="285"/>
                    <a:pt x="156" y="286"/>
                    <a:pt x="154" y="288"/>
                  </a:cubicBezTo>
                  <a:cubicBezTo>
                    <a:pt x="153" y="289"/>
                    <a:pt x="153" y="291"/>
                    <a:pt x="152" y="293"/>
                  </a:cubicBezTo>
                  <a:cubicBezTo>
                    <a:pt x="151" y="295"/>
                    <a:pt x="148" y="292"/>
                    <a:pt x="147" y="295"/>
                  </a:cubicBezTo>
                  <a:cubicBezTo>
                    <a:pt x="146" y="299"/>
                    <a:pt x="149" y="299"/>
                    <a:pt x="152" y="300"/>
                  </a:cubicBezTo>
                  <a:cubicBezTo>
                    <a:pt x="152" y="301"/>
                    <a:pt x="151" y="303"/>
                    <a:pt x="152" y="304"/>
                  </a:cubicBezTo>
                  <a:cubicBezTo>
                    <a:pt x="153" y="305"/>
                    <a:pt x="156" y="304"/>
                    <a:pt x="157" y="306"/>
                  </a:cubicBezTo>
                  <a:cubicBezTo>
                    <a:pt x="158" y="308"/>
                    <a:pt x="155" y="307"/>
                    <a:pt x="154" y="307"/>
                  </a:cubicBezTo>
                  <a:cubicBezTo>
                    <a:pt x="153" y="307"/>
                    <a:pt x="153" y="308"/>
                    <a:pt x="152" y="308"/>
                  </a:cubicBezTo>
                  <a:cubicBezTo>
                    <a:pt x="153" y="308"/>
                    <a:pt x="150" y="310"/>
                    <a:pt x="150" y="310"/>
                  </a:cubicBezTo>
                  <a:cubicBezTo>
                    <a:pt x="148" y="311"/>
                    <a:pt x="147" y="311"/>
                    <a:pt x="144" y="311"/>
                  </a:cubicBezTo>
                  <a:cubicBezTo>
                    <a:pt x="142" y="311"/>
                    <a:pt x="139" y="311"/>
                    <a:pt x="137" y="312"/>
                  </a:cubicBezTo>
                  <a:cubicBezTo>
                    <a:pt x="137" y="313"/>
                    <a:pt x="137" y="314"/>
                    <a:pt x="137" y="315"/>
                  </a:cubicBezTo>
                  <a:cubicBezTo>
                    <a:pt x="138" y="315"/>
                    <a:pt x="138" y="316"/>
                    <a:pt x="138" y="316"/>
                  </a:cubicBezTo>
                  <a:cubicBezTo>
                    <a:pt x="137" y="316"/>
                    <a:pt x="134" y="317"/>
                    <a:pt x="137" y="319"/>
                  </a:cubicBezTo>
                  <a:cubicBezTo>
                    <a:pt x="136" y="319"/>
                    <a:pt x="134" y="322"/>
                    <a:pt x="133" y="322"/>
                  </a:cubicBezTo>
                  <a:cubicBezTo>
                    <a:pt x="132" y="323"/>
                    <a:pt x="131" y="323"/>
                    <a:pt x="129" y="323"/>
                  </a:cubicBezTo>
                  <a:cubicBezTo>
                    <a:pt x="124" y="323"/>
                    <a:pt x="126" y="325"/>
                    <a:pt x="124" y="329"/>
                  </a:cubicBezTo>
                  <a:cubicBezTo>
                    <a:pt x="122" y="332"/>
                    <a:pt x="121" y="330"/>
                    <a:pt x="118" y="331"/>
                  </a:cubicBezTo>
                  <a:cubicBezTo>
                    <a:pt x="117" y="331"/>
                    <a:pt x="115" y="334"/>
                    <a:pt x="113" y="333"/>
                  </a:cubicBezTo>
                  <a:cubicBezTo>
                    <a:pt x="111" y="332"/>
                    <a:pt x="110" y="329"/>
                    <a:pt x="109" y="327"/>
                  </a:cubicBezTo>
                  <a:cubicBezTo>
                    <a:pt x="109" y="324"/>
                    <a:pt x="107" y="323"/>
                    <a:pt x="104" y="323"/>
                  </a:cubicBezTo>
                  <a:cubicBezTo>
                    <a:pt x="100" y="323"/>
                    <a:pt x="100" y="323"/>
                    <a:pt x="100" y="327"/>
                  </a:cubicBezTo>
                  <a:cubicBezTo>
                    <a:pt x="100" y="328"/>
                    <a:pt x="100" y="330"/>
                    <a:pt x="100" y="331"/>
                  </a:cubicBezTo>
                  <a:cubicBezTo>
                    <a:pt x="99" y="332"/>
                    <a:pt x="98" y="333"/>
                    <a:pt x="98" y="335"/>
                  </a:cubicBezTo>
                  <a:cubicBezTo>
                    <a:pt x="95" y="335"/>
                    <a:pt x="91" y="334"/>
                    <a:pt x="87" y="335"/>
                  </a:cubicBezTo>
                  <a:cubicBezTo>
                    <a:pt x="84" y="335"/>
                    <a:pt x="81" y="335"/>
                    <a:pt x="78" y="335"/>
                  </a:cubicBezTo>
                  <a:cubicBezTo>
                    <a:pt x="75" y="335"/>
                    <a:pt x="73" y="335"/>
                    <a:pt x="72" y="338"/>
                  </a:cubicBezTo>
                  <a:cubicBezTo>
                    <a:pt x="71" y="342"/>
                    <a:pt x="75" y="343"/>
                    <a:pt x="78" y="344"/>
                  </a:cubicBezTo>
                  <a:cubicBezTo>
                    <a:pt x="81" y="347"/>
                    <a:pt x="84" y="346"/>
                    <a:pt x="88" y="346"/>
                  </a:cubicBezTo>
                  <a:cubicBezTo>
                    <a:pt x="91" y="346"/>
                    <a:pt x="93" y="346"/>
                    <a:pt x="94" y="348"/>
                  </a:cubicBezTo>
                  <a:cubicBezTo>
                    <a:pt x="94" y="349"/>
                    <a:pt x="94" y="350"/>
                    <a:pt x="94" y="351"/>
                  </a:cubicBezTo>
                  <a:cubicBezTo>
                    <a:pt x="95" y="354"/>
                    <a:pt x="96" y="353"/>
                    <a:pt x="98" y="354"/>
                  </a:cubicBezTo>
                  <a:cubicBezTo>
                    <a:pt x="102" y="354"/>
                    <a:pt x="106" y="354"/>
                    <a:pt x="110" y="354"/>
                  </a:cubicBezTo>
                  <a:cubicBezTo>
                    <a:pt x="112" y="354"/>
                    <a:pt x="113" y="354"/>
                    <a:pt x="114" y="354"/>
                  </a:cubicBezTo>
                  <a:cubicBezTo>
                    <a:pt x="116" y="354"/>
                    <a:pt x="120" y="355"/>
                    <a:pt x="121" y="354"/>
                  </a:cubicBezTo>
                  <a:cubicBezTo>
                    <a:pt x="124" y="353"/>
                    <a:pt x="122" y="351"/>
                    <a:pt x="123" y="350"/>
                  </a:cubicBezTo>
                  <a:cubicBezTo>
                    <a:pt x="124" y="350"/>
                    <a:pt x="127" y="352"/>
                    <a:pt x="127" y="352"/>
                  </a:cubicBezTo>
                  <a:cubicBezTo>
                    <a:pt x="128" y="353"/>
                    <a:pt x="129" y="352"/>
                    <a:pt x="131" y="352"/>
                  </a:cubicBezTo>
                  <a:cubicBezTo>
                    <a:pt x="131" y="352"/>
                    <a:pt x="133" y="353"/>
                    <a:pt x="133" y="353"/>
                  </a:cubicBezTo>
                  <a:cubicBezTo>
                    <a:pt x="135" y="352"/>
                    <a:pt x="135" y="351"/>
                    <a:pt x="137" y="351"/>
                  </a:cubicBezTo>
                  <a:cubicBezTo>
                    <a:pt x="138" y="350"/>
                    <a:pt x="141" y="350"/>
                    <a:pt x="142" y="351"/>
                  </a:cubicBezTo>
                  <a:cubicBezTo>
                    <a:pt x="144" y="347"/>
                    <a:pt x="144" y="349"/>
                    <a:pt x="148" y="348"/>
                  </a:cubicBezTo>
                  <a:cubicBezTo>
                    <a:pt x="151" y="347"/>
                    <a:pt x="152" y="345"/>
                    <a:pt x="152" y="350"/>
                  </a:cubicBezTo>
                  <a:cubicBezTo>
                    <a:pt x="153" y="351"/>
                    <a:pt x="157" y="352"/>
                    <a:pt x="159" y="351"/>
                  </a:cubicBezTo>
                  <a:cubicBezTo>
                    <a:pt x="160" y="351"/>
                    <a:pt x="160" y="349"/>
                    <a:pt x="161" y="348"/>
                  </a:cubicBezTo>
                  <a:cubicBezTo>
                    <a:pt x="161" y="348"/>
                    <a:pt x="164" y="346"/>
                    <a:pt x="165" y="346"/>
                  </a:cubicBezTo>
                  <a:cubicBezTo>
                    <a:pt x="167" y="346"/>
                    <a:pt x="169" y="346"/>
                    <a:pt x="170" y="347"/>
                  </a:cubicBezTo>
                  <a:cubicBezTo>
                    <a:pt x="171" y="347"/>
                    <a:pt x="172" y="348"/>
                    <a:pt x="173" y="349"/>
                  </a:cubicBezTo>
                  <a:cubicBezTo>
                    <a:pt x="173" y="349"/>
                    <a:pt x="174" y="350"/>
                    <a:pt x="175" y="350"/>
                  </a:cubicBezTo>
                  <a:cubicBezTo>
                    <a:pt x="175" y="350"/>
                    <a:pt x="176" y="349"/>
                    <a:pt x="177" y="350"/>
                  </a:cubicBezTo>
                  <a:cubicBezTo>
                    <a:pt x="178" y="350"/>
                    <a:pt x="178" y="352"/>
                    <a:pt x="178" y="352"/>
                  </a:cubicBezTo>
                  <a:cubicBezTo>
                    <a:pt x="179" y="353"/>
                    <a:pt x="181" y="353"/>
                    <a:pt x="183" y="353"/>
                  </a:cubicBezTo>
                  <a:cubicBezTo>
                    <a:pt x="185" y="354"/>
                    <a:pt x="189" y="353"/>
                    <a:pt x="191" y="354"/>
                  </a:cubicBezTo>
                  <a:cubicBezTo>
                    <a:pt x="192" y="355"/>
                    <a:pt x="192" y="356"/>
                    <a:pt x="193" y="356"/>
                  </a:cubicBezTo>
                  <a:cubicBezTo>
                    <a:pt x="194" y="357"/>
                    <a:pt x="198" y="356"/>
                    <a:pt x="199" y="356"/>
                  </a:cubicBezTo>
                  <a:cubicBezTo>
                    <a:pt x="202" y="356"/>
                    <a:pt x="204" y="357"/>
                    <a:pt x="206" y="357"/>
                  </a:cubicBezTo>
                  <a:cubicBezTo>
                    <a:pt x="208" y="357"/>
                    <a:pt x="209" y="358"/>
                    <a:pt x="209" y="355"/>
                  </a:cubicBezTo>
                  <a:cubicBezTo>
                    <a:pt x="210" y="360"/>
                    <a:pt x="209" y="361"/>
                    <a:pt x="213" y="364"/>
                  </a:cubicBezTo>
                  <a:cubicBezTo>
                    <a:pt x="215" y="365"/>
                    <a:pt x="218" y="366"/>
                    <a:pt x="220" y="368"/>
                  </a:cubicBezTo>
                  <a:cubicBezTo>
                    <a:pt x="221" y="369"/>
                    <a:pt x="223" y="371"/>
                    <a:pt x="224" y="372"/>
                  </a:cubicBezTo>
                  <a:cubicBezTo>
                    <a:pt x="225" y="373"/>
                    <a:pt x="226" y="374"/>
                    <a:pt x="227" y="375"/>
                  </a:cubicBezTo>
                  <a:cubicBezTo>
                    <a:pt x="228" y="376"/>
                    <a:pt x="230" y="377"/>
                    <a:pt x="230" y="378"/>
                  </a:cubicBezTo>
                  <a:cubicBezTo>
                    <a:pt x="231" y="379"/>
                    <a:pt x="232" y="380"/>
                    <a:pt x="233" y="381"/>
                  </a:cubicBezTo>
                  <a:cubicBezTo>
                    <a:pt x="234" y="382"/>
                    <a:pt x="236" y="383"/>
                    <a:pt x="236" y="385"/>
                  </a:cubicBezTo>
                  <a:cubicBezTo>
                    <a:pt x="238" y="385"/>
                    <a:pt x="239" y="387"/>
                    <a:pt x="241" y="387"/>
                  </a:cubicBezTo>
                  <a:cubicBezTo>
                    <a:pt x="243" y="388"/>
                    <a:pt x="246" y="387"/>
                    <a:pt x="248" y="387"/>
                  </a:cubicBezTo>
                  <a:cubicBezTo>
                    <a:pt x="249" y="387"/>
                    <a:pt x="251" y="387"/>
                    <a:pt x="251" y="387"/>
                  </a:cubicBezTo>
                  <a:cubicBezTo>
                    <a:pt x="254" y="388"/>
                    <a:pt x="256" y="390"/>
                    <a:pt x="258" y="391"/>
                  </a:cubicBezTo>
                  <a:cubicBezTo>
                    <a:pt x="261" y="392"/>
                    <a:pt x="263" y="393"/>
                    <a:pt x="265" y="394"/>
                  </a:cubicBezTo>
                  <a:cubicBezTo>
                    <a:pt x="267" y="395"/>
                    <a:pt x="268" y="396"/>
                    <a:pt x="270" y="397"/>
                  </a:cubicBezTo>
                  <a:cubicBezTo>
                    <a:pt x="272" y="397"/>
                    <a:pt x="274" y="397"/>
                    <a:pt x="275" y="398"/>
                  </a:cubicBezTo>
                  <a:cubicBezTo>
                    <a:pt x="277" y="399"/>
                    <a:pt x="278" y="399"/>
                    <a:pt x="280" y="400"/>
                  </a:cubicBezTo>
                  <a:cubicBezTo>
                    <a:pt x="284" y="401"/>
                    <a:pt x="288" y="401"/>
                    <a:pt x="292" y="401"/>
                  </a:cubicBezTo>
                  <a:cubicBezTo>
                    <a:pt x="295" y="401"/>
                    <a:pt x="299" y="402"/>
                    <a:pt x="302" y="403"/>
                  </a:cubicBezTo>
                  <a:cubicBezTo>
                    <a:pt x="304" y="403"/>
                    <a:pt x="305" y="404"/>
                    <a:pt x="307" y="405"/>
                  </a:cubicBezTo>
                  <a:cubicBezTo>
                    <a:pt x="309" y="405"/>
                    <a:pt x="311" y="404"/>
                    <a:pt x="313" y="405"/>
                  </a:cubicBezTo>
                  <a:cubicBezTo>
                    <a:pt x="315" y="406"/>
                    <a:pt x="316" y="406"/>
                    <a:pt x="319" y="406"/>
                  </a:cubicBezTo>
                  <a:cubicBezTo>
                    <a:pt x="321" y="406"/>
                    <a:pt x="324" y="405"/>
                    <a:pt x="327" y="404"/>
                  </a:cubicBezTo>
                  <a:cubicBezTo>
                    <a:pt x="331" y="403"/>
                    <a:pt x="335" y="403"/>
                    <a:pt x="338" y="401"/>
                  </a:cubicBezTo>
                  <a:cubicBezTo>
                    <a:pt x="340" y="400"/>
                    <a:pt x="341" y="398"/>
                    <a:pt x="343" y="397"/>
                  </a:cubicBezTo>
                  <a:cubicBezTo>
                    <a:pt x="347" y="396"/>
                    <a:pt x="350" y="394"/>
                    <a:pt x="354" y="392"/>
                  </a:cubicBezTo>
                  <a:cubicBezTo>
                    <a:pt x="359" y="389"/>
                    <a:pt x="363" y="388"/>
                    <a:pt x="363" y="381"/>
                  </a:cubicBezTo>
                  <a:cubicBezTo>
                    <a:pt x="363" y="376"/>
                    <a:pt x="362" y="372"/>
                    <a:pt x="367" y="369"/>
                  </a:cubicBezTo>
                  <a:cubicBezTo>
                    <a:pt x="371" y="373"/>
                    <a:pt x="376" y="367"/>
                    <a:pt x="380" y="365"/>
                  </a:cubicBezTo>
                  <a:cubicBezTo>
                    <a:pt x="382" y="364"/>
                    <a:pt x="382" y="364"/>
                    <a:pt x="385" y="364"/>
                  </a:cubicBezTo>
                  <a:cubicBezTo>
                    <a:pt x="388" y="364"/>
                    <a:pt x="390" y="363"/>
                    <a:pt x="393" y="362"/>
                  </a:cubicBezTo>
                  <a:cubicBezTo>
                    <a:pt x="394" y="362"/>
                    <a:pt x="395" y="362"/>
                    <a:pt x="397" y="362"/>
                  </a:cubicBezTo>
                  <a:cubicBezTo>
                    <a:pt x="399" y="362"/>
                    <a:pt x="400" y="361"/>
                    <a:pt x="402" y="360"/>
                  </a:cubicBezTo>
                  <a:cubicBezTo>
                    <a:pt x="405" y="359"/>
                    <a:pt x="407" y="358"/>
                    <a:pt x="410" y="358"/>
                  </a:cubicBezTo>
                  <a:cubicBezTo>
                    <a:pt x="412" y="358"/>
                    <a:pt x="413" y="358"/>
                    <a:pt x="415" y="356"/>
                  </a:cubicBezTo>
                  <a:cubicBezTo>
                    <a:pt x="417" y="354"/>
                    <a:pt x="419" y="353"/>
                    <a:pt x="421" y="351"/>
                  </a:cubicBezTo>
                  <a:cubicBezTo>
                    <a:pt x="423" y="351"/>
                    <a:pt x="423" y="350"/>
                    <a:pt x="425" y="349"/>
                  </a:cubicBezTo>
                  <a:cubicBezTo>
                    <a:pt x="425" y="348"/>
                    <a:pt x="426" y="346"/>
                    <a:pt x="427" y="346"/>
                  </a:cubicBezTo>
                  <a:cubicBezTo>
                    <a:pt x="428" y="346"/>
                    <a:pt x="428" y="346"/>
                    <a:pt x="429" y="346"/>
                  </a:cubicBezTo>
                  <a:cubicBezTo>
                    <a:pt x="431" y="346"/>
                    <a:pt x="432" y="345"/>
                    <a:pt x="433" y="344"/>
                  </a:cubicBezTo>
                  <a:cubicBezTo>
                    <a:pt x="435" y="343"/>
                    <a:pt x="437" y="343"/>
                    <a:pt x="439" y="342"/>
                  </a:cubicBezTo>
                  <a:cubicBezTo>
                    <a:pt x="442" y="340"/>
                    <a:pt x="445" y="336"/>
                    <a:pt x="448" y="334"/>
                  </a:cubicBezTo>
                  <a:cubicBezTo>
                    <a:pt x="450" y="332"/>
                    <a:pt x="452" y="330"/>
                    <a:pt x="455" y="328"/>
                  </a:cubicBezTo>
                  <a:cubicBezTo>
                    <a:pt x="458" y="327"/>
                    <a:pt x="460" y="324"/>
                    <a:pt x="463" y="322"/>
                  </a:cubicBezTo>
                  <a:cubicBezTo>
                    <a:pt x="464" y="321"/>
                    <a:pt x="466" y="320"/>
                    <a:pt x="467" y="318"/>
                  </a:cubicBezTo>
                  <a:cubicBezTo>
                    <a:pt x="469" y="314"/>
                    <a:pt x="473" y="310"/>
                    <a:pt x="476" y="306"/>
                  </a:cubicBezTo>
                  <a:cubicBezTo>
                    <a:pt x="478" y="304"/>
                    <a:pt x="480" y="303"/>
                    <a:pt x="482" y="301"/>
                  </a:cubicBezTo>
                  <a:cubicBezTo>
                    <a:pt x="484" y="299"/>
                    <a:pt x="486" y="297"/>
                    <a:pt x="489" y="296"/>
                  </a:cubicBezTo>
                  <a:cubicBezTo>
                    <a:pt x="491" y="295"/>
                    <a:pt x="493" y="295"/>
                    <a:pt x="494" y="295"/>
                  </a:cubicBezTo>
                  <a:cubicBezTo>
                    <a:pt x="497" y="295"/>
                    <a:pt x="501" y="295"/>
                    <a:pt x="503" y="296"/>
                  </a:cubicBezTo>
                  <a:cubicBezTo>
                    <a:pt x="505" y="296"/>
                    <a:pt x="506" y="297"/>
                    <a:pt x="508" y="298"/>
                  </a:cubicBezTo>
                  <a:cubicBezTo>
                    <a:pt x="510" y="298"/>
                    <a:pt x="515" y="298"/>
                    <a:pt x="516" y="298"/>
                  </a:cubicBezTo>
                  <a:cubicBezTo>
                    <a:pt x="522" y="296"/>
                    <a:pt x="517" y="291"/>
                    <a:pt x="521" y="288"/>
                  </a:cubicBezTo>
                  <a:cubicBezTo>
                    <a:pt x="522" y="287"/>
                    <a:pt x="524" y="288"/>
                    <a:pt x="526" y="287"/>
                  </a:cubicBezTo>
                  <a:cubicBezTo>
                    <a:pt x="527" y="286"/>
                    <a:pt x="527" y="283"/>
                    <a:pt x="528" y="282"/>
                  </a:cubicBezTo>
                  <a:cubicBezTo>
                    <a:pt x="530" y="280"/>
                    <a:pt x="530" y="280"/>
                    <a:pt x="532" y="280"/>
                  </a:cubicBezTo>
                  <a:cubicBezTo>
                    <a:pt x="536" y="281"/>
                    <a:pt x="538" y="286"/>
                    <a:pt x="542" y="287"/>
                  </a:cubicBezTo>
                  <a:cubicBezTo>
                    <a:pt x="543" y="285"/>
                    <a:pt x="544" y="282"/>
                    <a:pt x="545" y="280"/>
                  </a:cubicBezTo>
                  <a:cubicBezTo>
                    <a:pt x="547" y="275"/>
                    <a:pt x="549" y="270"/>
                    <a:pt x="548" y="264"/>
                  </a:cubicBezTo>
                  <a:cubicBezTo>
                    <a:pt x="546" y="264"/>
                    <a:pt x="545" y="264"/>
                    <a:pt x="544" y="263"/>
                  </a:cubicBezTo>
                  <a:cubicBezTo>
                    <a:pt x="543" y="262"/>
                    <a:pt x="543" y="260"/>
                    <a:pt x="541" y="260"/>
                  </a:cubicBezTo>
                  <a:cubicBezTo>
                    <a:pt x="541" y="259"/>
                    <a:pt x="541" y="258"/>
                    <a:pt x="541" y="257"/>
                  </a:cubicBezTo>
                  <a:cubicBezTo>
                    <a:pt x="542" y="257"/>
                    <a:pt x="543" y="257"/>
                    <a:pt x="545" y="257"/>
                  </a:cubicBezTo>
                  <a:cubicBezTo>
                    <a:pt x="543" y="254"/>
                    <a:pt x="545" y="249"/>
                    <a:pt x="541" y="249"/>
                  </a:cubicBezTo>
                  <a:cubicBezTo>
                    <a:pt x="545" y="249"/>
                    <a:pt x="554" y="251"/>
                    <a:pt x="557" y="248"/>
                  </a:cubicBezTo>
                  <a:cubicBezTo>
                    <a:pt x="557" y="246"/>
                    <a:pt x="549" y="242"/>
                    <a:pt x="547" y="240"/>
                  </a:cubicBezTo>
                  <a:cubicBezTo>
                    <a:pt x="545" y="237"/>
                    <a:pt x="545" y="234"/>
                    <a:pt x="541" y="233"/>
                  </a:cubicBezTo>
                  <a:cubicBezTo>
                    <a:pt x="546" y="232"/>
                    <a:pt x="548" y="235"/>
                    <a:pt x="552" y="237"/>
                  </a:cubicBezTo>
                  <a:cubicBezTo>
                    <a:pt x="553" y="238"/>
                    <a:pt x="555" y="238"/>
                    <a:pt x="557" y="239"/>
                  </a:cubicBezTo>
                  <a:cubicBezTo>
                    <a:pt x="557" y="240"/>
                    <a:pt x="557" y="240"/>
                    <a:pt x="557" y="241"/>
                  </a:cubicBezTo>
                  <a:cubicBezTo>
                    <a:pt x="559" y="242"/>
                    <a:pt x="562" y="241"/>
                    <a:pt x="564" y="243"/>
                  </a:cubicBezTo>
                  <a:cubicBezTo>
                    <a:pt x="564" y="242"/>
                    <a:pt x="564" y="242"/>
                    <a:pt x="564" y="241"/>
                  </a:cubicBezTo>
                  <a:cubicBezTo>
                    <a:pt x="566" y="241"/>
                    <a:pt x="568" y="241"/>
                    <a:pt x="569" y="241"/>
                  </a:cubicBezTo>
                  <a:cubicBezTo>
                    <a:pt x="573" y="238"/>
                    <a:pt x="569" y="236"/>
                    <a:pt x="569" y="233"/>
                  </a:cubicBezTo>
                  <a:cubicBezTo>
                    <a:pt x="571" y="232"/>
                    <a:pt x="574" y="234"/>
                    <a:pt x="576" y="233"/>
                  </a:cubicBezTo>
                  <a:cubicBezTo>
                    <a:pt x="578" y="232"/>
                    <a:pt x="577" y="231"/>
                    <a:pt x="577" y="229"/>
                  </a:cubicBezTo>
                  <a:cubicBezTo>
                    <a:pt x="578" y="227"/>
                    <a:pt x="578" y="228"/>
                    <a:pt x="579" y="226"/>
                  </a:cubicBezTo>
                  <a:cubicBezTo>
                    <a:pt x="581" y="224"/>
                    <a:pt x="584" y="223"/>
                    <a:pt x="582" y="220"/>
                  </a:cubicBezTo>
                  <a:cubicBezTo>
                    <a:pt x="580" y="217"/>
                    <a:pt x="577" y="218"/>
                    <a:pt x="574" y="218"/>
                  </a:cubicBezTo>
                  <a:cubicBezTo>
                    <a:pt x="579" y="218"/>
                    <a:pt x="583" y="218"/>
                    <a:pt x="588" y="218"/>
                  </a:cubicBezTo>
                  <a:cubicBezTo>
                    <a:pt x="587" y="213"/>
                    <a:pt x="580" y="210"/>
                    <a:pt x="577" y="208"/>
                  </a:cubicBezTo>
                  <a:cubicBezTo>
                    <a:pt x="575" y="208"/>
                    <a:pt x="573" y="207"/>
                    <a:pt x="572" y="206"/>
                  </a:cubicBezTo>
                  <a:cubicBezTo>
                    <a:pt x="570" y="205"/>
                    <a:pt x="568" y="204"/>
                    <a:pt x="567" y="204"/>
                  </a:cubicBezTo>
                  <a:cubicBezTo>
                    <a:pt x="566" y="204"/>
                    <a:pt x="565" y="204"/>
                    <a:pt x="565" y="204"/>
                  </a:cubicBezTo>
                  <a:cubicBezTo>
                    <a:pt x="564" y="204"/>
                    <a:pt x="563" y="203"/>
                    <a:pt x="562" y="202"/>
                  </a:cubicBezTo>
                  <a:cubicBezTo>
                    <a:pt x="561" y="202"/>
                    <a:pt x="559" y="202"/>
                    <a:pt x="557" y="203"/>
                  </a:cubicBezTo>
                  <a:cubicBezTo>
                    <a:pt x="560" y="202"/>
                    <a:pt x="562" y="202"/>
                    <a:pt x="565" y="200"/>
                  </a:cubicBezTo>
                  <a:cubicBezTo>
                    <a:pt x="566" y="199"/>
                    <a:pt x="566" y="198"/>
                    <a:pt x="567" y="198"/>
                  </a:cubicBezTo>
                  <a:cubicBezTo>
                    <a:pt x="570" y="200"/>
                    <a:pt x="571" y="201"/>
                    <a:pt x="575" y="202"/>
                  </a:cubicBezTo>
                  <a:cubicBezTo>
                    <a:pt x="577" y="203"/>
                    <a:pt x="580" y="203"/>
                    <a:pt x="580" y="206"/>
                  </a:cubicBezTo>
                  <a:cubicBezTo>
                    <a:pt x="583" y="206"/>
                    <a:pt x="587" y="208"/>
                    <a:pt x="589" y="207"/>
                  </a:cubicBezTo>
                  <a:cubicBezTo>
                    <a:pt x="591" y="206"/>
                    <a:pt x="596" y="203"/>
                    <a:pt x="594" y="201"/>
                  </a:cubicBezTo>
                  <a:cubicBezTo>
                    <a:pt x="597" y="199"/>
                    <a:pt x="598" y="198"/>
                    <a:pt x="598" y="194"/>
                  </a:cubicBezTo>
                  <a:cubicBezTo>
                    <a:pt x="598" y="193"/>
                    <a:pt x="598" y="192"/>
                    <a:pt x="598" y="191"/>
                  </a:cubicBezTo>
                  <a:cubicBezTo>
                    <a:pt x="598" y="190"/>
                    <a:pt x="599" y="188"/>
                    <a:pt x="599" y="187"/>
                  </a:cubicBezTo>
                  <a:cubicBezTo>
                    <a:pt x="599" y="185"/>
                    <a:pt x="597" y="185"/>
                    <a:pt x="595" y="186"/>
                  </a:cubicBezTo>
                  <a:cubicBezTo>
                    <a:pt x="594" y="188"/>
                    <a:pt x="595" y="192"/>
                    <a:pt x="592" y="193"/>
                  </a:cubicBezTo>
                  <a:cubicBezTo>
                    <a:pt x="588" y="194"/>
                    <a:pt x="589" y="186"/>
                    <a:pt x="589" y="184"/>
                  </a:cubicBezTo>
                  <a:cubicBezTo>
                    <a:pt x="588" y="182"/>
                    <a:pt x="588" y="182"/>
                    <a:pt x="586" y="182"/>
                  </a:cubicBezTo>
                  <a:cubicBezTo>
                    <a:pt x="584" y="182"/>
                    <a:pt x="582" y="182"/>
                    <a:pt x="580" y="182"/>
                  </a:cubicBezTo>
                  <a:cubicBezTo>
                    <a:pt x="577" y="182"/>
                    <a:pt x="576" y="181"/>
                    <a:pt x="573" y="180"/>
                  </a:cubicBezTo>
                  <a:cubicBezTo>
                    <a:pt x="574" y="177"/>
                    <a:pt x="581" y="179"/>
                    <a:pt x="584" y="179"/>
                  </a:cubicBezTo>
                  <a:cubicBezTo>
                    <a:pt x="585" y="179"/>
                    <a:pt x="589" y="179"/>
                    <a:pt x="590" y="179"/>
                  </a:cubicBezTo>
                  <a:cubicBezTo>
                    <a:pt x="591" y="178"/>
                    <a:pt x="592" y="172"/>
                    <a:pt x="592" y="171"/>
                  </a:cubicBezTo>
                  <a:cubicBezTo>
                    <a:pt x="593" y="168"/>
                    <a:pt x="591" y="167"/>
                    <a:pt x="588" y="167"/>
                  </a:cubicBezTo>
                  <a:cubicBezTo>
                    <a:pt x="586" y="166"/>
                    <a:pt x="583" y="166"/>
                    <a:pt x="581" y="167"/>
                  </a:cubicBezTo>
                  <a:cubicBezTo>
                    <a:pt x="580" y="168"/>
                    <a:pt x="581" y="169"/>
                    <a:pt x="580" y="169"/>
                  </a:cubicBezTo>
                  <a:cubicBezTo>
                    <a:pt x="579" y="169"/>
                    <a:pt x="578" y="169"/>
                    <a:pt x="577" y="169"/>
                  </a:cubicBezTo>
                  <a:cubicBezTo>
                    <a:pt x="576" y="169"/>
                    <a:pt x="573" y="170"/>
                    <a:pt x="572" y="167"/>
                  </a:cubicBezTo>
                  <a:cubicBezTo>
                    <a:pt x="576" y="167"/>
                    <a:pt x="579" y="165"/>
                    <a:pt x="581" y="162"/>
                  </a:cubicBezTo>
                  <a:cubicBezTo>
                    <a:pt x="584" y="160"/>
                    <a:pt x="582" y="159"/>
                    <a:pt x="579" y="158"/>
                  </a:cubicBezTo>
                  <a:cubicBezTo>
                    <a:pt x="579" y="156"/>
                    <a:pt x="589" y="158"/>
                    <a:pt x="591" y="157"/>
                  </a:cubicBezTo>
                  <a:cubicBezTo>
                    <a:pt x="591" y="156"/>
                    <a:pt x="590" y="155"/>
                    <a:pt x="589" y="155"/>
                  </a:cubicBezTo>
                  <a:cubicBezTo>
                    <a:pt x="589" y="152"/>
                    <a:pt x="588" y="151"/>
                    <a:pt x="588" y="149"/>
                  </a:cubicBezTo>
                  <a:cubicBezTo>
                    <a:pt x="588" y="147"/>
                    <a:pt x="587" y="145"/>
                    <a:pt x="588" y="143"/>
                  </a:cubicBezTo>
                  <a:cubicBezTo>
                    <a:pt x="588" y="143"/>
                    <a:pt x="588" y="142"/>
                    <a:pt x="588" y="142"/>
                  </a:cubicBezTo>
                  <a:cubicBezTo>
                    <a:pt x="589" y="140"/>
                    <a:pt x="590" y="140"/>
                    <a:pt x="591" y="139"/>
                  </a:cubicBezTo>
                  <a:cubicBezTo>
                    <a:pt x="592" y="136"/>
                    <a:pt x="590" y="134"/>
                    <a:pt x="588" y="133"/>
                  </a:cubicBezTo>
                  <a:cubicBezTo>
                    <a:pt x="587" y="132"/>
                    <a:pt x="586" y="131"/>
                    <a:pt x="585" y="132"/>
                  </a:cubicBezTo>
                  <a:cubicBezTo>
                    <a:pt x="583" y="132"/>
                    <a:pt x="584" y="134"/>
                    <a:pt x="584" y="136"/>
                  </a:cubicBezTo>
                  <a:cubicBezTo>
                    <a:pt x="582" y="133"/>
                    <a:pt x="581" y="131"/>
                    <a:pt x="579" y="128"/>
                  </a:cubicBezTo>
                  <a:cubicBezTo>
                    <a:pt x="579" y="127"/>
                    <a:pt x="579" y="123"/>
                    <a:pt x="576" y="124"/>
                  </a:cubicBezTo>
                  <a:cubicBezTo>
                    <a:pt x="576" y="126"/>
                    <a:pt x="572" y="124"/>
                    <a:pt x="571" y="124"/>
                  </a:cubicBezTo>
                  <a:cubicBezTo>
                    <a:pt x="569" y="124"/>
                    <a:pt x="568" y="124"/>
                    <a:pt x="567" y="125"/>
                  </a:cubicBezTo>
                  <a:cubicBezTo>
                    <a:pt x="566" y="124"/>
                    <a:pt x="564" y="123"/>
                    <a:pt x="563" y="122"/>
                  </a:cubicBezTo>
                  <a:cubicBezTo>
                    <a:pt x="561" y="120"/>
                    <a:pt x="562" y="121"/>
                    <a:pt x="559" y="120"/>
                  </a:cubicBezTo>
                  <a:cubicBezTo>
                    <a:pt x="559" y="120"/>
                    <a:pt x="558" y="119"/>
                    <a:pt x="557" y="119"/>
                  </a:cubicBezTo>
                  <a:cubicBezTo>
                    <a:pt x="556" y="120"/>
                    <a:pt x="557" y="120"/>
                    <a:pt x="555" y="121"/>
                  </a:cubicBezTo>
                  <a:cubicBezTo>
                    <a:pt x="555" y="121"/>
                    <a:pt x="554" y="121"/>
                    <a:pt x="554" y="122"/>
                  </a:cubicBezTo>
                  <a:cubicBezTo>
                    <a:pt x="552" y="122"/>
                    <a:pt x="551" y="123"/>
                    <a:pt x="550" y="124"/>
                  </a:cubicBezTo>
                  <a:cubicBezTo>
                    <a:pt x="548" y="125"/>
                    <a:pt x="549" y="124"/>
                    <a:pt x="548" y="126"/>
                  </a:cubicBezTo>
                  <a:cubicBezTo>
                    <a:pt x="547" y="127"/>
                    <a:pt x="547" y="128"/>
                    <a:pt x="546" y="128"/>
                  </a:cubicBezTo>
                  <a:cubicBezTo>
                    <a:pt x="544" y="126"/>
                    <a:pt x="548" y="122"/>
                    <a:pt x="549" y="120"/>
                  </a:cubicBezTo>
                  <a:cubicBezTo>
                    <a:pt x="549" y="119"/>
                    <a:pt x="552" y="117"/>
                    <a:pt x="552" y="116"/>
                  </a:cubicBezTo>
                  <a:cubicBezTo>
                    <a:pt x="551" y="114"/>
                    <a:pt x="549" y="115"/>
                    <a:pt x="548" y="112"/>
                  </a:cubicBezTo>
                  <a:cubicBezTo>
                    <a:pt x="550" y="111"/>
                    <a:pt x="552" y="108"/>
                    <a:pt x="551" y="105"/>
                  </a:cubicBezTo>
                  <a:cubicBezTo>
                    <a:pt x="550" y="98"/>
                    <a:pt x="545" y="102"/>
                    <a:pt x="541" y="105"/>
                  </a:cubicBezTo>
                  <a:cubicBezTo>
                    <a:pt x="540" y="106"/>
                    <a:pt x="539" y="108"/>
                    <a:pt x="538" y="109"/>
                  </a:cubicBezTo>
                  <a:cubicBezTo>
                    <a:pt x="537" y="110"/>
                    <a:pt x="535" y="111"/>
                    <a:pt x="533" y="111"/>
                  </a:cubicBezTo>
                  <a:cubicBezTo>
                    <a:pt x="531" y="110"/>
                    <a:pt x="530" y="109"/>
                    <a:pt x="528" y="109"/>
                  </a:cubicBezTo>
                  <a:cubicBezTo>
                    <a:pt x="526" y="108"/>
                    <a:pt x="525" y="109"/>
                    <a:pt x="523" y="109"/>
                  </a:cubicBezTo>
                  <a:cubicBezTo>
                    <a:pt x="523" y="108"/>
                    <a:pt x="528" y="98"/>
                    <a:pt x="525" y="97"/>
                  </a:cubicBezTo>
                  <a:cubicBezTo>
                    <a:pt x="526" y="96"/>
                    <a:pt x="527" y="93"/>
                    <a:pt x="528" y="92"/>
                  </a:cubicBezTo>
                  <a:cubicBezTo>
                    <a:pt x="530" y="90"/>
                    <a:pt x="531" y="90"/>
                    <a:pt x="532" y="87"/>
                  </a:cubicBezTo>
                  <a:cubicBezTo>
                    <a:pt x="532" y="86"/>
                    <a:pt x="532" y="84"/>
                    <a:pt x="532" y="83"/>
                  </a:cubicBezTo>
                  <a:cubicBezTo>
                    <a:pt x="532" y="80"/>
                    <a:pt x="531" y="76"/>
                    <a:pt x="532" y="74"/>
                  </a:cubicBezTo>
                  <a:cubicBezTo>
                    <a:pt x="532" y="73"/>
                    <a:pt x="534" y="72"/>
                    <a:pt x="534" y="71"/>
                  </a:cubicBezTo>
                  <a:cubicBezTo>
                    <a:pt x="535" y="70"/>
                    <a:pt x="535" y="67"/>
                    <a:pt x="535" y="66"/>
                  </a:cubicBezTo>
                  <a:cubicBezTo>
                    <a:pt x="533" y="66"/>
                    <a:pt x="529" y="68"/>
                    <a:pt x="528" y="69"/>
                  </a:cubicBezTo>
                  <a:cubicBezTo>
                    <a:pt x="526" y="71"/>
                    <a:pt x="526" y="72"/>
                    <a:pt x="524" y="70"/>
                  </a:cubicBezTo>
                  <a:cubicBezTo>
                    <a:pt x="523" y="67"/>
                    <a:pt x="521" y="64"/>
                    <a:pt x="517" y="63"/>
                  </a:cubicBezTo>
                  <a:cubicBezTo>
                    <a:pt x="517" y="62"/>
                    <a:pt x="515" y="62"/>
                    <a:pt x="514" y="62"/>
                  </a:cubicBezTo>
                  <a:cubicBezTo>
                    <a:pt x="512" y="63"/>
                    <a:pt x="512" y="64"/>
                    <a:pt x="511" y="65"/>
                  </a:cubicBezTo>
                  <a:cubicBezTo>
                    <a:pt x="509" y="64"/>
                    <a:pt x="509" y="62"/>
                    <a:pt x="508" y="62"/>
                  </a:cubicBezTo>
                  <a:cubicBezTo>
                    <a:pt x="507" y="62"/>
                    <a:pt x="506" y="60"/>
                    <a:pt x="506" y="59"/>
                  </a:cubicBezTo>
                  <a:cubicBezTo>
                    <a:pt x="507" y="57"/>
                    <a:pt x="508" y="59"/>
                    <a:pt x="510" y="58"/>
                  </a:cubicBezTo>
                  <a:cubicBezTo>
                    <a:pt x="513" y="58"/>
                    <a:pt x="515" y="54"/>
                    <a:pt x="517" y="53"/>
                  </a:cubicBezTo>
                  <a:cubicBezTo>
                    <a:pt x="518" y="52"/>
                    <a:pt x="519" y="52"/>
                    <a:pt x="520" y="51"/>
                  </a:cubicBezTo>
                  <a:cubicBezTo>
                    <a:pt x="521" y="49"/>
                    <a:pt x="521" y="47"/>
                    <a:pt x="521" y="45"/>
                  </a:cubicBezTo>
                  <a:cubicBezTo>
                    <a:pt x="521" y="43"/>
                    <a:pt x="521" y="40"/>
                    <a:pt x="520" y="39"/>
                  </a:cubicBezTo>
                  <a:cubicBezTo>
                    <a:pt x="519" y="38"/>
                    <a:pt x="517" y="39"/>
                    <a:pt x="517" y="37"/>
                  </a:cubicBezTo>
                  <a:cubicBezTo>
                    <a:pt x="518" y="36"/>
                    <a:pt x="520" y="36"/>
                    <a:pt x="521" y="35"/>
                  </a:cubicBezTo>
                  <a:cubicBezTo>
                    <a:pt x="523" y="34"/>
                    <a:pt x="524" y="33"/>
                    <a:pt x="525" y="31"/>
                  </a:cubicBezTo>
                  <a:cubicBezTo>
                    <a:pt x="525" y="30"/>
                    <a:pt x="526" y="29"/>
                    <a:pt x="527" y="28"/>
                  </a:cubicBezTo>
                  <a:cubicBezTo>
                    <a:pt x="528" y="27"/>
                    <a:pt x="530" y="27"/>
                    <a:pt x="532" y="27"/>
                  </a:cubicBezTo>
                  <a:lnTo>
                    <a:pt x="536" y="27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9" name="Freeform 9"/>
            <p:cNvSpPr>
              <a:spLocks noEditPoints="1"/>
            </p:cNvSpPr>
            <p:nvPr/>
          </p:nvSpPr>
          <p:spPr bwMode="auto">
            <a:xfrm>
              <a:off x="3722688" y="4314825"/>
              <a:ext cx="388938" cy="311150"/>
            </a:xfrm>
            <a:custGeom>
              <a:avLst/>
              <a:gdLst/>
              <a:ahLst/>
              <a:cxnLst>
                <a:cxn ang="0">
                  <a:pos x="207" y="85"/>
                </a:cxn>
                <a:cxn ang="0">
                  <a:pos x="198" y="80"/>
                </a:cxn>
                <a:cxn ang="0">
                  <a:pos x="191" y="69"/>
                </a:cxn>
                <a:cxn ang="0">
                  <a:pos x="189" y="63"/>
                </a:cxn>
                <a:cxn ang="0">
                  <a:pos x="188" y="61"/>
                </a:cxn>
                <a:cxn ang="0">
                  <a:pos x="169" y="57"/>
                </a:cxn>
                <a:cxn ang="0">
                  <a:pos x="170" y="46"/>
                </a:cxn>
                <a:cxn ang="0">
                  <a:pos x="175" y="34"/>
                </a:cxn>
                <a:cxn ang="0">
                  <a:pos x="178" y="28"/>
                </a:cxn>
                <a:cxn ang="0">
                  <a:pos x="175" y="22"/>
                </a:cxn>
                <a:cxn ang="0">
                  <a:pos x="168" y="18"/>
                </a:cxn>
                <a:cxn ang="0">
                  <a:pos x="156" y="17"/>
                </a:cxn>
                <a:cxn ang="0">
                  <a:pos x="150" y="15"/>
                </a:cxn>
                <a:cxn ang="0">
                  <a:pos x="140" y="10"/>
                </a:cxn>
                <a:cxn ang="0">
                  <a:pos x="143" y="0"/>
                </a:cxn>
                <a:cxn ang="0">
                  <a:pos x="135" y="2"/>
                </a:cxn>
                <a:cxn ang="0">
                  <a:pos x="119" y="0"/>
                </a:cxn>
                <a:cxn ang="0">
                  <a:pos x="104" y="1"/>
                </a:cxn>
                <a:cxn ang="0">
                  <a:pos x="97" y="6"/>
                </a:cxn>
                <a:cxn ang="0">
                  <a:pos x="92" y="11"/>
                </a:cxn>
                <a:cxn ang="0">
                  <a:pos x="87" y="14"/>
                </a:cxn>
                <a:cxn ang="0">
                  <a:pos x="81" y="21"/>
                </a:cxn>
                <a:cxn ang="0">
                  <a:pos x="61" y="12"/>
                </a:cxn>
                <a:cxn ang="0">
                  <a:pos x="49" y="15"/>
                </a:cxn>
                <a:cxn ang="0">
                  <a:pos x="43" y="8"/>
                </a:cxn>
                <a:cxn ang="0">
                  <a:pos x="31" y="8"/>
                </a:cxn>
                <a:cxn ang="0">
                  <a:pos x="24" y="15"/>
                </a:cxn>
                <a:cxn ang="0">
                  <a:pos x="16" y="19"/>
                </a:cxn>
                <a:cxn ang="0">
                  <a:pos x="5" y="23"/>
                </a:cxn>
                <a:cxn ang="0">
                  <a:pos x="3" y="32"/>
                </a:cxn>
                <a:cxn ang="0">
                  <a:pos x="3" y="45"/>
                </a:cxn>
                <a:cxn ang="0">
                  <a:pos x="31" y="56"/>
                </a:cxn>
                <a:cxn ang="0">
                  <a:pos x="39" y="71"/>
                </a:cxn>
                <a:cxn ang="0">
                  <a:pos x="61" y="89"/>
                </a:cxn>
                <a:cxn ang="0">
                  <a:pos x="79" y="95"/>
                </a:cxn>
                <a:cxn ang="0">
                  <a:pos x="83" y="110"/>
                </a:cxn>
                <a:cxn ang="0">
                  <a:pos x="95" y="127"/>
                </a:cxn>
                <a:cxn ang="0">
                  <a:pos x="114" y="123"/>
                </a:cxn>
                <a:cxn ang="0">
                  <a:pos x="124" y="114"/>
                </a:cxn>
                <a:cxn ang="0">
                  <a:pos x="125" y="141"/>
                </a:cxn>
                <a:cxn ang="0">
                  <a:pos x="153" y="157"/>
                </a:cxn>
                <a:cxn ang="0">
                  <a:pos x="171" y="161"/>
                </a:cxn>
                <a:cxn ang="0">
                  <a:pos x="179" y="152"/>
                </a:cxn>
                <a:cxn ang="0">
                  <a:pos x="171" y="141"/>
                </a:cxn>
                <a:cxn ang="0">
                  <a:pos x="171" y="133"/>
                </a:cxn>
                <a:cxn ang="0">
                  <a:pos x="177" y="127"/>
                </a:cxn>
                <a:cxn ang="0">
                  <a:pos x="185" y="114"/>
                </a:cxn>
                <a:cxn ang="0">
                  <a:pos x="193" y="111"/>
                </a:cxn>
                <a:cxn ang="0">
                  <a:pos x="198" y="106"/>
                </a:cxn>
                <a:cxn ang="0">
                  <a:pos x="201" y="100"/>
                </a:cxn>
                <a:cxn ang="0">
                  <a:pos x="207" y="91"/>
                </a:cxn>
              </a:cxnLst>
              <a:rect l="0" t="0" r="r" b="b"/>
              <a:pathLst>
                <a:path w="208" h="167">
                  <a:moveTo>
                    <a:pt x="196" y="13"/>
                  </a:moveTo>
                  <a:cubicBezTo>
                    <a:pt x="196" y="13"/>
                    <a:pt x="196" y="13"/>
                    <a:pt x="196" y="13"/>
                  </a:cubicBezTo>
                  <a:moveTo>
                    <a:pt x="207" y="85"/>
                  </a:moveTo>
                  <a:cubicBezTo>
                    <a:pt x="206" y="83"/>
                    <a:pt x="205" y="83"/>
                    <a:pt x="203" y="83"/>
                  </a:cubicBezTo>
                  <a:cubicBezTo>
                    <a:pt x="203" y="83"/>
                    <a:pt x="202" y="82"/>
                    <a:pt x="202" y="82"/>
                  </a:cubicBezTo>
                  <a:cubicBezTo>
                    <a:pt x="200" y="81"/>
                    <a:pt x="199" y="81"/>
                    <a:pt x="198" y="80"/>
                  </a:cubicBezTo>
                  <a:cubicBezTo>
                    <a:pt x="197" y="79"/>
                    <a:pt x="197" y="79"/>
                    <a:pt x="196" y="79"/>
                  </a:cubicBezTo>
                  <a:cubicBezTo>
                    <a:pt x="194" y="78"/>
                    <a:pt x="193" y="77"/>
                    <a:pt x="191" y="76"/>
                  </a:cubicBezTo>
                  <a:cubicBezTo>
                    <a:pt x="190" y="74"/>
                    <a:pt x="190" y="71"/>
                    <a:pt x="191" y="69"/>
                  </a:cubicBezTo>
                  <a:cubicBezTo>
                    <a:pt x="191" y="68"/>
                    <a:pt x="191" y="67"/>
                    <a:pt x="191" y="66"/>
                  </a:cubicBezTo>
                  <a:cubicBezTo>
                    <a:pt x="191" y="66"/>
                    <a:pt x="191" y="65"/>
                    <a:pt x="191" y="65"/>
                  </a:cubicBezTo>
                  <a:cubicBezTo>
                    <a:pt x="191" y="64"/>
                    <a:pt x="190" y="63"/>
                    <a:pt x="189" y="63"/>
                  </a:cubicBezTo>
                  <a:cubicBezTo>
                    <a:pt x="189" y="63"/>
                    <a:pt x="188" y="62"/>
                    <a:pt x="188" y="62"/>
                  </a:cubicBezTo>
                  <a:cubicBezTo>
                    <a:pt x="188" y="61"/>
                    <a:pt x="188" y="61"/>
                    <a:pt x="188" y="61"/>
                  </a:cubicBezTo>
                  <a:cubicBezTo>
                    <a:pt x="188" y="61"/>
                    <a:pt x="188" y="61"/>
                    <a:pt x="188" y="61"/>
                  </a:cubicBezTo>
                  <a:cubicBezTo>
                    <a:pt x="185" y="61"/>
                    <a:pt x="182" y="61"/>
                    <a:pt x="180" y="59"/>
                  </a:cubicBezTo>
                  <a:cubicBezTo>
                    <a:pt x="178" y="59"/>
                    <a:pt x="177" y="58"/>
                    <a:pt x="176" y="58"/>
                  </a:cubicBezTo>
                  <a:cubicBezTo>
                    <a:pt x="174" y="58"/>
                    <a:pt x="170" y="59"/>
                    <a:pt x="169" y="57"/>
                  </a:cubicBezTo>
                  <a:cubicBezTo>
                    <a:pt x="168" y="56"/>
                    <a:pt x="169" y="52"/>
                    <a:pt x="169" y="51"/>
                  </a:cubicBezTo>
                  <a:cubicBezTo>
                    <a:pt x="169" y="50"/>
                    <a:pt x="169" y="49"/>
                    <a:pt x="169" y="49"/>
                  </a:cubicBezTo>
                  <a:cubicBezTo>
                    <a:pt x="169" y="47"/>
                    <a:pt x="169" y="47"/>
                    <a:pt x="170" y="46"/>
                  </a:cubicBezTo>
                  <a:cubicBezTo>
                    <a:pt x="171" y="45"/>
                    <a:pt x="171" y="44"/>
                    <a:pt x="171" y="42"/>
                  </a:cubicBezTo>
                  <a:cubicBezTo>
                    <a:pt x="172" y="41"/>
                    <a:pt x="172" y="40"/>
                    <a:pt x="172" y="39"/>
                  </a:cubicBezTo>
                  <a:cubicBezTo>
                    <a:pt x="173" y="37"/>
                    <a:pt x="174" y="36"/>
                    <a:pt x="175" y="34"/>
                  </a:cubicBezTo>
                  <a:cubicBezTo>
                    <a:pt x="175" y="33"/>
                    <a:pt x="175" y="33"/>
                    <a:pt x="175" y="32"/>
                  </a:cubicBezTo>
                  <a:cubicBezTo>
                    <a:pt x="176" y="32"/>
                    <a:pt x="176" y="32"/>
                    <a:pt x="177" y="31"/>
                  </a:cubicBezTo>
                  <a:cubicBezTo>
                    <a:pt x="177" y="30"/>
                    <a:pt x="178" y="29"/>
                    <a:pt x="178" y="28"/>
                  </a:cubicBezTo>
                  <a:cubicBezTo>
                    <a:pt x="179" y="27"/>
                    <a:pt x="179" y="27"/>
                    <a:pt x="180" y="26"/>
                  </a:cubicBezTo>
                  <a:cubicBezTo>
                    <a:pt x="180" y="25"/>
                    <a:pt x="179" y="24"/>
                    <a:pt x="179" y="23"/>
                  </a:cubicBezTo>
                  <a:cubicBezTo>
                    <a:pt x="178" y="23"/>
                    <a:pt x="176" y="23"/>
                    <a:pt x="175" y="22"/>
                  </a:cubicBezTo>
                  <a:cubicBezTo>
                    <a:pt x="174" y="22"/>
                    <a:pt x="173" y="22"/>
                    <a:pt x="172" y="21"/>
                  </a:cubicBezTo>
                  <a:cubicBezTo>
                    <a:pt x="171" y="21"/>
                    <a:pt x="170" y="20"/>
                    <a:pt x="170" y="20"/>
                  </a:cubicBezTo>
                  <a:cubicBezTo>
                    <a:pt x="169" y="19"/>
                    <a:pt x="169" y="19"/>
                    <a:pt x="168" y="18"/>
                  </a:cubicBezTo>
                  <a:cubicBezTo>
                    <a:pt x="168" y="18"/>
                    <a:pt x="167" y="17"/>
                    <a:pt x="167" y="17"/>
                  </a:cubicBezTo>
                  <a:cubicBezTo>
                    <a:pt x="166" y="15"/>
                    <a:pt x="166" y="15"/>
                    <a:pt x="164" y="15"/>
                  </a:cubicBezTo>
                  <a:cubicBezTo>
                    <a:pt x="161" y="15"/>
                    <a:pt x="159" y="16"/>
                    <a:pt x="156" y="17"/>
                  </a:cubicBezTo>
                  <a:cubicBezTo>
                    <a:pt x="155" y="18"/>
                    <a:pt x="154" y="18"/>
                    <a:pt x="152" y="17"/>
                  </a:cubicBezTo>
                  <a:cubicBezTo>
                    <a:pt x="152" y="17"/>
                    <a:pt x="152" y="16"/>
                    <a:pt x="151" y="16"/>
                  </a:cubicBezTo>
                  <a:cubicBezTo>
                    <a:pt x="151" y="16"/>
                    <a:pt x="150" y="15"/>
                    <a:pt x="150" y="15"/>
                  </a:cubicBezTo>
                  <a:cubicBezTo>
                    <a:pt x="149" y="14"/>
                    <a:pt x="149" y="14"/>
                    <a:pt x="147" y="13"/>
                  </a:cubicBezTo>
                  <a:cubicBezTo>
                    <a:pt x="145" y="12"/>
                    <a:pt x="144" y="12"/>
                    <a:pt x="142" y="11"/>
                  </a:cubicBezTo>
                  <a:cubicBezTo>
                    <a:pt x="141" y="11"/>
                    <a:pt x="140" y="11"/>
                    <a:pt x="140" y="10"/>
                  </a:cubicBezTo>
                  <a:cubicBezTo>
                    <a:pt x="140" y="9"/>
                    <a:pt x="141" y="9"/>
                    <a:pt x="141" y="9"/>
                  </a:cubicBezTo>
                  <a:cubicBezTo>
                    <a:pt x="143" y="8"/>
                    <a:pt x="146" y="6"/>
                    <a:pt x="146" y="5"/>
                  </a:cubicBezTo>
                  <a:cubicBezTo>
                    <a:pt x="147" y="3"/>
                    <a:pt x="146" y="0"/>
                    <a:pt x="143" y="0"/>
                  </a:cubicBezTo>
                  <a:cubicBezTo>
                    <a:pt x="143" y="0"/>
                    <a:pt x="142" y="0"/>
                    <a:pt x="141" y="0"/>
                  </a:cubicBezTo>
                  <a:cubicBezTo>
                    <a:pt x="140" y="0"/>
                    <a:pt x="139" y="0"/>
                    <a:pt x="139" y="0"/>
                  </a:cubicBezTo>
                  <a:cubicBezTo>
                    <a:pt x="137" y="1"/>
                    <a:pt x="136" y="2"/>
                    <a:pt x="135" y="2"/>
                  </a:cubicBezTo>
                  <a:cubicBezTo>
                    <a:pt x="134" y="2"/>
                    <a:pt x="132" y="2"/>
                    <a:pt x="131" y="2"/>
                  </a:cubicBezTo>
                  <a:cubicBezTo>
                    <a:pt x="129" y="2"/>
                    <a:pt x="127" y="3"/>
                    <a:pt x="125" y="2"/>
                  </a:cubicBezTo>
                  <a:cubicBezTo>
                    <a:pt x="123" y="2"/>
                    <a:pt x="122" y="0"/>
                    <a:pt x="119" y="0"/>
                  </a:cubicBezTo>
                  <a:cubicBezTo>
                    <a:pt x="116" y="0"/>
                    <a:pt x="113" y="0"/>
                    <a:pt x="110" y="0"/>
                  </a:cubicBezTo>
                  <a:cubicBezTo>
                    <a:pt x="109" y="0"/>
                    <a:pt x="108" y="1"/>
                    <a:pt x="107" y="1"/>
                  </a:cubicBezTo>
                  <a:cubicBezTo>
                    <a:pt x="106" y="1"/>
                    <a:pt x="105" y="1"/>
                    <a:pt x="104" y="1"/>
                  </a:cubicBezTo>
                  <a:cubicBezTo>
                    <a:pt x="103" y="2"/>
                    <a:pt x="103" y="3"/>
                    <a:pt x="102" y="3"/>
                  </a:cubicBezTo>
                  <a:cubicBezTo>
                    <a:pt x="101" y="4"/>
                    <a:pt x="100" y="4"/>
                    <a:pt x="99" y="5"/>
                  </a:cubicBezTo>
                  <a:cubicBezTo>
                    <a:pt x="98" y="5"/>
                    <a:pt x="98" y="5"/>
                    <a:pt x="97" y="6"/>
                  </a:cubicBezTo>
                  <a:cubicBezTo>
                    <a:pt x="96" y="6"/>
                    <a:pt x="95" y="7"/>
                    <a:pt x="94" y="8"/>
                  </a:cubicBezTo>
                  <a:cubicBezTo>
                    <a:pt x="94" y="9"/>
                    <a:pt x="94" y="9"/>
                    <a:pt x="93" y="10"/>
                  </a:cubicBezTo>
                  <a:cubicBezTo>
                    <a:pt x="92" y="10"/>
                    <a:pt x="92" y="10"/>
                    <a:pt x="92" y="11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1" y="12"/>
                    <a:pt x="90" y="12"/>
                    <a:pt x="89" y="12"/>
                  </a:cubicBezTo>
                  <a:cubicBezTo>
                    <a:pt x="87" y="13"/>
                    <a:pt x="87" y="13"/>
                    <a:pt x="87" y="14"/>
                  </a:cubicBezTo>
                  <a:cubicBezTo>
                    <a:pt x="86" y="15"/>
                    <a:pt x="85" y="16"/>
                    <a:pt x="85" y="17"/>
                  </a:cubicBezTo>
                  <a:cubicBezTo>
                    <a:pt x="85" y="17"/>
                    <a:pt x="84" y="18"/>
                    <a:pt x="84" y="19"/>
                  </a:cubicBezTo>
                  <a:cubicBezTo>
                    <a:pt x="83" y="20"/>
                    <a:pt x="82" y="21"/>
                    <a:pt x="81" y="21"/>
                  </a:cubicBezTo>
                  <a:cubicBezTo>
                    <a:pt x="79" y="22"/>
                    <a:pt x="78" y="21"/>
                    <a:pt x="76" y="20"/>
                  </a:cubicBezTo>
                  <a:cubicBezTo>
                    <a:pt x="73" y="19"/>
                    <a:pt x="68" y="18"/>
                    <a:pt x="66" y="16"/>
                  </a:cubicBezTo>
                  <a:cubicBezTo>
                    <a:pt x="65" y="14"/>
                    <a:pt x="64" y="12"/>
                    <a:pt x="61" y="12"/>
                  </a:cubicBezTo>
                  <a:cubicBezTo>
                    <a:pt x="60" y="12"/>
                    <a:pt x="56" y="13"/>
                    <a:pt x="55" y="14"/>
                  </a:cubicBezTo>
                  <a:cubicBezTo>
                    <a:pt x="55" y="14"/>
                    <a:pt x="55" y="15"/>
                    <a:pt x="54" y="16"/>
                  </a:cubicBezTo>
                  <a:cubicBezTo>
                    <a:pt x="52" y="17"/>
                    <a:pt x="50" y="16"/>
                    <a:pt x="49" y="15"/>
                  </a:cubicBezTo>
                  <a:cubicBezTo>
                    <a:pt x="48" y="15"/>
                    <a:pt x="47" y="15"/>
                    <a:pt x="46" y="14"/>
                  </a:cubicBezTo>
                  <a:cubicBezTo>
                    <a:pt x="45" y="13"/>
                    <a:pt x="45" y="12"/>
                    <a:pt x="44" y="11"/>
                  </a:cubicBezTo>
                  <a:cubicBezTo>
                    <a:pt x="44" y="10"/>
                    <a:pt x="43" y="10"/>
                    <a:pt x="43" y="8"/>
                  </a:cubicBezTo>
                  <a:cubicBezTo>
                    <a:pt x="44" y="7"/>
                    <a:pt x="44" y="6"/>
                    <a:pt x="44" y="5"/>
                  </a:cubicBezTo>
                  <a:cubicBezTo>
                    <a:pt x="42" y="5"/>
                    <a:pt x="40" y="5"/>
                    <a:pt x="38" y="5"/>
                  </a:cubicBezTo>
                  <a:cubicBezTo>
                    <a:pt x="35" y="6"/>
                    <a:pt x="34" y="7"/>
                    <a:pt x="31" y="8"/>
                  </a:cubicBezTo>
                  <a:cubicBezTo>
                    <a:pt x="29" y="9"/>
                    <a:pt x="28" y="10"/>
                    <a:pt x="27" y="13"/>
                  </a:cubicBezTo>
                  <a:cubicBezTo>
                    <a:pt x="27" y="13"/>
                    <a:pt x="26" y="14"/>
                    <a:pt x="26" y="14"/>
                  </a:cubicBezTo>
                  <a:cubicBezTo>
                    <a:pt x="25" y="14"/>
                    <a:pt x="25" y="15"/>
                    <a:pt x="24" y="15"/>
                  </a:cubicBezTo>
                  <a:cubicBezTo>
                    <a:pt x="23" y="16"/>
                    <a:pt x="23" y="16"/>
                    <a:pt x="22" y="16"/>
                  </a:cubicBezTo>
                  <a:cubicBezTo>
                    <a:pt x="21" y="17"/>
                    <a:pt x="20" y="16"/>
                    <a:pt x="19" y="17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5" y="20"/>
                    <a:pt x="13" y="21"/>
                    <a:pt x="11" y="22"/>
                  </a:cubicBezTo>
                  <a:cubicBezTo>
                    <a:pt x="10" y="22"/>
                    <a:pt x="8" y="22"/>
                    <a:pt x="7" y="22"/>
                  </a:cubicBezTo>
                  <a:cubicBezTo>
                    <a:pt x="5" y="22"/>
                    <a:pt x="6" y="23"/>
                    <a:pt x="5" y="23"/>
                  </a:cubicBezTo>
                  <a:cubicBezTo>
                    <a:pt x="3" y="25"/>
                    <a:pt x="1" y="26"/>
                    <a:pt x="0" y="28"/>
                  </a:cubicBezTo>
                  <a:cubicBezTo>
                    <a:pt x="1" y="28"/>
                    <a:pt x="1" y="29"/>
                    <a:pt x="2" y="29"/>
                  </a:cubicBezTo>
                  <a:cubicBezTo>
                    <a:pt x="2" y="29"/>
                    <a:pt x="3" y="32"/>
                    <a:pt x="3" y="32"/>
                  </a:cubicBezTo>
                  <a:cubicBezTo>
                    <a:pt x="4" y="33"/>
                    <a:pt x="4" y="32"/>
                    <a:pt x="4" y="33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8"/>
                    <a:pt x="3" y="42"/>
                    <a:pt x="3" y="45"/>
                  </a:cubicBezTo>
                  <a:cubicBezTo>
                    <a:pt x="4" y="49"/>
                    <a:pt x="5" y="51"/>
                    <a:pt x="8" y="54"/>
                  </a:cubicBezTo>
                  <a:cubicBezTo>
                    <a:pt x="12" y="57"/>
                    <a:pt x="14" y="61"/>
                    <a:pt x="19" y="60"/>
                  </a:cubicBezTo>
                  <a:cubicBezTo>
                    <a:pt x="23" y="60"/>
                    <a:pt x="27" y="56"/>
                    <a:pt x="31" y="56"/>
                  </a:cubicBezTo>
                  <a:cubicBezTo>
                    <a:pt x="36" y="55"/>
                    <a:pt x="40" y="59"/>
                    <a:pt x="42" y="63"/>
                  </a:cubicBezTo>
                  <a:cubicBezTo>
                    <a:pt x="42" y="64"/>
                    <a:pt x="43" y="65"/>
                    <a:pt x="43" y="66"/>
                  </a:cubicBezTo>
                  <a:cubicBezTo>
                    <a:pt x="43" y="68"/>
                    <a:pt x="40" y="69"/>
                    <a:pt x="39" y="71"/>
                  </a:cubicBezTo>
                  <a:cubicBezTo>
                    <a:pt x="39" y="75"/>
                    <a:pt x="46" y="81"/>
                    <a:pt x="50" y="81"/>
                  </a:cubicBezTo>
                  <a:cubicBezTo>
                    <a:pt x="53" y="82"/>
                    <a:pt x="58" y="80"/>
                    <a:pt x="60" y="84"/>
                  </a:cubicBezTo>
                  <a:cubicBezTo>
                    <a:pt x="61" y="85"/>
                    <a:pt x="60" y="87"/>
                    <a:pt x="61" y="89"/>
                  </a:cubicBezTo>
                  <a:cubicBezTo>
                    <a:pt x="61" y="92"/>
                    <a:pt x="64" y="94"/>
                    <a:pt x="68" y="94"/>
                  </a:cubicBezTo>
                  <a:cubicBezTo>
                    <a:pt x="70" y="94"/>
                    <a:pt x="72" y="92"/>
                    <a:pt x="75" y="92"/>
                  </a:cubicBezTo>
                  <a:cubicBezTo>
                    <a:pt x="76" y="93"/>
                    <a:pt x="78" y="94"/>
                    <a:pt x="79" y="95"/>
                  </a:cubicBezTo>
                  <a:cubicBezTo>
                    <a:pt x="82" y="96"/>
                    <a:pt x="88" y="97"/>
                    <a:pt x="87" y="101"/>
                  </a:cubicBezTo>
                  <a:cubicBezTo>
                    <a:pt x="87" y="105"/>
                    <a:pt x="84" y="102"/>
                    <a:pt x="83" y="105"/>
                  </a:cubicBezTo>
                  <a:cubicBezTo>
                    <a:pt x="82" y="105"/>
                    <a:pt x="82" y="110"/>
                    <a:pt x="83" y="110"/>
                  </a:cubicBezTo>
                  <a:cubicBezTo>
                    <a:pt x="84" y="112"/>
                    <a:pt x="86" y="110"/>
                    <a:pt x="88" y="111"/>
                  </a:cubicBezTo>
                  <a:cubicBezTo>
                    <a:pt x="90" y="113"/>
                    <a:pt x="90" y="120"/>
                    <a:pt x="91" y="122"/>
                  </a:cubicBezTo>
                  <a:cubicBezTo>
                    <a:pt x="92" y="126"/>
                    <a:pt x="92" y="125"/>
                    <a:pt x="95" y="127"/>
                  </a:cubicBezTo>
                  <a:cubicBezTo>
                    <a:pt x="97" y="129"/>
                    <a:pt x="96" y="129"/>
                    <a:pt x="99" y="130"/>
                  </a:cubicBezTo>
                  <a:cubicBezTo>
                    <a:pt x="102" y="131"/>
                    <a:pt x="106" y="128"/>
                    <a:pt x="109" y="126"/>
                  </a:cubicBezTo>
                  <a:cubicBezTo>
                    <a:pt x="110" y="125"/>
                    <a:pt x="113" y="124"/>
                    <a:pt x="114" y="123"/>
                  </a:cubicBezTo>
                  <a:cubicBezTo>
                    <a:pt x="115" y="121"/>
                    <a:pt x="114" y="118"/>
                    <a:pt x="114" y="116"/>
                  </a:cubicBezTo>
                  <a:cubicBezTo>
                    <a:pt x="115" y="115"/>
                    <a:pt x="117" y="113"/>
                    <a:pt x="119" y="112"/>
                  </a:cubicBezTo>
                  <a:cubicBezTo>
                    <a:pt x="121" y="112"/>
                    <a:pt x="122" y="113"/>
                    <a:pt x="124" y="114"/>
                  </a:cubicBezTo>
                  <a:cubicBezTo>
                    <a:pt x="127" y="117"/>
                    <a:pt x="124" y="119"/>
                    <a:pt x="123" y="122"/>
                  </a:cubicBezTo>
                  <a:cubicBezTo>
                    <a:pt x="122" y="124"/>
                    <a:pt x="123" y="126"/>
                    <a:pt x="123" y="127"/>
                  </a:cubicBezTo>
                  <a:cubicBezTo>
                    <a:pt x="123" y="132"/>
                    <a:pt x="124" y="136"/>
                    <a:pt x="125" y="141"/>
                  </a:cubicBezTo>
                  <a:cubicBezTo>
                    <a:pt x="134" y="141"/>
                    <a:pt x="139" y="148"/>
                    <a:pt x="147" y="151"/>
                  </a:cubicBezTo>
                  <a:cubicBezTo>
                    <a:pt x="149" y="152"/>
                    <a:pt x="151" y="151"/>
                    <a:pt x="152" y="153"/>
                  </a:cubicBezTo>
                  <a:cubicBezTo>
                    <a:pt x="153" y="154"/>
                    <a:pt x="153" y="156"/>
                    <a:pt x="153" y="157"/>
                  </a:cubicBezTo>
                  <a:cubicBezTo>
                    <a:pt x="154" y="159"/>
                    <a:pt x="159" y="167"/>
                    <a:pt x="163" y="165"/>
                  </a:cubicBezTo>
                  <a:cubicBezTo>
                    <a:pt x="164" y="164"/>
                    <a:pt x="165" y="162"/>
                    <a:pt x="167" y="162"/>
                  </a:cubicBezTo>
                  <a:cubicBezTo>
                    <a:pt x="168" y="161"/>
                    <a:pt x="170" y="161"/>
                    <a:pt x="171" y="161"/>
                  </a:cubicBezTo>
                  <a:cubicBezTo>
                    <a:pt x="174" y="161"/>
                    <a:pt x="176" y="162"/>
                    <a:pt x="177" y="162"/>
                  </a:cubicBezTo>
                  <a:cubicBezTo>
                    <a:pt x="178" y="161"/>
                    <a:pt x="178" y="159"/>
                    <a:pt x="179" y="158"/>
                  </a:cubicBezTo>
                  <a:cubicBezTo>
                    <a:pt x="179" y="156"/>
                    <a:pt x="180" y="154"/>
                    <a:pt x="179" y="152"/>
                  </a:cubicBezTo>
                  <a:cubicBezTo>
                    <a:pt x="178" y="151"/>
                    <a:pt x="178" y="151"/>
                    <a:pt x="176" y="151"/>
                  </a:cubicBezTo>
                  <a:cubicBezTo>
                    <a:pt x="174" y="151"/>
                    <a:pt x="173" y="151"/>
                    <a:pt x="171" y="149"/>
                  </a:cubicBezTo>
                  <a:cubicBezTo>
                    <a:pt x="168" y="146"/>
                    <a:pt x="171" y="144"/>
                    <a:pt x="171" y="141"/>
                  </a:cubicBezTo>
                  <a:cubicBezTo>
                    <a:pt x="172" y="140"/>
                    <a:pt x="171" y="139"/>
                    <a:pt x="171" y="139"/>
                  </a:cubicBezTo>
                  <a:cubicBezTo>
                    <a:pt x="171" y="138"/>
                    <a:pt x="171" y="137"/>
                    <a:pt x="171" y="136"/>
                  </a:cubicBezTo>
                  <a:cubicBezTo>
                    <a:pt x="171" y="135"/>
                    <a:pt x="170" y="134"/>
                    <a:pt x="171" y="133"/>
                  </a:cubicBezTo>
                  <a:cubicBezTo>
                    <a:pt x="171" y="133"/>
                    <a:pt x="172" y="132"/>
                    <a:pt x="172" y="131"/>
                  </a:cubicBezTo>
                  <a:cubicBezTo>
                    <a:pt x="173" y="129"/>
                    <a:pt x="172" y="129"/>
                    <a:pt x="174" y="128"/>
                  </a:cubicBezTo>
                  <a:cubicBezTo>
                    <a:pt x="175" y="128"/>
                    <a:pt x="176" y="128"/>
                    <a:pt x="177" y="127"/>
                  </a:cubicBezTo>
                  <a:cubicBezTo>
                    <a:pt x="180" y="125"/>
                    <a:pt x="178" y="122"/>
                    <a:pt x="179" y="119"/>
                  </a:cubicBezTo>
                  <a:cubicBezTo>
                    <a:pt x="180" y="118"/>
                    <a:pt x="181" y="118"/>
                    <a:pt x="182" y="117"/>
                  </a:cubicBezTo>
                  <a:cubicBezTo>
                    <a:pt x="183" y="116"/>
                    <a:pt x="184" y="115"/>
                    <a:pt x="185" y="114"/>
                  </a:cubicBezTo>
                  <a:cubicBezTo>
                    <a:pt x="185" y="114"/>
                    <a:pt x="186" y="111"/>
                    <a:pt x="187" y="110"/>
                  </a:cubicBezTo>
                  <a:cubicBezTo>
                    <a:pt x="187" y="110"/>
                    <a:pt x="189" y="110"/>
                    <a:pt x="189" y="110"/>
                  </a:cubicBezTo>
                  <a:cubicBezTo>
                    <a:pt x="191" y="110"/>
                    <a:pt x="192" y="111"/>
                    <a:pt x="193" y="111"/>
                  </a:cubicBezTo>
                  <a:cubicBezTo>
                    <a:pt x="194" y="111"/>
                    <a:pt x="195" y="111"/>
                    <a:pt x="196" y="111"/>
                  </a:cubicBezTo>
                  <a:cubicBezTo>
                    <a:pt x="196" y="111"/>
                    <a:pt x="196" y="110"/>
                    <a:pt x="196" y="110"/>
                  </a:cubicBezTo>
                  <a:cubicBezTo>
                    <a:pt x="197" y="109"/>
                    <a:pt x="198" y="108"/>
                    <a:pt x="198" y="106"/>
                  </a:cubicBezTo>
                  <a:cubicBezTo>
                    <a:pt x="198" y="106"/>
                    <a:pt x="198" y="106"/>
                    <a:pt x="198" y="105"/>
                  </a:cubicBezTo>
                  <a:cubicBezTo>
                    <a:pt x="198" y="103"/>
                    <a:pt x="200" y="102"/>
                    <a:pt x="201" y="100"/>
                  </a:cubicBezTo>
                  <a:cubicBezTo>
                    <a:pt x="201" y="100"/>
                    <a:pt x="201" y="100"/>
                    <a:pt x="201" y="100"/>
                  </a:cubicBezTo>
                  <a:cubicBezTo>
                    <a:pt x="201" y="100"/>
                    <a:pt x="201" y="100"/>
                    <a:pt x="201" y="100"/>
                  </a:cubicBezTo>
                  <a:cubicBezTo>
                    <a:pt x="202" y="98"/>
                    <a:pt x="204" y="97"/>
                    <a:pt x="205" y="95"/>
                  </a:cubicBezTo>
                  <a:cubicBezTo>
                    <a:pt x="206" y="93"/>
                    <a:pt x="206" y="92"/>
                    <a:pt x="207" y="91"/>
                  </a:cubicBezTo>
                  <a:cubicBezTo>
                    <a:pt x="207" y="89"/>
                    <a:pt x="208" y="87"/>
                    <a:pt x="207" y="8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0" name="Freeform 10"/>
            <p:cNvSpPr>
              <a:spLocks/>
            </p:cNvSpPr>
            <p:nvPr/>
          </p:nvSpPr>
          <p:spPr bwMode="auto">
            <a:xfrm>
              <a:off x="4037013" y="4519613"/>
              <a:ext cx="95250" cy="112713"/>
            </a:xfrm>
            <a:custGeom>
              <a:avLst/>
              <a:gdLst/>
              <a:ahLst/>
              <a:cxnLst>
                <a:cxn ang="0">
                  <a:pos x="29" y="15"/>
                </a:cxn>
                <a:cxn ang="0">
                  <a:pos x="28" y="11"/>
                </a:cxn>
                <a:cxn ang="0">
                  <a:pos x="27" y="6"/>
                </a:cxn>
                <a:cxn ang="0">
                  <a:pos x="28" y="0"/>
                </a:cxn>
                <a:cxn ang="0">
                  <a:pos x="28" y="1"/>
                </a:cxn>
                <a:cxn ang="0">
                  <a:pos x="25" y="1"/>
                </a:cxn>
                <a:cxn ang="0">
                  <a:pos x="21" y="0"/>
                </a:cxn>
                <a:cxn ang="0">
                  <a:pos x="19" y="0"/>
                </a:cxn>
                <a:cxn ang="0">
                  <a:pos x="17" y="4"/>
                </a:cxn>
                <a:cxn ang="0">
                  <a:pos x="14" y="7"/>
                </a:cxn>
                <a:cxn ang="0">
                  <a:pos x="11" y="9"/>
                </a:cxn>
                <a:cxn ang="0">
                  <a:pos x="9" y="17"/>
                </a:cxn>
                <a:cxn ang="0">
                  <a:pos x="6" y="18"/>
                </a:cxn>
                <a:cxn ang="0">
                  <a:pos x="4" y="21"/>
                </a:cxn>
                <a:cxn ang="0">
                  <a:pos x="3" y="23"/>
                </a:cxn>
                <a:cxn ang="0">
                  <a:pos x="3" y="26"/>
                </a:cxn>
                <a:cxn ang="0">
                  <a:pos x="3" y="29"/>
                </a:cxn>
                <a:cxn ang="0">
                  <a:pos x="3" y="31"/>
                </a:cxn>
                <a:cxn ang="0">
                  <a:pos x="3" y="39"/>
                </a:cxn>
                <a:cxn ang="0">
                  <a:pos x="8" y="41"/>
                </a:cxn>
                <a:cxn ang="0">
                  <a:pos x="11" y="42"/>
                </a:cxn>
                <a:cxn ang="0">
                  <a:pos x="11" y="48"/>
                </a:cxn>
                <a:cxn ang="0">
                  <a:pos x="9" y="52"/>
                </a:cxn>
                <a:cxn ang="0">
                  <a:pos x="14" y="54"/>
                </a:cxn>
                <a:cxn ang="0">
                  <a:pos x="26" y="57"/>
                </a:cxn>
                <a:cxn ang="0">
                  <a:pos x="35" y="58"/>
                </a:cxn>
                <a:cxn ang="0">
                  <a:pos x="35" y="58"/>
                </a:cxn>
                <a:cxn ang="0">
                  <a:pos x="35" y="58"/>
                </a:cxn>
                <a:cxn ang="0">
                  <a:pos x="39" y="46"/>
                </a:cxn>
                <a:cxn ang="0">
                  <a:pos x="42" y="42"/>
                </a:cxn>
                <a:cxn ang="0">
                  <a:pos x="44" y="38"/>
                </a:cxn>
                <a:cxn ang="0">
                  <a:pos x="51" y="35"/>
                </a:cxn>
                <a:cxn ang="0">
                  <a:pos x="48" y="33"/>
                </a:cxn>
                <a:cxn ang="0">
                  <a:pos x="43" y="32"/>
                </a:cxn>
                <a:cxn ang="0">
                  <a:pos x="39" y="28"/>
                </a:cxn>
                <a:cxn ang="0">
                  <a:pos x="37" y="25"/>
                </a:cxn>
                <a:cxn ang="0">
                  <a:pos x="34" y="24"/>
                </a:cxn>
                <a:cxn ang="0">
                  <a:pos x="32" y="20"/>
                </a:cxn>
                <a:cxn ang="0">
                  <a:pos x="29" y="15"/>
                </a:cxn>
              </a:cxnLst>
              <a:rect l="0" t="0" r="r" b="b"/>
              <a:pathLst>
                <a:path w="51" h="60">
                  <a:moveTo>
                    <a:pt x="29" y="15"/>
                  </a:moveTo>
                  <a:cubicBezTo>
                    <a:pt x="28" y="14"/>
                    <a:pt x="29" y="12"/>
                    <a:pt x="28" y="11"/>
                  </a:cubicBezTo>
                  <a:cubicBezTo>
                    <a:pt x="28" y="9"/>
                    <a:pt x="27" y="8"/>
                    <a:pt x="27" y="6"/>
                  </a:cubicBezTo>
                  <a:cubicBezTo>
                    <a:pt x="27" y="4"/>
                    <a:pt x="27" y="2"/>
                    <a:pt x="28" y="0"/>
                  </a:cubicBezTo>
                  <a:cubicBezTo>
                    <a:pt x="28" y="0"/>
                    <a:pt x="28" y="1"/>
                    <a:pt x="28" y="1"/>
                  </a:cubicBezTo>
                  <a:cubicBezTo>
                    <a:pt x="27" y="1"/>
                    <a:pt x="26" y="1"/>
                    <a:pt x="25" y="1"/>
                  </a:cubicBezTo>
                  <a:cubicBezTo>
                    <a:pt x="24" y="1"/>
                    <a:pt x="23" y="0"/>
                    <a:pt x="21" y="0"/>
                  </a:cubicBezTo>
                  <a:cubicBezTo>
                    <a:pt x="21" y="0"/>
                    <a:pt x="19" y="0"/>
                    <a:pt x="19" y="0"/>
                  </a:cubicBezTo>
                  <a:cubicBezTo>
                    <a:pt x="18" y="1"/>
                    <a:pt x="17" y="4"/>
                    <a:pt x="17" y="4"/>
                  </a:cubicBezTo>
                  <a:cubicBezTo>
                    <a:pt x="16" y="5"/>
                    <a:pt x="15" y="6"/>
                    <a:pt x="14" y="7"/>
                  </a:cubicBezTo>
                  <a:cubicBezTo>
                    <a:pt x="13" y="8"/>
                    <a:pt x="12" y="8"/>
                    <a:pt x="11" y="9"/>
                  </a:cubicBezTo>
                  <a:cubicBezTo>
                    <a:pt x="10" y="12"/>
                    <a:pt x="12" y="15"/>
                    <a:pt x="9" y="17"/>
                  </a:cubicBezTo>
                  <a:cubicBezTo>
                    <a:pt x="8" y="18"/>
                    <a:pt x="7" y="18"/>
                    <a:pt x="6" y="18"/>
                  </a:cubicBezTo>
                  <a:cubicBezTo>
                    <a:pt x="4" y="19"/>
                    <a:pt x="5" y="19"/>
                    <a:pt x="4" y="21"/>
                  </a:cubicBezTo>
                  <a:cubicBezTo>
                    <a:pt x="4" y="22"/>
                    <a:pt x="3" y="23"/>
                    <a:pt x="3" y="23"/>
                  </a:cubicBezTo>
                  <a:cubicBezTo>
                    <a:pt x="2" y="24"/>
                    <a:pt x="3" y="25"/>
                    <a:pt x="3" y="26"/>
                  </a:cubicBezTo>
                  <a:cubicBezTo>
                    <a:pt x="3" y="27"/>
                    <a:pt x="3" y="28"/>
                    <a:pt x="3" y="29"/>
                  </a:cubicBezTo>
                  <a:cubicBezTo>
                    <a:pt x="3" y="29"/>
                    <a:pt x="4" y="30"/>
                    <a:pt x="3" y="31"/>
                  </a:cubicBezTo>
                  <a:cubicBezTo>
                    <a:pt x="3" y="34"/>
                    <a:pt x="0" y="36"/>
                    <a:pt x="3" y="39"/>
                  </a:cubicBezTo>
                  <a:cubicBezTo>
                    <a:pt x="5" y="41"/>
                    <a:pt x="6" y="41"/>
                    <a:pt x="8" y="41"/>
                  </a:cubicBezTo>
                  <a:cubicBezTo>
                    <a:pt x="10" y="41"/>
                    <a:pt x="10" y="41"/>
                    <a:pt x="11" y="42"/>
                  </a:cubicBezTo>
                  <a:cubicBezTo>
                    <a:pt x="12" y="44"/>
                    <a:pt x="11" y="46"/>
                    <a:pt x="11" y="48"/>
                  </a:cubicBezTo>
                  <a:cubicBezTo>
                    <a:pt x="10" y="49"/>
                    <a:pt x="10" y="51"/>
                    <a:pt x="9" y="52"/>
                  </a:cubicBezTo>
                  <a:cubicBezTo>
                    <a:pt x="11" y="52"/>
                    <a:pt x="12" y="53"/>
                    <a:pt x="14" y="54"/>
                  </a:cubicBezTo>
                  <a:cubicBezTo>
                    <a:pt x="19" y="57"/>
                    <a:pt x="20" y="60"/>
                    <a:pt x="26" y="57"/>
                  </a:cubicBezTo>
                  <a:cubicBezTo>
                    <a:pt x="30" y="54"/>
                    <a:pt x="31" y="56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6" y="53"/>
                    <a:pt x="37" y="49"/>
                    <a:pt x="39" y="46"/>
                  </a:cubicBezTo>
                  <a:cubicBezTo>
                    <a:pt x="40" y="44"/>
                    <a:pt x="41" y="43"/>
                    <a:pt x="42" y="42"/>
                  </a:cubicBezTo>
                  <a:cubicBezTo>
                    <a:pt x="42" y="40"/>
                    <a:pt x="43" y="39"/>
                    <a:pt x="44" y="38"/>
                  </a:cubicBezTo>
                  <a:cubicBezTo>
                    <a:pt x="46" y="37"/>
                    <a:pt x="49" y="35"/>
                    <a:pt x="51" y="35"/>
                  </a:cubicBezTo>
                  <a:cubicBezTo>
                    <a:pt x="51" y="33"/>
                    <a:pt x="49" y="33"/>
                    <a:pt x="48" y="33"/>
                  </a:cubicBezTo>
                  <a:cubicBezTo>
                    <a:pt x="46" y="33"/>
                    <a:pt x="45" y="33"/>
                    <a:pt x="43" y="32"/>
                  </a:cubicBezTo>
                  <a:cubicBezTo>
                    <a:pt x="42" y="31"/>
                    <a:pt x="40" y="30"/>
                    <a:pt x="39" y="28"/>
                  </a:cubicBezTo>
                  <a:cubicBezTo>
                    <a:pt x="38" y="27"/>
                    <a:pt x="37" y="26"/>
                    <a:pt x="37" y="25"/>
                  </a:cubicBezTo>
                  <a:cubicBezTo>
                    <a:pt x="36" y="24"/>
                    <a:pt x="35" y="24"/>
                    <a:pt x="34" y="24"/>
                  </a:cubicBezTo>
                  <a:cubicBezTo>
                    <a:pt x="32" y="23"/>
                    <a:pt x="32" y="21"/>
                    <a:pt x="32" y="20"/>
                  </a:cubicBezTo>
                  <a:cubicBezTo>
                    <a:pt x="31" y="18"/>
                    <a:pt x="30" y="17"/>
                    <a:pt x="29" y="1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1" name="Freeform 11"/>
            <p:cNvSpPr>
              <a:spLocks/>
            </p:cNvSpPr>
            <p:nvPr/>
          </p:nvSpPr>
          <p:spPr bwMode="auto">
            <a:xfrm>
              <a:off x="4064000" y="4889500"/>
              <a:ext cx="452438" cy="293688"/>
            </a:xfrm>
            <a:custGeom>
              <a:avLst/>
              <a:gdLst/>
              <a:ahLst/>
              <a:cxnLst>
                <a:cxn ang="0">
                  <a:pos x="231" y="65"/>
                </a:cxn>
                <a:cxn ang="0">
                  <a:pos x="214" y="71"/>
                </a:cxn>
                <a:cxn ang="0">
                  <a:pos x="204" y="60"/>
                </a:cxn>
                <a:cxn ang="0">
                  <a:pos x="194" y="60"/>
                </a:cxn>
                <a:cxn ang="0">
                  <a:pos x="186" y="51"/>
                </a:cxn>
                <a:cxn ang="0">
                  <a:pos x="183" y="47"/>
                </a:cxn>
                <a:cxn ang="0">
                  <a:pos x="186" y="39"/>
                </a:cxn>
                <a:cxn ang="0">
                  <a:pos x="192" y="36"/>
                </a:cxn>
                <a:cxn ang="0">
                  <a:pos x="195" y="30"/>
                </a:cxn>
                <a:cxn ang="0">
                  <a:pos x="197" y="18"/>
                </a:cxn>
                <a:cxn ang="0">
                  <a:pos x="188" y="17"/>
                </a:cxn>
                <a:cxn ang="0">
                  <a:pos x="174" y="10"/>
                </a:cxn>
                <a:cxn ang="0">
                  <a:pos x="161" y="9"/>
                </a:cxn>
                <a:cxn ang="0">
                  <a:pos x="145" y="1"/>
                </a:cxn>
                <a:cxn ang="0">
                  <a:pos x="133" y="1"/>
                </a:cxn>
                <a:cxn ang="0">
                  <a:pos x="121" y="8"/>
                </a:cxn>
                <a:cxn ang="0">
                  <a:pos x="110" y="18"/>
                </a:cxn>
                <a:cxn ang="0">
                  <a:pos x="94" y="17"/>
                </a:cxn>
                <a:cxn ang="0">
                  <a:pos x="90" y="21"/>
                </a:cxn>
                <a:cxn ang="0">
                  <a:pos x="51" y="27"/>
                </a:cxn>
                <a:cxn ang="0">
                  <a:pos x="39" y="56"/>
                </a:cxn>
                <a:cxn ang="0">
                  <a:pos x="8" y="90"/>
                </a:cxn>
                <a:cxn ang="0">
                  <a:pos x="5" y="118"/>
                </a:cxn>
                <a:cxn ang="0">
                  <a:pos x="41" y="118"/>
                </a:cxn>
                <a:cxn ang="0">
                  <a:pos x="46" y="130"/>
                </a:cxn>
                <a:cxn ang="0">
                  <a:pos x="52" y="144"/>
                </a:cxn>
                <a:cxn ang="0">
                  <a:pos x="57" y="153"/>
                </a:cxn>
                <a:cxn ang="0">
                  <a:pos x="68" y="151"/>
                </a:cxn>
                <a:cxn ang="0">
                  <a:pos x="88" y="145"/>
                </a:cxn>
                <a:cxn ang="0">
                  <a:pos x="108" y="135"/>
                </a:cxn>
                <a:cxn ang="0">
                  <a:pos x="113" y="129"/>
                </a:cxn>
                <a:cxn ang="0">
                  <a:pos x="119" y="114"/>
                </a:cxn>
                <a:cxn ang="0">
                  <a:pos x="127" y="120"/>
                </a:cxn>
                <a:cxn ang="0">
                  <a:pos x="138" y="133"/>
                </a:cxn>
                <a:cxn ang="0">
                  <a:pos x="148" y="137"/>
                </a:cxn>
                <a:cxn ang="0">
                  <a:pos x="147" y="143"/>
                </a:cxn>
                <a:cxn ang="0">
                  <a:pos x="158" y="156"/>
                </a:cxn>
                <a:cxn ang="0">
                  <a:pos x="157" y="147"/>
                </a:cxn>
                <a:cxn ang="0">
                  <a:pos x="163" y="134"/>
                </a:cxn>
                <a:cxn ang="0">
                  <a:pos x="174" y="121"/>
                </a:cxn>
                <a:cxn ang="0">
                  <a:pos x="173" y="106"/>
                </a:cxn>
                <a:cxn ang="0">
                  <a:pos x="185" y="111"/>
                </a:cxn>
                <a:cxn ang="0">
                  <a:pos x="196" y="118"/>
                </a:cxn>
                <a:cxn ang="0">
                  <a:pos x="209" y="115"/>
                </a:cxn>
                <a:cxn ang="0">
                  <a:pos x="223" y="123"/>
                </a:cxn>
                <a:cxn ang="0">
                  <a:pos x="222" y="109"/>
                </a:cxn>
                <a:cxn ang="0">
                  <a:pos x="220" y="97"/>
                </a:cxn>
                <a:cxn ang="0">
                  <a:pos x="236" y="98"/>
                </a:cxn>
                <a:cxn ang="0">
                  <a:pos x="238" y="91"/>
                </a:cxn>
                <a:cxn ang="0">
                  <a:pos x="240" y="71"/>
                </a:cxn>
              </a:cxnLst>
              <a:rect l="0" t="0" r="r" b="b"/>
              <a:pathLst>
                <a:path w="242" h="157">
                  <a:moveTo>
                    <a:pt x="240" y="71"/>
                  </a:moveTo>
                  <a:cubicBezTo>
                    <a:pt x="240" y="69"/>
                    <a:pt x="240" y="67"/>
                    <a:pt x="238" y="65"/>
                  </a:cubicBezTo>
                  <a:cubicBezTo>
                    <a:pt x="237" y="64"/>
                    <a:pt x="234" y="62"/>
                    <a:pt x="233" y="62"/>
                  </a:cubicBezTo>
                  <a:cubicBezTo>
                    <a:pt x="232" y="63"/>
                    <a:pt x="232" y="64"/>
                    <a:pt x="231" y="65"/>
                  </a:cubicBezTo>
                  <a:cubicBezTo>
                    <a:pt x="230" y="65"/>
                    <a:pt x="229" y="65"/>
                    <a:pt x="228" y="66"/>
                  </a:cubicBezTo>
                  <a:cubicBezTo>
                    <a:pt x="226" y="67"/>
                    <a:pt x="227" y="69"/>
                    <a:pt x="226" y="70"/>
                  </a:cubicBezTo>
                  <a:cubicBezTo>
                    <a:pt x="225" y="72"/>
                    <a:pt x="225" y="73"/>
                    <a:pt x="222" y="73"/>
                  </a:cubicBezTo>
                  <a:cubicBezTo>
                    <a:pt x="219" y="73"/>
                    <a:pt x="217" y="72"/>
                    <a:pt x="214" y="71"/>
                  </a:cubicBezTo>
                  <a:cubicBezTo>
                    <a:pt x="213" y="71"/>
                    <a:pt x="212" y="70"/>
                    <a:pt x="212" y="69"/>
                  </a:cubicBezTo>
                  <a:cubicBezTo>
                    <a:pt x="211" y="69"/>
                    <a:pt x="210" y="69"/>
                    <a:pt x="210" y="68"/>
                  </a:cubicBezTo>
                  <a:cubicBezTo>
                    <a:pt x="208" y="67"/>
                    <a:pt x="208" y="66"/>
                    <a:pt x="208" y="64"/>
                  </a:cubicBezTo>
                  <a:cubicBezTo>
                    <a:pt x="208" y="61"/>
                    <a:pt x="206" y="61"/>
                    <a:pt x="204" y="60"/>
                  </a:cubicBezTo>
                  <a:cubicBezTo>
                    <a:pt x="204" y="60"/>
                    <a:pt x="204" y="60"/>
                    <a:pt x="203" y="59"/>
                  </a:cubicBezTo>
                  <a:cubicBezTo>
                    <a:pt x="203" y="59"/>
                    <a:pt x="202" y="59"/>
                    <a:pt x="201" y="59"/>
                  </a:cubicBezTo>
                  <a:cubicBezTo>
                    <a:pt x="200" y="60"/>
                    <a:pt x="200" y="60"/>
                    <a:pt x="198" y="60"/>
                  </a:cubicBezTo>
                  <a:cubicBezTo>
                    <a:pt x="197" y="60"/>
                    <a:pt x="195" y="60"/>
                    <a:pt x="194" y="60"/>
                  </a:cubicBezTo>
                  <a:cubicBezTo>
                    <a:pt x="193" y="60"/>
                    <a:pt x="192" y="60"/>
                    <a:pt x="191" y="60"/>
                  </a:cubicBezTo>
                  <a:cubicBezTo>
                    <a:pt x="190" y="60"/>
                    <a:pt x="189" y="60"/>
                    <a:pt x="188" y="60"/>
                  </a:cubicBezTo>
                  <a:cubicBezTo>
                    <a:pt x="185" y="59"/>
                    <a:pt x="183" y="60"/>
                    <a:pt x="183" y="57"/>
                  </a:cubicBezTo>
                  <a:cubicBezTo>
                    <a:pt x="182" y="53"/>
                    <a:pt x="184" y="53"/>
                    <a:pt x="186" y="51"/>
                  </a:cubicBezTo>
                  <a:cubicBezTo>
                    <a:pt x="186" y="51"/>
                    <a:pt x="187" y="51"/>
                    <a:pt x="187" y="50"/>
                  </a:cubicBezTo>
                  <a:cubicBezTo>
                    <a:pt x="187" y="50"/>
                    <a:pt x="186" y="50"/>
                    <a:pt x="186" y="50"/>
                  </a:cubicBezTo>
                  <a:cubicBezTo>
                    <a:pt x="185" y="50"/>
                    <a:pt x="185" y="50"/>
                    <a:pt x="184" y="49"/>
                  </a:cubicBezTo>
                  <a:cubicBezTo>
                    <a:pt x="183" y="49"/>
                    <a:pt x="183" y="48"/>
                    <a:pt x="183" y="47"/>
                  </a:cubicBezTo>
                  <a:cubicBezTo>
                    <a:pt x="183" y="47"/>
                    <a:pt x="183" y="46"/>
                    <a:pt x="183" y="45"/>
                  </a:cubicBezTo>
                  <a:cubicBezTo>
                    <a:pt x="183" y="44"/>
                    <a:pt x="184" y="44"/>
                    <a:pt x="184" y="43"/>
                  </a:cubicBezTo>
                  <a:cubicBezTo>
                    <a:pt x="184" y="42"/>
                    <a:pt x="185" y="42"/>
                    <a:pt x="185" y="41"/>
                  </a:cubicBezTo>
                  <a:cubicBezTo>
                    <a:pt x="186" y="40"/>
                    <a:pt x="186" y="40"/>
                    <a:pt x="186" y="39"/>
                  </a:cubicBezTo>
                  <a:cubicBezTo>
                    <a:pt x="187" y="38"/>
                    <a:pt x="187" y="38"/>
                    <a:pt x="188" y="38"/>
                  </a:cubicBezTo>
                  <a:cubicBezTo>
                    <a:pt x="188" y="37"/>
                    <a:pt x="189" y="37"/>
                    <a:pt x="189" y="36"/>
                  </a:cubicBezTo>
                  <a:cubicBezTo>
                    <a:pt x="189" y="36"/>
                    <a:pt x="192" y="35"/>
                    <a:pt x="192" y="35"/>
                  </a:cubicBezTo>
                  <a:cubicBezTo>
                    <a:pt x="192" y="36"/>
                    <a:pt x="192" y="36"/>
                    <a:pt x="192" y="36"/>
                  </a:cubicBezTo>
                  <a:cubicBezTo>
                    <a:pt x="192" y="37"/>
                    <a:pt x="192" y="37"/>
                    <a:pt x="192" y="37"/>
                  </a:cubicBezTo>
                  <a:cubicBezTo>
                    <a:pt x="194" y="36"/>
                    <a:pt x="196" y="36"/>
                    <a:pt x="196" y="35"/>
                  </a:cubicBezTo>
                  <a:cubicBezTo>
                    <a:pt x="197" y="34"/>
                    <a:pt x="196" y="33"/>
                    <a:pt x="196" y="33"/>
                  </a:cubicBezTo>
                  <a:cubicBezTo>
                    <a:pt x="195" y="32"/>
                    <a:pt x="195" y="31"/>
                    <a:pt x="195" y="30"/>
                  </a:cubicBezTo>
                  <a:cubicBezTo>
                    <a:pt x="195" y="28"/>
                    <a:pt x="195" y="26"/>
                    <a:pt x="195" y="24"/>
                  </a:cubicBezTo>
                  <a:cubicBezTo>
                    <a:pt x="195" y="23"/>
                    <a:pt x="196" y="22"/>
                    <a:pt x="196" y="20"/>
                  </a:cubicBezTo>
                  <a:cubicBezTo>
                    <a:pt x="197" y="19"/>
                    <a:pt x="198" y="19"/>
                    <a:pt x="198" y="18"/>
                  </a:cubicBezTo>
                  <a:cubicBezTo>
                    <a:pt x="198" y="18"/>
                    <a:pt x="197" y="18"/>
                    <a:pt x="197" y="18"/>
                  </a:cubicBezTo>
                  <a:cubicBezTo>
                    <a:pt x="196" y="18"/>
                    <a:pt x="195" y="18"/>
                    <a:pt x="195" y="18"/>
                  </a:cubicBezTo>
                  <a:cubicBezTo>
                    <a:pt x="195" y="18"/>
                    <a:pt x="195" y="17"/>
                    <a:pt x="194" y="17"/>
                  </a:cubicBezTo>
                  <a:cubicBezTo>
                    <a:pt x="193" y="17"/>
                    <a:pt x="191" y="17"/>
                    <a:pt x="190" y="17"/>
                  </a:cubicBezTo>
                  <a:cubicBezTo>
                    <a:pt x="189" y="17"/>
                    <a:pt x="189" y="17"/>
                    <a:pt x="188" y="17"/>
                  </a:cubicBezTo>
                  <a:cubicBezTo>
                    <a:pt x="186" y="16"/>
                    <a:pt x="184" y="16"/>
                    <a:pt x="182" y="15"/>
                  </a:cubicBezTo>
                  <a:cubicBezTo>
                    <a:pt x="181" y="15"/>
                    <a:pt x="180" y="15"/>
                    <a:pt x="179" y="13"/>
                  </a:cubicBezTo>
                  <a:cubicBezTo>
                    <a:pt x="178" y="13"/>
                    <a:pt x="178" y="13"/>
                    <a:pt x="178" y="12"/>
                  </a:cubicBezTo>
                  <a:cubicBezTo>
                    <a:pt x="177" y="12"/>
                    <a:pt x="175" y="11"/>
                    <a:pt x="174" y="10"/>
                  </a:cubicBezTo>
                  <a:cubicBezTo>
                    <a:pt x="173" y="10"/>
                    <a:pt x="172" y="9"/>
                    <a:pt x="171" y="8"/>
                  </a:cubicBezTo>
                  <a:cubicBezTo>
                    <a:pt x="170" y="7"/>
                    <a:pt x="171" y="7"/>
                    <a:pt x="169" y="7"/>
                  </a:cubicBezTo>
                  <a:cubicBezTo>
                    <a:pt x="168" y="7"/>
                    <a:pt x="167" y="7"/>
                    <a:pt x="166" y="8"/>
                  </a:cubicBezTo>
                  <a:cubicBezTo>
                    <a:pt x="164" y="8"/>
                    <a:pt x="163" y="9"/>
                    <a:pt x="161" y="9"/>
                  </a:cubicBezTo>
                  <a:cubicBezTo>
                    <a:pt x="159" y="9"/>
                    <a:pt x="157" y="8"/>
                    <a:pt x="155" y="7"/>
                  </a:cubicBezTo>
                  <a:cubicBezTo>
                    <a:pt x="154" y="6"/>
                    <a:pt x="154" y="5"/>
                    <a:pt x="153" y="5"/>
                  </a:cubicBezTo>
                  <a:cubicBezTo>
                    <a:pt x="152" y="4"/>
                    <a:pt x="149" y="3"/>
                    <a:pt x="147" y="2"/>
                  </a:cubicBezTo>
                  <a:cubicBezTo>
                    <a:pt x="147" y="1"/>
                    <a:pt x="146" y="1"/>
                    <a:pt x="145" y="1"/>
                  </a:cubicBezTo>
                  <a:cubicBezTo>
                    <a:pt x="145" y="1"/>
                    <a:pt x="144" y="1"/>
                    <a:pt x="143" y="1"/>
                  </a:cubicBezTo>
                  <a:cubicBezTo>
                    <a:pt x="143" y="1"/>
                    <a:pt x="142" y="0"/>
                    <a:pt x="141" y="0"/>
                  </a:cubicBezTo>
                  <a:cubicBezTo>
                    <a:pt x="141" y="0"/>
                    <a:pt x="140" y="0"/>
                    <a:pt x="139" y="0"/>
                  </a:cubicBezTo>
                  <a:cubicBezTo>
                    <a:pt x="137" y="0"/>
                    <a:pt x="134" y="0"/>
                    <a:pt x="133" y="1"/>
                  </a:cubicBezTo>
                  <a:cubicBezTo>
                    <a:pt x="131" y="3"/>
                    <a:pt x="129" y="6"/>
                    <a:pt x="129" y="8"/>
                  </a:cubicBezTo>
                  <a:cubicBezTo>
                    <a:pt x="129" y="11"/>
                    <a:pt x="129" y="14"/>
                    <a:pt x="126" y="14"/>
                  </a:cubicBezTo>
                  <a:cubicBezTo>
                    <a:pt x="124" y="14"/>
                    <a:pt x="124" y="13"/>
                    <a:pt x="123" y="12"/>
                  </a:cubicBezTo>
                  <a:cubicBezTo>
                    <a:pt x="122" y="11"/>
                    <a:pt x="123" y="9"/>
                    <a:pt x="121" y="8"/>
                  </a:cubicBezTo>
                  <a:cubicBezTo>
                    <a:pt x="120" y="8"/>
                    <a:pt x="119" y="10"/>
                    <a:pt x="118" y="11"/>
                  </a:cubicBezTo>
                  <a:cubicBezTo>
                    <a:pt x="118" y="12"/>
                    <a:pt x="118" y="12"/>
                    <a:pt x="118" y="13"/>
                  </a:cubicBezTo>
                  <a:cubicBezTo>
                    <a:pt x="118" y="15"/>
                    <a:pt x="117" y="15"/>
                    <a:pt x="116" y="15"/>
                  </a:cubicBezTo>
                  <a:cubicBezTo>
                    <a:pt x="114" y="16"/>
                    <a:pt x="113" y="18"/>
                    <a:pt x="110" y="18"/>
                  </a:cubicBezTo>
                  <a:cubicBezTo>
                    <a:pt x="110" y="18"/>
                    <a:pt x="109" y="17"/>
                    <a:pt x="108" y="17"/>
                  </a:cubicBezTo>
                  <a:cubicBezTo>
                    <a:pt x="107" y="17"/>
                    <a:pt x="105" y="17"/>
                    <a:pt x="104" y="18"/>
                  </a:cubicBezTo>
                  <a:cubicBezTo>
                    <a:pt x="102" y="19"/>
                    <a:pt x="100" y="19"/>
                    <a:pt x="97" y="18"/>
                  </a:cubicBezTo>
                  <a:cubicBezTo>
                    <a:pt x="96" y="18"/>
                    <a:pt x="95" y="18"/>
                    <a:pt x="94" y="17"/>
                  </a:cubicBezTo>
                  <a:cubicBezTo>
                    <a:pt x="94" y="17"/>
                    <a:pt x="94" y="17"/>
                    <a:pt x="93" y="17"/>
                  </a:cubicBezTo>
                  <a:cubicBezTo>
                    <a:pt x="93" y="16"/>
                    <a:pt x="93" y="16"/>
                    <a:pt x="92" y="15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2" y="17"/>
                    <a:pt x="93" y="19"/>
                    <a:pt x="90" y="21"/>
                  </a:cubicBezTo>
                  <a:cubicBezTo>
                    <a:pt x="87" y="23"/>
                    <a:pt x="83" y="25"/>
                    <a:pt x="80" y="26"/>
                  </a:cubicBezTo>
                  <a:cubicBezTo>
                    <a:pt x="78" y="27"/>
                    <a:pt x="77" y="27"/>
                    <a:pt x="75" y="27"/>
                  </a:cubicBezTo>
                  <a:cubicBezTo>
                    <a:pt x="69" y="27"/>
                    <a:pt x="64" y="30"/>
                    <a:pt x="58" y="29"/>
                  </a:cubicBezTo>
                  <a:cubicBezTo>
                    <a:pt x="56" y="28"/>
                    <a:pt x="54" y="27"/>
                    <a:pt x="51" y="27"/>
                  </a:cubicBezTo>
                  <a:cubicBezTo>
                    <a:pt x="40" y="28"/>
                    <a:pt x="58" y="37"/>
                    <a:pt x="52" y="42"/>
                  </a:cubicBezTo>
                  <a:cubicBezTo>
                    <a:pt x="50" y="44"/>
                    <a:pt x="49" y="43"/>
                    <a:pt x="47" y="44"/>
                  </a:cubicBezTo>
                  <a:cubicBezTo>
                    <a:pt x="47" y="45"/>
                    <a:pt x="46" y="47"/>
                    <a:pt x="46" y="47"/>
                  </a:cubicBezTo>
                  <a:cubicBezTo>
                    <a:pt x="44" y="51"/>
                    <a:pt x="42" y="53"/>
                    <a:pt x="39" y="56"/>
                  </a:cubicBezTo>
                  <a:cubicBezTo>
                    <a:pt x="34" y="62"/>
                    <a:pt x="30" y="69"/>
                    <a:pt x="23" y="74"/>
                  </a:cubicBezTo>
                  <a:cubicBezTo>
                    <a:pt x="22" y="75"/>
                    <a:pt x="20" y="76"/>
                    <a:pt x="19" y="78"/>
                  </a:cubicBezTo>
                  <a:cubicBezTo>
                    <a:pt x="17" y="80"/>
                    <a:pt x="17" y="82"/>
                    <a:pt x="15" y="83"/>
                  </a:cubicBezTo>
                  <a:cubicBezTo>
                    <a:pt x="13" y="86"/>
                    <a:pt x="11" y="88"/>
                    <a:pt x="8" y="90"/>
                  </a:cubicBezTo>
                  <a:cubicBezTo>
                    <a:pt x="6" y="93"/>
                    <a:pt x="6" y="95"/>
                    <a:pt x="6" y="98"/>
                  </a:cubicBezTo>
                  <a:cubicBezTo>
                    <a:pt x="6" y="100"/>
                    <a:pt x="7" y="104"/>
                    <a:pt x="6" y="105"/>
                  </a:cubicBezTo>
                  <a:cubicBezTo>
                    <a:pt x="5" y="107"/>
                    <a:pt x="3" y="106"/>
                    <a:pt x="2" y="108"/>
                  </a:cubicBezTo>
                  <a:cubicBezTo>
                    <a:pt x="0" y="111"/>
                    <a:pt x="3" y="117"/>
                    <a:pt x="5" y="118"/>
                  </a:cubicBezTo>
                  <a:cubicBezTo>
                    <a:pt x="8" y="119"/>
                    <a:pt x="11" y="118"/>
                    <a:pt x="13" y="117"/>
                  </a:cubicBezTo>
                  <a:cubicBezTo>
                    <a:pt x="18" y="115"/>
                    <a:pt x="22" y="112"/>
                    <a:pt x="27" y="112"/>
                  </a:cubicBezTo>
                  <a:cubicBezTo>
                    <a:pt x="31" y="112"/>
                    <a:pt x="35" y="115"/>
                    <a:pt x="38" y="117"/>
                  </a:cubicBezTo>
                  <a:cubicBezTo>
                    <a:pt x="38" y="117"/>
                    <a:pt x="40" y="118"/>
                    <a:pt x="41" y="118"/>
                  </a:cubicBezTo>
                  <a:cubicBezTo>
                    <a:pt x="42" y="118"/>
                    <a:pt x="43" y="119"/>
                    <a:pt x="44" y="119"/>
                  </a:cubicBezTo>
                  <a:cubicBezTo>
                    <a:pt x="45" y="121"/>
                    <a:pt x="44" y="123"/>
                    <a:pt x="45" y="125"/>
                  </a:cubicBezTo>
                  <a:cubicBezTo>
                    <a:pt x="45" y="125"/>
                    <a:pt x="46" y="126"/>
                    <a:pt x="46" y="126"/>
                  </a:cubicBezTo>
                  <a:cubicBezTo>
                    <a:pt x="46" y="127"/>
                    <a:pt x="46" y="129"/>
                    <a:pt x="46" y="130"/>
                  </a:cubicBezTo>
                  <a:cubicBezTo>
                    <a:pt x="46" y="132"/>
                    <a:pt x="46" y="134"/>
                    <a:pt x="47" y="136"/>
                  </a:cubicBezTo>
                  <a:cubicBezTo>
                    <a:pt x="47" y="137"/>
                    <a:pt x="48" y="138"/>
                    <a:pt x="49" y="139"/>
                  </a:cubicBezTo>
                  <a:cubicBezTo>
                    <a:pt x="49" y="140"/>
                    <a:pt x="50" y="141"/>
                    <a:pt x="50" y="141"/>
                  </a:cubicBezTo>
                  <a:cubicBezTo>
                    <a:pt x="51" y="143"/>
                    <a:pt x="51" y="143"/>
                    <a:pt x="52" y="144"/>
                  </a:cubicBezTo>
                  <a:cubicBezTo>
                    <a:pt x="52" y="145"/>
                    <a:pt x="53" y="145"/>
                    <a:pt x="53" y="147"/>
                  </a:cubicBezTo>
                  <a:cubicBezTo>
                    <a:pt x="53" y="147"/>
                    <a:pt x="53" y="149"/>
                    <a:pt x="53" y="150"/>
                  </a:cubicBezTo>
                  <a:cubicBezTo>
                    <a:pt x="53" y="151"/>
                    <a:pt x="51" y="152"/>
                    <a:pt x="51" y="153"/>
                  </a:cubicBezTo>
                  <a:cubicBezTo>
                    <a:pt x="53" y="154"/>
                    <a:pt x="55" y="153"/>
                    <a:pt x="57" y="153"/>
                  </a:cubicBezTo>
                  <a:cubicBezTo>
                    <a:pt x="58" y="153"/>
                    <a:pt x="59" y="154"/>
                    <a:pt x="60" y="154"/>
                  </a:cubicBezTo>
                  <a:cubicBezTo>
                    <a:pt x="61" y="154"/>
                    <a:pt x="62" y="154"/>
                    <a:pt x="63" y="153"/>
                  </a:cubicBezTo>
                  <a:cubicBezTo>
                    <a:pt x="63" y="153"/>
                    <a:pt x="65" y="153"/>
                    <a:pt x="66" y="153"/>
                  </a:cubicBezTo>
                  <a:cubicBezTo>
                    <a:pt x="67" y="152"/>
                    <a:pt x="67" y="151"/>
                    <a:pt x="68" y="151"/>
                  </a:cubicBezTo>
                  <a:cubicBezTo>
                    <a:pt x="71" y="150"/>
                    <a:pt x="74" y="150"/>
                    <a:pt x="77" y="149"/>
                  </a:cubicBezTo>
                  <a:cubicBezTo>
                    <a:pt x="79" y="149"/>
                    <a:pt x="80" y="148"/>
                    <a:pt x="81" y="147"/>
                  </a:cubicBezTo>
                  <a:cubicBezTo>
                    <a:pt x="82" y="145"/>
                    <a:pt x="82" y="144"/>
                    <a:pt x="84" y="143"/>
                  </a:cubicBezTo>
                  <a:cubicBezTo>
                    <a:pt x="85" y="143"/>
                    <a:pt x="86" y="144"/>
                    <a:pt x="88" y="145"/>
                  </a:cubicBezTo>
                  <a:cubicBezTo>
                    <a:pt x="91" y="146"/>
                    <a:pt x="95" y="149"/>
                    <a:pt x="99" y="147"/>
                  </a:cubicBezTo>
                  <a:cubicBezTo>
                    <a:pt x="100" y="146"/>
                    <a:pt x="100" y="145"/>
                    <a:pt x="102" y="144"/>
                  </a:cubicBezTo>
                  <a:cubicBezTo>
                    <a:pt x="103" y="143"/>
                    <a:pt x="105" y="142"/>
                    <a:pt x="105" y="140"/>
                  </a:cubicBezTo>
                  <a:cubicBezTo>
                    <a:pt x="106" y="139"/>
                    <a:pt x="106" y="136"/>
                    <a:pt x="108" y="135"/>
                  </a:cubicBezTo>
                  <a:cubicBezTo>
                    <a:pt x="109" y="135"/>
                    <a:pt x="110" y="135"/>
                    <a:pt x="110" y="135"/>
                  </a:cubicBezTo>
                  <a:cubicBezTo>
                    <a:pt x="110" y="135"/>
                    <a:pt x="111" y="134"/>
                    <a:pt x="111" y="134"/>
                  </a:cubicBezTo>
                  <a:cubicBezTo>
                    <a:pt x="113" y="133"/>
                    <a:pt x="113" y="133"/>
                    <a:pt x="113" y="132"/>
                  </a:cubicBezTo>
                  <a:cubicBezTo>
                    <a:pt x="113" y="131"/>
                    <a:pt x="113" y="130"/>
                    <a:pt x="113" y="129"/>
                  </a:cubicBezTo>
                  <a:cubicBezTo>
                    <a:pt x="112" y="127"/>
                    <a:pt x="111" y="128"/>
                    <a:pt x="110" y="127"/>
                  </a:cubicBezTo>
                  <a:cubicBezTo>
                    <a:pt x="109" y="125"/>
                    <a:pt x="109" y="123"/>
                    <a:pt x="111" y="122"/>
                  </a:cubicBezTo>
                  <a:cubicBezTo>
                    <a:pt x="113" y="120"/>
                    <a:pt x="115" y="120"/>
                    <a:pt x="117" y="119"/>
                  </a:cubicBezTo>
                  <a:cubicBezTo>
                    <a:pt x="118" y="118"/>
                    <a:pt x="119" y="116"/>
                    <a:pt x="119" y="114"/>
                  </a:cubicBezTo>
                  <a:cubicBezTo>
                    <a:pt x="120" y="112"/>
                    <a:pt x="120" y="109"/>
                    <a:pt x="123" y="110"/>
                  </a:cubicBezTo>
                  <a:cubicBezTo>
                    <a:pt x="125" y="111"/>
                    <a:pt x="127" y="113"/>
                    <a:pt x="127" y="115"/>
                  </a:cubicBezTo>
                  <a:cubicBezTo>
                    <a:pt x="127" y="116"/>
                    <a:pt x="127" y="117"/>
                    <a:pt x="127" y="118"/>
                  </a:cubicBezTo>
                  <a:cubicBezTo>
                    <a:pt x="127" y="118"/>
                    <a:pt x="127" y="120"/>
                    <a:pt x="127" y="120"/>
                  </a:cubicBezTo>
                  <a:cubicBezTo>
                    <a:pt x="127" y="121"/>
                    <a:pt x="128" y="121"/>
                    <a:pt x="128" y="122"/>
                  </a:cubicBezTo>
                  <a:cubicBezTo>
                    <a:pt x="129" y="123"/>
                    <a:pt x="130" y="124"/>
                    <a:pt x="131" y="125"/>
                  </a:cubicBezTo>
                  <a:cubicBezTo>
                    <a:pt x="132" y="126"/>
                    <a:pt x="133" y="128"/>
                    <a:pt x="134" y="130"/>
                  </a:cubicBezTo>
                  <a:cubicBezTo>
                    <a:pt x="135" y="132"/>
                    <a:pt x="136" y="133"/>
                    <a:pt x="138" y="133"/>
                  </a:cubicBezTo>
                  <a:cubicBezTo>
                    <a:pt x="139" y="134"/>
                    <a:pt x="140" y="134"/>
                    <a:pt x="141" y="134"/>
                  </a:cubicBezTo>
                  <a:cubicBezTo>
                    <a:pt x="142" y="134"/>
                    <a:pt x="142" y="135"/>
                    <a:pt x="142" y="135"/>
                  </a:cubicBezTo>
                  <a:cubicBezTo>
                    <a:pt x="143" y="135"/>
                    <a:pt x="144" y="135"/>
                    <a:pt x="144" y="135"/>
                  </a:cubicBezTo>
                  <a:cubicBezTo>
                    <a:pt x="146" y="135"/>
                    <a:pt x="147" y="136"/>
                    <a:pt x="148" y="137"/>
                  </a:cubicBezTo>
                  <a:cubicBezTo>
                    <a:pt x="149" y="137"/>
                    <a:pt x="149" y="137"/>
                    <a:pt x="150" y="138"/>
                  </a:cubicBezTo>
                  <a:cubicBezTo>
                    <a:pt x="150" y="139"/>
                    <a:pt x="148" y="140"/>
                    <a:pt x="148" y="141"/>
                  </a:cubicBezTo>
                  <a:cubicBezTo>
                    <a:pt x="148" y="141"/>
                    <a:pt x="148" y="142"/>
                    <a:pt x="148" y="142"/>
                  </a:cubicBezTo>
                  <a:cubicBezTo>
                    <a:pt x="148" y="142"/>
                    <a:pt x="147" y="143"/>
                    <a:pt x="147" y="143"/>
                  </a:cubicBezTo>
                  <a:cubicBezTo>
                    <a:pt x="147" y="143"/>
                    <a:pt x="147" y="144"/>
                    <a:pt x="147" y="145"/>
                  </a:cubicBezTo>
                  <a:cubicBezTo>
                    <a:pt x="149" y="145"/>
                    <a:pt x="151" y="145"/>
                    <a:pt x="152" y="147"/>
                  </a:cubicBezTo>
                  <a:cubicBezTo>
                    <a:pt x="153" y="149"/>
                    <a:pt x="153" y="152"/>
                    <a:pt x="153" y="154"/>
                  </a:cubicBezTo>
                  <a:cubicBezTo>
                    <a:pt x="154" y="156"/>
                    <a:pt x="157" y="156"/>
                    <a:pt x="158" y="156"/>
                  </a:cubicBezTo>
                  <a:cubicBezTo>
                    <a:pt x="161" y="157"/>
                    <a:pt x="162" y="156"/>
                    <a:pt x="163" y="153"/>
                  </a:cubicBezTo>
                  <a:cubicBezTo>
                    <a:pt x="163" y="152"/>
                    <a:pt x="164" y="151"/>
                    <a:pt x="162" y="150"/>
                  </a:cubicBezTo>
                  <a:cubicBezTo>
                    <a:pt x="162" y="149"/>
                    <a:pt x="161" y="149"/>
                    <a:pt x="160" y="148"/>
                  </a:cubicBezTo>
                  <a:cubicBezTo>
                    <a:pt x="160" y="148"/>
                    <a:pt x="158" y="148"/>
                    <a:pt x="157" y="147"/>
                  </a:cubicBezTo>
                  <a:cubicBezTo>
                    <a:pt x="157" y="147"/>
                    <a:pt x="157" y="144"/>
                    <a:pt x="157" y="143"/>
                  </a:cubicBezTo>
                  <a:cubicBezTo>
                    <a:pt x="158" y="143"/>
                    <a:pt x="159" y="142"/>
                    <a:pt x="159" y="141"/>
                  </a:cubicBezTo>
                  <a:cubicBezTo>
                    <a:pt x="160" y="140"/>
                    <a:pt x="160" y="140"/>
                    <a:pt x="160" y="139"/>
                  </a:cubicBezTo>
                  <a:cubicBezTo>
                    <a:pt x="161" y="137"/>
                    <a:pt x="163" y="136"/>
                    <a:pt x="163" y="134"/>
                  </a:cubicBezTo>
                  <a:cubicBezTo>
                    <a:pt x="164" y="132"/>
                    <a:pt x="164" y="130"/>
                    <a:pt x="166" y="129"/>
                  </a:cubicBezTo>
                  <a:cubicBezTo>
                    <a:pt x="168" y="128"/>
                    <a:pt x="169" y="127"/>
                    <a:pt x="171" y="126"/>
                  </a:cubicBezTo>
                  <a:cubicBezTo>
                    <a:pt x="171" y="125"/>
                    <a:pt x="171" y="125"/>
                    <a:pt x="172" y="124"/>
                  </a:cubicBezTo>
                  <a:cubicBezTo>
                    <a:pt x="173" y="123"/>
                    <a:pt x="174" y="122"/>
                    <a:pt x="174" y="121"/>
                  </a:cubicBezTo>
                  <a:cubicBezTo>
                    <a:pt x="175" y="120"/>
                    <a:pt x="175" y="118"/>
                    <a:pt x="175" y="117"/>
                  </a:cubicBezTo>
                  <a:cubicBezTo>
                    <a:pt x="174" y="116"/>
                    <a:pt x="174" y="115"/>
                    <a:pt x="173" y="114"/>
                  </a:cubicBezTo>
                  <a:cubicBezTo>
                    <a:pt x="172" y="113"/>
                    <a:pt x="171" y="110"/>
                    <a:pt x="172" y="108"/>
                  </a:cubicBezTo>
                  <a:cubicBezTo>
                    <a:pt x="172" y="108"/>
                    <a:pt x="173" y="107"/>
                    <a:pt x="173" y="106"/>
                  </a:cubicBezTo>
                  <a:cubicBezTo>
                    <a:pt x="174" y="106"/>
                    <a:pt x="175" y="105"/>
                    <a:pt x="175" y="105"/>
                  </a:cubicBezTo>
                  <a:cubicBezTo>
                    <a:pt x="176" y="104"/>
                    <a:pt x="180" y="104"/>
                    <a:pt x="181" y="105"/>
                  </a:cubicBezTo>
                  <a:cubicBezTo>
                    <a:pt x="181" y="105"/>
                    <a:pt x="183" y="107"/>
                    <a:pt x="183" y="107"/>
                  </a:cubicBezTo>
                  <a:cubicBezTo>
                    <a:pt x="184" y="109"/>
                    <a:pt x="184" y="110"/>
                    <a:pt x="185" y="111"/>
                  </a:cubicBezTo>
                  <a:cubicBezTo>
                    <a:pt x="185" y="112"/>
                    <a:pt x="185" y="114"/>
                    <a:pt x="185" y="115"/>
                  </a:cubicBezTo>
                  <a:cubicBezTo>
                    <a:pt x="186" y="117"/>
                    <a:pt x="187" y="117"/>
                    <a:pt x="189" y="117"/>
                  </a:cubicBezTo>
                  <a:cubicBezTo>
                    <a:pt x="190" y="118"/>
                    <a:pt x="192" y="119"/>
                    <a:pt x="194" y="119"/>
                  </a:cubicBezTo>
                  <a:cubicBezTo>
                    <a:pt x="195" y="118"/>
                    <a:pt x="195" y="118"/>
                    <a:pt x="196" y="118"/>
                  </a:cubicBezTo>
                  <a:cubicBezTo>
                    <a:pt x="197" y="118"/>
                    <a:pt x="198" y="118"/>
                    <a:pt x="198" y="118"/>
                  </a:cubicBezTo>
                  <a:cubicBezTo>
                    <a:pt x="199" y="117"/>
                    <a:pt x="199" y="116"/>
                    <a:pt x="200" y="116"/>
                  </a:cubicBezTo>
                  <a:cubicBezTo>
                    <a:pt x="201" y="115"/>
                    <a:pt x="202" y="115"/>
                    <a:pt x="203" y="115"/>
                  </a:cubicBezTo>
                  <a:cubicBezTo>
                    <a:pt x="205" y="115"/>
                    <a:pt x="207" y="115"/>
                    <a:pt x="209" y="115"/>
                  </a:cubicBezTo>
                  <a:cubicBezTo>
                    <a:pt x="210" y="115"/>
                    <a:pt x="212" y="114"/>
                    <a:pt x="213" y="115"/>
                  </a:cubicBezTo>
                  <a:cubicBezTo>
                    <a:pt x="214" y="115"/>
                    <a:pt x="214" y="118"/>
                    <a:pt x="214" y="118"/>
                  </a:cubicBezTo>
                  <a:cubicBezTo>
                    <a:pt x="215" y="119"/>
                    <a:pt x="215" y="120"/>
                    <a:pt x="216" y="121"/>
                  </a:cubicBezTo>
                  <a:cubicBezTo>
                    <a:pt x="218" y="122"/>
                    <a:pt x="220" y="123"/>
                    <a:pt x="223" y="123"/>
                  </a:cubicBezTo>
                  <a:cubicBezTo>
                    <a:pt x="223" y="121"/>
                    <a:pt x="222" y="120"/>
                    <a:pt x="221" y="118"/>
                  </a:cubicBezTo>
                  <a:cubicBezTo>
                    <a:pt x="221" y="117"/>
                    <a:pt x="220" y="117"/>
                    <a:pt x="220" y="116"/>
                  </a:cubicBezTo>
                  <a:cubicBezTo>
                    <a:pt x="221" y="115"/>
                    <a:pt x="221" y="115"/>
                    <a:pt x="222" y="114"/>
                  </a:cubicBezTo>
                  <a:cubicBezTo>
                    <a:pt x="222" y="113"/>
                    <a:pt x="224" y="110"/>
                    <a:pt x="222" y="109"/>
                  </a:cubicBezTo>
                  <a:cubicBezTo>
                    <a:pt x="221" y="108"/>
                    <a:pt x="219" y="109"/>
                    <a:pt x="217" y="109"/>
                  </a:cubicBezTo>
                  <a:cubicBezTo>
                    <a:pt x="217" y="107"/>
                    <a:pt x="217" y="105"/>
                    <a:pt x="217" y="104"/>
                  </a:cubicBezTo>
                  <a:cubicBezTo>
                    <a:pt x="217" y="102"/>
                    <a:pt x="217" y="101"/>
                    <a:pt x="218" y="99"/>
                  </a:cubicBezTo>
                  <a:cubicBezTo>
                    <a:pt x="218" y="98"/>
                    <a:pt x="219" y="97"/>
                    <a:pt x="220" y="97"/>
                  </a:cubicBezTo>
                  <a:cubicBezTo>
                    <a:pt x="222" y="96"/>
                    <a:pt x="223" y="96"/>
                    <a:pt x="224" y="95"/>
                  </a:cubicBezTo>
                  <a:cubicBezTo>
                    <a:pt x="225" y="95"/>
                    <a:pt x="225" y="94"/>
                    <a:pt x="226" y="94"/>
                  </a:cubicBezTo>
                  <a:cubicBezTo>
                    <a:pt x="229" y="94"/>
                    <a:pt x="229" y="97"/>
                    <a:pt x="231" y="98"/>
                  </a:cubicBezTo>
                  <a:cubicBezTo>
                    <a:pt x="232" y="99"/>
                    <a:pt x="234" y="99"/>
                    <a:pt x="236" y="98"/>
                  </a:cubicBezTo>
                  <a:cubicBezTo>
                    <a:pt x="237" y="98"/>
                    <a:pt x="239" y="97"/>
                    <a:pt x="240" y="97"/>
                  </a:cubicBezTo>
                  <a:cubicBezTo>
                    <a:pt x="240" y="96"/>
                    <a:pt x="241" y="93"/>
                    <a:pt x="241" y="93"/>
                  </a:cubicBezTo>
                  <a:cubicBezTo>
                    <a:pt x="240" y="92"/>
                    <a:pt x="239" y="92"/>
                    <a:pt x="239" y="92"/>
                  </a:cubicBezTo>
                  <a:cubicBezTo>
                    <a:pt x="238" y="92"/>
                    <a:pt x="238" y="91"/>
                    <a:pt x="238" y="91"/>
                  </a:cubicBezTo>
                  <a:cubicBezTo>
                    <a:pt x="237" y="90"/>
                    <a:pt x="236" y="90"/>
                    <a:pt x="236" y="89"/>
                  </a:cubicBezTo>
                  <a:cubicBezTo>
                    <a:pt x="235" y="85"/>
                    <a:pt x="237" y="84"/>
                    <a:pt x="239" y="82"/>
                  </a:cubicBezTo>
                  <a:cubicBezTo>
                    <a:pt x="240" y="80"/>
                    <a:pt x="240" y="78"/>
                    <a:pt x="241" y="77"/>
                  </a:cubicBezTo>
                  <a:cubicBezTo>
                    <a:pt x="242" y="74"/>
                    <a:pt x="241" y="73"/>
                    <a:pt x="240" y="7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2" name="Line 12"/>
            <p:cNvSpPr>
              <a:spLocks noChangeShapeType="1"/>
            </p:cNvSpPr>
            <p:nvPr/>
          </p:nvSpPr>
          <p:spPr bwMode="auto">
            <a:xfrm>
              <a:off x="4122738" y="4822825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3" name="Line 13"/>
            <p:cNvSpPr>
              <a:spLocks noChangeShapeType="1"/>
            </p:cNvSpPr>
            <p:nvPr/>
          </p:nvSpPr>
          <p:spPr bwMode="auto">
            <a:xfrm>
              <a:off x="4122738" y="4822825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4" name="Freeform 14"/>
            <p:cNvSpPr>
              <a:spLocks/>
            </p:cNvSpPr>
            <p:nvPr/>
          </p:nvSpPr>
          <p:spPr bwMode="auto">
            <a:xfrm>
              <a:off x="4403725" y="4695825"/>
              <a:ext cx="779463" cy="398463"/>
            </a:xfrm>
            <a:custGeom>
              <a:avLst/>
              <a:gdLst/>
              <a:ahLst/>
              <a:cxnLst>
                <a:cxn ang="0">
                  <a:pos x="412" y="70"/>
                </a:cxn>
                <a:cxn ang="0">
                  <a:pos x="405" y="46"/>
                </a:cxn>
                <a:cxn ang="0">
                  <a:pos x="411" y="26"/>
                </a:cxn>
                <a:cxn ang="0">
                  <a:pos x="395" y="20"/>
                </a:cxn>
                <a:cxn ang="0">
                  <a:pos x="370" y="21"/>
                </a:cxn>
                <a:cxn ang="0">
                  <a:pos x="347" y="12"/>
                </a:cxn>
                <a:cxn ang="0">
                  <a:pos x="321" y="1"/>
                </a:cxn>
                <a:cxn ang="0">
                  <a:pos x="305" y="8"/>
                </a:cxn>
                <a:cxn ang="0">
                  <a:pos x="294" y="24"/>
                </a:cxn>
                <a:cxn ang="0">
                  <a:pos x="282" y="33"/>
                </a:cxn>
                <a:cxn ang="0">
                  <a:pos x="266" y="35"/>
                </a:cxn>
                <a:cxn ang="0">
                  <a:pos x="254" y="26"/>
                </a:cxn>
                <a:cxn ang="0">
                  <a:pos x="245" y="21"/>
                </a:cxn>
                <a:cxn ang="0">
                  <a:pos x="241" y="37"/>
                </a:cxn>
                <a:cxn ang="0">
                  <a:pos x="224" y="43"/>
                </a:cxn>
                <a:cxn ang="0">
                  <a:pos x="222" y="53"/>
                </a:cxn>
                <a:cxn ang="0">
                  <a:pos x="191" y="65"/>
                </a:cxn>
                <a:cxn ang="0">
                  <a:pos x="187" y="83"/>
                </a:cxn>
                <a:cxn ang="0">
                  <a:pos x="196" y="93"/>
                </a:cxn>
                <a:cxn ang="0">
                  <a:pos x="193" y="108"/>
                </a:cxn>
                <a:cxn ang="0">
                  <a:pos x="192" y="124"/>
                </a:cxn>
                <a:cxn ang="0">
                  <a:pos x="179" y="112"/>
                </a:cxn>
                <a:cxn ang="0">
                  <a:pos x="151" y="111"/>
                </a:cxn>
                <a:cxn ang="0">
                  <a:pos x="129" y="118"/>
                </a:cxn>
                <a:cxn ang="0">
                  <a:pos x="108" y="132"/>
                </a:cxn>
                <a:cxn ang="0">
                  <a:pos x="79" y="128"/>
                </a:cxn>
                <a:cxn ang="0">
                  <a:pos x="56" y="138"/>
                </a:cxn>
                <a:cxn ang="0">
                  <a:pos x="38" y="130"/>
                </a:cxn>
                <a:cxn ang="0">
                  <a:pos x="14" y="124"/>
                </a:cxn>
                <a:cxn ang="0">
                  <a:pos x="12" y="141"/>
                </a:cxn>
                <a:cxn ang="0">
                  <a:pos x="5" y="154"/>
                </a:cxn>
                <a:cxn ang="0">
                  <a:pos x="16" y="164"/>
                </a:cxn>
                <a:cxn ang="0">
                  <a:pos x="30" y="173"/>
                </a:cxn>
                <a:cxn ang="0">
                  <a:pos x="51" y="166"/>
                </a:cxn>
                <a:cxn ang="0">
                  <a:pos x="70" y="178"/>
                </a:cxn>
                <a:cxn ang="0">
                  <a:pos x="82" y="185"/>
                </a:cxn>
                <a:cxn ang="0">
                  <a:pos x="95" y="168"/>
                </a:cxn>
                <a:cxn ang="0">
                  <a:pos x="127" y="167"/>
                </a:cxn>
                <a:cxn ang="0">
                  <a:pos x="147" y="165"/>
                </a:cxn>
                <a:cxn ang="0">
                  <a:pos x="160" y="186"/>
                </a:cxn>
                <a:cxn ang="0">
                  <a:pos x="197" y="198"/>
                </a:cxn>
                <a:cxn ang="0">
                  <a:pos x="236" y="203"/>
                </a:cxn>
                <a:cxn ang="0">
                  <a:pos x="254" y="208"/>
                </a:cxn>
                <a:cxn ang="0">
                  <a:pos x="276" y="213"/>
                </a:cxn>
                <a:cxn ang="0">
                  <a:pos x="289" y="200"/>
                </a:cxn>
                <a:cxn ang="0">
                  <a:pos x="312" y="193"/>
                </a:cxn>
                <a:cxn ang="0">
                  <a:pos x="330" y="187"/>
                </a:cxn>
                <a:cxn ang="0">
                  <a:pos x="352" y="187"/>
                </a:cxn>
                <a:cxn ang="0">
                  <a:pos x="368" y="166"/>
                </a:cxn>
                <a:cxn ang="0">
                  <a:pos x="380" y="154"/>
                </a:cxn>
                <a:cxn ang="0">
                  <a:pos x="381" y="141"/>
                </a:cxn>
                <a:cxn ang="0">
                  <a:pos x="388" y="124"/>
                </a:cxn>
                <a:cxn ang="0">
                  <a:pos x="383" y="112"/>
                </a:cxn>
                <a:cxn ang="0">
                  <a:pos x="395" y="108"/>
                </a:cxn>
                <a:cxn ang="0">
                  <a:pos x="410" y="96"/>
                </a:cxn>
              </a:cxnLst>
              <a:rect l="0" t="0" r="r" b="b"/>
              <a:pathLst>
                <a:path w="417" h="213">
                  <a:moveTo>
                    <a:pt x="416" y="79"/>
                  </a:moveTo>
                  <a:cubicBezTo>
                    <a:pt x="415" y="77"/>
                    <a:pt x="415" y="76"/>
                    <a:pt x="415" y="75"/>
                  </a:cubicBezTo>
                  <a:cubicBezTo>
                    <a:pt x="415" y="75"/>
                    <a:pt x="414" y="75"/>
                    <a:pt x="414" y="74"/>
                  </a:cubicBezTo>
                  <a:cubicBezTo>
                    <a:pt x="414" y="74"/>
                    <a:pt x="414" y="74"/>
                    <a:pt x="414" y="73"/>
                  </a:cubicBezTo>
                  <a:cubicBezTo>
                    <a:pt x="414" y="73"/>
                    <a:pt x="414" y="72"/>
                    <a:pt x="413" y="71"/>
                  </a:cubicBezTo>
                  <a:cubicBezTo>
                    <a:pt x="413" y="71"/>
                    <a:pt x="412" y="71"/>
                    <a:pt x="412" y="70"/>
                  </a:cubicBezTo>
                  <a:cubicBezTo>
                    <a:pt x="411" y="69"/>
                    <a:pt x="410" y="67"/>
                    <a:pt x="410" y="66"/>
                  </a:cubicBezTo>
                  <a:cubicBezTo>
                    <a:pt x="409" y="63"/>
                    <a:pt x="410" y="60"/>
                    <a:pt x="409" y="57"/>
                  </a:cubicBezTo>
                  <a:cubicBezTo>
                    <a:pt x="409" y="56"/>
                    <a:pt x="409" y="55"/>
                    <a:pt x="408" y="54"/>
                  </a:cubicBezTo>
                  <a:cubicBezTo>
                    <a:pt x="408" y="54"/>
                    <a:pt x="407" y="53"/>
                    <a:pt x="406" y="53"/>
                  </a:cubicBezTo>
                  <a:cubicBezTo>
                    <a:pt x="406" y="52"/>
                    <a:pt x="405" y="50"/>
                    <a:pt x="405" y="49"/>
                  </a:cubicBezTo>
                  <a:cubicBezTo>
                    <a:pt x="404" y="48"/>
                    <a:pt x="405" y="47"/>
                    <a:pt x="405" y="46"/>
                  </a:cubicBezTo>
                  <a:cubicBezTo>
                    <a:pt x="406" y="44"/>
                    <a:pt x="407" y="42"/>
                    <a:pt x="408" y="41"/>
                  </a:cubicBezTo>
                  <a:cubicBezTo>
                    <a:pt x="409" y="40"/>
                    <a:pt x="410" y="39"/>
                    <a:pt x="410" y="38"/>
                  </a:cubicBezTo>
                  <a:cubicBezTo>
                    <a:pt x="411" y="37"/>
                    <a:pt x="412" y="35"/>
                    <a:pt x="412" y="33"/>
                  </a:cubicBezTo>
                  <a:cubicBezTo>
                    <a:pt x="412" y="32"/>
                    <a:pt x="412" y="30"/>
                    <a:pt x="412" y="29"/>
                  </a:cubicBezTo>
                  <a:cubicBezTo>
                    <a:pt x="412" y="28"/>
                    <a:pt x="411" y="27"/>
                    <a:pt x="411" y="26"/>
                  </a:cubicBezTo>
                  <a:cubicBezTo>
                    <a:pt x="411" y="26"/>
                    <a:pt x="411" y="26"/>
                    <a:pt x="411" y="26"/>
                  </a:cubicBezTo>
                  <a:cubicBezTo>
                    <a:pt x="411" y="26"/>
                    <a:pt x="411" y="26"/>
                    <a:pt x="410" y="26"/>
                  </a:cubicBezTo>
                  <a:cubicBezTo>
                    <a:pt x="410" y="26"/>
                    <a:pt x="410" y="25"/>
                    <a:pt x="409" y="25"/>
                  </a:cubicBezTo>
                  <a:cubicBezTo>
                    <a:pt x="409" y="25"/>
                    <a:pt x="409" y="24"/>
                    <a:pt x="408" y="24"/>
                  </a:cubicBezTo>
                  <a:cubicBezTo>
                    <a:pt x="407" y="23"/>
                    <a:pt x="405" y="23"/>
                    <a:pt x="404" y="23"/>
                  </a:cubicBezTo>
                  <a:cubicBezTo>
                    <a:pt x="402" y="23"/>
                    <a:pt x="396" y="25"/>
                    <a:pt x="395" y="22"/>
                  </a:cubicBezTo>
                  <a:cubicBezTo>
                    <a:pt x="395" y="22"/>
                    <a:pt x="395" y="21"/>
                    <a:pt x="395" y="20"/>
                  </a:cubicBezTo>
                  <a:cubicBezTo>
                    <a:pt x="394" y="19"/>
                    <a:pt x="394" y="19"/>
                    <a:pt x="393" y="18"/>
                  </a:cubicBezTo>
                  <a:cubicBezTo>
                    <a:pt x="392" y="17"/>
                    <a:pt x="390" y="18"/>
                    <a:pt x="389" y="16"/>
                  </a:cubicBezTo>
                  <a:cubicBezTo>
                    <a:pt x="388" y="15"/>
                    <a:pt x="387" y="14"/>
                    <a:pt x="385" y="15"/>
                  </a:cubicBezTo>
                  <a:cubicBezTo>
                    <a:pt x="383" y="15"/>
                    <a:pt x="384" y="17"/>
                    <a:pt x="383" y="19"/>
                  </a:cubicBezTo>
                  <a:cubicBezTo>
                    <a:pt x="382" y="20"/>
                    <a:pt x="380" y="21"/>
                    <a:pt x="379" y="21"/>
                  </a:cubicBezTo>
                  <a:cubicBezTo>
                    <a:pt x="376" y="22"/>
                    <a:pt x="373" y="21"/>
                    <a:pt x="370" y="21"/>
                  </a:cubicBezTo>
                  <a:cubicBezTo>
                    <a:pt x="368" y="21"/>
                    <a:pt x="367" y="21"/>
                    <a:pt x="365" y="20"/>
                  </a:cubicBezTo>
                  <a:cubicBezTo>
                    <a:pt x="362" y="19"/>
                    <a:pt x="359" y="18"/>
                    <a:pt x="357" y="17"/>
                  </a:cubicBezTo>
                  <a:cubicBezTo>
                    <a:pt x="355" y="16"/>
                    <a:pt x="356" y="14"/>
                    <a:pt x="355" y="13"/>
                  </a:cubicBezTo>
                  <a:cubicBezTo>
                    <a:pt x="354" y="11"/>
                    <a:pt x="353" y="10"/>
                    <a:pt x="351" y="11"/>
                  </a:cubicBezTo>
                  <a:cubicBezTo>
                    <a:pt x="350" y="11"/>
                    <a:pt x="350" y="11"/>
                    <a:pt x="349" y="12"/>
                  </a:cubicBezTo>
                  <a:cubicBezTo>
                    <a:pt x="348" y="12"/>
                    <a:pt x="347" y="12"/>
                    <a:pt x="347" y="12"/>
                  </a:cubicBezTo>
                  <a:cubicBezTo>
                    <a:pt x="345" y="12"/>
                    <a:pt x="343" y="12"/>
                    <a:pt x="342" y="12"/>
                  </a:cubicBezTo>
                  <a:cubicBezTo>
                    <a:pt x="341" y="11"/>
                    <a:pt x="341" y="10"/>
                    <a:pt x="340" y="9"/>
                  </a:cubicBezTo>
                  <a:cubicBezTo>
                    <a:pt x="338" y="7"/>
                    <a:pt x="334" y="6"/>
                    <a:pt x="332" y="5"/>
                  </a:cubicBezTo>
                  <a:cubicBezTo>
                    <a:pt x="330" y="4"/>
                    <a:pt x="329" y="4"/>
                    <a:pt x="327" y="3"/>
                  </a:cubicBezTo>
                  <a:cubicBezTo>
                    <a:pt x="327" y="3"/>
                    <a:pt x="326" y="2"/>
                    <a:pt x="326" y="2"/>
                  </a:cubicBezTo>
                  <a:cubicBezTo>
                    <a:pt x="326" y="0"/>
                    <a:pt x="322" y="0"/>
                    <a:pt x="321" y="1"/>
                  </a:cubicBezTo>
                  <a:cubicBezTo>
                    <a:pt x="321" y="2"/>
                    <a:pt x="322" y="4"/>
                    <a:pt x="320" y="4"/>
                  </a:cubicBezTo>
                  <a:cubicBezTo>
                    <a:pt x="318" y="5"/>
                    <a:pt x="316" y="5"/>
                    <a:pt x="314" y="3"/>
                  </a:cubicBezTo>
                  <a:cubicBezTo>
                    <a:pt x="313" y="2"/>
                    <a:pt x="314" y="0"/>
                    <a:pt x="312" y="0"/>
                  </a:cubicBezTo>
                  <a:cubicBezTo>
                    <a:pt x="311" y="0"/>
                    <a:pt x="310" y="0"/>
                    <a:pt x="309" y="0"/>
                  </a:cubicBezTo>
                  <a:cubicBezTo>
                    <a:pt x="308" y="0"/>
                    <a:pt x="308" y="0"/>
                    <a:pt x="308" y="1"/>
                  </a:cubicBezTo>
                  <a:cubicBezTo>
                    <a:pt x="307" y="3"/>
                    <a:pt x="305" y="5"/>
                    <a:pt x="305" y="8"/>
                  </a:cubicBezTo>
                  <a:cubicBezTo>
                    <a:pt x="305" y="9"/>
                    <a:pt x="304" y="11"/>
                    <a:pt x="305" y="13"/>
                  </a:cubicBezTo>
                  <a:cubicBezTo>
                    <a:pt x="305" y="15"/>
                    <a:pt x="306" y="16"/>
                    <a:pt x="306" y="17"/>
                  </a:cubicBezTo>
                  <a:cubicBezTo>
                    <a:pt x="305" y="19"/>
                    <a:pt x="303" y="19"/>
                    <a:pt x="302" y="18"/>
                  </a:cubicBezTo>
                  <a:cubicBezTo>
                    <a:pt x="300" y="17"/>
                    <a:pt x="298" y="17"/>
                    <a:pt x="297" y="18"/>
                  </a:cubicBezTo>
                  <a:cubicBezTo>
                    <a:pt x="297" y="18"/>
                    <a:pt x="297" y="20"/>
                    <a:pt x="296" y="20"/>
                  </a:cubicBezTo>
                  <a:cubicBezTo>
                    <a:pt x="296" y="22"/>
                    <a:pt x="294" y="22"/>
                    <a:pt x="294" y="24"/>
                  </a:cubicBezTo>
                  <a:cubicBezTo>
                    <a:pt x="293" y="27"/>
                    <a:pt x="293" y="30"/>
                    <a:pt x="291" y="32"/>
                  </a:cubicBezTo>
                  <a:cubicBezTo>
                    <a:pt x="290" y="33"/>
                    <a:pt x="289" y="34"/>
                    <a:pt x="288" y="34"/>
                  </a:cubicBezTo>
                  <a:cubicBezTo>
                    <a:pt x="287" y="34"/>
                    <a:pt x="286" y="34"/>
                    <a:pt x="286" y="34"/>
                  </a:cubicBezTo>
                  <a:cubicBezTo>
                    <a:pt x="285" y="34"/>
                    <a:pt x="284" y="35"/>
                    <a:pt x="284" y="34"/>
                  </a:cubicBezTo>
                  <a:cubicBezTo>
                    <a:pt x="283" y="34"/>
                    <a:pt x="283" y="34"/>
                    <a:pt x="283" y="34"/>
                  </a:cubicBezTo>
                  <a:cubicBezTo>
                    <a:pt x="283" y="33"/>
                    <a:pt x="282" y="33"/>
                    <a:pt x="282" y="33"/>
                  </a:cubicBezTo>
                  <a:cubicBezTo>
                    <a:pt x="281" y="32"/>
                    <a:pt x="281" y="32"/>
                    <a:pt x="281" y="31"/>
                  </a:cubicBezTo>
                  <a:cubicBezTo>
                    <a:pt x="280" y="30"/>
                    <a:pt x="279" y="29"/>
                    <a:pt x="278" y="29"/>
                  </a:cubicBezTo>
                  <a:cubicBezTo>
                    <a:pt x="275" y="29"/>
                    <a:pt x="275" y="33"/>
                    <a:pt x="274" y="34"/>
                  </a:cubicBezTo>
                  <a:cubicBezTo>
                    <a:pt x="274" y="34"/>
                    <a:pt x="273" y="34"/>
                    <a:pt x="272" y="34"/>
                  </a:cubicBezTo>
                  <a:cubicBezTo>
                    <a:pt x="271" y="34"/>
                    <a:pt x="270" y="35"/>
                    <a:pt x="269" y="35"/>
                  </a:cubicBezTo>
                  <a:cubicBezTo>
                    <a:pt x="268" y="35"/>
                    <a:pt x="267" y="35"/>
                    <a:pt x="266" y="35"/>
                  </a:cubicBezTo>
                  <a:cubicBezTo>
                    <a:pt x="265" y="35"/>
                    <a:pt x="264" y="35"/>
                    <a:pt x="263" y="35"/>
                  </a:cubicBezTo>
                  <a:cubicBezTo>
                    <a:pt x="263" y="35"/>
                    <a:pt x="263" y="35"/>
                    <a:pt x="262" y="35"/>
                  </a:cubicBezTo>
                  <a:cubicBezTo>
                    <a:pt x="261" y="34"/>
                    <a:pt x="260" y="35"/>
                    <a:pt x="259" y="34"/>
                  </a:cubicBezTo>
                  <a:cubicBezTo>
                    <a:pt x="259" y="34"/>
                    <a:pt x="257" y="33"/>
                    <a:pt x="257" y="32"/>
                  </a:cubicBezTo>
                  <a:cubicBezTo>
                    <a:pt x="256" y="31"/>
                    <a:pt x="256" y="30"/>
                    <a:pt x="256" y="29"/>
                  </a:cubicBezTo>
                  <a:cubicBezTo>
                    <a:pt x="256" y="28"/>
                    <a:pt x="256" y="26"/>
                    <a:pt x="254" y="26"/>
                  </a:cubicBezTo>
                  <a:cubicBezTo>
                    <a:pt x="254" y="25"/>
                    <a:pt x="253" y="24"/>
                    <a:pt x="252" y="23"/>
                  </a:cubicBezTo>
                  <a:cubicBezTo>
                    <a:pt x="252" y="23"/>
                    <a:pt x="251" y="22"/>
                    <a:pt x="250" y="21"/>
                  </a:cubicBezTo>
                  <a:cubicBezTo>
                    <a:pt x="249" y="20"/>
                    <a:pt x="247" y="20"/>
                    <a:pt x="246" y="19"/>
                  </a:cubicBezTo>
                  <a:cubicBezTo>
                    <a:pt x="245" y="19"/>
                    <a:pt x="245" y="18"/>
                    <a:pt x="244" y="18"/>
                  </a:cubicBezTo>
                  <a:cubicBezTo>
                    <a:pt x="244" y="19"/>
                    <a:pt x="244" y="19"/>
                    <a:pt x="244" y="19"/>
                  </a:cubicBezTo>
                  <a:cubicBezTo>
                    <a:pt x="244" y="20"/>
                    <a:pt x="245" y="21"/>
                    <a:pt x="245" y="21"/>
                  </a:cubicBezTo>
                  <a:cubicBezTo>
                    <a:pt x="245" y="21"/>
                    <a:pt x="244" y="21"/>
                    <a:pt x="244" y="22"/>
                  </a:cubicBezTo>
                  <a:cubicBezTo>
                    <a:pt x="244" y="22"/>
                    <a:pt x="244" y="23"/>
                    <a:pt x="244" y="24"/>
                  </a:cubicBezTo>
                  <a:cubicBezTo>
                    <a:pt x="244" y="25"/>
                    <a:pt x="243" y="25"/>
                    <a:pt x="243" y="26"/>
                  </a:cubicBezTo>
                  <a:cubicBezTo>
                    <a:pt x="243" y="27"/>
                    <a:pt x="243" y="29"/>
                    <a:pt x="243" y="30"/>
                  </a:cubicBezTo>
                  <a:cubicBezTo>
                    <a:pt x="243" y="32"/>
                    <a:pt x="242" y="33"/>
                    <a:pt x="242" y="34"/>
                  </a:cubicBezTo>
                  <a:cubicBezTo>
                    <a:pt x="242" y="35"/>
                    <a:pt x="242" y="36"/>
                    <a:pt x="241" y="37"/>
                  </a:cubicBezTo>
                  <a:cubicBezTo>
                    <a:pt x="241" y="38"/>
                    <a:pt x="240" y="40"/>
                    <a:pt x="239" y="41"/>
                  </a:cubicBezTo>
                  <a:cubicBezTo>
                    <a:pt x="238" y="42"/>
                    <a:pt x="232" y="41"/>
                    <a:pt x="231" y="40"/>
                  </a:cubicBezTo>
                  <a:cubicBezTo>
                    <a:pt x="230" y="39"/>
                    <a:pt x="230" y="38"/>
                    <a:pt x="229" y="38"/>
                  </a:cubicBezTo>
                  <a:cubicBezTo>
                    <a:pt x="228" y="38"/>
                    <a:pt x="227" y="38"/>
                    <a:pt x="226" y="38"/>
                  </a:cubicBezTo>
                  <a:cubicBezTo>
                    <a:pt x="226" y="38"/>
                    <a:pt x="225" y="40"/>
                    <a:pt x="225" y="41"/>
                  </a:cubicBezTo>
                  <a:cubicBezTo>
                    <a:pt x="224" y="41"/>
                    <a:pt x="224" y="42"/>
                    <a:pt x="224" y="43"/>
                  </a:cubicBezTo>
                  <a:cubicBezTo>
                    <a:pt x="223" y="44"/>
                    <a:pt x="224" y="45"/>
                    <a:pt x="224" y="46"/>
                  </a:cubicBezTo>
                  <a:cubicBezTo>
                    <a:pt x="223" y="46"/>
                    <a:pt x="223" y="47"/>
                    <a:pt x="223" y="48"/>
                  </a:cubicBezTo>
                  <a:cubicBezTo>
                    <a:pt x="223" y="48"/>
                    <a:pt x="223" y="48"/>
                    <a:pt x="223" y="47"/>
                  </a:cubicBezTo>
                  <a:cubicBezTo>
                    <a:pt x="223" y="48"/>
                    <a:pt x="223" y="49"/>
                    <a:pt x="223" y="50"/>
                  </a:cubicBezTo>
                  <a:cubicBezTo>
                    <a:pt x="222" y="50"/>
                    <a:pt x="222" y="51"/>
                    <a:pt x="222" y="52"/>
                  </a:cubicBezTo>
                  <a:cubicBezTo>
                    <a:pt x="222" y="52"/>
                    <a:pt x="222" y="53"/>
                    <a:pt x="222" y="53"/>
                  </a:cubicBezTo>
                  <a:cubicBezTo>
                    <a:pt x="222" y="54"/>
                    <a:pt x="222" y="54"/>
                    <a:pt x="221" y="55"/>
                  </a:cubicBezTo>
                  <a:cubicBezTo>
                    <a:pt x="221" y="56"/>
                    <a:pt x="220" y="56"/>
                    <a:pt x="219" y="57"/>
                  </a:cubicBezTo>
                  <a:cubicBezTo>
                    <a:pt x="216" y="59"/>
                    <a:pt x="212" y="59"/>
                    <a:pt x="208" y="59"/>
                  </a:cubicBezTo>
                  <a:cubicBezTo>
                    <a:pt x="206" y="59"/>
                    <a:pt x="204" y="60"/>
                    <a:pt x="202" y="61"/>
                  </a:cubicBezTo>
                  <a:cubicBezTo>
                    <a:pt x="200" y="62"/>
                    <a:pt x="198" y="63"/>
                    <a:pt x="196" y="63"/>
                  </a:cubicBezTo>
                  <a:cubicBezTo>
                    <a:pt x="194" y="63"/>
                    <a:pt x="192" y="64"/>
                    <a:pt x="191" y="65"/>
                  </a:cubicBezTo>
                  <a:cubicBezTo>
                    <a:pt x="190" y="66"/>
                    <a:pt x="189" y="67"/>
                    <a:pt x="189" y="67"/>
                  </a:cubicBezTo>
                  <a:cubicBezTo>
                    <a:pt x="188" y="68"/>
                    <a:pt x="187" y="68"/>
                    <a:pt x="186" y="68"/>
                  </a:cubicBezTo>
                  <a:cubicBezTo>
                    <a:pt x="185" y="69"/>
                    <a:pt x="186" y="70"/>
                    <a:pt x="186" y="71"/>
                  </a:cubicBezTo>
                  <a:cubicBezTo>
                    <a:pt x="186" y="72"/>
                    <a:pt x="186" y="73"/>
                    <a:pt x="186" y="74"/>
                  </a:cubicBezTo>
                  <a:cubicBezTo>
                    <a:pt x="186" y="74"/>
                    <a:pt x="186" y="74"/>
                    <a:pt x="187" y="75"/>
                  </a:cubicBezTo>
                  <a:cubicBezTo>
                    <a:pt x="187" y="77"/>
                    <a:pt x="187" y="80"/>
                    <a:pt x="187" y="83"/>
                  </a:cubicBezTo>
                  <a:cubicBezTo>
                    <a:pt x="187" y="84"/>
                    <a:pt x="188" y="85"/>
                    <a:pt x="188" y="85"/>
                  </a:cubicBezTo>
                  <a:cubicBezTo>
                    <a:pt x="189" y="86"/>
                    <a:pt x="189" y="86"/>
                    <a:pt x="189" y="86"/>
                  </a:cubicBezTo>
                  <a:cubicBezTo>
                    <a:pt x="190" y="87"/>
                    <a:pt x="190" y="88"/>
                    <a:pt x="190" y="88"/>
                  </a:cubicBezTo>
                  <a:cubicBezTo>
                    <a:pt x="190" y="88"/>
                    <a:pt x="191" y="88"/>
                    <a:pt x="192" y="89"/>
                  </a:cubicBezTo>
                  <a:cubicBezTo>
                    <a:pt x="192" y="89"/>
                    <a:pt x="193" y="90"/>
                    <a:pt x="193" y="90"/>
                  </a:cubicBezTo>
                  <a:cubicBezTo>
                    <a:pt x="194" y="91"/>
                    <a:pt x="195" y="92"/>
                    <a:pt x="196" y="93"/>
                  </a:cubicBezTo>
                  <a:cubicBezTo>
                    <a:pt x="197" y="94"/>
                    <a:pt x="196" y="96"/>
                    <a:pt x="196" y="98"/>
                  </a:cubicBezTo>
                  <a:cubicBezTo>
                    <a:pt x="195" y="99"/>
                    <a:pt x="195" y="100"/>
                    <a:pt x="194" y="100"/>
                  </a:cubicBezTo>
                  <a:cubicBezTo>
                    <a:pt x="193" y="101"/>
                    <a:pt x="192" y="101"/>
                    <a:pt x="192" y="102"/>
                  </a:cubicBezTo>
                  <a:cubicBezTo>
                    <a:pt x="192" y="103"/>
                    <a:pt x="191" y="104"/>
                    <a:pt x="191" y="105"/>
                  </a:cubicBezTo>
                  <a:cubicBezTo>
                    <a:pt x="191" y="105"/>
                    <a:pt x="192" y="105"/>
                    <a:pt x="192" y="106"/>
                  </a:cubicBezTo>
                  <a:cubicBezTo>
                    <a:pt x="192" y="107"/>
                    <a:pt x="192" y="107"/>
                    <a:pt x="193" y="108"/>
                  </a:cubicBezTo>
                  <a:cubicBezTo>
                    <a:pt x="195" y="110"/>
                    <a:pt x="197" y="110"/>
                    <a:pt x="199" y="111"/>
                  </a:cubicBezTo>
                  <a:cubicBezTo>
                    <a:pt x="202" y="112"/>
                    <a:pt x="200" y="115"/>
                    <a:pt x="199" y="116"/>
                  </a:cubicBezTo>
                  <a:cubicBezTo>
                    <a:pt x="199" y="117"/>
                    <a:pt x="199" y="118"/>
                    <a:pt x="199" y="119"/>
                  </a:cubicBezTo>
                  <a:cubicBezTo>
                    <a:pt x="199" y="120"/>
                    <a:pt x="199" y="121"/>
                    <a:pt x="198" y="122"/>
                  </a:cubicBezTo>
                  <a:cubicBezTo>
                    <a:pt x="197" y="123"/>
                    <a:pt x="197" y="123"/>
                    <a:pt x="196" y="124"/>
                  </a:cubicBezTo>
                  <a:cubicBezTo>
                    <a:pt x="195" y="124"/>
                    <a:pt x="193" y="124"/>
                    <a:pt x="192" y="124"/>
                  </a:cubicBezTo>
                  <a:cubicBezTo>
                    <a:pt x="191" y="124"/>
                    <a:pt x="191" y="123"/>
                    <a:pt x="190" y="123"/>
                  </a:cubicBezTo>
                  <a:cubicBezTo>
                    <a:pt x="189" y="123"/>
                    <a:pt x="187" y="124"/>
                    <a:pt x="186" y="122"/>
                  </a:cubicBezTo>
                  <a:cubicBezTo>
                    <a:pt x="186" y="122"/>
                    <a:pt x="186" y="121"/>
                    <a:pt x="186" y="121"/>
                  </a:cubicBezTo>
                  <a:cubicBezTo>
                    <a:pt x="186" y="120"/>
                    <a:pt x="185" y="118"/>
                    <a:pt x="184" y="117"/>
                  </a:cubicBezTo>
                  <a:cubicBezTo>
                    <a:pt x="183" y="116"/>
                    <a:pt x="182" y="114"/>
                    <a:pt x="181" y="113"/>
                  </a:cubicBezTo>
                  <a:cubicBezTo>
                    <a:pt x="180" y="113"/>
                    <a:pt x="181" y="113"/>
                    <a:pt x="179" y="112"/>
                  </a:cubicBezTo>
                  <a:cubicBezTo>
                    <a:pt x="177" y="112"/>
                    <a:pt x="175" y="114"/>
                    <a:pt x="172" y="114"/>
                  </a:cubicBezTo>
                  <a:cubicBezTo>
                    <a:pt x="171" y="114"/>
                    <a:pt x="168" y="115"/>
                    <a:pt x="167" y="114"/>
                  </a:cubicBezTo>
                  <a:cubicBezTo>
                    <a:pt x="166" y="113"/>
                    <a:pt x="166" y="112"/>
                    <a:pt x="165" y="111"/>
                  </a:cubicBezTo>
                  <a:cubicBezTo>
                    <a:pt x="164" y="111"/>
                    <a:pt x="161" y="110"/>
                    <a:pt x="160" y="110"/>
                  </a:cubicBezTo>
                  <a:cubicBezTo>
                    <a:pt x="158" y="110"/>
                    <a:pt x="156" y="110"/>
                    <a:pt x="154" y="110"/>
                  </a:cubicBezTo>
                  <a:cubicBezTo>
                    <a:pt x="153" y="110"/>
                    <a:pt x="151" y="110"/>
                    <a:pt x="151" y="111"/>
                  </a:cubicBezTo>
                  <a:cubicBezTo>
                    <a:pt x="150" y="114"/>
                    <a:pt x="156" y="116"/>
                    <a:pt x="153" y="118"/>
                  </a:cubicBezTo>
                  <a:cubicBezTo>
                    <a:pt x="152" y="118"/>
                    <a:pt x="152" y="118"/>
                    <a:pt x="151" y="118"/>
                  </a:cubicBezTo>
                  <a:cubicBezTo>
                    <a:pt x="150" y="118"/>
                    <a:pt x="149" y="118"/>
                    <a:pt x="149" y="119"/>
                  </a:cubicBezTo>
                  <a:cubicBezTo>
                    <a:pt x="148" y="119"/>
                    <a:pt x="148" y="119"/>
                    <a:pt x="147" y="119"/>
                  </a:cubicBezTo>
                  <a:cubicBezTo>
                    <a:pt x="144" y="119"/>
                    <a:pt x="142" y="119"/>
                    <a:pt x="140" y="119"/>
                  </a:cubicBezTo>
                  <a:cubicBezTo>
                    <a:pt x="136" y="118"/>
                    <a:pt x="132" y="118"/>
                    <a:pt x="129" y="118"/>
                  </a:cubicBezTo>
                  <a:cubicBezTo>
                    <a:pt x="127" y="118"/>
                    <a:pt x="126" y="118"/>
                    <a:pt x="126" y="119"/>
                  </a:cubicBezTo>
                  <a:cubicBezTo>
                    <a:pt x="125" y="121"/>
                    <a:pt x="126" y="122"/>
                    <a:pt x="126" y="123"/>
                  </a:cubicBezTo>
                  <a:cubicBezTo>
                    <a:pt x="125" y="125"/>
                    <a:pt x="123" y="124"/>
                    <a:pt x="122" y="124"/>
                  </a:cubicBezTo>
                  <a:cubicBezTo>
                    <a:pt x="119" y="124"/>
                    <a:pt x="115" y="123"/>
                    <a:pt x="113" y="125"/>
                  </a:cubicBezTo>
                  <a:cubicBezTo>
                    <a:pt x="112" y="126"/>
                    <a:pt x="112" y="127"/>
                    <a:pt x="111" y="128"/>
                  </a:cubicBezTo>
                  <a:cubicBezTo>
                    <a:pt x="110" y="129"/>
                    <a:pt x="109" y="131"/>
                    <a:pt x="108" y="132"/>
                  </a:cubicBezTo>
                  <a:cubicBezTo>
                    <a:pt x="106" y="132"/>
                    <a:pt x="105" y="130"/>
                    <a:pt x="103" y="131"/>
                  </a:cubicBezTo>
                  <a:cubicBezTo>
                    <a:pt x="102" y="131"/>
                    <a:pt x="101" y="132"/>
                    <a:pt x="99" y="133"/>
                  </a:cubicBezTo>
                  <a:cubicBezTo>
                    <a:pt x="97" y="133"/>
                    <a:pt x="94" y="133"/>
                    <a:pt x="91" y="133"/>
                  </a:cubicBezTo>
                  <a:cubicBezTo>
                    <a:pt x="92" y="133"/>
                    <a:pt x="88" y="133"/>
                    <a:pt x="87" y="132"/>
                  </a:cubicBezTo>
                  <a:cubicBezTo>
                    <a:pt x="87" y="130"/>
                    <a:pt x="81" y="128"/>
                    <a:pt x="79" y="128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77" y="128"/>
                    <a:pt x="77" y="126"/>
                    <a:pt x="76" y="125"/>
                  </a:cubicBezTo>
                  <a:cubicBezTo>
                    <a:pt x="74" y="122"/>
                    <a:pt x="71" y="123"/>
                    <a:pt x="68" y="123"/>
                  </a:cubicBezTo>
                  <a:cubicBezTo>
                    <a:pt x="64" y="124"/>
                    <a:pt x="60" y="122"/>
                    <a:pt x="56" y="123"/>
                  </a:cubicBezTo>
                  <a:cubicBezTo>
                    <a:pt x="53" y="124"/>
                    <a:pt x="53" y="125"/>
                    <a:pt x="53" y="128"/>
                  </a:cubicBezTo>
                  <a:cubicBezTo>
                    <a:pt x="54" y="131"/>
                    <a:pt x="58" y="133"/>
                    <a:pt x="57" y="137"/>
                  </a:cubicBezTo>
                  <a:cubicBezTo>
                    <a:pt x="57" y="137"/>
                    <a:pt x="57" y="138"/>
                    <a:pt x="56" y="138"/>
                  </a:cubicBezTo>
                  <a:cubicBezTo>
                    <a:pt x="56" y="139"/>
                    <a:pt x="55" y="141"/>
                    <a:pt x="54" y="141"/>
                  </a:cubicBezTo>
                  <a:cubicBezTo>
                    <a:pt x="50" y="143"/>
                    <a:pt x="49" y="141"/>
                    <a:pt x="46" y="139"/>
                  </a:cubicBezTo>
                  <a:cubicBezTo>
                    <a:pt x="44" y="138"/>
                    <a:pt x="41" y="137"/>
                    <a:pt x="40" y="135"/>
                  </a:cubicBezTo>
                  <a:cubicBezTo>
                    <a:pt x="39" y="134"/>
                    <a:pt x="39" y="135"/>
                    <a:pt x="39" y="134"/>
                  </a:cubicBezTo>
                  <a:cubicBezTo>
                    <a:pt x="39" y="133"/>
                    <a:pt x="39" y="132"/>
                    <a:pt x="39" y="131"/>
                  </a:cubicBezTo>
                  <a:cubicBezTo>
                    <a:pt x="38" y="131"/>
                    <a:pt x="38" y="131"/>
                    <a:pt x="38" y="130"/>
                  </a:cubicBezTo>
                  <a:cubicBezTo>
                    <a:pt x="37" y="129"/>
                    <a:pt x="35" y="130"/>
                    <a:pt x="34" y="130"/>
                  </a:cubicBezTo>
                  <a:cubicBezTo>
                    <a:pt x="32" y="129"/>
                    <a:pt x="32" y="129"/>
                    <a:pt x="31" y="128"/>
                  </a:cubicBezTo>
                  <a:cubicBezTo>
                    <a:pt x="30" y="126"/>
                    <a:pt x="30" y="124"/>
                    <a:pt x="28" y="122"/>
                  </a:cubicBezTo>
                  <a:cubicBezTo>
                    <a:pt x="27" y="121"/>
                    <a:pt x="25" y="122"/>
                    <a:pt x="24" y="122"/>
                  </a:cubicBezTo>
                  <a:cubicBezTo>
                    <a:pt x="21" y="122"/>
                    <a:pt x="19" y="122"/>
                    <a:pt x="16" y="122"/>
                  </a:cubicBezTo>
                  <a:cubicBezTo>
                    <a:pt x="16" y="123"/>
                    <a:pt x="15" y="123"/>
                    <a:pt x="14" y="124"/>
                  </a:cubicBezTo>
                  <a:cubicBezTo>
                    <a:pt x="14" y="126"/>
                    <a:pt x="13" y="127"/>
                    <a:pt x="13" y="128"/>
                  </a:cubicBezTo>
                  <a:cubicBezTo>
                    <a:pt x="13" y="130"/>
                    <a:pt x="13" y="132"/>
                    <a:pt x="13" y="134"/>
                  </a:cubicBezTo>
                  <a:cubicBezTo>
                    <a:pt x="13" y="135"/>
                    <a:pt x="13" y="136"/>
                    <a:pt x="14" y="137"/>
                  </a:cubicBezTo>
                  <a:cubicBezTo>
                    <a:pt x="14" y="137"/>
                    <a:pt x="15" y="138"/>
                    <a:pt x="14" y="139"/>
                  </a:cubicBezTo>
                  <a:cubicBezTo>
                    <a:pt x="14" y="140"/>
                    <a:pt x="12" y="140"/>
                    <a:pt x="10" y="141"/>
                  </a:cubicBezTo>
                  <a:cubicBezTo>
                    <a:pt x="12" y="141"/>
                    <a:pt x="12" y="141"/>
                    <a:pt x="12" y="141"/>
                  </a:cubicBezTo>
                  <a:cubicBezTo>
                    <a:pt x="12" y="142"/>
                    <a:pt x="12" y="143"/>
                    <a:pt x="13" y="143"/>
                  </a:cubicBezTo>
                  <a:cubicBezTo>
                    <a:pt x="13" y="144"/>
                    <a:pt x="13" y="144"/>
                    <a:pt x="13" y="145"/>
                  </a:cubicBezTo>
                  <a:cubicBezTo>
                    <a:pt x="14" y="146"/>
                    <a:pt x="13" y="148"/>
                    <a:pt x="13" y="150"/>
                  </a:cubicBezTo>
                  <a:cubicBezTo>
                    <a:pt x="12" y="151"/>
                    <a:pt x="12" y="153"/>
                    <a:pt x="10" y="154"/>
                  </a:cubicBezTo>
                  <a:cubicBezTo>
                    <a:pt x="10" y="155"/>
                    <a:pt x="9" y="155"/>
                    <a:pt x="8" y="155"/>
                  </a:cubicBezTo>
                  <a:cubicBezTo>
                    <a:pt x="7" y="155"/>
                    <a:pt x="6" y="155"/>
                    <a:pt x="5" y="154"/>
                  </a:cubicBezTo>
                  <a:cubicBezTo>
                    <a:pt x="5" y="155"/>
                    <a:pt x="4" y="155"/>
                    <a:pt x="4" y="155"/>
                  </a:cubicBezTo>
                  <a:cubicBezTo>
                    <a:pt x="2" y="157"/>
                    <a:pt x="0" y="157"/>
                    <a:pt x="1" y="161"/>
                  </a:cubicBezTo>
                  <a:cubicBezTo>
                    <a:pt x="1" y="164"/>
                    <a:pt x="3" y="163"/>
                    <a:pt x="6" y="164"/>
                  </a:cubicBezTo>
                  <a:cubicBezTo>
                    <a:pt x="7" y="164"/>
                    <a:pt x="8" y="164"/>
                    <a:pt x="9" y="164"/>
                  </a:cubicBezTo>
                  <a:cubicBezTo>
                    <a:pt x="10" y="164"/>
                    <a:pt x="11" y="164"/>
                    <a:pt x="12" y="164"/>
                  </a:cubicBezTo>
                  <a:cubicBezTo>
                    <a:pt x="13" y="164"/>
                    <a:pt x="15" y="164"/>
                    <a:pt x="16" y="164"/>
                  </a:cubicBezTo>
                  <a:cubicBezTo>
                    <a:pt x="18" y="164"/>
                    <a:pt x="18" y="164"/>
                    <a:pt x="19" y="163"/>
                  </a:cubicBezTo>
                  <a:cubicBezTo>
                    <a:pt x="20" y="163"/>
                    <a:pt x="21" y="163"/>
                    <a:pt x="21" y="163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24" y="165"/>
                    <a:pt x="26" y="165"/>
                    <a:pt x="26" y="168"/>
                  </a:cubicBezTo>
                  <a:cubicBezTo>
                    <a:pt x="26" y="170"/>
                    <a:pt x="26" y="171"/>
                    <a:pt x="28" y="172"/>
                  </a:cubicBezTo>
                  <a:cubicBezTo>
                    <a:pt x="28" y="173"/>
                    <a:pt x="29" y="173"/>
                    <a:pt x="30" y="173"/>
                  </a:cubicBezTo>
                  <a:cubicBezTo>
                    <a:pt x="30" y="174"/>
                    <a:pt x="31" y="175"/>
                    <a:pt x="32" y="175"/>
                  </a:cubicBezTo>
                  <a:cubicBezTo>
                    <a:pt x="35" y="176"/>
                    <a:pt x="37" y="177"/>
                    <a:pt x="40" y="177"/>
                  </a:cubicBezTo>
                  <a:cubicBezTo>
                    <a:pt x="43" y="177"/>
                    <a:pt x="43" y="176"/>
                    <a:pt x="44" y="174"/>
                  </a:cubicBezTo>
                  <a:cubicBezTo>
                    <a:pt x="45" y="173"/>
                    <a:pt x="44" y="171"/>
                    <a:pt x="46" y="170"/>
                  </a:cubicBezTo>
                  <a:cubicBezTo>
                    <a:pt x="47" y="169"/>
                    <a:pt x="48" y="169"/>
                    <a:pt x="49" y="169"/>
                  </a:cubicBezTo>
                  <a:cubicBezTo>
                    <a:pt x="50" y="168"/>
                    <a:pt x="50" y="167"/>
                    <a:pt x="51" y="166"/>
                  </a:cubicBezTo>
                  <a:cubicBezTo>
                    <a:pt x="52" y="166"/>
                    <a:pt x="55" y="168"/>
                    <a:pt x="56" y="169"/>
                  </a:cubicBezTo>
                  <a:cubicBezTo>
                    <a:pt x="58" y="171"/>
                    <a:pt x="58" y="173"/>
                    <a:pt x="58" y="175"/>
                  </a:cubicBezTo>
                  <a:cubicBezTo>
                    <a:pt x="59" y="176"/>
                    <a:pt x="59" y="176"/>
                    <a:pt x="59" y="177"/>
                  </a:cubicBezTo>
                  <a:cubicBezTo>
                    <a:pt x="61" y="177"/>
                    <a:pt x="62" y="177"/>
                    <a:pt x="63" y="177"/>
                  </a:cubicBezTo>
                  <a:cubicBezTo>
                    <a:pt x="64" y="177"/>
                    <a:pt x="65" y="177"/>
                    <a:pt x="66" y="177"/>
                  </a:cubicBezTo>
                  <a:cubicBezTo>
                    <a:pt x="67" y="177"/>
                    <a:pt x="69" y="178"/>
                    <a:pt x="70" y="178"/>
                  </a:cubicBezTo>
                  <a:cubicBezTo>
                    <a:pt x="71" y="178"/>
                    <a:pt x="72" y="178"/>
                    <a:pt x="72" y="179"/>
                  </a:cubicBezTo>
                  <a:cubicBezTo>
                    <a:pt x="73" y="180"/>
                    <a:pt x="72" y="181"/>
                    <a:pt x="73" y="182"/>
                  </a:cubicBezTo>
                  <a:cubicBezTo>
                    <a:pt x="73" y="183"/>
                    <a:pt x="75" y="183"/>
                    <a:pt x="76" y="183"/>
                  </a:cubicBezTo>
                  <a:cubicBezTo>
                    <a:pt x="76" y="183"/>
                    <a:pt x="78" y="183"/>
                    <a:pt x="78" y="183"/>
                  </a:cubicBezTo>
                  <a:cubicBezTo>
                    <a:pt x="79" y="184"/>
                    <a:pt x="79" y="184"/>
                    <a:pt x="80" y="184"/>
                  </a:cubicBezTo>
                  <a:cubicBezTo>
                    <a:pt x="80" y="185"/>
                    <a:pt x="81" y="185"/>
                    <a:pt x="82" y="185"/>
                  </a:cubicBezTo>
                  <a:cubicBezTo>
                    <a:pt x="83" y="185"/>
                    <a:pt x="85" y="185"/>
                    <a:pt x="87" y="185"/>
                  </a:cubicBezTo>
                  <a:cubicBezTo>
                    <a:pt x="89" y="184"/>
                    <a:pt x="89" y="182"/>
                    <a:pt x="89" y="180"/>
                  </a:cubicBezTo>
                  <a:cubicBezTo>
                    <a:pt x="90" y="179"/>
                    <a:pt x="91" y="178"/>
                    <a:pt x="92" y="176"/>
                  </a:cubicBezTo>
                  <a:cubicBezTo>
                    <a:pt x="92" y="175"/>
                    <a:pt x="92" y="174"/>
                    <a:pt x="92" y="173"/>
                  </a:cubicBezTo>
                  <a:cubicBezTo>
                    <a:pt x="92" y="171"/>
                    <a:pt x="92" y="171"/>
                    <a:pt x="93" y="170"/>
                  </a:cubicBezTo>
                  <a:cubicBezTo>
                    <a:pt x="93" y="169"/>
                    <a:pt x="93" y="169"/>
                    <a:pt x="95" y="168"/>
                  </a:cubicBezTo>
                  <a:cubicBezTo>
                    <a:pt x="96" y="168"/>
                    <a:pt x="97" y="167"/>
                    <a:pt x="99" y="167"/>
                  </a:cubicBezTo>
                  <a:cubicBezTo>
                    <a:pt x="100" y="167"/>
                    <a:pt x="101" y="167"/>
                    <a:pt x="102" y="167"/>
                  </a:cubicBezTo>
                  <a:cubicBezTo>
                    <a:pt x="107" y="167"/>
                    <a:pt x="112" y="168"/>
                    <a:pt x="117" y="168"/>
                  </a:cubicBezTo>
                  <a:cubicBezTo>
                    <a:pt x="118" y="168"/>
                    <a:pt x="119" y="168"/>
                    <a:pt x="120" y="168"/>
                  </a:cubicBezTo>
                  <a:cubicBezTo>
                    <a:pt x="121" y="167"/>
                    <a:pt x="122" y="166"/>
                    <a:pt x="123" y="166"/>
                  </a:cubicBezTo>
                  <a:cubicBezTo>
                    <a:pt x="125" y="165"/>
                    <a:pt x="126" y="166"/>
                    <a:pt x="127" y="167"/>
                  </a:cubicBezTo>
                  <a:cubicBezTo>
                    <a:pt x="129" y="169"/>
                    <a:pt x="132" y="166"/>
                    <a:pt x="134" y="165"/>
                  </a:cubicBezTo>
                  <a:cubicBezTo>
                    <a:pt x="136" y="163"/>
                    <a:pt x="139" y="162"/>
                    <a:pt x="142" y="161"/>
                  </a:cubicBezTo>
                  <a:cubicBezTo>
                    <a:pt x="143" y="160"/>
                    <a:pt x="145" y="159"/>
                    <a:pt x="147" y="159"/>
                  </a:cubicBezTo>
                  <a:cubicBezTo>
                    <a:pt x="149" y="159"/>
                    <a:pt x="152" y="159"/>
                    <a:pt x="152" y="162"/>
                  </a:cubicBezTo>
                  <a:cubicBezTo>
                    <a:pt x="152" y="163"/>
                    <a:pt x="150" y="164"/>
                    <a:pt x="149" y="165"/>
                  </a:cubicBezTo>
                  <a:cubicBezTo>
                    <a:pt x="149" y="165"/>
                    <a:pt x="147" y="165"/>
                    <a:pt x="147" y="165"/>
                  </a:cubicBezTo>
                  <a:cubicBezTo>
                    <a:pt x="146" y="166"/>
                    <a:pt x="146" y="167"/>
                    <a:pt x="146" y="168"/>
                  </a:cubicBezTo>
                  <a:cubicBezTo>
                    <a:pt x="146" y="169"/>
                    <a:pt x="145" y="169"/>
                    <a:pt x="147" y="171"/>
                  </a:cubicBezTo>
                  <a:cubicBezTo>
                    <a:pt x="147" y="171"/>
                    <a:pt x="148" y="172"/>
                    <a:pt x="149" y="173"/>
                  </a:cubicBezTo>
                  <a:cubicBezTo>
                    <a:pt x="150" y="174"/>
                    <a:pt x="151" y="175"/>
                    <a:pt x="152" y="176"/>
                  </a:cubicBezTo>
                  <a:cubicBezTo>
                    <a:pt x="154" y="177"/>
                    <a:pt x="154" y="179"/>
                    <a:pt x="155" y="181"/>
                  </a:cubicBezTo>
                  <a:cubicBezTo>
                    <a:pt x="156" y="183"/>
                    <a:pt x="158" y="185"/>
                    <a:pt x="160" y="186"/>
                  </a:cubicBezTo>
                  <a:cubicBezTo>
                    <a:pt x="163" y="189"/>
                    <a:pt x="168" y="192"/>
                    <a:pt x="172" y="194"/>
                  </a:cubicBezTo>
                  <a:cubicBezTo>
                    <a:pt x="173" y="194"/>
                    <a:pt x="174" y="194"/>
                    <a:pt x="175" y="194"/>
                  </a:cubicBezTo>
                  <a:cubicBezTo>
                    <a:pt x="178" y="194"/>
                    <a:pt x="180" y="194"/>
                    <a:pt x="183" y="195"/>
                  </a:cubicBezTo>
                  <a:cubicBezTo>
                    <a:pt x="185" y="195"/>
                    <a:pt x="187" y="195"/>
                    <a:pt x="189" y="196"/>
                  </a:cubicBezTo>
                  <a:cubicBezTo>
                    <a:pt x="190" y="196"/>
                    <a:pt x="192" y="196"/>
                    <a:pt x="193" y="196"/>
                  </a:cubicBezTo>
                  <a:cubicBezTo>
                    <a:pt x="195" y="197"/>
                    <a:pt x="196" y="198"/>
                    <a:pt x="197" y="198"/>
                  </a:cubicBezTo>
                  <a:cubicBezTo>
                    <a:pt x="201" y="200"/>
                    <a:pt x="205" y="200"/>
                    <a:pt x="209" y="201"/>
                  </a:cubicBezTo>
                  <a:cubicBezTo>
                    <a:pt x="212" y="201"/>
                    <a:pt x="214" y="201"/>
                    <a:pt x="217" y="201"/>
                  </a:cubicBezTo>
                  <a:cubicBezTo>
                    <a:pt x="220" y="201"/>
                    <a:pt x="224" y="201"/>
                    <a:pt x="227" y="201"/>
                  </a:cubicBezTo>
                  <a:cubicBezTo>
                    <a:pt x="229" y="201"/>
                    <a:pt x="230" y="202"/>
                    <a:pt x="232" y="202"/>
                  </a:cubicBezTo>
                  <a:cubicBezTo>
                    <a:pt x="233" y="202"/>
                    <a:pt x="234" y="202"/>
                    <a:pt x="235" y="203"/>
                  </a:cubicBezTo>
                  <a:cubicBezTo>
                    <a:pt x="235" y="203"/>
                    <a:pt x="236" y="202"/>
                    <a:pt x="236" y="203"/>
                  </a:cubicBezTo>
                  <a:cubicBezTo>
                    <a:pt x="238" y="203"/>
                    <a:pt x="239" y="204"/>
                    <a:pt x="240" y="204"/>
                  </a:cubicBezTo>
                  <a:cubicBezTo>
                    <a:pt x="245" y="206"/>
                    <a:pt x="250" y="205"/>
                    <a:pt x="255" y="206"/>
                  </a:cubicBezTo>
                  <a:cubicBezTo>
                    <a:pt x="255" y="206"/>
                    <a:pt x="255" y="206"/>
                    <a:pt x="255" y="206"/>
                  </a:cubicBezTo>
                  <a:cubicBezTo>
                    <a:pt x="256" y="207"/>
                    <a:pt x="256" y="207"/>
                    <a:pt x="256" y="207"/>
                  </a:cubicBezTo>
                  <a:cubicBezTo>
                    <a:pt x="256" y="207"/>
                    <a:pt x="256" y="207"/>
                    <a:pt x="256" y="207"/>
                  </a:cubicBezTo>
                  <a:cubicBezTo>
                    <a:pt x="255" y="207"/>
                    <a:pt x="255" y="208"/>
                    <a:pt x="254" y="208"/>
                  </a:cubicBezTo>
                  <a:cubicBezTo>
                    <a:pt x="255" y="208"/>
                    <a:pt x="256" y="208"/>
                    <a:pt x="257" y="208"/>
                  </a:cubicBezTo>
                  <a:cubicBezTo>
                    <a:pt x="259" y="209"/>
                    <a:pt x="262" y="209"/>
                    <a:pt x="264" y="209"/>
                  </a:cubicBezTo>
                  <a:cubicBezTo>
                    <a:pt x="264" y="210"/>
                    <a:pt x="266" y="209"/>
                    <a:pt x="267" y="210"/>
                  </a:cubicBezTo>
                  <a:cubicBezTo>
                    <a:pt x="267" y="210"/>
                    <a:pt x="267" y="210"/>
                    <a:pt x="267" y="210"/>
                  </a:cubicBezTo>
                  <a:cubicBezTo>
                    <a:pt x="268" y="211"/>
                    <a:pt x="269" y="211"/>
                    <a:pt x="270" y="211"/>
                  </a:cubicBezTo>
                  <a:cubicBezTo>
                    <a:pt x="272" y="212"/>
                    <a:pt x="274" y="213"/>
                    <a:pt x="276" y="213"/>
                  </a:cubicBezTo>
                  <a:cubicBezTo>
                    <a:pt x="279" y="212"/>
                    <a:pt x="278" y="209"/>
                    <a:pt x="279" y="207"/>
                  </a:cubicBezTo>
                  <a:cubicBezTo>
                    <a:pt x="280" y="207"/>
                    <a:pt x="280" y="206"/>
                    <a:pt x="281" y="205"/>
                  </a:cubicBezTo>
                  <a:cubicBezTo>
                    <a:pt x="281" y="205"/>
                    <a:pt x="282" y="204"/>
                    <a:pt x="283" y="204"/>
                  </a:cubicBezTo>
                  <a:cubicBezTo>
                    <a:pt x="283" y="203"/>
                    <a:pt x="284" y="204"/>
                    <a:pt x="285" y="204"/>
                  </a:cubicBezTo>
                  <a:cubicBezTo>
                    <a:pt x="286" y="204"/>
                    <a:pt x="287" y="203"/>
                    <a:pt x="288" y="202"/>
                  </a:cubicBezTo>
                  <a:cubicBezTo>
                    <a:pt x="288" y="201"/>
                    <a:pt x="288" y="201"/>
                    <a:pt x="289" y="200"/>
                  </a:cubicBezTo>
                  <a:cubicBezTo>
                    <a:pt x="289" y="200"/>
                    <a:pt x="290" y="200"/>
                    <a:pt x="290" y="199"/>
                  </a:cubicBezTo>
                  <a:cubicBezTo>
                    <a:pt x="290" y="199"/>
                    <a:pt x="291" y="198"/>
                    <a:pt x="291" y="197"/>
                  </a:cubicBezTo>
                  <a:cubicBezTo>
                    <a:pt x="292" y="195"/>
                    <a:pt x="295" y="195"/>
                    <a:pt x="297" y="195"/>
                  </a:cubicBezTo>
                  <a:cubicBezTo>
                    <a:pt x="300" y="194"/>
                    <a:pt x="302" y="194"/>
                    <a:pt x="304" y="193"/>
                  </a:cubicBezTo>
                  <a:cubicBezTo>
                    <a:pt x="306" y="192"/>
                    <a:pt x="307" y="191"/>
                    <a:pt x="309" y="192"/>
                  </a:cubicBezTo>
                  <a:cubicBezTo>
                    <a:pt x="310" y="192"/>
                    <a:pt x="311" y="193"/>
                    <a:pt x="312" y="193"/>
                  </a:cubicBezTo>
                  <a:cubicBezTo>
                    <a:pt x="314" y="193"/>
                    <a:pt x="316" y="193"/>
                    <a:pt x="318" y="193"/>
                  </a:cubicBezTo>
                  <a:cubicBezTo>
                    <a:pt x="318" y="194"/>
                    <a:pt x="318" y="194"/>
                    <a:pt x="319" y="194"/>
                  </a:cubicBezTo>
                  <a:cubicBezTo>
                    <a:pt x="320" y="194"/>
                    <a:pt x="322" y="193"/>
                    <a:pt x="323" y="194"/>
                  </a:cubicBezTo>
                  <a:cubicBezTo>
                    <a:pt x="325" y="194"/>
                    <a:pt x="325" y="195"/>
                    <a:pt x="326" y="195"/>
                  </a:cubicBezTo>
                  <a:cubicBezTo>
                    <a:pt x="326" y="192"/>
                    <a:pt x="328" y="190"/>
                    <a:pt x="329" y="188"/>
                  </a:cubicBezTo>
                  <a:cubicBezTo>
                    <a:pt x="329" y="187"/>
                    <a:pt x="329" y="187"/>
                    <a:pt x="330" y="187"/>
                  </a:cubicBezTo>
                  <a:cubicBezTo>
                    <a:pt x="330" y="187"/>
                    <a:pt x="331" y="187"/>
                    <a:pt x="331" y="187"/>
                  </a:cubicBezTo>
                  <a:cubicBezTo>
                    <a:pt x="332" y="186"/>
                    <a:pt x="331" y="187"/>
                    <a:pt x="332" y="186"/>
                  </a:cubicBezTo>
                  <a:cubicBezTo>
                    <a:pt x="333" y="185"/>
                    <a:pt x="335" y="182"/>
                    <a:pt x="336" y="183"/>
                  </a:cubicBezTo>
                  <a:cubicBezTo>
                    <a:pt x="338" y="184"/>
                    <a:pt x="336" y="187"/>
                    <a:pt x="338" y="189"/>
                  </a:cubicBezTo>
                  <a:cubicBezTo>
                    <a:pt x="340" y="190"/>
                    <a:pt x="343" y="189"/>
                    <a:pt x="345" y="190"/>
                  </a:cubicBezTo>
                  <a:cubicBezTo>
                    <a:pt x="348" y="190"/>
                    <a:pt x="351" y="190"/>
                    <a:pt x="352" y="187"/>
                  </a:cubicBezTo>
                  <a:cubicBezTo>
                    <a:pt x="353" y="185"/>
                    <a:pt x="353" y="183"/>
                    <a:pt x="353" y="181"/>
                  </a:cubicBezTo>
                  <a:cubicBezTo>
                    <a:pt x="353" y="178"/>
                    <a:pt x="354" y="176"/>
                    <a:pt x="356" y="175"/>
                  </a:cubicBezTo>
                  <a:cubicBezTo>
                    <a:pt x="357" y="174"/>
                    <a:pt x="359" y="175"/>
                    <a:pt x="360" y="173"/>
                  </a:cubicBezTo>
                  <a:cubicBezTo>
                    <a:pt x="361" y="173"/>
                    <a:pt x="361" y="172"/>
                    <a:pt x="362" y="172"/>
                  </a:cubicBezTo>
                  <a:cubicBezTo>
                    <a:pt x="363" y="171"/>
                    <a:pt x="363" y="171"/>
                    <a:pt x="364" y="170"/>
                  </a:cubicBezTo>
                  <a:cubicBezTo>
                    <a:pt x="365" y="167"/>
                    <a:pt x="366" y="167"/>
                    <a:pt x="368" y="166"/>
                  </a:cubicBezTo>
                  <a:cubicBezTo>
                    <a:pt x="370" y="165"/>
                    <a:pt x="370" y="164"/>
                    <a:pt x="372" y="164"/>
                  </a:cubicBezTo>
                  <a:cubicBezTo>
                    <a:pt x="374" y="164"/>
                    <a:pt x="375" y="163"/>
                    <a:pt x="376" y="163"/>
                  </a:cubicBezTo>
                  <a:cubicBezTo>
                    <a:pt x="378" y="163"/>
                    <a:pt x="379" y="163"/>
                    <a:pt x="379" y="161"/>
                  </a:cubicBezTo>
                  <a:cubicBezTo>
                    <a:pt x="379" y="160"/>
                    <a:pt x="379" y="160"/>
                    <a:pt x="379" y="159"/>
                  </a:cubicBezTo>
                  <a:cubicBezTo>
                    <a:pt x="379" y="158"/>
                    <a:pt x="380" y="157"/>
                    <a:pt x="380" y="156"/>
                  </a:cubicBezTo>
                  <a:cubicBezTo>
                    <a:pt x="380" y="156"/>
                    <a:pt x="380" y="155"/>
                    <a:pt x="380" y="154"/>
                  </a:cubicBezTo>
                  <a:cubicBezTo>
                    <a:pt x="380" y="152"/>
                    <a:pt x="380" y="152"/>
                    <a:pt x="379" y="152"/>
                  </a:cubicBezTo>
                  <a:cubicBezTo>
                    <a:pt x="377" y="151"/>
                    <a:pt x="377" y="151"/>
                    <a:pt x="376" y="149"/>
                  </a:cubicBezTo>
                  <a:cubicBezTo>
                    <a:pt x="376" y="149"/>
                    <a:pt x="376" y="148"/>
                    <a:pt x="376" y="147"/>
                  </a:cubicBezTo>
                  <a:cubicBezTo>
                    <a:pt x="376" y="147"/>
                    <a:pt x="375" y="146"/>
                    <a:pt x="376" y="145"/>
                  </a:cubicBezTo>
                  <a:cubicBezTo>
                    <a:pt x="376" y="144"/>
                    <a:pt x="378" y="142"/>
                    <a:pt x="379" y="142"/>
                  </a:cubicBezTo>
                  <a:cubicBezTo>
                    <a:pt x="379" y="142"/>
                    <a:pt x="381" y="141"/>
                    <a:pt x="381" y="141"/>
                  </a:cubicBezTo>
                  <a:cubicBezTo>
                    <a:pt x="382" y="138"/>
                    <a:pt x="378" y="139"/>
                    <a:pt x="378" y="138"/>
                  </a:cubicBezTo>
                  <a:cubicBezTo>
                    <a:pt x="376" y="136"/>
                    <a:pt x="377" y="131"/>
                    <a:pt x="379" y="130"/>
                  </a:cubicBezTo>
                  <a:cubicBezTo>
                    <a:pt x="379" y="130"/>
                    <a:pt x="380" y="129"/>
                    <a:pt x="381" y="129"/>
                  </a:cubicBezTo>
                  <a:cubicBezTo>
                    <a:pt x="382" y="129"/>
                    <a:pt x="383" y="130"/>
                    <a:pt x="384" y="130"/>
                  </a:cubicBezTo>
                  <a:cubicBezTo>
                    <a:pt x="385" y="129"/>
                    <a:pt x="385" y="129"/>
                    <a:pt x="386" y="128"/>
                  </a:cubicBezTo>
                  <a:cubicBezTo>
                    <a:pt x="386" y="127"/>
                    <a:pt x="387" y="125"/>
                    <a:pt x="388" y="124"/>
                  </a:cubicBezTo>
                  <a:cubicBezTo>
                    <a:pt x="389" y="123"/>
                    <a:pt x="390" y="122"/>
                    <a:pt x="390" y="121"/>
                  </a:cubicBezTo>
                  <a:cubicBezTo>
                    <a:pt x="390" y="121"/>
                    <a:pt x="390" y="119"/>
                    <a:pt x="390" y="118"/>
                  </a:cubicBezTo>
                  <a:cubicBezTo>
                    <a:pt x="390" y="117"/>
                    <a:pt x="390" y="117"/>
                    <a:pt x="389" y="116"/>
                  </a:cubicBezTo>
                  <a:cubicBezTo>
                    <a:pt x="389" y="115"/>
                    <a:pt x="389" y="115"/>
                    <a:pt x="389" y="114"/>
                  </a:cubicBezTo>
                  <a:cubicBezTo>
                    <a:pt x="388" y="114"/>
                    <a:pt x="388" y="113"/>
                    <a:pt x="388" y="113"/>
                  </a:cubicBezTo>
                  <a:cubicBezTo>
                    <a:pt x="386" y="112"/>
                    <a:pt x="384" y="113"/>
                    <a:pt x="383" y="112"/>
                  </a:cubicBezTo>
                  <a:cubicBezTo>
                    <a:pt x="381" y="111"/>
                    <a:pt x="380" y="110"/>
                    <a:pt x="379" y="109"/>
                  </a:cubicBezTo>
                  <a:cubicBezTo>
                    <a:pt x="379" y="109"/>
                    <a:pt x="378" y="108"/>
                    <a:pt x="379" y="107"/>
                  </a:cubicBezTo>
                  <a:cubicBezTo>
                    <a:pt x="379" y="106"/>
                    <a:pt x="382" y="107"/>
                    <a:pt x="383" y="107"/>
                  </a:cubicBezTo>
                  <a:cubicBezTo>
                    <a:pt x="386" y="107"/>
                    <a:pt x="385" y="105"/>
                    <a:pt x="387" y="103"/>
                  </a:cubicBezTo>
                  <a:cubicBezTo>
                    <a:pt x="388" y="102"/>
                    <a:pt x="392" y="103"/>
                    <a:pt x="393" y="105"/>
                  </a:cubicBezTo>
                  <a:cubicBezTo>
                    <a:pt x="394" y="106"/>
                    <a:pt x="394" y="108"/>
                    <a:pt x="395" y="108"/>
                  </a:cubicBezTo>
                  <a:cubicBezTo>
                    <a:pt x="396" y="109"/>
                    <a:pt x="397" y="108"/>
                    <a:pt x="398" y="108"/>
                  </a:cubicBezTo>
                  <a:cubicBezTo>
                    <a:pt x="400" y="108"/>
                    <a:pt x="401" y="106"/>
                    <a:pt x="404" y="106"/>
                  </a:cubicBezTo>
                  <a:cubicBezTo>
                    <a:pt x="405" y="106"/>
                    <a:pt x="405" y="106"/>
                    <a:pt x="406" y="105"/>
                  </a:cubicBezTo>
                  <a:cubicBezTo>
                    <a:pt x="407" y="105"/>
                    <a:pt x="408" y="105"/>
                    <a:pt x="409" y="104"/>
                  </a:cubicBezTo>
                  <a:cubicBezTo>
                    <a:pt x="410" y="103"/>
                    <a:pt x="413" y="102"/>
                    <a:pt x="414" y="100"/>
                  </a:cubicBezTo>
                  <a:cubicBezTo>
                    <a:pt x="415" y="97"/>
                    <a:pt x="412" y="98"/>
                    <a:pt x="410" y="96"/>
                  </a:cubicBezTo>
                  <a:cubicBezTo>
                    <a:pt x="408" y="94"/>
                    <a:pt x="411" y="91"/>
                    <a:pt x="413" y="88"/>
                  </a:cubicBezTo>
                  <a:cubicBezTo>
                    <a:pt x="414" y="87"/>
                    <a:pt x="415" y="86"/>
                    <a:pt x="416" y="85"/>
                  </a:cubicBezTo>
                  <a:cubicBezTo>
                    <a:pt x="416" y="85"/>
                    <a:pt x="416" y="85"/>
                    <a:pt x="416" y="84"/>
                  </a:cubicBezTo>
                  <a:cubicBezTo>
                    <a:pt x="416" y="84"/>
                    <a:pt x="417" y="83"/>
                    <a:pt x="417" y="83"/>
                  </a:cubicBezTo>
                  <a:cubicBezTo>
                    <a:pt x="417" y="82"/>
                    <a:pt x="417" y="80"/>
                    <a:pt x="416" y="79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5" name="Freeform 15"/>
            <p:cNvSpPr>
              <a:spLocks/>
            </p:cNvSpPr>
            <p:nvPr/>
          </p:nvSpPr>
          <p:spPr bwMode="auto">
            <a:xfrm>
              <a:off x="4405313" y="4954588"/>
              <a:ext cx="25400" cy="30163"/>
            </a:xfrm>
            <a:custGeom>
              <a:avLst/>
              <a:gdLst/>
              <a:ahLst/>
              <a:cxnLst>
                <a:cxn ang="0">
                  <a:pos x="11" y="2"/>
                </a:cxn>
                <a:cxn ang="0">
                  <a:pos x="9" y="1"/>
                </a:cxn>
                <a:cxn ang="0">
                  <a:pos x="9" y="0"/>
                </a:cxn>
                <a:cxn ang="0">
                  <a:pos x="6" y="1"/>
                </a:cxn>
                <a:cxn ang="0">
                  <a:pos x="5" y="3"/>
                </a:cxn>
                <a:cxn ang="0">
                  <a:pos x="3" y="4"/>
                </a:cxn>
                <a:cxn ang="0">
                  <a:pos x="2" y="6"/>
                </a:cxn>
                <a:cxn ang="0">
                  <a:pos x="1" y="8"/>
                </a:cxn>
                <a:cxn ang="0">
                  <a:pos x="0" y="10"/>
                </a:cxn>
                <a:cxn ang="0">
                  <a:pos x="0" y="12"/>
                </a:cxn>
                <a:cxn ang="0">
                  <a:pos x="1" y="14"/>
                </a:cxn>
                <a:cxn ang="0">
                  <a:pos x="3" y="15"/>
                </a:cxn>
                <a:cxn ang="0">
                  <a:pos x="7" y="16"/>
                </a:cxn>
                <a:cxn ang="0">
                  <a:pos x="9" y="15"/>
                </a:cxn>
                <a:cxn ang="0">
                  <a:pos x="12" y="11"/>
                </a:cxn>
                <a:cxn ang="0">
                  <a:pos x="12" y="6"/>
                </a:cxn>
                <a:cxn ang="0">
                  <a:pos x="12" y="4"/>
                </a:cxn>
                <a:cxn ang="0">
                  <a:pos x="11" y="2"/>
                </a:cxn>
              </a:cxnLst>
              <a:rect l="0" t="0" r="r" b="b"/>
              <a:pathLst>
                <a:path w="13" h="16">
                  <a:moveTo>
                    <a:pt x="11" y="2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0"/>
                  </a:cubicBezTo>
                  <a:cubicBezTo>
                    <a:pt x="9" y="0"/>
                    <a:pt x="6" y="1"/>
                    <a:pt x="6" y="1"/>
                  </a:cubicBezTo>
                  <a:cubicBezTo>
                    <a:pt x="6" y="2"/>
                    <a:pt x="5" y="2"/>
                    <a:pt x="5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5"/>
                    <a:pt x="3" y="5"/>
                    <a:pt x="2" y="6"/>
                  </a:cubicBezTo>
                  <a:cubicBezTo>
                    <a:pt x="2" y="7"/>
                    <a:pt x="1" y="7"/>
                    <a:pt x="1" y="8"/>
                  </a:cubicBezTo>
                  <a:cubicBezTo>
                    <a:pt x="1" y="9"/>
                    <a:pt x="0" y="9"/>
                    <a:pt x="0" y="10"/>
                  </a:cubicBezTo>
                  <a:cubicBezTo>
                    <a:pt x="0" y="11"/>
                    <a:pt x="0" y="12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5" y="15"/>
                    <a:pt x="6" y="16"/>
                    <a:pt x="7" y="16"/>
                  </a:cubicBezTo>
                  <a:cubicBezTo>
                    <a:pt x="8" y="16"/>
                    <a:pt x="9" y="16"/>
                    <a:pt x="9" y="15"/>
                  </a:cubicBezTo>
                  <a:cubicBezTo>
                    <a:pt x="11" y="14"/>
                    <a:pt x="11" y="12"/>
                    <a:pt x="12" y="11"/>
                  </a:cubicBezTo>
                  <a:cubicBezTo>
                    <a:pt x="12" y="9"/>
                    <a:pt x="13" y="7"/>
                    <a:pt x="12" y="6"/>
                  </a:cubicBezTo>
                  <a:cubicBezTo>
                    <a:pt x="12" y="5"/>
                    <a:pt x="12" y="5"/>
                    <a:pt x="12" y="4"/>
                  </a:cubicBezTo>
                  <a:cubicBezTo>
                    <a:pt x="11" y="4"/>
                    <a:pt x="11" y="3"/>
                    <a:pt x="11" y="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6" name="Freeform 16"/>
            <p:cNvSpPr>
              <a:spLocks noEditPoints="1"/>
            </p:cNvSpPr>
            <p:nvPr/>
          </p:nvSpPr>
          <p:spPr bwMode="auto">
            <a:xfrm>
              <a:off x="2919413" y="4360863"/>
              <a:ext cx="1379538" cy="1341438"/>
            </a:xfrm>
            <a:custGeom>
              <a:avLst/>
              <a:gdLst/>
              <a:ahLst/>
              <a:cxnLst>
                <a:cxn ang="0">
                  <a:pos x="737" y="191"/>
                </a:cxn>
                <a:cxn ang="0">
                  <a:pos x="702" y="174"/>
                </a:cxn>
                <a:cxn ang="0">
                  <a:pos x="633" y="143"/>
                </a:cxn>
                <a:cxn ang="0">
                  <a:pos x="577" y="126"/>
                </a:cxn>
                <a:cxn ang="0">
                  <a:pos x="539" y="101"/>
                </a:cxn>
                <a:cxn ang="0">
                  <a:pos x="509" y="70"/>
                </a:cxn>
                <a:cxn ang="0">
                  <a:pos x="472" y="38"/>
                </a:cxn>
                <a:cxn ang="0">
                  <a:pos x="432" y="4"/>
                </a:cxn>
                <a:cxn ang="0">
                  <a:pos x="374" y="39"/>
                </a:cxn>
                <a:cxn ang="0">
                  <a:pos x="323" y="113"/>
                </a:cxn>
                <a:cxn ang="0">
                  <a:pos x="290" y="145"/>
                </a:cxn>
                <a:cxn ang="0">
                  <a:pos x="210" y="138"/>
                </a:cxn>
                <a:cxn ang="0">
                  <a:pos x="190" y="179"/>
                </a:cxn>
                <a:cxn ang="0">
                  <a:pos x="171" y="211"/>
                </a:cxn>
                <a:cxn ang="0">
                  <a:pos x="129" y="219"/>
                </a:cxn>
                <a:cxn ang="0">
                  <a:pos x="81" y="208"/>
                </a:cxn>
                <a:cxn ang="0">
                  <a:pos x="38" y="213"/>
                </a:cxn>
                <a:cxn ang="0">
                  <a:pos x="10" y="238"/>
                </a:cxn>
                <a:cxn ang="0">
                  <a:pos x="32" y="250"/>
                </a:cxn>
                <a:cxn ang="0">
                  <a:pos x="17" y="266"/>
                </a:cxn>
                <a:cxn ang="0">
                  <a:pos x="52" y="283"/>
                </a:cxn>
                <a:cxn ang="0">
                  <a:pos x="90" y="299"/>
                </a:cxn>
                <a:cxn ang="0">
                  <a:pos x="133" y="320"/>
                </a:cxn>
                <a:cxn ang="0">
                  <a:pos x="153" y="355"/>
                </a:cxn>
                <a:cxn ang="0">
                  <a:pos x="172" y="389"/>
                </a:cxn>
                <a:cxn ang="0">
                  <a:pos x="214" y="405"/>
                </a:cxn>
                <a:cxn ang="0">
                  <a:pos x="211" y="434"/>
                </a:cxn>
                <a:cxn ang="0">
                  <a:pos x="198" y="438"/>
                </a:cxn>
                <a:cxn ang="0">
                  <a:pos x="233" y="507"/>
                </a:cxn>
                <a:cxn ang="0">
                  <a:pos x="203" y="491"/>
                </a:cxn>
                <a:cxn ang="0">
                  <a:pos x="189" y="565"/>
                </a:cxn>
                <a:cxn ang="0">
                  <a:pos x="166" y="637"/>
                </a:cxn>
                <a:cxn ang="0">
                  <a:pos x="197" y="661"/>
                </a:cxn>
                <a:cxn ang="0">
                  <a:pos x="265" y="684"/>
                </a:cxn>
                <a:cxn ang="0">
                  <a:pos x="324" y="681"/>
                </a:cxn>
                <a:cxn ang="0">
                  <a:pos x="346" y="687"/>
                </a:cxn>
                <a:cxn ang="0">
                  <a:pos x="372" y="700"/>
                </a:cxn>
                <a:cxn ang="0">
                  <a:pos x="382" y="707"/>
                </a:cxn>
                <a:cxn ang="0">
                  <a:pos x="431" y="685"/>
                </a:cxn>
                <a:cxn ang="0">
                  <a:pos x="464" y="634"/>
                </a:cxn>
                <a:cxn ang="0">
                  <a:pos x="511" y="626"/>
                </a:cxn>
                <a:cxn ang="0">
                  <a:pos x="536" y="632"/>
                </a:cxn>
                <a:cxn ang="0">
                  <a:pos x="566" y="642"/>
                </a:cxn>
                <a:cxn ang="0">
                  <a:pos x="621" y="658"/>
                </a:cxn>
                <a:cxn ang="0">
                  <a:pos x="650" y="627"/>
                </a:cxn>
                <a:cxn ang="0">
                  <a:pos x="687" y="597"/>
                </a:cxn>
                <a:cxn ang="0">
                  <a:pos x="660" y="562"/>
                </a:cxn>
                <a:cxn ang="0">
                  <a:pos x="652" y="515"/>
                </a:cxn>
                <a:cxn ang="0">
                  <a:pos x="667" y="480"/>
                </a:cxn>
                <a:cxn ang="0">
                  <a:pos x="663" y="436"/>
                </a:cxn>
                <a:cxn ang="0">
                  <a:pos x="658" y="409"/>
                </a:cxn>
                <a:cxn ang="0">
                  <a:pos x="614" y="391"/>
                </a:cxn>
                <a:cxn ang="0">
                  <a:pos x="658" y="330"/>
                </a:cxn>
                <a:cxn ang="0">
                  <a:pos x="703" y="303"/>
                </a:cxn>
                <a:cxn ang="0">
                  <a:pos x="704" y="300"/>
                </a:cxn>
                <a:cxn ang="0">
                  <a:pos x="716" y="221"/>
                </a:cxn>
              </a:cxnLst>
              <a:rect l="0" t="0" r="r" b="b"/>
              <a:pathLst>
                <a:path w="738" h="718">
                  <a:moveTo>
                    <a:pt x="437" y="718"/>
                  </a:moveTo>
                  <a:cubicBezTo>
                    <a:pt x="439" y="716"/>
                    <a:pt x="441" y="714"/>
                    <a:pt x="442" y="710"/>
                  </a:cubicBezTo>
                  <a:cubicBezTo>
                    <a:pt x="442" y="710"/>
                    <a:pt x="442" y="710"/>
                    <a:pt x="442" y="710"/>
                  </a:cubicBezTo>
                  <a:cubicBezTo>
                    <a:pt x="440" y="711"/>
                    <a:pt x="438" y="715"/>
                    <a:pt x="437" y="718"/>
                  </a:cubicBezTo>
                  <a:moveTo>
                    <a:pt x="350" y="705"/>
                  </a:moveTo>
                  <a:cubicBezTo>
                    <a:pt x="350" y="705"/>
                    <a:pt x="349" y="705"/>
                    <a:pt x="349" y="705"/>
                  </a:cubicBezTo>
                  <a:cubicBezTo>
                    <a:pt x="349" y="705"/>
                    <a:pt x="350" y="705"/>
                    <a:pt x="350" y="705"/>
                  </a:cubicBezTo>
                  <a:moveTo>
                    <a:pt x="737" y="191"/>
                  </a:moveTo>
                  <a:cubicBezTo>
                    <a:pt x="738" y="189"/>
                    <a:pt x="738" y="186"/>
                    <a:pt x="737" y="184"/>
                  </a:cubicBezTo>
                  <a:cubicBezTo>
                    <a:pt x="735" y="181"/>
                    <a:pt x="733" y="182"/>
                    <a:pt x="731" y="181"/>
                  </a:cubicBezTo>
                  <a:cubicBezTo>
                    <a:pt x="730" y="181"/>
                    <a:pt x="729" y="180"/>
                    <a:pt x="728" y="179"/>
                  </a:cubicBezTo>
                  <a:cubicBezTo>
                    <a:pt x="729" y="179"/>
                    <a:pt x="725" y="177"/>
                    <a:pt x="726" y="177"/>
                  </a:cubicBezTo>
                  <a:cubicBezTo>
                    <a:pt x="723" y="176"/>
                    <a:pt x="720" y="176"/>
                    <a:pt x="717" y="176"/>
                  </a:cubicBezTo>
                  <a:cubicBezTo>
                    <a:pt x="714" y="176"/>
                    <a:pt x="708" y="177"/>
                    <a:pt x="705" y="176"/>
                  </a:cubicBezTo>
                  <a:cubicBezTo>
                    <a:pt x="704" y="176"/>
                    <a:pt x="705" y="175"/>
                    <a:pt x="704" y="175"/>
                  </a:cubicBezTo>
                  <a:cubicBezTo>
                    <a:pt x="703" y="174"/>
                    <a:pt x="702" y="174"/>
                    <a:pt x="702" y="174"/>
                  </a:cubicBezTo>
                  <a:cubicBezTo>
                    <a:pt x="699" y="171"/>
                    <a:pt x="699" y="168"/>
                    <a:pt x="697" y="166"/>
                  </a:cubicBezTo>
                  <a:cubicBezTo>
                    <a:pt x="691" y="162"/>
                    <a:pt x="685" y="162"/>
                    <a:pt x="678" y="162"/>
                  </a:cubicBezTo>
                  <a:cubicBezTo>
                    <a:pt x="674" y="162"/>
                    <a:pt x="671" y="162"/>
                    <a:pt x="668" y="163"/>
                  </a:cubicBezTo>
                  <a:cubicBezTo>
                    <a:pt x="664" y="164"/>
                    <a:pt x="662" y="167"/>
                    <a:pt x="658" y="167"/>
                  </a:cubicBezTo>
                  <a:cubicBezTo>
                    <a:pt x="654" y="166"/>
                    <a:pt x="654" y="164"/>
                    <a:pt x="652" y="161"/>
                  </a:cubicBezTo>
                  <a:cubicBezTo>
                    <a:pt x="652" y="159"/>
                    <a:pt x="652" y="159"/>
                    <a:pt x="651" y="157"/>
                  </a:cubicBezTo>
                  <a:cubicBezTo>
                    <a:pt x="651" y="156"/>
                    <a:pt x="649" y="155"/>
                    <a:pt x="648" y="154"/>
                  </a:cubicBezTo>
                  <a:cubicBezTo>
                    <a:pt x="643" y="148"/>
                    <a:pt x="639" y="146"/>
                    <a:pt x="633" y="143"/>
                  </a:cubicBezTo>
                  <a:cubicBezTo>
                    <a:pt x="629" y="141"/>
                    <a:pt x="628" y="139"/>
                    <a:pt x="624" y="142"/>
                  </a:cubicBezTo>
                  <a:cubicBezTo>
                    <a:pt x="618" y="145"/>
                    <a:pt x="617" y="142"/>
                    <a:pt x="612" y="139"/>
                  </a:cubicBezTo>
                  <a:cubicBezTo>
                    <a:pt x="609" y="137"/>
                    <a:pt x="606" y="136"/>
                    <a:pt x="601" y="136"/>
                  </a:cubicBezTo>
                  <a:cubicBezTo>
                    <a:pt x="600" y="136"/>
                    <a:pt x="598" y="136"/>
                    <a:pt x="597" y="137"/>
                  </a:cubicBezTo>
                  <a:cubicBezTo>
                    <a:pt x="595" y="137"/>
                    <a:pt x="594" y="139"/>
                    <a:pt x="593" y="140"/>
                  </a:cubicBezTo>
                  <a:cubicBezTo>
                    <a:pt x="589" y="142"/>
                    <a:pt x="584" y="134"/>
                    <a:pt x="583" y="132"/>
                  </a:cubicBezTo>
                  <a:cubicBezTo>
                    <a:pt x="583" y="131"/>
                    <a:pt x="583" y="129"/>
                    <a:pt x="582" y="128"/>
                  </a:cubicBezTo>
                  <a:cubicBezTo>
                    <a:pt x="581" y="126"/>
                    <a:pt x="579" y="127"/>
                    <a:pt x="577" y="126"/>
                  </a:cubicBezTo>
                  <a:cubicBezTo>
                    <a:pt x="569" y="123"/>
                    <a:pt x="564" y="116"/>
                    <a:pt x="555" y="116"/>
                  </a:cubicBezTo>
                  <a:cubicBezTo>
                    <a:pt x="554" y="111"/>
                    <a:pt x="553" y="107"/>
                    <a:pt x="553" y="102"/>
                  </a:cubicBezTo>
                  <a:cubicBezTo>
                    <a:pt x="553" y="101"/>
                    <a:pt x="552" y="99"/>
                    <a:pt x="553" y="97"/>
                  </a:cubicBezTo>
                  <a:cubicBezTo>
                    <a:pt x="554" y="94"/>
                    <a:pt x="557" y="92"/>
                    <a:pt x="554" y="89"/>
                  </a:cubicBezTo>
                  <a:cubicBezTo>
                    <a:pt x="552" y="88"/>
                    <a:pt x="551" y="87"/>
                    <a:pt x="549" y="87"/>
                  </a:cubicBezTo>
                  <a:cubicBezTo>
                    <a:pt x="547" y="88"/>
                    <a:pt x="545" y="90"/>
                    <a:pt x="544" y="91"/>
                  </a:cubicBezTo>
                  <a:cubicBezTo>
                    <a:pt x="544" y="93"/>
                    <a:pt x="545" y="96"/>
                    <a:pt x="544" y="98"/>
                  </a:cubicBezTo>
                  <a:cubicBezTo>
                    <a:pt x="543" y="99"/>
                    <a:pt x="540" y="100"/>
                    <a:pt x="539" y="101"/>
                  </a:cubicBezTo>
                  <a:cubicBezTo>
                    <a:pt x="536" y="103"/>
                    <a:pt x="532" y="106"/>
                    <a:pt x="529" y="105"/>
                  </a:cubicBezTo>
                  <a:cubicBezTo>
                    <a:pt x="526" y="104"/>
                    <a:pt x="527" y="104"/>
                    <a:pt x="525" y="102"/>
                  </a:cubicBezTo>
                  <a:cubicBezTo>
                    <a:pt x="522" y="100"/>
                    <a:pt x="522" y="101"/>
                    <a:pt x="521" y="97"/>
                  </a:cubicBezTo>
                  <a:cubicBezTo>
                    <a:pt x="520" y="95"/>
                    <a:pt x="520" y="88"/>
                    <a:pt x="518" y="86"/>
                  </a:cubicBezTo>
                  <a:cubicBezTo>
                    <a:pt x="516" y="85"/>
                    <a:pt x="514" y="87"/>
                    <a:pt x="513" y="85"/>
                  </a:cubicBezTo>
                  <a:cubicBezTo>
                    <a:pt x="512" y="85"/>
                    <a:pt x="512" y="80"/>
                    <a:pt x="513" y="80"/>
                  </a:cubicBezTo>
                  <a:cubicBezTo>
                    <a:pt x="514" y="77"/>
                    <a:pt x="517" y="80"/>
                    <a:pt x="517" y="76"/>
                  </a:cubicBezTo>
                  <a:cubicBezTo>
                    <a:pt x="518" y="72"/>
                    <a:pt x="512" y="71"/>
                    <a:pt x="509" y="70"/>
                  </a:cubicBezTo>
                  <a:cubicBezTo>
                    <a:pt x="508" y="69"/>
                    <a:pt x="506" y="68"/>
                    <a:pt x="505" y="67"/>
                  </a:cubicBezTo>
                  <a:cubicBezTo>
                    <a:pt x="502" y="67"/>
                    <a:pt x="500" y="69"/>
                    <a:pt x="498" y="69"/>
                  </a:cubicBezTo>
                  <a:cubicBezTo>
                    <a:pt x="494" y="69"/>
                    <a:pt x="491" y="67"/>
                    <a:pt x="491" y="64"/>
                  </a:cubicBezTo>
                  <a:cubicBezTo>
                    <a:pt x="490" y="62"/>
                    <a:pt x="491" y="60"/>
                    <a:pt x="490" y="59"/>
                  </a:cubicBezTo>
                  <a:cubicBezTo>
                    <a:pt x="488" y="55"/>
                    <a:pt x="483" y="57"/>
                    <a:pt x="480" y="56"/>
                  </a:cubicBezTo>
                  <a:cubicBezTo>
                    <a:pt x="476" y="56"/>
                    <a:pt x="469" y="50"/>
                    <a:pt x="469" y="46"/>
                  </a:cubicBezTo>
                  <a:cubicBezTo>
                    <a:pt x="470" y="44"/>
                    <a:pt x="473" y="43"/>
                    <a:pt x="473" y="41"/>
                  </a:cubicBezTo>
                  <a:cubicBezTo>
                    <a:pt x="473" y="40"/>
                    <a:pt x="472" y="39"/>
                    <a:pt x="472" y="38"/>
                  </a:cubicBezTo>
                  <a:cubicBezTo>
                    <a:pt x="470" y="34"/>
                    <a:pt x="466" y="30"/>
                    <a:pt x="461" y="31"/>
                  </a:cubicBezTo>
                  <a:cubicBezTo>
                    <a:pt x="457" y="31"/>
                    <a:pt x="453" y="35"/>
                    <a:pt x="449" y="35"/>
                  </a:cubicBezTo>
                  <a:cubicBezTo>
                    <a:pt x="444" y="36"/>
                    <a:pt x="442" y="32"/>
                    <a:pt x="438" y="29"/>
                  </a:cubicBezTo>
                  <a:cubicBezTo>
                    <a:pt x="435" y="26"/>
                    <a:pt x="434" y="24"/>
                    <a:pt x="433" y="20"/>
                  </a:cubicBezTo>
                  <a:cubicBezTo>
                    <a:pt x="433" y="17"/>
                    <a:pt x="433" y="13"/>
                    <a:pt x="433" y="10"/>
                  </a:cubicBezTo>
                  <a:cubicBezTo>
                    <a:pt x="434" y="8"/>
                    <a:pt x="434" y="8"/>
                    <a:pt x="434" y="8"/>
                  </a:cubicBezTo>
                  <a:cubicBezTo>
                    <a:pt x="434" y="7"/>
                    <a:pt x="434" y="8"/>
                    <a:pt x="433" y="7"/>
                  </a:cubicBezTo>
                  <a:cubicBezTo>
                    <a:pt x="433" y="7"/>
                    <a:pt x="432" y="4"/>
                    <a:pt x="432" y="4"/>
                  </a:cubicBezTo>
                  <a:cubicBezTo>
                    <a:pt x="431" y="3"/>
                    <a:pt x="429" y="2"/>
                    <a:pt x="427" y="1"/>
                  </a:cubicBezTo>
                  <a:cubicBezTo>
                    <a:pt x="422" y="0"/>
                    <a:pt x="418" y="1"/>
                    <a:pt x="416" y="5"/>
                  </a:cubicBezTo>
                  <a:cubicBezTo>
                    <a:pt x="415" y="6"/>
                    <a:pt x="415" y="7"/>
                    <a:pt x="415" y="8"/>
                  </a:cubicBezTo>
                  <a:cubicBezTo>
                    <a:pt x="414" y="8"/>
                    <a:pt x="412" y="9"/>
                    <a:pt x="411" y="10"/>
                  </a:cubicBezTo>
                  <a:cubicBezTo>
                    <a:pt x="410" y="11"/>
                    <a:pt x="410" y="14"/>
                    <a:pt x="408" y="15"/>
                  </a:cubicBezTo>
                  <a:cubicBezTo>
                    <a:pt x="406" y="18"/>
                    <a:pt x="403" y="20"/>
                    <a:pt x="401" y="23"/>
                  </a:cubicBezTo>
                  <a:cubicBezTo>
                    <a:pt x="396" y="31"/>
                    <a:pt x="387" y="29"/>
                    <a:pt x="380" y="33"/>
                  </a:cubicBezTo>
                  <a:cubicBezTo>
                    <a:pt x="378" y="35"/>
                    <a:pt x="375" y="37"/>
                    <a:pt x="374" y="39"/>
                  </a:cubicBezTo>
                  <a:cubicBezTo>
                    <a:pt x="372" y="41"/>
                    <a:pt x="373" y="43"/>
                    <a:pt x="373" y="45"/>
                  </a:cubicBezTo>
                  <a:cubicBezTo>
                    <a:pt x="372" y="51"/>
                    <a:pt x="370" y="55"/>
                    <a:pt x="368" y="61"/>
                  </a:cubicBezTo>
                  <a:cubicBezTo>
                    <a:pt x="367" y="65"/>
                    <a:pt x="369" y="70"/>
                    <a:pt x="368" y="74"/>
                  </a:cubicBezTo>
                  <a:cubicBezTo>
                    <a:pt x="367" y="79"/>
                    <a:pt x="365" y="86"/>
                    <a:pt x="361" y="90"/>
                  </a:cubicBezTo>
                  <a:cubicBezTo>
                    <a:pt x="358" y="94"/>
                    <a:pt x="352" y="95"/>
                    <a:pt x="348" y="97"/>
                  </a:cubicBezTo>
                  <a:cubicBezTo>
                    <a:pt x="345" y="99"/>
                    <a:pt x="341" y="102"/>
                    <a:pt x="338" y="105"/>
                  </a:cubicBezTo>
                  <a:cubicBezTo>
                    <a:pt x="335" y="106"/>
                    <a:pt x="334" y="107"/>
                    <a:pt x="331" y="108"/>
                  </a:cubicBezTo>
                  <a:cubicBezTo>
                    <a:pt x="328" y="109"/>
                    <a:pt x="326" y="112"/>
                    <a:pt x="323" y="113"/>
                  </a:cubicBezTo>
                  <a:cubicBezTo>
                    <a:pt x="321" y="115"/>
                    <a:pt x="317" y="114"/>
                    <a:pt x="314" y="115"/>
                  </a:cubicBezTo>
                  <a:cubicBezTo>
                    <a:pt x="311" y="116"/>
                    <a:pt x="310" y="118"/>
                    <a:pt x="307" y="119"/>
                  </a:cubicBezTo>
                  <a:cubicBezTo>
                    <a:pt x="304" y="122"/>
                    <a:pt x="298" y="120"/>
                    <a:pt x="295" y="122"/>
                  </a:cubicBezTo>
                  <a:cubicBezTo>
                    <a:pt x="293" y="123"/>
                    <a:pt x="293" y="125"/>
                    <a:pt x="292" y="126"/>
                  </a:cubicBezTo>
                  <a:cubicBezTo>
                    <a:pt x="290" y="128"/>
                    <a:pt x="287" y="128"/>
                    <a:pt x="284" y="128"/>
                  </a:cubicBezTo>
                  <a:cubicBezTo>
                    <a:pt x="282" y="128"/>
                    <a:pt x="280" y="127"/>
                    <a:pt x="279" y="129"/>
                  </a:cubicBezTo>
                  <a:cubicBezTo>
                    <a:pt x="278" y="131"/>
                    <a:pt x="280" y="134"/>
                    <a:pt x="280" y="136"/>
                  </a:cubicBezTo>
                  <a:cubicBezTo>
                    <a:pt x="282" y="141"/>
                    <a:pt x="285" y="144"/>
                    <a:pt x="290" y="145"/>
                  </a:cubicBezTo>
                  <a:cubicBezTo>
                    <a:pt x="292" y="151"/>
                    <a:pt x="286" y="152"/>
                    <a:pt x="282" y="154"/>
                  </a:cubicBezTo>
                  <a:cubicBezTo>
                    <a:pt x="278" y="156"/>
                    <a:pt x="275" y="158"/>
                    <a:pt x="271" y="157"/>
                  </a:cubicBezTo>
                  <a:cubicBezTo>
                    <a:pt x="269" y="156"/>
                    <a:pt x="268" y="155"/>
                    <a:pt x="266" y="155"/>
                  </a:cubicBezTo>
                  <a:cubicBezTo>
                    <a:pt x="263" y="155"/>
                    <a:pt x="262" y="156"/>
                    <a:pt x="259" y="157"/>
                  </a:cubicBezTo>
                  <a:cubicBezTo>
                    <a:pt x="255" y="159"/>
                    <a:pt x="249" y="159"/>
                    <a:pt x="245" y="157"/>
                  </a:cubicBezTo>
                  <a:cubicBezTo>
                    <a:pt x="237" y="152"/>
                    <a:pt x="224" y="155"/>
                    <a:pt x="219" y="148"/>
                  </a:cubicBezTo>
                  <a:cubicBezTo>
                    <a:pt x="218" y="147"/>
                    <a:pt x="217" y="145"/>
                    <a:pt x="216" y="143"/>
                  </a:cubicBezTo>
                  <a:cubicBezTo>
                    <a:pt x="214" y="142"/>
                    <a:pt x="211" y="141"/>
                    <a:pt x="210" y="138"/>
                  </a:cubicBezTo>
                  <a:cubicBezTo>
                    <a:pt x="210" y="136"/>
                    <a:pt x="210" y="133"/>
                    <a:pt x="210" y="131"/>
                  </a:cubicBezTo>
                  <a:cubicBezTo>
                    <a:pt x="210" y="129"/>
                    <a:pt x="209" y="127"/>
                    <a:pt x="209" y="124"/>
                  </a:cubicBezTo>
                  <a:cubicBezTo>
                    <a:pt x="205" y="122"/>
                    <a:pt x="192" y="122"/>
                    <a:pt x="188" y="126"/>
                  </a:cubicBezTo>
                  <a:cubicBezTo>
                    <a:pt x="185" y="128"/>
                    <a:pt x="182" y="130"/>
                    <a:pt x="179" y="132"/>
                  </a:cubicBezTo>
                  <a:cubicBezTo>
                    <a:pt x="177" y="136"/>
                    <a:pt x="177" y="142"/>
                    <a:pt x="179" y="146"/>
                  </a:cubicBezTo>
                  <a:cubicBezTo>
                    <a:pt x="181" y="150"/>
                    <a:pt x="180" y="154"/>
                    <a:pt x="182" y="158"/>
                  </a:cubicBezTo>
                  <a:cubicBezTo>
                    <a:pt x="183" y="160"/>
                    <a:pt x="184" y="161"/>
                    <a:pt x="185" y="163"/>
                  </a:cubicBezTo>
                  <a:cubicBezTo>
                    <a:pt x="188" y="168"/>
                    <a:pt x="190" y="174"/>
                    <a:pt x="190" y="179"/>
                  </a:cubicBezTo>
                  <a:cubicBezTo>
                    <a:pt x="191" y="186"/>
                    <a:pt x="192" y="194"/>
                    <a:pt x="193" y="202"/>
                  </a:cubicBezTo>
                  <a:cubicBezTo>
                    <a:pt x="193" y="205"/>
                    <a:pt x="193" y="207"/>
                    <a:pt x="192" y="208"/>
                  </a:cubicBezTo>
                  <a:cubicBezTo>
                    <a:pt x="192" y="207"/>
                    <a:pt x="188" y="210"/>
                    <a:pt x="189" y="210"/>
                  </a:cubicBezTo>
                  <a:cubicBezTo>
                    <a:pt x="188" y="210"/>
                    <a:pt x="187" y="211"/>
                    <a:pt x="186" y="211"/>
                  </a:cubicBezTo>
                  <a:cubicBezTo>
                    <a:pt x="184" y="211"/>
                    <a:pt x="183" y="211"/>
                    <a:pt x="182" y="211"/>
                  </a:cubicBezTo>
                  <a:cubicBezTo>
                    <a:pt x="182" y="211"/>
                    <a:pt x="179" y="213"/>
                    <a:pt x="180" y="213"/>
                  </a:cubicBezTo>
                  <a:cubicBezTo>
                    <a:pt x="177" y="213"/>
                    <a:pt x="179" y="212"/>
                    <a:pt x="176" y="211"/>
                  </a:cubicBezTo>
                  <a:cubicBezTo>
                    <a:pt x="175" y="211"/>
                    <a:pt x="171" y="211"/>
                    <a:pt x="171" y="211"/>
                  </a:cubicBezTo>
                  <a:cubicBezTo>
                    <a:pt x="169" y="211"/>
                    <a:pt x="169" y="213"/>
                    <a:pt x="168" y="213"/>
                  </a:cubicBezTo>
                  <a:cubicBezTo>
                    <a:pt x="167" y="214"/>
                    <a:pt x="166" y="213"/>
                    <a:pt x="165" y="214"/>
                  </a:cubicBezTo>
                  <a:cubicBezTo>
                    <a:pt x="164" y="214"/>
                    <a:pt x="164" y="215"/>
                    <a:pt x="164" y="215"/>
                  </a:cubicBezTo>
                  <a:cubicBezTo>
                    <a:pt x="162" y="216"/>
                    <a:pt x="161" y="216"/>
                    <a:pt x="160" y="216"/>
                  </a:cubicBezTo>
                  <a:cubicBezTo>
                    <a:pt x="158" y="216"/>
                    <a:pt x="155" y="216"/>
                    <a:pt x="153" y="216"/>
                  </a:cubicBezTo>
                  <a:cubicBezTo>
                    <a:pt x="149" y="215"/>
                    <a:pt x="144" y="210"/>
                    <a:pt x="141" y="214"/>
                  </a:cubicBezTo>
                  <a:cubicBezTo>
                    <a:pt x="138" y="217"/>
                    <a:pt x="140" y="218"/>
                    <a:pt x="137" y="219"/>
                  </a:cubicBezTo>
                  <a:cubicBezTo>
                    <a:pt x="135" y="220"/>
                    <a:pt x="131" y="219"/>
                    <a:pt x="129" y="219"/>
                  </a:cubicBezTo>
                  <a:cubicBezTo>
                    <a:pt x="122" y="219"/>
                    <a:pt x="120" y="217"/>
                    <a:pt x="118" y="210"/>
                  </a:cubicBezTo>
                  <a:cubicBezTo>
                    <a:pt x="117" y="205"/>
                    <a:pt x="115" y="203"/>
                    <a:pt x="110" y="201"/>
                  </a:cubicBezTo>
                  <a:cubicBezTo>
                    <a:pt x="107" y="199"/>
                    <a:pt x="101" y="201"/>
                    <a:pt x="100" y="198"/>
                  </a:cubicBezTo>
                  <a:cubicBezTo>
                    <a:pt x="98" y="200"/>
                    <a:pt x="98" y="202"/>
                    <a:pt x="95" y="203"/>
                  </a:cubicBezTo>
                  <a:cubicBezTo>
                    <a:pt x="94" y="203"/>
                    <a:pt x="92" y="202"/>
                    <a:pt x="91" y="203"/>
                  </a:cubicBezTo>
                  <a:cubicBezTo>
                    <a:pt x="89" y="203"/>
                    <a:pt x="88" y="205"/>
                    <a:pt x="86" y="206"/>
                  </a:cubicBezTo>
                  <a:cubicBezTo>
                    <a:pt x="85" y="206"/>
                    <a:pt x="84" y="206"/>
                    <a:pt x="83" y="206"/>
                  </a:cubicBezTo>
                  <a:cubicBezTo>
                    <a:pt x="82" y="206"/>
                    <a:pt x="82" y="207"/>
                    <a:pt x="81" y="208"/>
                  </a:cubicBezTo>
                  <a:cubicBezTo>
                    <a:pt x="80" y="209"/>
                    <a:pt x="80" y="210"/>
                    <a:pt x="78" y="210"/>
                  </a:cubicBezTo>
                  <a:cubicBezTo>
                    <a:pt x="76" y="212"/>
                    <a:pt x="74" y="211"/>
                    <a:pt x="71" y="210"/>
                  </a:cubicBezTo>
                  <a:cubicBezTo>
                    <a:pt x="69" y="210"/>
                    <a:pt x="64" y="209"/>
                    <a:pt x="62" y="210"/>
                  </a:cubicBezTo>
                  <a:cubicBezTo>
                    <a:pt x="59" y="211"/>
                    <a:pt x="60" y="215"/>
                    <a:pt x="56" y="213"/>
                  </a:cubicBezTo>
                  <a:cubicBezTo>
                    <a:pt x="53" y="212"/>
                    <a:pt x="54" y="209"/>
                    <a:pt x="50" y="208"/>
                  </a:cubicBezTo>
                  <a:cubicBezTo>
                    <a:pt x="46" y="208"/>
                    <a:pt x="44" y="209"/>
                    <a:pt x="41" y="211"/>
                  </a:cubicBezTo>
                  <a:cubicBezTo>
                    <a:pt x="41" y="211"/>
                    <a:pt x="40" y="211"/>
                    <a:pt x="39" y="211"/>
                  </a:cubicBezTo>
                  <a:cubicBezTo>
                    <a:pt x="39" y="211"/>
                    <a:pt x="38" y="212"/>
                    <a:pt x="38" y="213"/>
                  </a:cubicBezTo>
                  <a:cubicBezTo>
                    <a:pt x="36" y="213"/>
                    <a:pt x="35" y="213"/>
                    <a:pt x="33" y="213"/>
                  </a:cubicBezTo>
                  <a:cubicBezTo>
                    <a:pt x="31" y="213"/>
                    <a:pt x="27" y="213"/>
                    <a:pt x="26" y="214"/>
                  </a:cubicBezTo>
                  <a:cubicBezTo>
                    <a:pt x="23" y="215"/>
                    <a:pt x="21" y="218"/>
                    <a:pt x="20" y="220"/>
                  </a:cubicBezTo>
                  <a:cubicBezTo>
                    <a:pt x="20" y="221"/>
                    <a:pt x="19" y="221"/>
                    <a:pt x="18" y="222"/>
                  </a:cubicBezTo>
                  <a:cubicBezTo>
                    <a:pt x="18" y="222"/>
                    <a:pt x="17" y="222"/>
                    <a:pt x="17" y="222"/>
                  </a:cubicBezTo>
                  <a:cubicBezTo>
                    <a:pt x="16" y="223"/>
                    <a:pt x="14" y="224"/>
                    <a:pt x="13" y="224"/>
                  </a:cubicBezTo>
                  <a:cubicBezTo>
                    <a:pt x="11" y="225"/>
                    <a:pt x="9" y="232"/>
                    <a:pt x="8" y="234"/>
                  </a:cubicBezTo>
                  <a:cubicBezTo>
                    <a:pt x="8" y="237"/>
                    <a:pt x="8" y="237"/>
                    <a:pt x="10" y="238"/>
                  </a:cubicBezTo>
                  <a:cubicBezTo>
                    <a:pt x="10" y="238"/>
                    <a:pt x="11" y="237"/>
                    <a:pt x="12" y="237"/>
                  </a:cubicBezTo>
                  <a:cubicBezTo>
                    <a:pt x="14" y="238"/>
                    <a:pt x="14" y="240"/>
                    <a:pt x="16" y="240"/>
                  </a:cubicBezTo>
                  <a:cubicBezTo>
                    <a:pt x="17" y="240"/>
                    <a:pt x="18" y="240"/>
                    <a:pt x="19" y="240"/>
                  </a:cubicBezTo>
                  <a:cubicBezTo>
                    <a:pt x="21" y="241"/>
                    <a:pt x="23" y="241"/>
                    <a:pt x="24" y="242"/>
                  </a:cubicBezTo>
                  <a:cubicBezTo>
                    <a:pt x="28" y="243"/>
                    <a:pt x="27" y="241"/>
                    <a:pt x="31" y="240"/>
                  </a:cubicBezTo>
                  <a:cubicBezTo>
                    <a:pt x="34" y="239"/>
                    <a:pt x="38" y="242"/>
                    <a:pt x="36" y="246"/>
                  </a:cubicBezTo>
                  <a:cubicBezTo>
                    <a:pt x="32" y="247"/>
                    <a:pt x="28" y="244"/>
                    <a:pt x="23" y="245"/>
                  </a:cubicBezTo>
                  <a:cubicBezTo>
                    <a:pt x="21" y="249"/>
                    <a:pt x="30" y="249"/>
                    <a:pt x="32" y="250"/>
                  </a:cubicBezTo>
                  <a:cubicBezTo>
                    <a:pt x="34" y="251"/>
                    <a:pt x="35" y="252"/>
                    <a:pt x="35" y="254"/>
                  </a:cubicBezTo>
                  <a:cubicBezTo>
                    <a:pt x="34" y="256"/>
                    <a:pt x="33" y="255"/>
                    <a:pt x="31" y="255"/>
                  </a:cubicBezTo>
                  <a:cubicBezTo>
                    <a:pt x="28" y="256"/>
                    <a:pt x="26" y="255"/>
                    <a:pt x="23" y="255"/>
                  </a:cubicBezTo>
                  <a:cubicBezTo>
                    <a:pt x="19" y="256"/>
                    <a:pt x="16" y="254"/>
                    <a:pt x="11" y="254"/>
                  </a:cubicBezTo>
                  <a:cubicBezTo>
                    <a:pt x="9" y="254"/>
                    <a:pt x="4" y="253"/>
                    <a:pt x="2" y="254"/>
                  </a:cubicBezTo>
                  <a:cubicBezTo>
                    <a:pt x="1" y="254"/>
                    <a:pt x="0" y="254"/>
                    <a:pt x="0" y="257"/>
                  </a:cubicBezTo>
                  <a:cubicBezTo>
                    <a:pt x="1" y="260"/>
                    <a:pt x="7" y="260"/>
                    <a:pt x="10" y="262"/>
                  </a:cubicBezTo>
                  <a:cubicBezTo>
                    <a:pt x="12" y="264"/>
                    <a:pt x="14" y="266"/>
                    <a:pt x="17" y="266"/>
                  </a:cubicBezTo>
                  <a:cubicBezTo>
                    <a:pt x="22" y="268"/>
                    <a:pt x="27" y="271"/>
                    <a:pt x="33" y="272"/>
                  </a:cubicBezTo>
                  <a:cubicBezTo>
                    <a:pt x="33" y="273"/>
                    <a:pt x="33" y="276"/>
                    <a:pt x="33" y="277"/>
                  </a:cubicBezTo>
                  <a:cubicBezTo>
                    <a:pt x="32" y="279"/>
                    <a:pt x="31" y="279"/>
                    <a:pt x="30" y="281"/>
                  </a:cubicBezTo>
                  <a:cubicBezTo>
                    <a:pt x="28" y="286"/>
                    <a:pt x="33" y="287"/>
                    <a:pt x="36" y="288"/>
                  </a:cubicBezTo>
                  <a:cubicBezTo>
                    <a:pt x="37" y="288"/>
                    <a:pt x="39" y="288"/>
                    <a:pt x="40" y="288"/>
                  </a:cubicBezTo>
                  <a:cubicBezTo>
                    <a:pt x="43" y="287"/>
                    <a:pt x="41" y="285"/>
                    <a:pt x="43" y="283"/>
                  </a:cubicBezTo>
                  <a:cubicBezTo>
                    <a:pt x="45" y="281"/>
                    <a:pt x="47" y="283"/>
                    <a:pt x="49" y="285"/>
                  </a:cubicBezTo>
                  <a:cubicBezTo>
                    <a:pt x="49" y="284"/>
                    <a:pt x="51" y="283"/>
                    <a:pt x="52" y="283"/>
                  </a:cubicBezTo>
                  <a:cubicBezTo>
                    <a:pt x="52" y="280"/>
                    <a:pt x="57" y="279"/>
                    <a:pt x="58" y="281"/>
                  </a:cubicBezTo>
                  <a:cubicBezTo>
                    <a:pt x="60" y="282"/>
                    <a:pt x="58" y="284"/>
                    <a:pt x="60" y="286"/>
                  </a:cubicBezTo>
                  <a:cubicBezTo>
                    <a:pt x="62" y="286"/>
                    <a:pt x="63" y="286"/>
                    <a:pt x="65" y="286"/>
                  </a:cubicBezTo>
                  <a:cubicBezTo>
                    <a:pt x="67" y="287"/>
                    <a:pt x="68" y="288"/>
                    <a:pt x="71" y="289"/>
                  </a:cubicBezTo>
                  <a:cubicBezTo>
                    <a:pt x="73" y="289"/>
                    <a:pt x="75" y="289"/>
                    <a:pt x="77" y="289"/>
                  </a:cubicBezTo>
                  <a:cubicBezTo>
                    <a:pt x="83" y="288"/>
                    <a:pt x="81" y="290"/>
                    <a:pt x="84" y="294"/>
                  </a:cubicBezTo>
                  <a:cubicBezTo>
                    <a:pt x="85" y="297"/>
                    <a:pt x="84" y="295"/>
                    <a:pt x="87" y="296"/>
                  </a:cubicBezTo>
                  <a:cubicBezTo>
                    <a:pt x="89" y="297"/>
                    <a:pt x="88" y="297"/>
                    <a:pt x="90" y="299"/>
                  </a:cubicBezTo>
                  <a:cubicBezTo>
                    <a:pt x="93" y="301"/>
                    <a:pt x="93" y="301"/>
                    <a:pt x="96" y="302"/>
                  </a:cubicBezTo>
                  <a:cubicBezTo>
                    <a:pt x="100" y="302"/>
                    <a:pt x="98" y="302"/>
                    <a:pt x="101" y="305"/>
                  </a:cubicBezTo>
                  <a:cubicBezTo>
                    <a:pt x="104" y="308"/>
                    <a:pt x="108" y="306"/>
                    <a:pt x="112" y="305"/>
                  </a:cubicBezTo>
                  <a:cubicBezTo>
                    <a:pt x="114" y="303"/>
                    <a:pt x="118" y="303"/>
                    <a:pt x="120" y="304"/>
                  </a:cubicBezTo>
                  <a:cubicBezTo>
                    <a:pt x="123" y="309"/>
                    <a:pt x="113" y="305"/>
                    <a:pt x="114" y="310"/>
                  </a:cubicBezTo>
                  <a:cubicBezTo>
                    <a:pt x="114" y="313"/>
                    <a:pt x="126" y="312"/>
                    <a:pt x="129" y="312"/>
                  </a:cubicBezTo>
                  <a:cubicBezTo>
                    <a:pt x="132" y="312"/>
                    <a:pt x="136" y="311"/>
                    <a:pt x="136" y="315"/>
                  </a:cubicBezTo>
                  <a:cubicBezTo>
                    <a:pt x="136" y="317"/>
                    <a:pt x="134" y="319"/>
                    <a:pt x="133" y="320"/>
                  </a:cubicBezTo>
                  <a:cubicBezTo>
                    <a:pt x="132" y="321"/>
                    <a:pt x="131" y="325"/>
                    <a:pt x="132" y="326"/>
                  </a:cubicBezTo>
                  <a:cubicBezTo>
                    <a:pt x="132" y="331"/>
                    <a:pt x="139" y="327"/>
                    <a:pt x="142" y="328"/>
                  </a:cubicBezTo>
                  <a:cubicBezTo>
                    <a:pt x="145" y="329"/>
                    <a:pt x="147" y="333"/>
                    <a:pt x="148" y="335"/>
                  </a:cubicBezTo>
                  <a:cubicBezTo>
                    <a:pt x="148" y="337"/>
                    <a:pt x="147" y="340"/>
                    <a:pt x="147" y="341"/>
                  </a:cubicBezTo>
                  <a:cubicBezTo>
                    <a:pt x="148" y="343"/>
                    <a:pt x="151" y="343"/>
                    <a:pt x="153" y="344"/>
                  </a:cubicBezTo>
                  <a:cubicBezTo>
                    <a:pt x="155" y="346"/>
                    <a:pt x="155" y="346"/>
                    <a:pt x="156" y="349"/>
                  </a:cubicBezTo>
                  <a:cubicBezTo>
                    <a:pt x="157" y="350"/>
                    <a:pt x="158" y="354"/>
                    <a:pt x="157" y="355"/>
                  </a:cubicBezTo>
                  <a:cubicBezTo>
                    <a:pt x="156" y="355"/>
                    <a:pt x="154" y="356"/>
                    <a:pt x="153" y="355"/>
                  </a:cubicBezTo>
                  <a:cubicBezTo>
                    <a:pt x="152" y="355"/>
                    <a:pt x="150" y="351"/>
                    <a:pt x="149" y="350"/>
                  </a:cubicBezTo>
                  <a:cubicBezTo>
                    <a:pt x="148" y="349"/>
                    <a:pt x="148" y="347"/>
                    <a:pt x="145" y="347"/>
                  </a:cubicBezTo>
                  <a:cubicBezTo>
                    <a:pt x="142" y="347"/>
                    <a:pt x="141" y="351"/>
                    <a:pt x="142" y="353"/>
                  </a:cubicBezTo>
                  <a:cubicBezTo>
                    <a:pt x="143" y="355"/>
                    <a:pt x="146" y="356"/>
                    <a:pt x="147" y="358"/>
                  </a:cubicBezTo>
                  <a:cubicBezTo>
                    <a:pt x="149" y="360"/>
                    <a:pt x="150" y="362"/>
                    <a:pt x="152" y="364"/>
                  </a:cubicBezTo>
                  <a:cubicBezTo>
                    <a:pt x="156" y="368"/>
                    <a:pt x="161" y="373"/>
                    <a:pt x="161" y="379"/>
                  </a:cubicBezTo>
                  <a:cubicBezTo>
                    <a:pt x="165" y="379"/>
                    <a:pt x="165" y="385"/>
                    <a:pt x="167" y="387"/>
                  </a:cubicBezTo>
                  <a:cubicBezTo>
                    <a:pt x="169" y="388"/>
                    <a:pt x="171" y="388"/>
                    <a:pt x="172" y="389"/>
                  </a:cubicBezTo>
                  <a:cubicBezTo>
                    <a:pt x="174" y="390"/>
                    <a:pt x="174" y="393"/>
                    <a:pt x="175" y="395"/>
                  </a:cubicBezTo>
                  <a:cubicBezTo>
                    <a:pt x="176" y="396"/>
                    <a:pt x="179" y="400"/>
                    <a:pt x="180" y="400"/>
                  </a:cubicBezTo>
                  <a:cubicBezTo>
                    <a:pt x="182" y="401"/>
                    <a:pt x="184" y="401"/>
                    <a:pt x="187" y="401"/>
                  </a:cubicBezTo>
                  <a:cubicBezTo>
                    <a:pt x="191" y="401"/>
                    <a:pt x="192" y="403"/>
                    <a:pt x="196" y="403"/>
                  </a:cubicBezTo>
                  <a:cubicBezTo>
                    <a:pt x="199" y="403"/>
                    <a:pt x="199" y="403"/>
                    <a:pt x="201" y="404"/>
                  </a:cubicBezTo>
                  <a:cubicBezTo>
                    <a:pt x="202" y="405"/>
                    <a:pt x="203" y="407"/>
                    <a:pt x="205" y="408"/>
                  </a:cubicBezTo>
                  <a:cubicBezTo>
                    <a:pt x="207" y="408"/>
                    <a:pt x="207" y="407"/>
                    <a:pt x="208" y="406"/>
                  </a:cubicBezTo>
                  <a:cubicBezTo>
                    <a:pt x="210" y="406"/>
                    <a:pt x="212" y="405"/>
                    <a:pt x="214" y="405"/>
                  </a:cubicBezTo>
                  <a:cubicBezTo>
                    <a:pt x="218" y="405"/>
                    <a:pt x="222" y="405"/>
                    <a:pt x="226" y="405"/>
                  </a:cubicBezTo>
                  <a:cubicBezTo>
                    <a:pt x="228" y="405"/>
                    <a:pt x="231" y="404"/>
                    <a:pt x="231" y="406"/>
                  </a:cubicBezTo>
                  <a:cubicBezTo>
                    <a:pt x="232" y="409"/>
                    <a:pt x="226" y="409"/>
                    <a:pt x="224" y="409"/>
                  </a:cubicBezTo>
                  <a:cubicBezTo>
                    <a:pt x="221" y="409"/>
                    <a:pt x="218" y="409"/>
                    <a:pt x="215" y="409"/>
                  </a:cubicBezTo>
                  <a:cubicBezTo>
                    <a:pt x="211" y="409"/>
                    <a:pt x="208" y="407"/>
                    <a:pt x="208" y="412"/>
                  </a:cubicBezTo>
                  <a:cubicBezTo>
                    <a:pt x="208" y="414"/>
                    <a:pt x="208" y="417"/>
                    <a:pt x="209" y="419"/>
                  </a:cubicBezTo>
                  <a:cubicBezTo>
                    <a:pt x="210" y="420"/>
                    <a:pt x="211" y="421"/>
                    <a:pt x="212" y="422"/>
                  </a:cubicBezTo>
                  <a:cubicBezTo>
                    <a:pt x="214" y="426"/>
                    <a:pt x="212" y="431"/>
                    <a:pt x="211" y="434"/>
                  </a:cubicBezTo>
                  <a:cubicBezTo>
                    <a:pt x="211" y="436"/>
                    <a:pt x="211" y="443"/>
                    <a:pt x="208" y="443"/>
                  </a:cubicBezTo>
                  <a:cubicBezTo>
                    <a:pt x="208" y="442"/>
                    <a:pt x="204" y="438"/>
                    <a:pt x="204" y="438"/>
                  </a:cubicBezTo>
                  <a:cubicBezTo>
                    <a:pt x="203" y="437"/>
                    <a:pt x="202" y="436"/>
                    <a:pt x="202" y="434"/>
                  </a:cubicBezTo>
                  <a:cubicBezTo>
                    <a:pt x="199" y="430"/>
                    <a:pt x="198" y="432"/>
                    <a:pt x="194" y="430"/>
                  </a:cubicBezTo>
                  <a:cubicBezTo>
                    <a:pt x="189" y="428"/>
                    <a:pt x="193" y="424"/>
                    <a:pt x="189" y="422"/>
                  </a:cubicBezTo>
                  <a:cubicBezTo>
                    <a:pt x="186" y="424"/>
                    <a:pt x="190" y="429"/>
                    <a:pt x="192" y="431"/>
                  </a:cubicBezTo>
                  <a:cubicBezTo>
                    <a:pt x="193" y="433"/>
                    <a:pt x="193" y="434"/>
                    <a:pt x="194" y="435"/>
                  </a:cubicBezTo>
                  <a:cubicBezTo>
                    <a:pt x="196" y="437"/>
                    <a:pt x="196" y="437"/>
                    <a:pt x="198" y="438"/>
                  </a:cubicBezTo>
                  <a:cubicBezTo>
                    <a:pt x="202" y="441"/>
                    <a:pt x="201" y="446"/>
                    <a:pt x="203" y="450"/>
                  </a:cubicBezTo>
                  <a:cubicBezTo>
                    <a:pt x="205" y="454"/>
                    <a:pt x="206" y="458"/>
                    <a:pt x="210" y="460"/>
                  </a:cubicBezTo>
                  <a:cubicBezTo>
                    <a:pt x="212" y="461"/>
                    <a:pt x="214" y="463"/>
                    <a:pt x="216" y="464"/>
                  </a:cubicBezTo>
                  <a:cubicBezTo>
                    <a:pt x="217" y="465"/>
                    <a:pt x="220" y="467"/>
                    <a:pt x="221" y="468"/>
                  </a:cubicBezTo>
                  <a:cubicBezTo>
                    <a:pt x="223" y="470"/>
                    <a:pt x="222" y="473"/>
                    <a:pt x="223" y="475"/>
                  </a:cubicBezTo>
                  <a:cubicBezTo>
                    <a:pt x="225" y="480"/>
                    <a:pt x="227" y="485"/>
                    <a:pt x="229" y="490"/>
                  </a:cubicBezTo>
                  <a:cubicBezTo>
                    <a:pt x="231" y="494"/>
                    <a:pt x="230" y="499"/>
                    <a:pt x="231" y="503"/>
                  </a:cubicBezTo>
                  <a:cubicBezTo>
                    <a:pt x="232" y="505"/>
                    <a:pt x="233" y="506"/>
                    <a:pt x="233" y="507"/>
                  </a:cubicBezTo>
                  <a:cubicBezTo>
                    <a:pt x="234" y="509"/>
                    <a:pt x="234" y="511"/>
                    <a:pt x="234" y="514"/>
                  </a:cubicBezTo>
                  <a:cubicBezTo>
                    <a:pt x="234" y="510"/>
                    <a:pt x="232" y="505"/>
                    <a:pt x="229" y="502"/>
                  </a:cubicBezTo>
                  <a:cubicBezTo>
                    <a:pt x="227" y="498"/>
                    <a:pt x="225" y="494"/>
                    <a:pt x="223" y="491"/>
                  </a:cubicBezTo>
                  <a:cubicBezTo>
                    <a:pt x="221" y="487"/>
                    <a:pt x="221" y="482"/>
                    <a:pt x="219" y="479"/>
                  </a:cubicBezTo>
                  <a:cubicBezTo>
                    <a:pt x="216" y="476"/>
                    <a:pt x="213" y="472"/>
                    <a:pt x="210" y="470"/>
                  </a:cubicBezTo>
                  <a:cubicBezTo>
                    <a:pt x="210" y="470"/>
                    <a:pt x="206" y="467"/>
                    <a:pt x="206" y="467"/>
                  </a:cubicBezTo>
                  <a:cubicBezTo>
                    <a:pt x="204" y="467"/>
                    <a:pt x="203" y="472"/>
                    <a:pt x="203" y="474"/>
                  </a:cubicBezTo>
                  <a:cubicBezTo>
                    <a:pt x="202" y="479"/>
                    <a:pt x="203" y="485"/>
                    <a:pt x="203" y="491"/>
                  </a:cubicBezTo>
                  <a:cubicBezTo>
                    <a:pt x="203" y="494"/>
                    <a:pt x="203" y="497"/>
                    <a:pt x="203" y="500"/>
                  </a:cubicBezTo>
                  <a:cubicBezTo>
                    <a:pt x="202" y="502"/>
                    <a:pt x="201" y="503"/>
                    <a:pt x="200" y="505"/>
                  </a:cubicBezTo>
                  <a:cubicBezTo>
                    <a:pt x="199" y="508"/>
                    <a:pt x="200" y="512"/>
                    <a:pt x="199" y="516"/>
                  </a:cubicBezTo>
                  <a:cubicBezTo>
                    <a:pt x="198" y="519"/>
                    <a:pt x="197" y="521"/>
                    <a:pt x="196" y="524"/>
                  </a:cubicBezTo>
                  <a:cubicBezTo>
                    <a:pt x="196" y="528"/>
                    <a:pt x="195" y="532"/>
                    <a:pt x="194" y="535"/>
                  </a:cubicBezTo>
                  <a:cubicBezTo>
                    <a:pt x="194" y="538"/>
                    <a:pt x="194" y="541"/>
                    <a:pt x="194" y="543"/>
                  </a:cubicBezTo>
                  <a:cubicBezTo>
                    <a:pt x="193" y="546"/>
                    <a:pt x="192" y="548"/>
                    <a:pt x="191" y="551"/>
                  </a:cubicBezTo>
                  <a:cubicBezTo>
                    <a:pt x="191" y="556"/>
                    <a:pt x="190" y="560"/>
                    <a:pt x="189" y="565"/>
                  </a:cubicBezTo>
                  <a:cubicBezTo>
                    <a:pt x="189" y="567"/>
                    <a:pt x="188" y="570"/>
                    <a:pt x="188" y="573"/>
                  </a:cubicBezTo>
                  <a:cubicBezTo>
                    <a:pt x="187" y="577"/>
                    <a:pt x="186" y="576"/>
                    <a:pt x="184" y="579"/>
                  </a:cubicBezTo>
                  <a:cubicBezTo>
                    <a:pt x="181" y="583"/>
                    <a:pt x="182" y="589"/>
                    <a:pt x="182" y="594"/>
                  </a:cubicBezTo>
                  <a:cubicBezTo>
                    <a:pt x="182" y="600"/>
                    <a:pt x="182" y="606"/>
                    <a:pt x="181" y="610"/>
                  </a:cubicBezTo>
                  <a:cubicBezTo>
                    <a:pt x="179" y="617"/>
                    <a:pt x="176" y="619"/>
                    <a:pt x="170" y="623"/>
                  </a:cubicBezTo>
                  <a:cubicBezTo>
                    <a:pt x="168" y="624"/>
                    <a:pt x="166" y="626"/>
                    <a:pt x="165" y="627"/>
                  </a:cubicBezTo>
                  <a:cubicBezTo>
                    <a:pt x="164" y="629"/>
                    <a:pt x="164" y="633"/>
                    <a:pt x="164" y="635"/>
                  </a:cubicBezTo>
                  <a:cubicBezTo>
                    <a:pt x="165" y="636"/>
                    <a:pt x="166" y="637"/>
                    <a:pt x="166" y="637"/>
                  </a:cubicBezTo>
                  <a:cubicBezTo>
                    <a:pt x="168" y="637"/>
                    <a:pt x="169" y="638"/>
                    <a:pt x="169" y="638"/>
                  </a:cubicBezTo>
                  <a:cubicBezTo>
                    <a:pt x="170" y="639"/>
                    <a:pt x="171" y="639"/>
                    <a:pt x="172" y="640"/>
                  </a:cubicBezTo>
                  <a:cubicBezTo>
                    <a:pt x="173" y="640"/>
                    <a:pt x="174" y="640"/>
                    <a:pt x="175" y="640"/>
                  </a:cubicBezTo>
                  <a:cubicBezTo>
                    <a:pt x="176" y="641"/>
                    <a:pt x="178" y="640"/>
                    <a:pt x="179" y="642"/>
                  </a:cubicBezTo>
                  <a:cubicBezTo>
                    <a:pt x="182" y="646"/>
                    <a:pt x="176" y="649"/>
                    <a:pt x="177" y="653"/>
                  </a:cubicBezTo>
                  <a:cubicBezTo>
                    <a:pt x="178" y="657"/>
                    <a:pt x="180" y="658"/>
                    <a:pt x="182" y="656"/>
                  </a:cubicBezTo>
                  <a:cubicBezTo>
                    <a:pt x="184" y="655"/>
                    <a:pt x="185" y="652"/>
                    <a:pt x="188" y="653"/>
                  </a:cubicBezTo>
                  <a:cubicBezTo>
                    <a:pt x="188" y="657"/>
                    <a:pt x="194" y="659"/>
                    <a:pt x="197" y="661"/>
                  </a:cubicBezTo>
                  <a:cubicBezTo>
                    <a:pt x="199" y="663"/>
                    <a:pt x="201" y="664"/>
                    <a:pt x="203" y="665"/>
                  </a:cubicBezTo>
                  <a:cubicBezTo>
                    <a:pt x="210" y="668"/>
                    <a:pt x="217" y="665"/>
                    <a:pt x="219" y="674"/>
                  </a:cubicBezTo>
                  <a:cubicBezTo>
                    <a:pt x="225" y="675"/>
                    <a:pt x="230" y="677"/>
                    <a:pt x="235" y="677"/>
                  </a:cubicBezTo>
                  <a:cubicBezTo>
                    <a:pt x="238" y="678"/>
                    <a:pt x="242" y="676"/>
                    <a:pt x="244" y="677"/>
                  </a:cubicBezTo>
                  <a:cubicBezTo>
                    <a:pt x="245" y="677"/>
                    <a:pt x="247" y="679"/>
                    <a:pt x="247" y="680"/>
                  </a:cubicBezTo>
                  <a:cubicBezTo>
                    <a:pt x="249" y="681"/>
                    <a:pt x="251" y="682"/>
                    <a:pt x="253" y="683"/>
                  </a:cubicBezTo>
                  <a:cubicBezTo>
                    <a:pt x="254" y="684"/>
                    <a:pt x="256" y="685"/>
                    <a:pt x="258" y="685"/>
                  </a:cubicBezTo>
                  <a:cubicBezTo>
                    <a:pt x="260" y="685"/>
                    <a:pt x="262" y="684"/>
                    <a:pt x="265" y="684"/>
                  </a:cubicBezTo>
                  <a:cubicBezTo>
                    <a:pt x="273" y="684"/>
                    <a:pt x="282" y="685"/>
                    <a:pt x="290" y="684"/>
                  </a:cubicBezTo>
                  <a:cubicBezTo>
                    <a:pt x="292" y="684"/>
                    <a:pt x="293" y="685"/>
                    <a:pt x="294" y="683"/>
                  </a:cubicBezTo>
                  <a:cubicBezTo>
                    <a:pt x="295" y="682"/>
                    <a:pt x="294" y="681"/>
                    <a:pt x="295" y="680"/>
                  </a:cubicBezTo>
                  <a:cubicBezTo>
                    <a:pt x="295" y="678"/>
                    <a:pt x="296" y="678"/>
                    <a:pt x="296" y="677"/>
                  </a:cubicBezTo>
                  <a:cubicBezTo>
                    <a:pt x="297" y="676"/>
                    <a:pt x="297" y="674"/>
                    <a:pt x="297" y="672"/>
                  </a:cubicBezTo>
                  <a:cubicBezTo>
                    <a:pt x="300" y="673"/>
                    <a:pt x="302" y="675"/>
                    <a:pt x="305" y="675"/>
                  </a:cubicBezTo>
                  <a:cubicBezTo>
                    <a:pt x="309" y="676"/>
                    <a:pt x="313" y="679"/>
                    <a:pt x="318" y="680"/>
                  </a:cubicBezTo>
                  <a:cubicBezTo>
                    <a:pt x="320" y="680"/>
                    <a:pt x="322" y="680"/>
                    <a:pt x="324" y="681"/>
                  </a:cubicBezTo>
                  <a:cubicBezTo>
                    <a:pt x="327" y="682"/>
                    <a:pt x="328" y="683"/>
                    <a:pt x="330" y="684"/>
                  </a:cubicBezTo>
                  <a:cubicBezTo>
                    <a:pt x="333" y="685"/>
                    <a:pt x="336" y="687"/>
                    <a:pt x="337" y="690"/>
                  </a:cubicBezTo>
                  <a:cubicBezTo>
                    <a:pt x="337" y="690"/>
                    <a:pt x="337" y="690"/>
                    <a:pt x="337" y="690"/>
                  </a:cubicBezTo>
                  <a:cubicBezTo>
                    <a:pt x="338" y="690"/>
                    <a:pt x="338" y="689"/>
                    <a:pt x="338" y="689"/>
                  </a:cubicBezTo>
                  <a:cubicBezTo>
                    <a:pt x="339" y="689"/>
                    <a:pt x="339" y="688"/>
                    <a:pt x="339" y="688"/>
                  </a:cubicBezTo>
                  <a:cubicBezTo>
                    <a:pt x="340" y="686"/>
                    <a:pt x="340" y="685"/>
                    <a:pt x="342" y="684"/>
                  </a:cubicBezTo>
                  <a:cubicBezTo>
                    <a:pt x="342" y="684"/>
                    <a:pt x="343" y="685"/>
                    <a:pt x="344" y="685"/>
                  </a:cubicBezTo>
                  <a:cubicBezTo>
                    <a:pt x="345" y="686"/>
                    <a:pt x="346" y="686"/>
                    <a:pt x="346" y="687"/>
                  </a:cubicBezTo>
                  <a:cubicBezTo>
                    <a:pt x="348" y="688"/>
                    <a:pt x="349" y="687"/>
                    <a:pt x="349" y="687"/>
                  </a:cubicBezTo>
                  <a:cubicBezTo>
                    <a:pt x="350" y="688"/>
                    <a:pt x="351" y="688"/>
                    <a:pt x="352" y="688"/>
                  </a:cubicBezTo>
                  <a:cubicBezTo>
                    <a:pt x="353" y="689"/>
                    <a:pt x="355" y="689"/>
                    <a:pt x="356" y="689"/>
                  </a:cubicBezTo>
                  <a:cubicBezTo>
                    <a:pt x="358" y="690"/>
                    <a:pt x="360" y="692"/>
                    <a:pt x="362" y="693"/>
                  </a:cubicBezTo>
                  <a:cubicBezTo>
                    <a:pt x="363" y="693"/>
                    <a:pt x="363" y="693"/>
                    <a:pt x="364" y="693"/>
                  </a:cubicBezTo>
                  <a:cubicBezTo>
                    <a:pt x="365" y="693"/>
                    <a:pt x="366" y="694"/>
                    <a:pt x="367" y="694"/>
                  </a:cubicBezTo>
                  <a:cubicBezTo>
                    <a:pt x="368" y="695"/>
                    <a:pt x="370" y="695"/>
                    <a:pt x="371" y="697"/>
                  </a:cubicBezTo>
                  <a:cubicBezTo>
                    <a:pt x="372" y="698"/>
                    <a:pt x="372" y="699"/>
                    <a:pt x="372" y="700"/>
                  </a:cubicBezTo>
                  <a:cubicBezTo>
                    <a:pt x="372" y="701"/>
                    <a:pt x="372" y="702"/>
                    <a:pt x="373" y="703"/>
                  </a:cubicBezTo>
                  <a:cubicBezTo>
                    <a:pt x="373" y="705"/>
                    <a:pt x="374" y="707"/>
                    <a:pt x="373" y="709"/>
                  </a:cubicBezTo>
                  <a:cubicBezTo>
                    <a:pt x="373" y="710"/>
                    <a:pt x="373" y="710"/>
                    <a:pt x="372" y="710"/>
                  </a:cubicBezTo>
                  <a:cubicBezTo>
                    <a:pt x="372" y="710"/>
                    <a:pt x="372" y="710"/>
                    <a:pt x="372" y="710"/>
                  </a:cubicBezTo>
                  <a:cubicBezTo>
                    <a:pt x="374" y="711"/>
                    <a:pt x="374" y="712"/>
                    <a:pt x="376" y="711"/>
                  </a:cubicBezTo>
                  <a:cubicBezTo>
                    <a:pt x="378" y="711"/>
                    <a:pt x="378" y="710"/>
                    <a:pt x="380" y="709"/>
                  </a:cubicBezTo>
                  <a:cubicBezTo>
                    <a:pt x="380" y="709"/>
                    <a:pt x="381" y="709"/>
                    <a:pt x="381" y="709"/>
                  </a:cubicBezTo>
                  <a:cubicBezTo>
                    <a:pt x="382" y="708"/>
                    <a:pt x="382" y="708"/>
                    <a:pt x="382" y="707"/>
                  </a:cubicBezTo>
                  <a:cubicBezTo>
                    <a:pt x="383" y="707"/>
                    <a:pt x="384" y="706"/>
                    <a:pt x="385" y="706"/>
                  </a:cubicBezTo>
                  <a:cubicBezTo>
                    <a:pt x="390" y="705"/>
                    <a:pt x="397" y="708"/>
                    <a:pt x="402" y="709"/>
                  </a:cubicBezTo>
                  <a:cubicBezTo>
                    <a:pt x="407" y="710"/>
                    <a:pt x="408" y="707"/>
                    <a:pt x="412" y="705"/>
                  </a:cubicBezTo>
                  <a:cubicBezTo>
                    <a:pt x="416" y="704"/>
                    <a:pt x="418" y="703"/>
                    <a:pt x="422" y="703"/>
                  </a:cubicBezTo>
                  <a:cubicBezTo>
                    <a:pt x="427" y="703"/>
                    <a:pt x="432" y="703"/>
                    <a:pt x="437" y="704"/>
                  </a:cubicBezTo>
                  <a:cubicBezTo>
                    <a:pt x="439" y="704"/>
                    <a:pt x="440" y="705"/>
                    <a:pt x="442" y="706"/>
                  </a:cubicBezTo>
                  <a:cubicBezTo>
                    <a:pt x="441" y="703"/>
                    <a:pt x="439" y="702"/>
                    <a:pt x="436" y="699"/>
                  </a:cubicBezTo>
                  <a:cubicBezTo>
                    <a:pt x="431" y="695"/>
                    <a:pt x="431" y="690"/>
                    <a:pt x="431" y="685"/>
                  </a:cubicBezTo>
                  <a:cubicBezTo>
                    <a:pt x="431" y="682"/>
                    <a:pt x="431" y="679"/>
                    <a:pt x="432" y="677"/>
                  </a:cubicBezTo>
                  <a:cubicBezTo>
                    <a:pt x="432" y="675"/>
                    <a:pt x="432" y="675"/>
                    <a:pt x="433" y="674"/>
                  </a:cubicBezTo>
                  <a:cubicBezTo>
                    <a:pt x="434" y="672"/>
                    <a:pt x="434" y="672"/>
                    <a:pt x="435" y="671"/>
                  </a:cubicBezTo>
                  <a:cubicBezTo>
                    <a:pt x="438" y="667"/>
                    <a:pt x="438" y="664"/>
                    <a:pt x="440" y="659"/>
                  </a:cubicBezTo>
                  <a:cubicBezTo>
                    <a:pt x="442" y="655"/>
                    <a:pt x="445" y="654"/>
                    <a:pt x="448" y="651"/>
                  </a:cubicBezTo>
                  <a:cubicBezTo>
                    <a:pt x="450" y="649"/>
                    <a:pt x="451" y="648"/>
                    <a:pt x="452" y="646"/>
                  </a:cubicBezTo>
                  <a:cubicBezTo>
                    <a:pt x="453" y="644"/>
                    <a:pt x="453" y="641"/>
                    <a:pt x="455" y="639"/>
                  </a:cubicBezTo>
                  <a:cubicBezTo>
                    <a:pt x="458" y="636"/>
                    <a:pt x="460" y="635"/>
                    <a:pt x="464" y="634"/>
                  </a:cubicBezTo>
                  <a:cubicBezTo>
                    <a:pt x="469" y="634"/>
                    <a:pt x="471" y="630"/>
                    <a:pt x="474" y="627"/>
                  </a:cubicBezTo>
                  <a:cubicBezTo>
                    <a:pt x="478" y="623"/>
                    <a:pt x="481" y="621"/>
                    <a:pt x="487" y="621"/>
                  </a:cubicBezTo>
                  <a:cubicBezTo>
                    <a:pt x="489" y="621"/>
                    <a:pt x="489" y="622"/>
                    <a:pt x="491" y="622"/>
                  </a:cubicBezTo>
                  <a:cubicBezTo>
                    <a:pt x="492" y="623"/>
                    <a:pt x="493" y="624"/>
                    <a:pt x="494" y="624"/>
                  </a:cubicBezTo>
                  <a:cubicBezTo>
                    <a:pt x="495" y="624"/>
                    <a:pt x="496" y="624"/>
                    <a:pt x="497" y="624"/>
                  </a:cubicBezTo>
                  <a:cubicBezTo>
                    <a:pt x="500" y="624"/>
                    <a:pt x="503" y="624"/>
                    <a:pt x="505" y="624"/>
                  </a:cubicBezTo>
                  <a:cubicBezTo>
                    <a:pt x="506" y="625"/>
                    <a:pt x="506" y="626"/>
                    <a:pt x="507" y="626"/>
                  </a:cubicBezTo>
                  <a:cubicBezTo>
                    <a:pt x="508" y="626"/>
                    <a:pt x="510" y="626"/>
                    <a:pt x="511" y="626"/>
                  </a:cubicBezTo>
                  <a:cubicBezTo>
                    <a:pt x="513" y="626"/>
                    <a:pt x="515" y="626"/>
                    <a:pt x="517" y="626"/>
                  </a:cubicBezTo>
                  <a:cubicBezTo>
                    <a:pt x="518" y="626"/>
                    <a:pt x="519" y="626"/>
                    <a:pt x="520" y="626"/>
                  </a:cubicBezTo>
                  <a:cubicBezTo>
                    <a:pt x="521" y="626"/>
                    <a:pt x="522" y="625"/>
                    <a:pt x="523" y="625"/>
                  </a:cubicBezTo>
                  <a:cubicBezTo>
                    <a:pt x="524" y="625"/>
                    <a:pt x="524" y="624"/>
                    <a:pt x="526" y="624"/>
                  </a:cubicBezTo>
                  <a:cubicBezTo>
                    <a:pt x="526" y="626"/>
                    <a:pt x="525" y="631"/>
                    <a:pt x="526" y="633"/>
                  </a:cubicBezTo>
                  <a:cubicBezTo>
                    <a:pt x="527" y="635"/>
                    <a:pt x="529" y="634"/>
                    <a:pt x="532" y="634"/>
                  </a:cubicBezTo>
                  <a:cubicBezTo>
                    <a:pt x="532" y="634"/>
                    <a:pt x="534" y="635"/>
                    <a:pt x="534" y="634"/>
                  </a:cubicBezTo>
                  <a:cubicBezTo>
                    <a:pt x="536" y="634"/>
                    <a:pt x="535" y="634"/>
                    <a:pt x="536" y="632"/>
                  </a:cubicBezTo>
                  <a:cubicBezTo>
                    <a:pt x="537" y="631"/>
                    <a:pt x="537" y="630"/>
                    <a:pt x="538" y="629"/>
                  </a:cubicBezTo>
                  <a:cubicBezTo>
                    <a:pt x="539" y="628"/>
                    <a:pt x="541" y="630"/>
                    <a:pt x="541" y="627"/>
                  </a:cubicBezTo>
                  <a:cubicBezTo>
                    <a:pt x="546" y="630"/>
                    <a:pt x="542" y="632"/>
                    <a:pt x="543" y="635"/>
                  </a:cubicBezTo>
                  <a:cubicBezTo>
                    <a:pt x="545" y="635"/>
                    <a:pt x="545" y="637"/>
                    <a:pt x="547" y="637"/>
                  </a:cubicBezTo>
                  <a:cubicBezTo>
                    <a:pt x="549" y="638"/>
                    <a:pt x="549" y="636"/>
                    <a:pt x="551" y="635"/>
                  </a:cubicBezTo>
                  <a:cubicBezTo>
                    <a:pt x="552" y="635"/>
                    <a:pt x="557" y="635"/>
                    <a:pt x="558" y="635"/>
                  </a:cubicBezTo>
                  <a:cubicBezTo>
                    <a:pt x="560" y="636"/>
                    <a:pt x="560" y="636"/>
                    <a:pt x="560" y="639"/>
                  </a:cubicBezTo>
                  <a:cubicBezTo>
                    <a:pt x="562" y="640"/>
                    <a:pt x="565" y="640"/>
                    <a:pt x="566" y="642"/>
                  </a:cubicBezTo>
                  <a:cubicBezTo>
                    <a:pt x="567" y="644"/>
                    <a:pt x="566" y="647"/>
                    <a:pt x="568" y="648"/>
                  </a:cubicBezTo>
                  <a:cubicBezTo>
                    <a:pt x="569" y="650"/>
                    <a:pt x="572" y="651"/>
                    <a:pt x="574" y="652"/>
                  </a:cubicBezTo>
                  <a:cubicBezTo>
                    <a:pt x="576" y="653"/>
                    <a:pt x="577" y="653"/>
                    <a:pt x="580" y="653"/>
                  </a:cubicBezTo>
                  <a:cubicBezTo>
                    <a:pt x="582" y="653"/>
                    <a:pt x="584" y="654"/>
                    <a:pt x="585" y="654"/>
                  </a:cubicBezTo>
                  <a:cubicBezTo>
                    <a:pt x="588" y="654"/>
                    <a:pt x="592" y="653"/>
                    <a:pt x="594" y="654"/>
                  </a:cubicBezTo>
                  <a:cubicBezTo>
                    <a:pt x="596" y="656"/>
                    <a:pt x="596" y="657"/>
                    <a:pt x="599" y="658"/>
                  </a:cubicBezTo>
                  <a:cubicBezTo>
                    <a:pt x="602" y="659"/>
                    <a:pt x="605" y="658"/>
                    <a:pt x="608" y="658"/>
                  </a:cubicBezTo>
                  <a:cubicBezTo>
                    <a:pt x="612" y="658"/>
                    <a:pt x="616" y="658"/>
                    <a:pt x="621" y="658"/>
                  </a:cubicBezTo>
                  <a:cubicBezTo>
                    <a:pt x="628" y="658"/>
                    <a:pt x="634" y="656"/>
                    <a:pt x="639" y="650"/>
                  </a:cubicBezTo>
                  <a:cubicBezTo>
                    <a:pt x="640" y="651"/>
                    <a:pt x="641" y="651"/>
                    <a:pt x="641" y="650"/>
                  </a:cubicBezTo>
                  <a:cubicBezTo>
                    <a:pt x="642" y="649"/>
                    <a:pt x="641" y="646"/>
                    <a:pt x="641" y="645"/>
                  </a:cubicBezTo>
                  <a:cubicBezTo>
                    <a:pt x="640" y="643"/>
                    <a:pt x="636" y="641"/>
                    <a:pt x="638" y="638"/>
                  </a:cubicBezTo>
                  <a:cubicBezTo>
                    <a:pt x="639" y="638"/>
                    <a:pt x="643" y="637"/>
                    <a:pt x="644" y="637"/>
                  </a:cubicBezTo>
                  <a:cubicBezTo>
                    <a:pt x="645" y="637"/>
                    <a:pt x="646" y="637"/>
                    <a:pt x="647" y="637"/>
                  </a:cubicBezTo>
                  <a:cubicBezTo>
                    <a:pt x="648" y="636"/>
                    <a:pt x="648" y="635"/>
                    <a:pt x="650" y="635"/>
                  </a:cubicBezTo>
                  <a:cubicBezTo>
                    <a:pt x="650" y="633"/>
                    <a:pt x="649" y="630"/>
                    <a:pt x="650" y="627"/>
                  </a:cubicBezTo>
                  <a:cubicBezTo>
                    <a:pt x="651" y="624"/>
                    <a:pt x="654" y="624"/>
                    <a:pt x="657" y="622"/>
                  </a:cubicBezTo>
                  <a:cubicBezTo>
                    <a:pt x="658" y="620"/>
                    <a:pt x="659" y="618"/>
                    <a:pt x="659" y="616"/>
                  </a:cubicBezTo>
                  <a:cubicBezTo>
                    <a:pt x="661" y="612"/>
                    <a:pt x="659" y="613"/>
                    <a:pt x="664" y="612"/>
                  </a:cubicBezTo>
                  <a:cubicBezTo>
                    <a:pt x="667" y="612"/>
                    <a:pt x="670" y="611"/>
                    <a:pt x="673" y="610"/>
                  </a:cubicBezTo>
                  <a:cubicBezTo>
                    <a:pt x="676" y="610"/>
                    <a:pt x="678" y="610"/>
                    <a:pt x="681" y="608"/>
                  </a:cubicBezTo>
                  <a:cubicBezTo>
                    <a:pt x="683" y="606"/>
                    <a:pt x="684" y="605"/>
                    <a:pt x="685" y="602"/>
                  </a:cubicBezTo>
                  <a:cubicBezTo>
                    <a:pt x="685" y="602"/>
                    <a:pt x="686" y="602"/>
                    <a:pt x="687" y="601"/>
                  </a:cubicBezTo>
                  <a:cubicBezTo>
                    <a:pt x="687" y="600"/>
                    <a:pt x="687" y="598"/>
                    <a:pt x="687" y="597"/>
                  </a:cubicBezTo>
                  <a:cubicBezTo>
                    <a:pt x="687" y="595"/>
                    <a:pt x="687" y="592"/>
                    <a:pt x="688" y="589"/>
                  </a:cubicBezTo>
                  <a:cubicBezTo>
                    <a:pt x="690" y="589"/>
                    <a:pt x="691" y="585"/>
                    <a:pt x="693" y="583"/>
                  </a:cubicBezTo>
                  <a:cubicBezTo>
                    <a:pt x="694" y="582"/>
                    <a:pt x="697" y="581"/>
                    <a:pt x="698" y="578"/>
                  </a:cubicBezTo>
                  <a:cubicBezTo>
                    <a:pt x="699" y="577"/>
                    <a:pt x="699" y="568"/>
                    <a:pt x="697" y="567"/>
                  </a:cubicBezTo>
                  <a:cubicBezTo>
                    <a:pt x="695" y="566"/>
                    <a:pt x="690" y="568"/>
                    <a:pt x="688" y="569"/>
                  </a:cubicBezTo>
                  <a:cubicBezTo>
                    <a:pt x="685" y="570"/>
                    <a:pt x="679" y="573"/>
                    <a:pt x="675" y="571"/>
                  </a:cubicBezTo>
                  <a:cubicBezTo>
                    <a:pt x="673" y="570"/>
                    <a:pt x="673" y="567"/>
                    <a:pt x="671" y="566"/>
                  </a:cubicBezTo>
                  <a:cubicBezTo>
                    <a:pt x="668" y="563"/>
                    <a:pt x="663" y="564"/>
                    <a:pt x="660" y="562"/>
                  </a:cubicBezTo>
                  <a:cubicBezTo>
                    <a:pt x="658" y="561"/>
                    <a:pt x="651" y="554"/>
                    <a:pt x="652" y="552"/>
                  </a:cubicBezTo>
                  <a:cubicBezTo>
                    <a:pt x="653" y="550"/>
                    <a:pt x="655" y="553"/>
                    <a:pt x="656" y="550"/>
                  </a:cubicBezTo>
                  <a:cubicBezTo>
                    <a:pt x="657" y="548"/>
                    <a:pt x="653" y="545"/>
                    <a:pt x="652" y="543"/>
                  </a:cubicBezTo>
                  <a:cubicBezTo>
                    <a:pt x="649" y="538"/>
                    <a:pt x="653" y="536"/>
                    <a:pt x="658" y="534"/>
                  </a:cubicBezTo>
                  <a:cubicBezTo>
                    <a:pt x="663" y="532"/>
                    <a:pt x="663" y="527"/>
                    <a:pt x="662" y="522"/>
                  </a:cubicBezTo>
                  <a:cubicBezTo>
                    <a:pt x="659" y="522"/>
                    <a:pt x="659" y="519"/>
                    <a:pt x="658" y="517"/>
                  </a:cubicBezTo>
                  <a:cubicBezTo>
                    <a:pt x="658" y="517"/>
                    <a:pt x="655" y="516"/>
                    <a:pt x="655" y="516"/>
                  </a:cubicBezTo>
                  <a:cubicBezTo>
                    <a:pt x="654" y="515"/>
                    <a:pt x="652" y="515"/>
                    <a:pt x="652" y="515"/>
                  </a:cubicBezTo>
                  <a:cubicBezTo>
                    <a:pt x="647" y="511"/>
                    <a:pt x="648" y="504"/>
                    <a:pt x="641" y="502"/>
                  </a:cubicBezTo>
                  <a:cubicBezTo>
                    <a:pt x="640" y="499"/>
                    <a:pt x="642" y="500"/>
                    <a:pt x="644" y="499"/>
                  </a:cubicBezTo>
                  <a:cubicBezTo>
                    <a:pt x="645" y="499"/>
                    <a:pt x="647" y="500"/>
                    <a:pt x="649" y="499"/>
                  </a:cubicBezTo>
                  <a:cubicBezTo>
                    <a:pt x="651" y="498"/>
                    <a:pt x="649" y="499"/>
                    <a:pt x="651" y="497"/>
                  </a:cubicBezTo>
                  <a:cubicBezTo>
                    <a:pt x="654" y="495"/>
                    <a:pt x="657" y="494"/>
                    <a:pt x="660" y="491"/>
                  </a:cubicBezTo>
                  <a:cubicBezTo>
                    <a:pt x="660" y="491"/>
                    <a:pt x="661" y="490"/>
                    <a:pt x="662" y="490"/>
                  </a:cubicBezTo>
                  <a:cubicBezTo>
                    <a:pt x="663" y="489"/>
                    <a:pt x="665" y="489"/>
                    <a:pt x="666" y="488"/>
                  </a:cubicBezTo>
                  <a:cubicBezTo>
                    <a:pt x="668" y="486"/>
                    <a:pt x="666" y="482"/>
                    <a:pt x="667" y="480"/>
                  </a:cubicBezTo>
                  <a:cubicBezTo>
                    <a:pt x="668" y="477"/>
                    <a:pt x="671" y="476"/>
                    <a:pt x="669" y="473"/>
                  </a:cubicBezTo>
                  <a:cubicBezTo>
                    <a:pt x="668" y="471"/>
                    <a:pt x="666" y="471"/>
                    <a:pt x="665" y="470"/>
                  </a:cubicBezTo>
                  <a:cubicBezTo>
                    <a:pt x="663" y="468"/>
                    <a:pt x="662" y="465"/>
                    <a:pt x="662" y="463"/>
                  </a:cubicBezTo>
                  <a:cubicBezTo>
                    <a:pt x="661" y="461"/>
                    <a:pt x="661" y="459"/>
                    <a:pt x="661" y="457"/>
                  </a:cubicBezTo>
                  <a:cubicBezTo>
                    <a:pt x="660" y="455"/>
                    <a:pt x="657" y="454"/>
                    <a:pt x="656" y="453"/>
                  </a:cubicBezTo>
                  <a:cubicBezTo>
                    <a:pt x="653" y="450"/>
                    <a:pt x="657" y="450"/>
                    <a:pt x="655" y="446"/>
                  </a:cubicBezTo>
                  <a:cubicBezTo>
                    <a:pt x="654" y="444"/>
                    <a:pt x="657" y="443"/>
                    <a:pt x="659" y="438"/>
                  </a:cubicBezTo>
                  <a:cubicBezTo>
                    <a:pt x="661" y="437"/>
                    <a:pt x="662" y="436"/>
                    <a:pt x="663" y="436"/>
                  </a:cubicBezTo>
                  <a:cubicBezTo>
                    <a:pt x="663" y="435"/>
                    <a:pt x="665" y="434"/>
                    <a:pt x="665" y="433"/>
                  </a:cubicBezTo>
                  <a:cubicBezTo>
                    <a:pt x="665" y="432"/>
                    <a:pt x="665" y="430"/>
                    <a:pt x="665" y="430"/>
                  </a:cubicBezTo>
                  <a:cubicBezTo>
                    <a:pt x="665" y="428"/>
                    <a:pt x="664" y="428"/>
                    <a:pt x="664" y="427"/>
                  </a:cubicBezTo>
                  <a:cubicBezTo>
                    <a:pt x="663" y="426"/>
                    <a:pt x="663" y="426"/>
                    <a:pt x="662" y="424"/>
                  </a:cubicBezTo>
                  <a:cubicBezTo>
                    <a:pt x="662" y="424"/>
                    <a:pt x="661" y="423"/>
                    <a:pt x="661" y="422"/>
                  </a:cubicBezTo>
                  <a:cubicBezTo>
                    <a:pt x="660" y="421"/>
                    <a:pt x="659" y="420"/>
                    <a:pt x="659" y="419"/>
                  </a:cubicBezTo>
                  <a:cubicBezTo>
                    <a:pt x="658" y="417"/>
                    <a:pt x="658" y="415"/>
                    <a:pt x="658" y="413"/>
                  </a:cubicBezTo>
                  <a:cubicBezTo>
                    <a:pt x="658" y="412"/>
                    <a:pt x="658" y="410"/>
                    <a:pt x="658" y="409"/>
                  </a:cubicBezTo>
                  <a:cubicBezTo>
                    <a:pt x="658" y="409"/>
                    <a:pt x="657" y="408"/>
                    <a:pt x="657" y="408"/>
                  </a:cubicBezTo>
                  <a:cubicBezTo>
                    <a:pt x="656" y="406"/>
                    <a:pt x="657" y="404"/>
                    <a:pt x="656" y="402"/>
                  </a:cubicBezTo>
                  <a:cubicBezTo>
                    <a:pt x="655" y="402"/>
                    <a:pt x="654" y="401"/>
                    <a:pt x="653" y="401"/>
                  </a:cubicBezTo>
                  <a:cubicBezTo>
                    <a:pt x="652" y="401"/>
                    <a:pt x="650" y="400"/>
                    <a:pt x="650" y="400"/>
                  </a:cubicBezTo>
                  <a:cubicBezTo>
                    <a:pt x="647" y="398"/>
                    <a:pt x="643" y="395"/>
                    <a:pt x="639" y="395"/>
                  </a:cubicBezTo>
                  <a:cubicBezTo>
                    <a:pt x="634" y="395"/>
                    <a:pt x="630" y="398"/>
                    <a:pt x="625" y="400"/>
                  </a:cubicBezTo>
                  <a:cubicBezTo>
                    <a:pt x="623" y="401"/>
                    <a:pt x="620" y="402"/>
                    <a:pt x="617" y="401"/>
                  </a:cubicBezTo>
                  <a:cubicBezTo>
                    <a:pt x="615" y="400"/>
                    <a:pt x="612" y="394"/>
                    <a:pt x="614" y="391"/>
                  </a:cubicBezTo>
                  <a:cubicBezTo>
                    <a:pt x="615" y="389"/>
                    <a:pt x="617" y="390"/>
                    <a:pt x="618" y="388"/>
                  </a:cubicBezTo>
                  <a:cubicBezTo>
                    <a:pt x="619" y="387"/>
                    <a:pt x="618" y="383"/>
                    <a:pt x="618" y="381"/>
                  </a:cubicBezTo>
                  <a:cubicBezTo>
                    <a:pt x="618" y="378"/>
                    <a:pt x="618" y="376"/>
                    <a:pt x="620" y="373"/>
                  </a:cubicBezTo>
                  <a:cubicBezTo>
                    <a:pt x="623" y="371"/>
                    <a:pt x="625" y="369"/>
                    <a:pt x="627" y="366"/>
                  </a:cubicBezTo>
                  <a:cubicBezTo>
                    <a:pt x="629" y="365"/>
                    <a:pt x="629" y="363"/>
                    <a:pt x="631" y="361"/>
                  </a:cubicBezTo>
                  <a:cubicBezTo>
                    <a:pt x="632" y="359"/>
                    <a:pt x="634" y="358"/>
                    <a:pt x="635" y="357"/>
                  </a:cubicBezTo>
                  <a:cubicBezTo>
                    <a:pt x="642" y="352"/>
                    <a:pt x="646" y="345"/>
                    <a:pt x="651" y="339"/>
                  </a:cubicBezTo>
                  <a:cubicBezTo>
                    <a:pt x="654" y="336"/>
                    <a:pt x="656" y="334"/>
                    <a:pt x="658" y="330"/>
                  </a:cubicBezTo>
                  <a:cubicBezTo>
                    <a:pt x="658" y="330"/>
                    <a:pt x="659" y="328"/>
                    <a:pt x="659" y="327"/>
                  </a:cubicBezTo>
                  <a:cubicBezTo>
                    <a:pt x="661" y="326"/>
                    <a:pt x="662" y="327"/>
                    <a:pt x="664" y="325"/>
                  </a:cubicBezTo>
                  <a:cubicBezTo>
                    <a:pt x="670" y="320"/>
                    <a:pt x="652" y="311"/>
                    <a:pt x="663" y="310"/>
                  </a:cubicBezTo>
                  <a:cubicBezTo>
                    <a:pt x="666" y="310"/>
                    <a:pt x="668" y="311"/>
                    <a:pt x="670" y="312"/>
                  </a:cubicBezTo>
                  <a:cubicBezTo>
                    <a:pt x="676" y="313"/>
                    <a:pt x="681" y="310"/>
                    <a:pt x="687" y="310"/>
                  </a:cubicBezTo>
                  <a:cubicBezTo>
                    <a:pt x="689" y="310"/>
                    <a:pt x="690" y="310"/>
                    <a:pt x="692" y="309"/>
                  </a:cubicBezTo>
                  <a:cubicBezTo>
                    <a:pt x="695" y="308"/>
                    <a:pt x="699" y="306"/>
                    <a:pt x="702" y="304"/>
                  </a:cubicBezTo>
                  <a:cubicBezTo>
                    <a:pt x="702" y="304"/>
                    <a:pt x="703" y="303"/>
                    <a:pt x="703" y="303"/>
                  </a:cubicBezTo>
                  <a:cubicBezTo>
                    <a:pt x="703" y="303"/>
                    <a:pt x="703" y="303"/>
                    <a:pt x="703" y="303"/>
                  </a:cubicBezTo>
                  <a:cubicBezTo>
                    <a:pt x="703" y="303"/>
                    <a:pt x="703" y="303"/>
                    <a:pt x="703" y="303"/>
                  </a:cubicBezTo>
                  <a:cubicBezTo>
                    <a:pt x="703" y="302"/>
                    <a:pt x="704" y="302"/>
                    <a:pt x="704" y="302"/>
                  </a:cubicBezTo>
                  <a:cubicBezTo>
                    <a:pt x="704" y="302"/>
                    <a:pt x="704" y="302"/>
                    <a:pt x="704" y="302"/>
                  </a:cubicBezTo>
                  <a:cubicBezTo>
                    <a:pt x="704" y="302"/>
                    <a:pt x="704" y="302"/>
                    <a:pt x="704" y="302"/>
                  </a:cubicBezTo>
                  <a:cubicBezTo>
                    <a:pt x="704" y="301"/>
                    <a:pt x="704" y="301"/>
                    <a:pt x="704" y="301"/>
                  </a:cubicBezTo>
                  <a:cubicBezTo>
                    <a:pt x="704" y="301"/>
                    <a:pt x="704" y="301"/>
                    <a:pt x="704" y="301"/>
                  </a:cubicBezTo>
                  <a:cubicBezTo>
                    <a:pt x="704" y="301"/>
                    <a:pt x="704" y="301"/>
                    <a:pt x="704" y="300"/>
                  </a:cubicBezTo>
                  <a:cubicBezTo>
                    <a:pt x="704" y="300"/>
                    <a:pt x="704" y="300"/>
                    <a:pt x="704" y="300"/>
                  </a:cubicBezTo>
                  <a:cubicBezTo>
                    <a:pt x="704" y="300"/>
                    <a:pt x="704" y="299"/>
                    <a:pt x="704" y="298"/>
                  </a:cubicBezTo>
                  <a:cubicBezTo>
                    <a:pt x="703" y="297"/>
                    <a:pt x="702" y="295"/>
                    <a:pt x="702" y="293"/>
                  </a:cubicBezTo>
                  <a:cubicBezTo>
                    <a:pt x="702" y="285"/>
                    <a:pt x="702" y="278"/>
                    <a:pt x="702" y="270"/>
                  </a:cubicBezTo>
                  <a:cubicBezTo>
                    <a:pt x="702" y="264"/>
                    <a:pt x="701" y="259"/>
                    <a:pt x="705" y="254"/>
                  </a:cubicBezTo>
                  <a:cubicBezTo>
                    <a:pt x="710" y="249"/>
                    <a:pt x="708" y="244"/>
                    <a:pt x="710" y="238"/>
                  </a:cubicBezTo>
                  <a:cubicBezTo>
                    <a:pt x="711" y="233"/>
                    <a:pt x="710" y="228"/>
                    <a:pt x="713" y="224"/>
                  </a:cubicBezTo>
                  <a:cubicBezTo>
                    <a:pt x="714" y="222"/>
                    <a:pt x="715" y="222"/>
                    <a:pt x="716" y="221"/>
                  </a:cubicBezTo>
                  <a:cubicBezTo>
                    <a:pt x="719" y="219"/>
                    <a:pt x="719" y="218"/>
                    <a:pt x="720" y="216"/>
                  </a:cubicBezTo>
                  <a:cubicBezTo>
                    <a:pt x="722" y="210"/>
                    <a:pt x="724" y="207"/>
                    <a:pt x="729" y="203"/>
                  </a:cubicBezTo>
                  <a:cubicBezTo>
                    <a:pt x="733" y="200"/>
                    <a:pt x="736" y="196"/>
                    <a:pt x="737" y="19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7" name="Freeform 17"/>
            <p:cNvSpPr>
              <a:spLocks/>
            </p:cNvSpPr>
            <p:nvPr/>
          </p:nvSpPr>
          <p:spPr bwMode="auto">
            <a:xfrm>
              <a:off x="4270375" y="5575300"/>
              <a:ext cx="120650" cy="241300"/>
            </a:xfrm>
            <a:custGeom>
              <a:avLst/>
              <a:gdLst/>
              <a:ahLst/>
              <a:cxnLst>
                <a:cxn ang="0">
                  <a:pos x="61" y="5"/>
                </a:cxn>
                <a:cxn ang="0">
                  <a:pos x="60" y="2"/>
                </a:cxn>
                <a:cxn ang="0">
                  <a:pos x="53" y="3"/>
                </a:cxn>
                <a:cxn ang="0">
                  <a:pos x="51" y="18"/>
                </a:cxn>
                <a:cxn ang="0">
                  <a:pos x="51" y="23"/>
                </a:cxn>
                <a:cxn ang="0">
                  <a:pos x="49" y="27"/>
                </a:cxn>
                <a:cxn ang="0">
                  <a:pos x="41" y="25"/>
                </a:cxn>
                <a:cxn ang="0">
                  <a:pos x="35" y="30"/>
                </a:cxn>
                <a:cxn ang="0">
                  <a:pos x="29" y="32"/>
                </a:cxn>
                <a:cxn ang="0">
                  <a:pos x="22" y="34"/>
                </a:cxn>
                <a:cxn ang="0">
                  <a:pos x="15" y="39"/>
                </a:cxn>
                <a:cxn ang="0">
                  <a:pos x="13" y="47"/>
                </a:cxn>
                <a:cxn ang="0">
                  <a:pos x="12" y="51"/>
                </a:cxn>
                <a:cxn ang="0">
                  <a:pos x="17" y="58"/>
                </a:cxn>
                <a:cxn ang="0">
                  <a:pos x="10" y="62"/>
                </a:cxn>
                <a:cxn ang="0">
                  <a:pos x="5" y="64"/>
                </a:cxn>
                <a:cxn ang="0">
                  <a:pos x="0" y="74"/>
                </a:cxn>
                <a:cxn ang="0">
                  <a:pos x="4" y="77"/>
                </a:cxn>
                <a:cxn ang="0">
                  <a:pos x="8" y="80"/>
                </a:cxn>
                <a:cxn ang="0">
                  <a:pos x="13" y="82"/>
                </a:cxn>
                <a:cxn ang="0">
                  <a:pos x="17" y="83"/>
                </a:cxn>
                <a:cxn ang="0">
                  <a:pos x="16" y="95"/>
                </a:cxn>
                <a:cxn ang="0">
                  <a:pos x="14" y="100"/>
                </a:cxn>
                <a:cxn ang="0">
                  <a:pos x="18" y="101"/>
                </a:cxn>
                <a:cxn ang="0">
                  <a:pos x="21" y="102"/>
                </a:cxn>
                <a:cxn ang="0">
                  <a:pos x="22" y="106"/>
                </a:cxn>
                <a:cxn ang="0">
                  <a:pos x="19" y="108"/>
                </a:cxn>
                <a:cxn ang="0">
                  <a:pos x="21" y="115"/>
                </a:cxn>
                <a:cxn ang="0">
                  <a:pos x="29" y="122"/>
                </a:cxn>
                <a:cxn ang="0">
                  <a:pos x="33" y="126"/>
                </a:cxn>
                <a:cxn ang="0">
                  <a:pos x="39" y="129"/>
                </a:cxn>
                <a:cxn ang="0">
                  <a:pos x="41" y="121"/>
                </a:cxn>
                <a:cxn ang="0">
                  <a:pos x="44" y="116"/>
                </a:cxn>
                <a:cxn ang="0">
                  <a:pos x="45" y="113"/>
                </a:cxn>
                <a:cxn ang="0">
                  <a:pos x="49" y="109"/>
                </a:cxn>
                <a:cxn ang="0">
                  <a:pos x="52" y="99"/>
                </a:cxn>
                <a:cxn ang="0">
                  <a:pos x="53" y="87"/>
                </a:cxn>
                <a:cxn ang="0">
                  <a:pos x="54" y="82"/>
                </a:cxn>
                <a:cxn ang="0">
                  <a:pos x="59" y="76"/>
                </a:cxn>
                <a:cxn ang="0">
                  <a:pos x="60" y="74"/>
                </a:cxn>
                <a:cxn ang="0">
                  <a:pos x="63" y="52"/>
                </a:cxn>
                <a:cxn ang="0">
                  <a:pos x="63" y="40"/>
                </a:cxn>
                <a:cxn ang="0">
                  <a:pos x="60" y="32"/>
                </a:cxn>
                <a:cxn ang="0">
                  <a:pos x="59" y="23"/>
                </a:cxn>
                <a:cxn ang="0">
                  <a:pos x="60" y="22"/>
                </a:cxn>
                <a:cxn ang="0">
                  <a:pos x="63" y="18"/>
                </a:cxn>
                <a:cxn ang="0">
                  <a:pos x="63" y="13"/>
                </a:cxn>
                <a:cxn ang="0">
                  <a:pos x="61" y="20"/>
                </a:cxn>
              </a:cxnLst>
              <a:rect l="0" t="0" r="r" b="b"/>
              <a:pathLst>
                <a:path w="64" h="129">
                  <a:moveTo>
                    <a:pt x="61" y="20"/>
                  </a:moveTo>
                  <a:cubicBezTo>
                    <a:pt x="61" y="15"/>
                    <a:pt x="61" y="10"/>
                    <a:pt x="61" y="5"/>
                  </a:cubicBezTo>
                  <a:cubicBezTo>
                    <a:pt x="61" y="4"/>
                    <a:pt x="62" y="3"/>
                    <a:pt x="61" y="2"/>
                  </a:cubicBezTo>
                  <a:cubicBezTo>
                    <a:pt x="61" y="2"/>
                    <a:pt x="60" y="2"/>
                    <a:pt x="60" y="2"/>
                  </a:cubicBezTo>
                  <a:cubicBezTo>
                    <a:pt x="60" y="2"/>
                    <a:pt x="59" y="1"/>
                    <a:pt x="59" y="1"/>
                  </a:cubicBezTo>
                  <a:cubicBezTo>
                    <a:pt x="57" y="0"/>
                    <a:pt x="54" y="1"/>
                    <a:pt x="53" y="3"/>
                  </a:cubicBezTo>
                  <a:cubicBezTo>
                    <a:pt x="51" y="6"/>
                    <a:pt x="52" y="10"/>
                    <a:pt x="51" y="13"/>
                  </a:cubicBezTo>
                  <a:cubicBezTo>
                    <a:pt x="51" y="15"/>
                    <a:pt x="51" y="16"/>
                    <a:pt x="51" y="18"/>
                  </a:cubicBezTo>
                  <a:cubicBezTo>
                    <a:pt x="51" y="19"/>
                    <a:pt x="51" y="20"/>
                    <a:pt x="51" y="20"/>
                  </a:cubicBezTo>
                  <a:cubicBezTo>
                    <a:pt x="51" y="21"/>
                    <a:pt x="51" y="22"/>
                    <a:pt x="51" y="23"/>
                  </a:cubicBezTo>
                  <a:cubicBezTo>
                    <a:pt x="52" y="25"/>
                    <a:pt x="52" y="26"/>
                    <a:pt x="51" y="27"/>
                  </a:cubicBezTo>
                  <a:cubicBezTo>
                    <a:pt x="50" y="28"/>
                    <a:pt x="50" y="28"/>
                    <a:pt x="49" y="27"/>
                  </a:cubicBezTo>
                  <a:cubicBezTo>
                    <a:pt x="47" y="26"/>
                    <a:pt x="47" y="25"/>
                    <a:pt x="46" y="25"/>
                  </a:cubicBezTo>
                  <a:cubicBezTo>
                    <a:pt x="45" y="24"/>
                    <a:pt x="42" y="24"/>
                    <a:pt x="41" y="25"/>
                  </a:cubicBezTo>
                  <a:cubicBezTo>
                    <a:pt x="40" y="25"/>
                    <a:pt x="39" y="27"/>
                    <a:pt x="38" y="28"/>
                  </a:cubicBezTo>
                  <a:cubicBezTo>
                    <a:pt x="37" y="29"/>
                    <a:pt x="36" y="30"/>
                    <a:pt x="35" y="30"/>
                  </a:cubicBezTo>
                  <a:cubicBezTo>
                    <a:pt x="34" y="31"/>
                    <a:pt x="32" y="30"/>
                    <a:pt x="31" y="30"/>
                  </a:cubicBezTo>
                  <a:cubicBezTo>
                    <a:pt x="30" y="31"/>
                    <a:pt x="30" y="31"/>
                    <a:pt x="29" y="32"/>
                  </a:cubicBezTo>
                  <a:cubicBezTo>
                    <a:pt x="28" y="32"/>
                    <a:pt x="27" y="33"/>
                    <a:pt x="26" y="33"/>
                  </a:cubicBezTo>
                  <a:cubicBezTo>
                    <a:pt x="24" y="34"/>
                    <a:pt x="23" y="33"/>
                    <a:pt x="22" y="34"/>
                  </a:cubicBezTo>
                  <a:cubicBezTo>
                    <a:pt x="20" y="35"/>
                    <a:pt x="20" y="36"/>
                    <a:pt x="19" y="37"/>
                  </a:cubicBezTo>
                  <a:cubicBezTo>
                    <a:pt x="18" y="38"/>
                    <a:pt x="17" y="39"/>
                    <a:pt x="15" y="39"/>
                  </a:cubicBezTo>
                  <a:cubicBezTo>
                    <a:pt x="12" y="41"/>
                    <a:pt x="16" y="41"/>
                    <a:pt x="16" y="43"/>
                  </a:cubicBezTo>
                  <a:cubicBezTo>
                    <a:pt x="13" y="43"/>
                    <a:pt x="13" y="45"/>
                    <a:pt x="13" y="47"/>
                  </a:cubicBezTo>
                  <a:cubicBezTo>
                    <a:pt x="13" y="47"/>
                    <a:pt x="13" y="48"/>
                    <a:pt x="13" y="49"/>
                  </a:cubicBezTo>
                  <a:cubicBezTo>
                    <a:pt x="13" y="49"/>
                    <a:pt x="12" y="49"/>
                    <a:pt x="12" y="51"/>
                  </a:cubicBezTo>
                  <a:cubicBezTo>
                    <a:pt x="12" y="52"/>
                    <a:pt x="13" y="54"/>
                    <a:pt x="14" y="54"/>
                  </a:cubicBezTo>
                  <a:cubicBezTo>
                    <a:pt x="15" y="55"/>
                    <a:pt x="17" y="57"/>
                    <a:pt x="17" y="58"/>
                  </a:cubicBezTo>
                  <a:cubicBezTo>
                    <a:pt x="15" y="59"/>
                    <a:pt x="13" y="58"/>
                    <a:pt x="11" y="58"/>
                  </a:cubicBezTo>
                  <a:cubicBezTo>
                    <a:pt x="10" y="59"/>
                    <a:pt x="10" y="61"/>
                    <a:pt x="10" y="62"/>
                  </a:cubicBezTo>
                  <a:cubicBezTo>
                    <a:pt x="10" y="64"/>
                    <a:pt x="10" y="64"/>
                    <a:pt x="8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5"/>
                    <a:pt x="4" y="67"/>
                    <a:pt x="3" y="68"/>
                  </a:cubicBezTo>
                  <a:cubicBezTo>
                    <a:pt x="3" y="69"/>
                    <a:pt x="0" y="73"/>
                    <a:pt x="0" y="74"/>
                  </a:cubicBezTo>
                  <a:cubicBezTo>
                    <a:pt x="1" y="75"/>
                    <a:pt x="2" y="74"/>
                    <a:pt x="3" y="75"/>
                  </a:cubicBezTo>
                  <a:cubicBezTo>
                    <a:pt x="3" y="76"/>
                    <a:pt x="3" y="76"/>
                    <a:pt x="4" y="77"/>
                  </a:cubicBezTo>
                  <a:cubicBezTo>
                    <a:pt x="4" y="77"/>
                    <a:pt x="5" y="76"/>
                    <a:pt x="6" y="77"/>
                  </a:cubicBezTo>
                  <a:cubicBezTo>
                    <a:pt x="7" y="77"/>
                    <a:pt x="7" y="79"/>
                    <a:pt x="8" y="80"/>
                  </a:cubicBezTo>
                  <a:cubicBezTo>
                    <a:pt x="9" y="80"/>
                    <a:pt x="10" y="81"/>
                    <a:pt x="10" y="81"/>
                  </a:cubicBezTo>
                  <a:cubicBezTo>
                    <a:pt x="11" y="81"/>
                    <a:pt x="12" y="82"/>
                    <a:pt x="13" y="82"/>
                  </a:cubicBezTo>
                  <a:cubicBezTo>
                    <a:pt x="13" y="82"/>
                    <a:pt x="13" y="82"/>
                    <a:pt x="13" y="83"/>
                  </a:cubicBezTo>
                  <a:cubicBezTo>
                    <a:pt x="14" y="83"/>
                    <a:pt x="16" y="83"/>
                    <a:pt x="17" y="83"/>
                  </a:cubicBezTo>
                  <a:cubicBezTo>
                    <a:pt x="18" y="84"/>
                    <a:pt x="17" y="87"/>
                    <a:pt x="17" y="88"/>
                  </a:cubicBezTo>
                  <a:cubicBezTo>
                    <a:pt x="17" y="90"/>
                    <a:pt x="18" y="93"/>
                    <a:pt x="16" y="95"/>
                  </a:cubicBezTo>
                  <a:cubicBezTo>
                    <a:pt x="15" y="95"/>
                    <a:pt x="15" y="95"/>
                    <a:pt x="14" y="97"/>
                  </a:cubicBezTo>
                  <a:cubicBezTo>
                    <a:pt x="14" y="98"/>
                    <a:pt x="14" y="99"/>
                    <a:pt x="14" y="100"/>
                  </a:cubicBezTo>
                  <a:cubicBezTo>
                    <a:pt x="14" y="100"/>
                    <a:pt x="15" y="101"/>
                    <a:pt x="15" y="101"/>
                  </a:cubicBezTo>
                  <a:cubicBezTo>
                    <a:pt x="16" y="101"/>
                    <a:pt x="17" y="101"/>
                    <a:pt x="18" y="101"/>
                  </a:cubicBezTo>
                  <a:cubicBezTo>
                    <a:pt x="18" y="101"/>
                    <a:pt x="18" y="102"/>
                    <a:pt x="19" y="102"/>
                  </a:cubicBezTo>
                  <a:cubicBezTo>
                    <a:pt x="20" y="102"/>
                    <a:pt x="21" y="102"/>
                    <a:pt x="21" y="102"/>
                  </a:cubicBezTo>
                  <a:cubicBezTo>
                    <a:pt x="22" y="102"/>
                    <a:pt x="23" y="102"/>
                    <a:pt x="24" y="102"/>
                  </a:cubicBezTo>
                  <a:cubicBezTo>
                    <a:pt x="25" y="104"/>
                    <a:pt x="23" y="105"/>
                    <a:pt x="22" y="106"/>
                  </a:cubicBezTo>
                  <a:cubicBezTo>
                    <a:pt x="22" y="107"/>
                    <a:pt x="21" y="107"/>
                    <a:pt x="21" y="107"/>
                  </a:cubicBezTo>
                  <a:cubicBezTo>
                    <a:pt x="20" y="107"/>
                    <a:pt x="20" y="107"/>
                    <a:pt x="19" y="108"/>
                  </a:cubicBezTo>
                  <a:cubicBezTo>
                    <a:pt x="19" y="108"/>
                    <a:pt x="19" y="109"/>
                    <a:pt x="19" y="110"/>
                  </a:cubicBezTo>
                  <a:cubicBezTo>
                    <a:pt x="18" y="113"/>
                    <a:pt x="19" y="113"/>
                    <a:pt x="21" y="115"/>
                  </a:cubicBezTo>
                  <a:cubicBezTo>
                    <a:pt x="22" y="116"/>
                    <a:pt x="22" y="118"/>
                    <a:pt x="24" y="120"/>
                  </a:cubicBezTo>
                  <a:cubicBezTo>
                    <a:pt x="25" y="121"/>
                    <a:pt x="27" y="122"/>
                    <a:pt x="29" y="122"/>
                  </a:cubicBezTo>
                  <a:cubicBezTo>
                    <a:pt x="30" y="122"/>
                    <a:pt x="34" y="121"/>
                    <a:pt x="34" y="123"/>
                  </a:cubicBezTo>
                  <a:cubicBezTo>
                    <a:pt x="34" y="124"/>
                    <a:pt x="33" y="125"/>
                    <a:pt x="33" y="126"/>
                  </a:cubicBezTo>
                  <a:cubicBezTo>
                    <a:pt x="33" y="127"/>
                    <a:pt x="35" y="128"/>
                    <a:pt x="36" y="128"/>
                  </a:cubicBezTo>
                  <a:cubicBezTo>
                    <a:pt x="37" y="129"/>
                    <a:pt x="38" y="129"/>
                    <a:pt x="39" y="129"/>
                  </a:cubicBezTo>
                  <a:cubicBezTo>
                    <a:pt x="40" y="129"/>
                    <a:pt x="41" y="129"/>
                    <a:pt x="41" y="127"/>
                  </a:cubicBezTo>
                  <a:cubicBezTo>
                    <a:pt x="41" y="125"/>
                    <a:pt x="40" y="122"/>
                    <a:pt x="41" y="121"/>
                  </a:cubicBezTo>
                  <a:cubicBezTo>
                    <a:pt x="42" y="120"/>
                    <a:pt x="42" y="120"/>
                    <a:pt x="43" y="119"/>
                  </a:cubicBezTo>
                  <a:cubicBezTo>
                    <a:pt x="43" y="118"/>
                    <a:pt x="43" y="117"/>
                    <a:pt x="44" y="116"/>
                  </a:cubicBezTo>
                  <a:cubicBezTo>
                    <a:pt x="44" y="115"/>
                    <a:pt x="44" y="114"/>
                    <a:pt x="45" y="114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5" y="112"/>
                    <a:pt x="46" y="112"/>
                    <a:pt x="47" y="112"/>
                  </a:cubicBezTo>
                  <a:cubicBezTo>
                    <a:pt x="49" y="111"/>
                    <a:pt x="48" y="110"/>
                    <a:pt x="49" y="109"/>
                  </a:cubicBezTo>
                  <a:cubicBezTo>
                    <a:pt x="49" y="107"/>
                    <a:pt x="50" y="106"/>
                    <a:pt x="51" y="104"/>
                  </a:cubicBezTo>
                  <a:cubicBezTo>
                    <a:pt x="51" y="102"/>
                    <a:pt x="52" y="101"/>
                    <a:pt x="52" y="99"/>
                  </a:cubicBezTo>
                  <a:cubicBezTo>
                    <a:pt x="52" y="98"/>
                    <a:pt x="52" y="97"/>
                    <a:pt x="52" y="96"/>
                  </a:cubicBezTo>
                  <a:cubicBezTo>
                    <a:pt x="52" y="93"/>
                    <a:pt x="53" y="90"/>
                    <a:pt x="53" y="87"/>
                  </a:cubicBezTo>
                  <a:cubicBezTo>
                    <a:pt x="53" y="86"/>
                    <a:pt x="52" y="85"/>
                    <a:pt x="53" y="84"/>
                  </a:cubicBezTo>
                  <a:cubicBezTo>
                    <a:pt x="53" y="83"/>
                    <a:pt x="54" y="83"/>
                    <a:pt x="54" y="82"/>
                  </a:cubicBezTo>
                  <a:cubicBezTo>
                    <a:pt x="54" y="82"/>
                    <a:pt x="54" y="81"/>
                    <a:pt x="54" y="81"/>
                  </a:cubicBezTo>
                  <a:cubicBezTo>
                    <a:pt x="54" y="78"/>
                    <a:pt x="58" y="78"/>
                    <a:pt x="59" y="76"/>
                  </a:cubicBezTo>
                  <a:cubicBezTo>
                    <a:pt x="59" y="76"/>
                    <a:pt x="59" y="75"/>
                    <a:pt x="59" y="75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1" y="73"/>
                    <a:pt x="61" y="72"/>
                    <a:pt x="61" y="71"/>
                  </a:cubicBezTo>
                  <a:cubicBezTo>
                    <a:pt x="61" y="64"/>
                    <a:pt x="63" y="58"/>
                    <a:pt x="63" y="52"/>
                  </a:cubicBezTo>
                  <a:cubicBezTo>
                    <a:pt x="63" y="49"/>
                    <a:pt x="63" y="47"/>
                    <a:pt x="63" y="44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39"/>
                    <a:pt x="64" y="37"/>
                    <a:pt x="63" y="36"/>
                  </a:cubicBezTo>
                  <a:cubicBezTo>
                    <a:pt x="62" y="34"/>
                    <a:pt x="60" y="34"/>
                    <a:pt x="60" y="32"/>
                  </a:cubicBezTo>
                  <a:cubicBezTo>
                    <a:pt x="59" y="30"/>
                    <a:pt x="59" y="29"/>
                    <a:pt x="59" y="27"/>
                  </a:cubicBezTo>
                  <a:cubicBezTo>
                    <a:pt x="59" y="26"/>
                    <a:pt x="59" y="24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2"/>
                    <a:pt x="60" y="22"/>
                    <a:pt x="60" y="22"/>
                  </a:cubicBezTo>
                  <a:cubicBezTo>
                    <a:pt x="60" y="21"/>
                    <a:pt x="61" y="20"/>
                    <a:pt x="61" y="20"/>
                  </a:cubicBezTo>
                  <a:cubicBezTo>
                    <a:pt x="62" y="19"/>
                    <a:pt x="63" y="19"/>
                    <a:pt x="63" y="18"/>
                  </a:cubicBezTo>
                  <a:cubicBezTo>
                    <a:pt x="63" y="17"/>
                    <a:pt x="63" y="16"/>
                    <a:pt x="63" y="15"/>
                  </a:cubicBezTo>
                  <a:cubicBezTo>
                    <a:pt x="63" y="14"/>
                    <a:pt x="62" y="14"/>
                    <a:pt x="63" y="13"/>
                  </a:cubicBezTo>
                  <a:cubicBezTo>
                    <a:pt x="61" y="12"/>
                    <a:pt x="61" y="11"/>
                    <a:pt x="61" y="9"/>
                  </a:cubicBezTo>
                  <a:lnTo>
                    <a:pt x="61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8" name="Freeform 18"/>
            <p:cNvSpPr>
              <a:spLocks noEditPoints="1"/>
            </p:cNvSpPr>
            <p:nvPr/>
          </p:nvSpPr>
          <p:spPr bwMode="auto">
            <a:xfrm>
              <a:off x="4116388" y="4992688"/>
              <a:ext cx="1143000" cy="1347788"/>
            </a:xfrm>
            <a:custGeom>
              <a:avLst/>
              <a:gdLst/>
              <a:ahLst/>
              <a:cxnLst>
                <a:cxn ang="0">
                  <a:pos x="600" y="532"/>
                </a:cxn>
                <a:cxn ang="0">
                  <a:pos x="571" y="505"/>
                </a:cxn>
                <a:cxn ang="0">
                  <a:pos x="530" y="474"/>
                </a:cxn>
                <a:cxn ang="0">
                  <a:pos x="479" y="433"/>
                </a:cxn>
                <a:cxn ang="0">
                  <a:pos x="489" y="411"/>
                </a:cxn>
                <a:cxn ang="0">
                  <a:pos x="432" y="405"/>
                </a:cxn>
                <a:cxn ang="0">
                  <a:pos x="398" y="374"/>
                </a:cxn>
                <a:cxn ang="0">
                  <a:pos x="378" y="341"/>
                </a:cxn>
                <a:cxn ang="0">
                  <a:pos x="358" y="280"/>
                </a:cxn>
                <a:cxn ang="0">
                  <a:pos x="319" y="243"/>
                </a:cxn>
                <a:cxn ang="0">
                  <a:pos x="296" y="196"/>
                </a:cxn>
                <a:cxn ang="0">
                  <a:pos x="314" y="171"/>
                </a:cxn>
                <a:cxn ang="0">
                  <a:pos x="320" y="143"/>
                </a:cxn>
                <a:cxn ang="0">
                  <a:pos x="329" y="129"/>
                </a:cxn>
                <a:cxn ang="0">
                  <a:pos x="354" y="109"/>
                </a:cxn>
                <a:cxn ang="0">
                  <a:pos x="375" y="120"/>
                </a:cxn>
                <a:cxn ang="0">
                  <a:pos x="373" y="95"/>
                </a:cxn>
                <a:cxn ang="0">
                  <a:pos x="361" y="68"/>
                </a:cxn>
                <a:cxn ang="0">
                  <a:pos x="347" y="37"/>
                </a:cxn>
                <a:cxn ang="0">
                  <a:pos x="303" y="6"/>
                </a:cxn>
                <a:cxn ang="0">
                  <a:pos x="247" y="11"/>
                </a:cxn>
                <a:cxn ang="0">
                  <a:pos x="220" y="18"/>
                </a:cxn>
                <a:cxn ang="0">
                  <a:pos x="198" y="39"/>
                </a:cxn>
                <a:cxn ang="0">
                  <a:pos x="186" y="63"/>
                </a:cxn>
                <a:cxn ang="0">
                  <a:pos x="153" y="50"/>
                </a:cxn>
                <a:cxn ang="0">
                  <a:pos x="131" y="86"/>
                </a:cxn>
                <a:cxn ang="0">
                  <a:pos x="120" y="86"/>
                </a:cxn>
                <a:cxn ang="0">
                  <a:pos x="99" y="60"/>
                </a:cxn>
                <a:cxn ang="0">
                  <a:pos x="74" y="89"/>
                </a:cxn>
                <a:cxn ang="0">
                  <a:pos x="23" y="98"/>
                </a:cxn>
                <a:cxn ang="0">
                  <a:pos x="11" y="159"/>
                </a:cxn>
                <a:cxn ang="0">
                  <a:pos x="20" y="224"/>
                </a:cxn>
                <a:cxn ang="0">
                  <a:pos x="55" y="262"/>
                </a:cxn>
                <a:cxn ang="0">
                  <a:pos x="85" y="238"/>
                </a:cxn>
                <a:cxn ang="0">
                  <a:pos x="140" y="218"/>
                </a:cxn>
                <a:cxn ang="0">
                  <a:pos x="168" y="236"/>
                </a:cxn>
                <a:cxn ang="0">
                  <a:pos x="190" y="257"/>
                </a:cxn>
                <a:cxn ang="0">
                  <a:pos x="199" y="303"/>
                </a:cxn>
                <a:cxn ang="0">
                  <a:pos x="213" y="336"/>
                </a:cxn>
                <a:cxn ang="0">
                  <a:pos x="237" y="363"/>
                </a:cxn>
                <a:cxn ang="0">
                  <a:pos x="264" y="398"/>
                </a:cxn>
                <a:cxn ang="0">
                  <a:pos x="292" y="428"/>
                </a:cxn>
                <a:cxn ang="0">
                  <a:pos x="319" y="461"/>
                </a:cxn>
                <a:cxn ang="0">
                  <a:pos x="365" y="477"/>
                </a:cxn>
                <a:cxn ang="0">
                  <a:pos x="391" y="505"/>
                </a:cxn>
                <a:cxn ang="0">
                  <a:pos x="408" y="513"/>
                </a:cxn>
                <a:cxn ang="0">
                  <a:pos x="427" y="547"/>
                </a:cxn>
                <a:cxn ang="0">
                  <a:pos x="462" y="570"/>
                </a:cxn>
                <a:cxn ang="0">
                  <a:pos x="475" y="628"/>
                </a:cxn>
                <a:cxn ang="0">
                  <a:pos x="458" y="691"/>
                </a:cxn>
                <a:cxn ang="0">
                  <a:pos x="445" y="719"/>
                </a:cxn>
                <a:cxn ang="0">
                  <a:pos x="478" y="708"/>
                </a:cxn>
                <a:cxn ang="0">
                  <a:pos x="510" y="649"/>
                </a:cxn>
                <a:cxn ang="0">
                  <a:pos x="533" y="631"/>
                </a:cxn>
                <a:cxn ang="0">
                  <a:pos x="511" y="590"/>
                </a:cxn>
                <a:cxn ang="0">
                  <a:pos x="518" y="543"/>
                </a:cxn>
                <a:cxn ang="0">
                  <a:pos x="548" y="534"/>
                </a:cxn>
                <a:cxn ang="0">
                  <a:pos x="581" y="549"/>
                </a:cxn>
                <a:cxn ang="0">
                  <a:pos x="612" y="557"/>
                </a:cxn>
              </a:cxnLst>
              <a:rect l="0" t="0" r="r" b="b"/>
              <a:pathLst>
                <a:path w="612" h="721">
                  <a:moveTo>
                    <a:pt x="532" y="476"/>
                  </a:moveTo>
                  <a:cubicBezTo>
                    <a:pt x="533" y="475"/>
                    <a:pt x="533" y="475"/>
                    <a:pt x="533" y="475"/>
                  </a:cubicBezTo>
                  <a:cubicBezTo>
                    <a:pt x="533" y="475"/>
                    <a:pt x="532" y="475"/>
                    <a:pt x="532" y="476"/>
                  </a:cubicBezTo>
                  <a:moveTo>
                    <a:pt x="612" y="551"/>
                  </a:moveTo>
                  <a:cubicBezTo>
                    <a:pt x="612" y="550"/>
                    <a:pt x="611" y="550"/>
                    <a:pt x="611" y="550"/>
                  </a:cubicBezTo>
                  <a:cubicBezTo>
                    <a:pt x="611" y="549"/>
                    <a:pt x="611" y="548"/>
                    <a:pt x="611" y="548"/>
                  </a:cubicBezTo>
                  <a:cubicBezTo>
                    <a:pt x="610" y="547"/>
                    <a:pt x="610" y="547"/>
                    <a:pt x="609" y="546"/>
                  </a:cubicBezTo>
                  <a:cubicBezTo>
                    <a:pt x="609" y="545"/>
                    <a:pt x="609" y="544"/>
                    <a:pt x="609" y="543"/>
                  </a:cubicBezTo>
                  <a:cubicBezTo>
                    <a:pt x="608" y="542"/>
                    <a:pt x="608" y="542"/>
                    <a:pt x="607" y="541"/>
                  </a:cubicBezTo>
                  <a:cubicBezTo>
                    <a:pt x="606" y="540"/>
                    <a:pt x="606" y="538"/>
                    <a:pt x="605" y="537"/>
                  </a:cubicBezTo>
                  <a:cubicBezTo>
                    <a:pt x="604" y="536"/>
                    <a:pt x="603" y="535"/>
                    <a:pt x="602" y="534"/>
                  </a:cubicBezTo>
                  <a:cubicBezTo>
                    <a:pt x="601" y="533"/>
                    <a:pt x="601" y="533"/>
                    <a:pt x="600" y="532"/>
                  </a:cubicBezTo>
                  <a:cubicBezTo>
                    <a:pt x="600" y="532"/>
                    <a:pt x="599" y="531"/>
                    <a:pt x="599" y="531"/>
                  </a:cubicBezTo>
                  <a:cubicBezTo>
                    <a:pt x="598" y="530"/>
                    <a:pt x="598" y="529"/>
                    <a:pt x="597" y="528"/>
                  </a:cubicBezTo>
                  <a:cubicBezTo>
                    <a:pt x="596" y="527"/>
                    <a:pt x="596" y="527"/>
                    <a:pt x="595" y="526"/>
                  </a:cubicBezTo>
                  <a:cubicBezTo>
                    <a:pt x="594" y="525"/>
                    <a:pt x="594" y="524"/>
                    <a:pt x="593" y="523"/>
                  </a:cubicBezTo>
                  <a:cubicBezTo>
                    <a:pt x="592" y="522"/>
                    <a:pt x="591" y="522"/>
                    <a:pt x="591" y="522"/>
                  </a:cubicBezTo>
                  <a:cubicBezTo>
                    <a:pt x="589" y="520"/>
                    <a:pt x="588" y="518"/>
                    <a:pt x="587" y="517"/>
                  </a:cubicBezTo>
                  <a:cubicBezTo>
                    <a:pt x="587" y="516"/>
                    <a:pt x="585" y="515"/>
                    <a:pt x="584" y="514"/>
                  </a:cubicBezTo>
                  <a:cubicBezTo>
                    <a:pt x="582" y="512"/>
                    <a:pt x="580" y="510"/>
                    <a:pt x="578" y="509"/>
                  </a:cubicBezTo>
                  <a:cubicBezTo>
                    <a:pt x="577" y="509"/>
                    <a:pt x="576" y="508"/>
                    <a:pt x="575" y="507"/>
                  </a:cubicBezTo>
                  <a:cubicBezTo>
                    <a:pt x="575" y="507"/>
                    <a:pt x="575" y="507"/>
                    <a:pt x="575" y="507"/>
                  </a:cubicBezTo>
                  <a:cubicBezTo>
                    <a:pt x="575" y="507"/>
                    <a:pt x="574" y="507"/>
                    <a:pt x="574" y="507"/>
                  </a:cubicBezTo>
                  <a:cubicBezTo>
                    <a:pt x="573" y="506"/>
                    <a:pt x="572" y="505"/>
                    <a:pt x="571" y="505"/>
                  </a:cubicBezTo>
                  <a:cubicBezTo>
                    <a:pt x="570" y="504"/>
                    <a:pt x="569" y="504"/>
                    <a:pt x="568" y="503"/>
                  </a:cubicBezTo>
                  <a:cubicBezTo>
                    <a:pt x="566" y="502"/>
                    <a:pt x="565" y="501"/>
                    <a:pt x="563" y="500"/>
                  </a:cubicBezTo>
                  <a:cubicBezTo>
                    <a:pt x="562" y="499"/>
                    <a:pt x="560" y="499"/>
                    <a:pt x="559" y="498"/>
                  </a:cubicBezTo>
                  <a:cubicBezTo>
                    <a:pt x="558" y="497"/>
                    <a:pt x="557" y="497"/>
                    <a:pt x="556" y="496"/>
                  </a:cubicBezTo>
                  <a:cubicBezTo>
                    <a:pt x="555" y="495"/>
                    <a:pt x="554" y="494"/>
                    <a:pt x="552" y="494"/>
                  </a:cubicBezTo>
                  <a:cubicBezTo>
                    <a:pt x="552" y="493"/>
                    <a:pt x="551" y="493"/>
                    <a:pt x="550" y="492"/>
                  </a:cubicBezTo>
                  <a:cubicBezTo>
                    <a:pt x="549" y="491"/>
                    <a:pt x="548" y="490"/>
                    <a:pt x="547" y="489"/>
                  </a:cubicBezTo>
                  <a:cubicBezTo>
                    <a:pt x="546" y="488"/>
                    <a:pt x="545" y="487"/>
                    <a:pt x="544" y="486"/>
                  </a:cubicBezTo>
                  <a:cubicBezTo>
                    <a:pt x="544" y="485"/>
                    <a:pt x="543" y="484"/>
                    <a:pt x="543" y="483"/>
                  </a:cubicBezTo>
                  <a:cubicBezTo>
                    <a:pt x="542" y="481"/>
                    <a:pt x="540" y="481"/>
                    <a:pt x="538" y="479"/>
                  </a:cubicBezTo>
                  <a:cubicBezTo>
                    <a:pt x="537" y="479"/>
                    <a:pt x="532" y="477"/>
                    <a:pt x="532" y="476"/>
                  </a:cubicBezTo>
                  <a:cubicBezTo>
                    <a:pt x="532" y="476"/>
                    <a:pt x="530" y="475"/>
                    <a:pt x="530" y="474"/>
                  </a:cubicBezTo>
                  <a:cubicBezTo>
                    <a:pt x="528" y="473"/>
                    <a:pt x="526" y="471"/>
                    <a:pt x="523" y="471"/>
                  </a:cubicBezTo>
                  <a:cubicBezTo>
                    <a:pt x="521" y="470"/>
                    <a:pt x="519" y="470"/>
                    <a:pt x="517" y="469"/>
                  </a:cubicBezTo>
                  <a:cubicBezTo>
                    <a:pt x="512" y="469"/>
                    <a:pt x="509" y="466"/>
                    <a:pt x="506" y="463"/>
                  </a:cubicBezTo>
                  <a:cubicBezTo>
                    <a:pt x="504" y="462"/>
                    <a:pt x="503" y="460"/>
                    <a:pt x="501" y="460"/>
                  </a:cubicBezTo>
                  <a:cubicBezTo>
                    <a:pt x="499" y="459"/>
                    <a:pt x="497" y="459"/>
                    <a:pt x="495" y="459"/>
                  </a:cubicBezTo>
                  <a:cubicBezTo>
                    <a:pt x="493" y="458"/>
                    <a:pt x="491" y="457"/>
                    <a:pt x="490" y="457"/>
                  </a:cubicBezTo>
                  <a:cubicBezTo>
                    <a:pt x="489" y="455"/>
                    <a:pt x="488" y="454"/>
                    <a:pt x="487" y="452"/>
                  </a:cubicBezTo>
                  <a:cubicBezTo>
                    <a:pt x="486" y="450"/>
                    <a:pt x="485" y="449"/>
                    <a:pt x="483" y="448"/>
                  </a:cubicBezTo>
                  <a:cubicBezTo>
                    <a:pt x="482" y="447"/>
                    <a:pt x="481" y="447"/>
                    <a:pt x="480" y="446"/>
                  </a:cubicBezTo>
                  <a:cubicBezTo>
                    <a:pt x="478" y="445"/>
                    <a:pt x="477" y="444"/>
                    <a:pt x="477" y="443"/>
                  </a:cubicBezTo>
                  <a:cubicBezTo>
                    <a:pt x="476" y="442"/>
                    <a:pt x="477" y="440"/>
                    <a:pt x="477" y="439"/>
                  </a:cubicBezTo>
                  <a:cubicBezTo>
                    <a:pt x="477" y="437"/>
                    <a:pt x="478" y="435"/>
                    <a:pt x="479" y="433"/>
                  </a:cubicBezTo>
                  <a:cubicBezTo>
                    <a:pt x="480" y="432"/>
                    <a:pt x="481" y="431"/>
                    <a:pt x="482" y="430"/>
                  </a:cubicBezTo>
                  <a:cubicBezTo>
                    <a:pt x="482" y="429"/>
                    <a:pt x="483" y="428"/>
                    <a:pt x="484" y="427"/>
                  </a:cubicBezTo>
                  <a:cubicBezTo>
                    <a:pt x="485" y="427"/>
                    <a:pt x="486" y="426"/>
                    <a:pt x="486" y="426"/>
                  </a:cubicBezTo>
                  <a:cubicBezTo>
                    <a:pt x="487" y="426"/>
                    <a:pt x="487" y="426"/>
                    <a:pt x="488" y="426"/>
                  </a:cubicBezTo>
                  <a:cubicBezTo>
                    <a:pt x="488" y="426"/>
                    <a:pt x="488" y="425"/>
                    <a:pt x="489" y="425"/>
                  </a:cubicBezTo>
                  <a:cubicBezTo>
                    <a:pt x="489" y="424"/>
                    <a:pt x="490" y="425"/>
                    <a:pt x="490" y="424"/>
                  </a:cubicBezTo>
                  <a:cubicBezTo>
                    <a:pt x="491" y="424"/>
                    <a:pt x="491" y="424"/>
                    <a:pt x="491" y="423"/>
                  </a:cubicBezTo>
                  <a:cubicBezTo>
                    <a:pt x="492" y="422"/>
                    <a:pt x="493" y="422"/>
                    <a:pt x="494" y="421"/>
                  </a:cubicBezTo>
                  <a:cubicBezTo>
                    <a:pt x="495" y="420"/>
                    <a:pt x="495" y="418"/>
                    <a:pt x="495" y="417"/>
                  </a:cubicBezTo>
                  <a:cubicBezTo>
                    <a:pt x="495" y="417"/>
                    <a:pt x="494" y="416"/>
                    <a:pt x="494" y="416"/>
                  </a:cubicBezTo>
                  <a:cubicBezTo>
                    <a:pt x="494" y="415"/>
                    <a:pt x="493" y="415"/>
                    <a:pt x="493" y="414"/>
                  </a:cubicBezTo>
                  <a:cubicBezTo>
                    <a:pt x="492" y="412"/>
                    <a:pt x="490" y="412"/>
                    <a:pt x="489" y="411"/>
                  </a:cubicBezTo>
                  <a:cubicBezTo>
                    <a:pt x="487" y="409"/>
                    <a:pt x="486" y="408"/>
                    <a:pt x="483" y="408"/>
                  </a:cubicBezTo>
                  <a:cubicBezTo>
                    <a:pt x="482" y="408"/>
                    <a:pt x="481" y="409"/>
                    <a:pt x="479" y="409"/>
                  </a:cubicBezTo>
                  <a:cubicBezTo>
                    <a:pt x="477" y="410"/>
                    <a:pt x="474" y="410"/>
                    <a:pt x="473" y="409"/>
                  </a:cubicBezTo>
                  <a:cubicBezTo>
                    <a:pt x="471" y="408"/>
                    <a:pt x="470" y="408"/>
                    <a:pt x="467" y="409"/>
                  </a:cubicBezTo>
                  <a:cubicBezTo>
                    <a:pt x="466" y="409"/>
                    <a:pt x="464" y="409"/>
                    <a:pt x="463" y="409"/>
                  </a:cubicBezTo>
                  <a:cubicBezTo>
                    <a:pt x="462" y="409"/>
                    <a:pt x="461" y="410"/>
                    <a:pt x="460" y="410"/>
                  </a:cubicBezTo>
                  <a:cubicBezTo>
                    <a:pt x="459" y="410"/>
                    <a:pt x="458" y="410"/>
                    <a:pt x="458" y="410"/>
                  </a:cubicBezTo>
                  <a:cubicBezTo>
                    <a:pt x="456" y="410"/>
                    <a:pt x="454" y="411"/>
                    <a:pt x="452" y="411"/>
                  </a:cubicBezTo>
                  <a:cubicBezTo>
                    <a:pt x="451" y="411"/>
                    <a:pt x="449" y="411"/>
                    <a:pt x="448" y="411"/>
                  </a:cubicBezTo>
                  <a:cubicBezTo>
                    <a:pt x="444" y="411"/>
                    <a:pt x="439" y="411"/>
                    <a:pt x="436" y="408"/>
                  </a:cubicBezTo>
                  <a:cubicBezTo>
                    <a:pt x="435" y="407"/>
                    <a:pt x="435" y="406"/>
                    <a:pt x="434" y="406"/>
                  </a:cubicBezTo>
                  <a:cubicBezTo>
                    <a:pt x="433" y="405"/>
                    <a:pt x="433" y="405"/>
                    <a:pt x="432" y="405"/>
                  </a:cubicBezTo>
                  <a:cubicBezTo>
                    <a:pt x="431" y="403"/>
                    <a:pt x="430" y="403"/>
                    <a:pt x="428" y="402"/>
                  </a:cubicBezTo>
                  <a:cubicBezTo>
                    <a:pt x="427" y="401"/>
                    <a:pt x="426" y="401"/>
                    <a:pt x="425" y="400"/>
                  </a:cubicBezTo>
                  <a:cubicBezTo>
                    <a:pt x="424" y="399"/>
                    <a:pt x="424" y="398"/>
                    <a:pt x="423" y="398"/>
                  </a:cubicBezTo>
                  <a:cubicBezTo>
                    <a:pt x="422" y="397"/>
                    <a:pt x="420" y="398"/>
                    <a:pt x="419" y="398"/>
                  </a:cubicBezTo>
                  <a:cubicBezTo>
                    <a:pt x="418" y="397"/>
                    <a:pt x="418" y="396"/>
                    <a:pt x="416" y="396"/>
                  </a:cubicBezTo>
                  <a:cubicBezTo>
                    <a:pt x="416" y="395"/>
                    <a:pt x="415" y="393"/>
                    <a:pt x="414" y="391"/>
                  </a:cubicBezTo>
                  <a:cubicBezTo>
                    <a:pt x="414" y="390"/>
                    <a:pt x="414" y="388"/>
                    <a:pt x="413" y="387"/>
                  </a:cubicBezTo>
                  <a:cubicBezTo>
                    <a:pt x="413" y="386"/>
                    <a:pt x="412" y="386"/>
                    <a:pt x="411" y="385"/>
                  </a:cubicBezTo>
                  <a:cubicBezTo>
                    <a:pt x="410" y="385"/>
                    <a:pt x="411" y="385"/>
                    <a:pt x="410" y="384"/>
                  </a:cubicBezTo>
                  <a:cubicBezTo>
                    <a:pt x="408" y="383"/>
                    <a:pt x="407" y="382"/>
                    <a:pt x="405" y="381"/>
                  </a:cubicBezTo>
                  <a:cubicBezTo>
                    <a:pt x="403" y="379"/>
                    <a:pt x="401" y="378"/>
                    <a:pt x="399" y="375"/>
                  </a:cubicBezTo>
                  <a:cubicBezTo>
                    <a:pt x="399" y="375"/>
                    <a:pt x="398" y="374"/>
                    <a:pt x="398" y="374"/>
                  </a:cubicBezTo>
                  <a:cubicBezTo>
                    <a:pt x="397" y="372"/>
                    <a:pt x="397" y="371"/>
                    <a:pt x="395" y="370"/>
                  </a:cubicBezTo>
                  <a:cubicBezTo>
                    <a:pt x="395" y="370"/>
                    <a:pt x="391" y="367"/>
                    <a:pt x="391" y="366"/>
                  </a:cubicBezTo>
                  <a:cubicBezTo>
                    <a:pt x="391" y="366"/>
                    <a:pt x="391" y="366"/>
                    <a:pt x="391" y="366"/>
                  </a:cubicBezTo>
                  <a:cubicBezTo>
                    <a:pt x="391" y="366"/>
                    <a:pt x="390" y="366"/>
                    <a:pt x="390" y="366"/>
                  </a:cubicBezTo>
                  <a:cubicBezTo>
                    <a:pt x="390" y="366"/>
                    <a:pt x="390" y="365"/>
                    <a:pt x="390" y="365"/>
                  </a:cubicBezTo>
                  <a:cubicBezTo>
                    <a:pt x="389" y="365"/>
                    <a:pt x="389" y="364"/>
                    <a:pt x="389" y="364"/>
                  </a:cubicBezTo>
                  <a:cubicBezTo>
                    <a:pt x="388" y="363"/>
                    <a:pt x="388" y="363"/>
                    <a:pt x="387" y="363"/>
                  </a:cubicBezTo>
                  <a:cubicBezTo>
                    <a:pt x="387" y="362"/>
                    <a:pt x="387" y="361"/>
                    <a:pt x="386" y="361"/>
                  </a:cubicBezTo>
                  <a:cubicBezTo>
                    <a:pt x="386" y="360"/>
                    <a:pt x="385" y="359"/>
                    <a:pt x="385" y="358"/>
                  </a:cubicBezTo>
                  <a:cubicBezTo>
                    <a:pt x="384" y="357"/>
                    <a:pt x="383" y="356"/>
                    <a:pt x="383" y="355"/>
                  </a:cubicBezTo>
                  <a:cubicBezTo>
                    <a:pt x="382" y="354"/>
                    <a:pt x="382" y="352"/>
                    <a:pt x="381" y="352"/>
                  </a:cubicBezTo>
                  <a:cubicBezTo>
                    <a:pt x="381" y="348"/>
                    <a:pt x="379" y="345"/>
                    <a:pt x="378" y="341"/>
                  </a:cubicBezTo>
                  <a:cubicBezTo>
                    <a:pt x="377" y="338"/>
                    <a:pt x="376" y="335"/>
                    <a:pt x="376" y="332"/>
                  </a:cubicBezTo>
                  <a:cubicBezTo>
                    <a:pt x="375" y="329"/>
                    <a:pt x="375" y="325"/>
                    <a:pt x="374" y="323"/>
                  </a:cubicBezTo>
                  <a:cubicBezTo>
                    <a:pt x="373" y="321"/>
                    <a:pt x="373" y="320"/>
                    <a:pt x="372" y="319"/>
                  </a:cubicBezTo>
                  <a:cubicBezTo>
                    <a:pt x="372" y="318"/>
                    <a:pt x="372" y="317"/>
                    <a:pt x="372" y="316"/>
                  </a:cubicBezTo>
                  <a:cubicBezTo>
                    <a:pt x="372" y="316"/>
                    <a:pt x="371" y="315"/>
                    <a:pt x="371" y="315"/>
                  </a:cubicBezTo>
                  <a:cubicBezTo>
                    <a:pt x="370" y="311"/>
                    <a:pt x="370" y="307"/>
                    <a:pt x="369" y="303"/>
                  </a:cubicBezTo>
                  <a:cubicBezTo>
                    <a:pt x="368" y="301"/>
                    <a:pt x="366" y="299"/>
                    <a:pt x="365" y="297"/>
                  </a:cubicBezTo>
                  <a:cubicBezTo>
                    <a:pt x="364" y="296"/>
                    <a:pt x="364" y="295"/>
                    <a:pt x="364" y="294"/>
                  </a:cubicBezTo>
                  <a:cubicBezTo>
                    <a:pt x="364" y="293"/>
                    <a:pt x="363" y="291"/>
                    <a:pt x="362" y="290"/>
                  </a:cubicBezTo>
                  <a:cubicBezTo>
                    <a:pt x="361" y="288"/>
                    <a:pt x="360" y="287"/>
                    <a:pt x="360" y="285"/>
                  </a:cubicBezTo>
                  <a:cubicBezTo>
                    <a:pt x="360" y="285"/>
                    <a:pt x="359" y="284"/>
                    <a:pt x="359" y="283"/>
                  </a:cubicBezTo>
                  <a:cubicBezTo>
                    <a:pt x="358" y="282"/>
                    <a:pt x="358" y="282"/>
                    <a:pt x="358" y="280"/>
                  </a:cubicBezTo>
                  <a:cubicBezTo>
                    <a:pt x="358" y="279"/>
                    <a:pt x="358" y="279"/>
                    <a:pt x="357" y="279"/>
                  </a:cubicBezTo>
                  <a:cubicBezTo>
                    <a:pt x="355" y="278"/>
                    <a:pt x="354" y="280"/>
                    <a:pt x="352" y="277"/>
                  </a:cubicBezTo>
                  <a:cubicBezTo>
                    <a:pt x="350" y="275"/>
                    <a:pt x="351" y="271"/>
                    <a:pt x="349" y="269"/>
                  </a:cubicBezTo>
                  <a:cubicBezTo>
                    <a:pt x="347" y="268"/>
                    <a:pt x="346" y="267"/>
                    <a:pt x="345" y="266"/>
                  </a:cubicBezTo>
                  <a:cubicBezTo>
                    <a:pt x="344" y="265"/>
                    <a:pt x="343" y="265"/>
                    <a:pt x="342" y="265"/>
                  </a:cubicBezTo>
                  <a:cubicBezTo>
                    <a:pt x="342" y="264"/>
                    <a:pt x="342" y="264"/>
                    <a:pt x="341" y="264"/>
                  </a:cubicBezTo>
                  <a:cubicBezTo>
                    <a:pt x="341" y="264"/>
                    <a:pt x="340" y="263"/>
                    <a:pt x="340" y="263"/>
                  </a:cubicBezTo>
                  <a:cubicBezTo>
                    <a:pt x="338" y="262"/>
                    <a:pt x="337" y="260"/>
                    <a:pt x="336" y="259"/>
                  </a:cubicBezTo>
                  <a:cubicBezTo>
                    <a:pt x="335" y="257"/>
                    <a:pt x="333" y="256"/>
                    <a:pt x="331" y="254"/>
                  </a:cubicBezTo>
                  <a:cubicBezTo>
                    <a:pt x="330" y="253"/>
                    <a:pt x="328" y="251"/>
                    <a:pt x="327" y="250"/>
                  </a:cubicBezTo>
                  <a:cubicBezTo>
                    <a:pt x="326" y="248"/>
                    <a:pt x="324" y="248"/>
                    <a:pt x="323" y="247"/>
                  </a:cubicBezTo>
                  <a:cubicBezTo>
                    <a:pt x="321" y="246"/>
                    <a:pt x="320" y="244"/>
                    <a:pt x="319" y="243"/>
                  </a:cubicBezTo>
                  <a:cubicBezTo>
                    <a:pt x="318" y="242"/>
                    <a:pt x="317" y="241"/>
                    <a:pt x="316" y="241"/>
                  </a:cubicBezTo>
                  <a:cubicBezTo>
                    <a:pt x="315" y="241"/>
                    <a:pt x="315" y="241"/>
                    <a:pt x="314" y="241"/>
                  </a:cubicBezTo>
                  <a:cubicBezTo>
                    <a:pt x="314" y="240"/>
                    <a:pt x="314" y="240"/>
                    <a:pt x="313" y="240"/>
                  </a:cubicBezTo>
                  <a:cubicBezTo>
                    <a:pt x="313" y="239"/>
                    <a:pt x="312" y="239"/>
                    <a:pt x="311" y="238"/>
                  </a:cubicBezTo>
                  <a:cubicBezTo>
                    <a:pt x="309" y="237"/>
                    <a:pt x="308" y="236"/>
                    <a:pt x="307" y="234"/>
                  </a:cubicBezTo>
                  <a:cubicBezTo>
                    <a:pt x="305" y="231"/>
                    <a:pt x="304" y="228"/>
                    <a:pt x="302" y="225"/>
                  </a:cubicBezTo>
                  <a:cubicBezTo>
                    <a:pt x="302" y="224"/>
                    <a:pt x="302" y="224"/>
                    <a:pt x="302" y="224"/>
                  </a:cubicBezTo>
                  <a:cubicBezTo>
                    <a:pt x="302" y="223"/>
                    <a:pt x="301" y="223"/>
                    <a:pt x="301" y="223"/>
                  </a:cubicBezTo>
                  <a:cubicBezTo>
                    <a:pt x="300" y="221"/>
                    <a:pt x="299" y="219"/>
                    <a:pt x="299" y="218"/>
                  </a:cubicBezTo>
                  <a:cubicBezTo>
                    <a:pt x="299" y="214"/>
                    <a:pt x="300" y="210"/>
                    <a:pt x="299" y="206"/>
                  </a:cubicBezTo>
                  <a:cubicBezTo>
                    <a:pt x="298" y="203"/>
                    <a:pt x="296" y="201"/>
                    <a:pt x="296" y="198"/>
                  </a:cubicBezTo>
                  <a:cubicBezTo>
                    <a:pt x="296" y="198"/>
                    <a:pt x="296" y="197"/>
                    <a:pt x="296" y="196"/>
                  </a:cubicBezTo>
                  <a:cubicBezTo>
                    <a:pt x="296" y="196"/>
                    <a:pt x="297" y="196"/>
                    <a:pt x="297" y="195"/>
                  </a:cubicBezTo>
                  <a:cubicBezTo>
                    <a:pt x="297" y="194"/>
                    <a:pt x="297" y="192"/>
                    <a:pt x="297" y="191"/>
                  </a:cubicBezTo>
                  <a:cubicBezTo>
                    <a:pt x="297" y="190"/>
                    <a:pt x="296" y="190"/>
                    <a:pt x="296" y="189"/>
                  </a:cubicBezTo>
                  <a:cubicBezTo>
                    <a:pt x="296" y="189"/>
                    <a:pt x="296" y="188"/>
                    <a:pt x="296" y="187"/>
                  </a:cubicBezTo>
                  <a:cubicBezTo>
                    <a:pt x="296" y="186"/>
                    <a:pt x="296" y="186"/>
                    <a:pt x="297" y="185"/>
                  </a:cubicBezTo>
                  <a:cubicBezTo>
                    <a:pt x="297" y="184"/>
                    <a:pt x="297" y="183"/>
                    <a:pt x="298" y="182"/>
                  </a:cubicBezTo>
                  <a:cubicBezTo>
                    <a:pt x="298" y="181"/>
                    <a:pt x="298" y="181"/>
                    <a:pt x="299" y="181"/>
                  </a:cubicBezTo>
                  <a:cubicBezTo>
                    <a:pt x="299" y="181"/>
                    <a:pt x="299" y="181"/>
                    <a:pt x="300" y="181"/>
                  </a:cubicBezTo>
                  <a:cubicBezTo>
                    <a:pt x="300" y="180"/>
                    <a:pt x="301" y="180"/>
                    <a:pt x="302" y="180"/>
                  </a:cubicBezTo>
                  <a:cubicBezTo>
                    <a:pt x="305" y="179"/>
                    <a:pt x="305" y="176"/>
                    <a:pt x="306" y="173"/>
                  </a:cubicBezTo>
                  <a:cubicBezTo>
                    <a:pt x="307" y="172"/>
                    <a:pt x="307" y="172"/>
                    <a:pt x="308" y="171"/>
                  </a:cubicBezTo>
                  <a:cubicBezTo>
                    <a:pt x="310" y="171"/>
                    <a:pt x="312" y="171"/>
                    <a:pt x="314" y="171"/>
                  </a:cubicBezTo>
                  <a:cubicBezTo>
                    <a:pt x="316" y="171"/>
                    <a:pt x="318" y="170"/>
                    <a:pt x="321" y="171"/>
                  </a:cubicBezTo>
                  <a:cubicBezTo>
                    <a:pt x="321" y="171"/>
                    <a:pt x="322" y="171"/>
                    <a:pt x="323" y="170"/>
                  </a:cubicBezTo>
                  <a:cubicBezTo>
                    <a:pt x="324" y="170"/>
                    <a:pt x="324" y="169"/>
                    <a:pt x="324" y="168"/>
                  </a:cubicBezTo>
                  <a:cubicBezTo>
                    <a:pt x="324" y="166"/>
                    <a:pt x="322" y="165"/>
                    <a:pt x="320" y="164"/>
                  </a:cubicBezTo>
                  <a:cubicBezTo>
                    <a:pt x="318" y="163"/>
                    <a:pt x="317" y="163"/>
                    <a:pt x="316" y="161"/>
                  </a:cubicBezTo>
                  <a:cubicBezTo>
                    <a:pt x="316" y="159"/>
                    <a:pt x="315" y="158"/>
                    <a:pt x="315" y="156"/>
                  </a:cubicBezTo>
                  <a:cubicBezTo>
                    <a:pt x="315" y="154"/>
                    <a:pt x="315" y="155"/>
                    <a:pt x="317" y="154"/>
                  </a:cubicBezTo>
                  <a:cubicBezTo>
                    <a:pt x="318" y="154"/>
                    <a:pt x="319" y="153"/>
                    <a:pt x="319" y="152"/>
                  </a:cubicBezTo>
                  <a:cubicBezTo>
                    <a:pt x="321" y="151"/>
                    <a:pt x="322" y="149"/>
                    <a:pt x="323" y="148"/>
                  </a:cubicBezTo>
                  <a:cubicBezTo>
                    <a:pt x="324" y="147"/>
                    <a:pt x="326" y="147"/>
                    <a:pt x="327" y="146"/>
                  </a:cubicBezTo>
                  <a:cubicBezTo>
                    <a:pt x="328" y="145"/>
                    <a:pt x="328" y="145"/>
                    <a:pt x="328" y="144"/>
                  </a:cubicBezTo>
                  <a:cubicBezTo>
                    <a:pt x="325" y="143"/>
                    <a:pt x="323" y="144"/>
                    <a:pt x="320" y="143"/>
                  </a:cubicBezTo>
                  <a:cubicBezTo>
                    <a:pt x="317" y="141"/>
                    <a:pt x="312" y="142"/>
                    <a:pt x="308" y="142"/>
                  </a:cubicBezTo>
                  <a:cubicBezTo>
                    <a:pt x="308" y="140"/>
                    <a:pt x="310" y="138"/>
                    <a:pt x="310" y="137"/>
                  </a:cubicBezTo>
                  <a:cubicBezTo>
                    <a:pt x="311" y="136"/>
                    <a:pt x="311" y="136"/>
                    <a:pt x="311" y="135"/>
                  </a:cubicBezTo>
                  <a:cubicBezTo>
                    <a:pt x="312" y="135"/>
                    <a:pt x="312" y="135"/>
                    <a:pt x="313" y="134"/>
                  </a:cubicBezTo>
                  <a:cubicBezTo>
                    <a:pt x="315" y="133"/>
                    <a:pt x="314" y="132"/>
                    <a:pt x="314" y="130"/>
                  </a:cubicBezTo>
                  <a:cubicBezTo>
                    <a:pt x="315" y="128"/>
                    <a:pt x="316" y="128"/>
                    <a:pt x="317" y="130"/>
                  </a:cubicBezTo>
                  <a:cubicBezTo>
                    <a:pt x="318" y="131"/>
                    <a:pt x="316" y="133"/>
                    <a:pt x="318" y="134"/>
                  </a:cubicBezTo>
                  <a:cubicBezTo>
                    <a:pt x="319" y="134"/>
                    <a:pt x="320" y="134"/>
                    <a:pt x="321" y="134"/>
                  </a:cubicBezTo>
                  <a:cubicBezTo>
                    <a:pt x="321" y="134"/>
                    <a:pt x="321" y="134"/>
                    <a:pt x="322" y="134"/>
                  </a:cubicBezTo>
                  <a:cubicBezTo>
                    <a:pt x="322" y="134"/>
                    <a:pt x="322" y="134"/>
                    <a:pt x="322" y="133"/>
                  </a:cubicBezTo>
                  <a:cubicBezTo>
                    <a:pt x="324" y="133"/>
                    <a:pt x="325" y="132"/>
                    <a:pt x="326" y="131"/>
                  </a:cubicBezTo>
                  <a:cubicBezTo>
                    <a:pt x="327" y="130"/>
                    <a:pt x="329" y="130"/>
                    <a:pt x="329" y="129"/>
                  </a:cubicBezTo>
                  <a:cubicBezTo>
                    <a:pt x="330" y="128"/>
                    <a:pt x="330" y="128"/>
                    <a:pt x="331" y="127"/>
                  </a:cubicBezTo>
                  <a:cubicBezTo>
                    <a:pt x="331" y="127"/>
                    <a:pt x="332" y="127"/>
                    <a:pt x="333" y="127"/>
                  </a:cubicBezTo>
                  <a:cubicBezTo>
                    <a:pt x="334" y="126"/>
                    <a:pt x="336" y="127"/>
                    <a:pt x="338" y="126"/>
                  </a:cubicBezTo>
                  <a:cubicBezTo>
                    <a:pt x="339" y="126"/>
                    <a:pt x="340" y="124"/>
                    <a:pt x="341" y="124"/>
                  </a:cubicBezTo>
                  <a:cubicBezTo>
                    <a:pt x="342" y="123"/>
                    <a:pt x="343" y="123"/>
                    <a:pt x="345" y="123"/>
                  </a:cubicBezTo>
                  <a:cubicBezTo>
                    <a:pt x="346" y="122"/>
                    <a:pt x="347" y="121"/>
                    <a:pt x="347" y="120"/>
                  </a:cubicBezTo>
                  <a:cubicBezTo>
                    <a:pt x="348" y="119"/>
                    <a:pt x="348" y="118"/>
                    <a:pt x="349" y="118"/>
                  </a:cubicBezTo>
                  <a:cubicBezTo>
                    <a:pt x="350" y="118"/>
                    <a:pt x="351" y="118"/>
                    <a:pt x="351" y="118"/>
                  </a:cubicBezTo>
                  <a:cubicBezTo>
                    <a:pt x="352" y="118"/>
                    <a:pt x="355" y="118"/>
                    <a:pt x="355" y="117"/>
                  </a:cubicBezTo>
                  <a:cubicBezTo>
                    <a:pt x="357" y="115"/>
                    <a:pt x="354" y="114"/>
                    <a:pt x="354" y="112"/>
                  </a:cubicBezTo>
                  <a:cubicBezTo>
                    <a:pt x="353" y="112"/>
                    <a:pt x="353" y="112"/>
                    <a:pt x="353" y="112"/>
                  </a:cubicBezTo>
                  <a:cubicBezTo>
                    <a:pt x="352" y="110"/>
                    <a:pt x="353" y="111"/>
                    <a:pt x="354" y="109"/>
                  </a:cubicBezTo>
                  <a:cubicBezTo>
                    <a:pt x="354" y="108"/>
                    <a:pt x="354" y="107"/>
                    <a:pt x="355" y="106"/>
                  </a:cubicBezTo>
                  <a:cubicBezTo>
                    <a:pt x="355" y="105"/>
                    <a:pt x="356" y="104"/>
                    <a:pt x="358" y="104"/>
                  </a:cubicBezTo>
                  <a:cubicBezTo>
                    <a:pt x="359" y="105"/>
                    <a:pt x="359" y="106"/>
                    <a:pt x="359" y="107"/>
                  </a:cubicBezTo>
                  <a:cubicBezTo>
                    <a:pt x="360" y="108"/>
                    <a:pt x="361" y="108"/>
                    <a:pt x="362" y="109"/>
                  </a:cubicBezTo>
                  <a:cubicBezTo>
                    <a:pt x="363" y="109"/>
                    <a:pt x="364" y="109"/>
                    <a:pt x="365" y="109"/>
                  </a:cubicBezTo>
                  <a:cubicBezTo>
                    <a:pt x="366" y="108"/>
                    <a:pt x="366" y="108"/>
                    <a:pt x="367" y="108"/>
                  </a:cubicBezTo>
                  <a:cubicBezTo>
                    <a:pt x="368" y="107"/>
                    <a:pt x="370" y="104"/>
                    <a:pt x="371" y="105"/>
                  </a:cubicBezTo>
                  <a:cubicBezTo>
                    <a:pt x="372" y="105"/>
                    <a:pt x="372" y="107"/>
                    <a:pt x="372" y="108"/>
                  </a:cubicBezTo>
                  <a:cubicBezTo>
                    <a:pt x="373" y="108"/>
                    <a:pt x="373" y="110"/>
                    <a:pt x="373" y="110"/>
                  </a:cubicBezTo>
                  <a:cubicBezTo>
                    <a:pt x="375" y="111"/>
                    <a:pt x="378" y="111"/>
                    <a:pt x="377" y="114"/>
                  </a:cubicBezTo>
                  <a:cubicBezTo>
                    <a:pt x="376" y="115"/>
                    <a:pt x="375" y="115"/>
                    <a:pt x="375" y="116"/>
                  </a:cubicBezTo>
                  <a:cubicBezTo>
                    <a:pt x="374" y="117"/>
                    <a:pt x="374" y="119"/>
                    <a:pt x="375" y="120"/>
                  </a:cubicBezTo>
                  <a:cubicBezTo>
                    <a:pt x="375" y="120"/>
                    <a:pt x="380" y="120"/>
                    <a:pt x="381" y="120"/>
                  </a:cubicBezTo>
                  <a:cubicBezTo>
                    <a:pt x="383" y="119"/>
                    <a:pt x="384" y="118"/>
                    <a:pt x="385" y="117"/>
                  </a:cubicBezTo>
                  <a:cubicBezTo>
                    <a:pt x="386" y="116"/>
                    <a:pt x="386" y="116"/>
                    <a:pt x="387" y="115"/>
                  </a:cubicBezTo>
                  <a:cubicBezTo>
                    <a:pt x="387" y="115"/>
                    <a:pt x="387" y="115"/>
                    <a:pt x="388" y="114"/>
                  </a:cubicBezTo>
                  <a:cubicBezTo>
                    <a:pt x="389" y="112"/>
                    <a:pt x="389" y="111"/>
                    <a:pt x="389" y="108"/>
                  </a:cubicBezTo>
                  <a:cubicBezTo>
                    <a:pt x="389" y="107"/>
                    <a:pt x="389" y="107"/>
                    <a:pt x="389" y="105"/>
                  </a:cubicBezTo>
                  <a:cubicBezTo>
                    <a:pt x="388" y="105"/>
                    <a:pt x="389" y="105"/>
                    <a:pt x="388" y="104"/>
                  </a:cubicBezTo>
                  <a:cubicBezTo>
                    <a:pt x="388" y="103"/>
                    <a:pt x="386" y="103"/>
                    <a:pt x="385" y="102"/>
                  </a:cubicBezTo>
                  <a:cubicBezTo>
                    <a:pt x="384" y="101"/>
                    <a:pt x="384" y="100"/>
                    <a:pt x="383" y="100"/>
                  </a:cubicBezTo>
                  <a:cubicBezTo>
                    <a:pt x="382" y="100"/>
                    <a:pt x="381" y="100"/>
                    <a:pt x="380" y="100"/>
                  </a:cubicBezTo>
                  <a:cubicBezTo>
                    <a:pt x="379" y="100"/>
                    <a:pt x="377" y="100"/>
                    <a:pt x="376" y="99"/>
                  </a:cubicBezTo>
                  <a:cubicBezTo>
                    <a:pt x="374" y="98"/>
                    <a:pt x="374" y="97"/>
                    <a:pt x="373" y="95"/>
                  </a:cubicBezTo>
                  <a:cubicBezTo>
                    <a:pt x="372" y="94"/>
                    <a:pt x="371" y="92"/>
                    <a:pt x="370" y="91"/>
                  </a:cubicBezTo>
                  <a:cubicBezTo>
                    <a:pt x="370" y="91"/>
                    <a:pt x="370" y="91"/>
                    <a:pt x="370" y="90"/>
                  </a:cubicBezTo>
                  <a:cubicBezTo>
                    <a:pt x="370" y="89"/>
                    <a:pt x="371" y="89"/>
                    <a:pt x="371" y="89"/>
                  </a:cubicBezTo>
                  <a:cubicBezTo>
                    <a:pt x="372" y="88"/>
                    <a:pt x="372" y="89"/>
                    <a:pt x="372" y="87"/>
                  </a:cubicBezTo>
                  <a:cubicBezTo>
                    <a:pt x="372" y="87"/>
                    <a:pt x="372" y="86"/>
                    <a:pt x="372" y="86"/>
                  </a:cubicBezTo>
                  <a:cubicBezTo>
                    <a:pt x="369" y="85"/>
                    <a:pt x="364" y="86"/>
                    <a:pt x="367" y="82"/>
                  </a:cubicBezTo>
                  <a:cubicBezTo>
                    <a:pt x="368" y="81"/>
                    <a:pt x="368" y="80"/>
                    <a:pt x="370" y="79"/>
                  </a:cubicBezTo>
                  <a:cubicBezTo>
                    <a:pt x="371" y="78"/>
                    <a:pt x="372" y="76"/>
                    <a:pt x="374" y="75"/>
                  </a:cubicBezTo>
                  <a:cubicBezTo>
                    <a:pt x="375" y="75"/>
                    <a:pt x="378" y="75"/>
                    <a:pt x="377" y="73"/>
                  </a:cubicBezTo>
                  <a:cubicBezTo>
                    <a:pt x="376" y="72"/>
                    <a:pt x="373" y="71"/>
                    <a:pt x="372" y="70"/>
                  </a:cubicBezTo>
                  <a:cubicBezTo>
                    <a:pt x="370" y="70"/>
                    <a:pt x="369" y="69"/>
                    <a:pt x="368" y="69"/>
                  </a:cubicBezTo>
                  <a:cubicBezTo>
                    <a:pt x="365" y="69"/>
                    <a:pt x="363" y="68"/>
                    <a:pt x="361" y="68"/>
                  </a:cubicBezTo>
                  <a:cubicBezTo>
                    <a:pt x="361" y="67"/>
                    <a:pt x="361" y="66"/>
                    <a:pt x="362" y="65"/>
                  </a:cubicBezTo>
                  <a:cubicBezTo>
                    <a:pt x="362" y="64"/>
                    <a:pt x="363" y="64"/>
                    <a:pt x="364" y="63"/>
                  </a:cubicBezTo>
                  <a:cubicBezTo>
                    <a:pt x="366" y="62"/>
                    <a:pt x="366" y="62"/>
                    <a:pt x="366" y="61"/>
                  </a:cubicBezTo>
                  <a:cubicBezTo>
                    <a:pt x="366" y="59"/>
                    <a:pt x="366" y="58"/>
                    <a:pt x="367" y="57"/>
                  </a:cubicBezTo>
                  <a:cubicBezTo>
                    <a:pt x="369" y="55"/>
                    <a:pt x="371" y="54"/>
                    <a:pt x="374" y="54"/>
                  </a:cubicBezTo>
                  <a:cubicBezTo>
                    <a:pt x="376" y="54"/>
                    <a:pt x="378" y="54"/>
                    <a:pt x="380" y="53"/>
                  </a:cubicBezTo>
                  <a:cubicBezTo>
                    <a:pt x="382" y="42"/>
                    <a:pt x="382" y="42"/>
                    <a:pt x="382" y="42"/>
                  </a:cubicBezTo>
                  <a:cubicBezTo>
                    <a:pt x="382" y="42"/>
                    <a:pt x="382" y="42"/>
                    <a:pt x="381" y="42"/>
                  </a:cubicBezTo>
                  <a:cubicBezTo>
                    <a:pt x="378" y="42"/>
                    <a:pt x="374" y="42"/>
                    <a:pt x="371" y="42"/>
                  </a:cubicBezTo>
                  <a:cubicBezTo>
                    <a:pt x="368" y="42"/>
                    <a:pt x="366" y="42"/>
                    <a:pt x="363" y="42"/>
                  </a:cubicBezTo>
                  <a:cubicBezTo>
                    <a:pt x="359" y="41"/>
                    <a:pt x="355" y="41"/>
                    <a:pt x="351" y="39"/>
                  </a:cubicBezTo>
                  <a:cubicBezTo>
                    <a:pt x="350" y="39"/>
                    <a:pt x="349" y="38"/>
                    <a:pt x="347" y="37"/>
                  </a:cubicBezTo>
                  <a:cubicBezTo>
                    <a:pt x="346" y="37"/>
                    <a:pt x="344" y="37"/>
                    <a:pt x="343" y="37"/>
                  </a:cubicBezTo>
                  <a:cubicBezTo>
                    <a:pt x="341" y="36"/>
                    <a:pt x="339" y="36"/>
                    <a:pt x="337" y="36"/>
                  </a:cubicBezTo>
                  <a:cubicBezTo>
                    <a:pt x="334" y="35"/>
                    <a:pt x="332" y="35"/>
                    <a:pt x="329" y="35"/>
                  </a:cubicBezTo>
                  <a:cubicBezTo>
                    <a:pt x="328" y="35"/>
                    <a:pt x="327" y="35"/>
                    <a:pt x="326" y="35"/>
                  </a:cubicBezTo>
                  <a:cubicBezTo>
                    <a:pt x="322" y="33"/>
                    <a:pt x="317" y="30"/>
                    <a:pt x="314" y="27"/>
                  </a:cubicBezTo>
                  <a:cubicBezTo>
                    <a:pt x="312" y="26"/>
                    <a:pt x="310" y="24"/>
                    <a:pt x="309" y="22"/>
                  </a:cubicBezTo>
                  <a:cubicBezTo>
                    <a:pt x="308" y="20"/>
                    <a:pt x="308" y="18"/>
                    <a:pt x="306" y="17"/>
                  </a:cubicBezTo>
                  <a:cubicBezTo>
                    <a:pt x="305" y="16"/>
                    <a:pt x="304" y="15"/>
                    <a:pt x="303" y="14"/>
                  </a:cubicBezTo>
                  <a:cubicBezTo>
                    <a:pt x="302" y="13"/>
                    <a:pt x="301" y="12"/>
                    <a:pt x="301" y="12"/>
                  </a:cubicBezTo>
                  <a:cubicBezTo>
                    <a:pt x="299" y="10"/>
                    <a:pt x="300" y="10"/>
                    <a:pt x="300" y="9"/>
                  </a:cubicBezTo>
                  <a:cubicBezTo>
                    <a:pt x="300" y="8"/>
                    <a:pt x="300" y="7"/>
                    <a:pt x="301" y="6"/>
                  </a:cubicBezTo>
                  <a:cubicBezTo>
                    <a:pt x="301" y="6"/>
                    <a:pt x="303" y="6"/>
                    <a:pt x="303" y="6"/>
                  </a:cubicBezTo>
                  <a:cubicBezTo>
                    <a:pt x="304" y="5"/>
                    <a:pt x="306" y="4"/>
                    <a:pt x="306" y="3"/>
                  </a:cubicBezTo>
                  <a:cubicBezTo>
                    <a:pt x="306" y="0"/>
                    <a:pt x="303" y="0"/>
                    <a:pt x="301" y="0"/>
                  </a:cubicBezTo>
                  <a:cubicBezTo>
                    <a:pt x="299" y="0"/>
                    <a:pt x="297" y="1"/>
                    <a:pt x="296" y="2"/>
                  </a:cubicBezTo>
                  <a:cubicBezTo>
                    <a:pt x="293" y="3"/>
                    <a:pt x="290" y="4"/>
                    <a:pt x="288" y="6"/>
                  </a:cubicBezTo>
                  <a:cubicBezTo>
                    <a:pt x="286" y="7"/>
                    <a:pt x="283" y="10"/>
                    <a:pt x="281" y="8"/>
                  </a:cubicBezTo>
                  <a:cubicBezTo>
                    <a:pt x="280" y="7"/>
                    <a:pt x="279" y="6"/>
                    <a:pt x="277" y="7"/>
                  </a:cubicBezTo>
                  <a:cubicBezTo>
                    <a:pt x="276" y="7"/>
                    <a:pt x="275" y="8"/>
                    <a:pt x="274" y="9"/>
                  </a:cubicBezTo>
                  <a:cubicBezTo>
                    <a:pt x="273" y="9"/>
                    <a:pt x="272" y="9"/>
                    <a:pt x="271" y="9"/>
                  </a:cubicBezTo>
                  <a:cubicBezTo>
                    <a:pt x="266" y="9"/>
                    <a:pt x="261" y="8"/>
                    <a:pt x="256" y="8"/>
                  </a:cubicBezTo>
                  <a:cubicBezTo>
                    <a:pt x="255" y="8"/>
                    <a:pt x="254" y="8"/>
                    <a:pt x="253" y="8"/>
                  </a:cubicBezTo>
                  <a:cubicBezTo>
                    <a:pt x="251" y="8"/>
                    <a:pt x="250" y="9"/>
                    <a:pt x="249" y="9"/>
                  </a:cubicBezTo>
                  <a:cubicBezTo>
                    <a:pt x="247" y="10"/>
                    <a:pt x="247" y="10"/>
                    <a:pt x="247" y="11"/>
                  </a:cubicBezTo>
                  <a:cubicBezTo>
                    <a:pt x="246" y="12"/>
                    <a:pt x="246" y="12"/>
                    <a:pt x="246" y="14"/>
                  </a:cubicBezTo>
                  <a:cubicBezTo>
                    <a:pt x="246" y="15"/>
                    <a:pt x="246" y="16"/>
                    <a:pt x="246" y="17"/>
                  </a:cubicBezTo>
                  <a:cubicBezTo>
                    <a:pt x="245" y="19"/>
                    <a:pt x="244" y="20"/>
                    <a:pt x="243" y="21"/>
                  </a:cubicBezTo>
                  <a:cubicBezTo>
                    <a:pt x="243" y="23"/>
                    <a:pt x="243" y="25"/>
                    <a:pt x="241" y="26"/>
                  </a:cubicBezTo>
                  <a:cubicBezTo>
                    <a:pt x="239" y="26"/>
                    <a:pt x="237" y="26"/>
                    <a:pt x="236" y="26"/>
                  </a:cubicBezTo>
                  <a:cubicBezTo>
                    <a:pt x="235" y="26"/>
                    <a:pt x="234" y="26"/>
                    <a:pt x="234" y="25"/>
                  </a:cubicBezTo>
                  <a:cubicBezTo>
                    <a:pt x="233" y="25"/>
                    <a:pt x="233" y="25"/>
                    <a:pt x="232" y="24"/>
                  </a:cubicBezTo>
                  <a:cubicBezTo>
                    <a:pt x="232" y="24"/>
                    <a:pt x="230" y="24"/>
                    <a:pt x="230" y="24"/>
                  </a:cubicBezTo>
                  <a:cubicBezTo>
                    <a:pt x="229" y="24"/>
                    <a:pt x="227" y="24"/>
                    <a:pt x="227" y="23"/>
                  </a:cubicBezTo>
                  <a:cubicBezTo>
                    <a:pt x="226" y="22"/>
                    <a:pt x="227" y="21"/>
                    <a:pt x="226" y="20"/>
                  </a:cubicBezTo>
                  <a:cubicBezTo>
                    <a:pt x="226" y="19"/>
                    <a:pt x="225" y="19"/>
                    <a:pt x="224" y="19"/>
                  </a:cubicBezTo>
                  <a:cubicBezTo>
                    <a:pt x="223" y="19"/>
                    <a:pt x="221" y="18"/>
                    <a:pt x="220" y="18"/>
                  </a:cubicBezTo>
                  <a:cubicBezTo>
                    <a:pt x="219" y="18"/>
                    <a:pt x="218" y="18"/>
                    <a:pt x="217" y="18"/>
                  </a:cubicBezTo>
                  <a:cubicBezTo>
                    <a:pt x="216" y="18"/>
                    <a:pt x="215" y="18"/>
                    <a:pt x="213" y="18"/>
                  </a:cubicBezTo>
                  <a:cubicBezTo>
                    <a:pt x="213" y="19"/>
                    <a:pt x="213" y="20"/>
                    <a:pt x="213" y="22"/>
                  </a:cubicBezTo>
                  <a:cubicBezTo>
                    <a:pt x="212" y="23"/>
                    <a:pt x="212" y="25"/>
                    <a:pt x="211" y="27"/>
                  </a:cubicBezTo>
                  <a:cubicBezTo>
                    <a:pt x="209" y="29"/>
                    <a:pt x="207" y="30"/>
                    <a:pt x="208" y="34"/>
                  </a:cubicBezTo>
                  <a:cubicBezTo>
                    <a:pt x="208" y="35"/>
                    <a:pt x="209" y="35"/>
                    <a:pt x="210" y="36"/>
                  </a:cubicBezTo>
                  <a:cubicBezTo>
                    <a:pt x="210" y="36"/>
                    <a:pt x="210" y="37"/>
                    <a:pt x="211" y="37"/>
                  </a:cubicBezTo>
                  <a:cubicBezTo>
                    <a:pt x="211" y="37"/>
                    <a:pt x="212" y="37"/>
                    <a:pt x="213" y="38"/>
                  </a:cubicBezTo>
                  <a:cubicBezTo>
                    <a:pt x="213" y="38"/>
                    <a:pt x="212" y="41"/>
                    <a:pt x="212" y="42"/>
                  </a:cubicBezTo>
                  <a:cubicBezTo>
                    <a:pt x="211" y="42"/>
                    <a:pt x="209" y="43"/>
                    <a:pt x="208" y="43"/>
                  </a:cubicBezTo>
                  <a:cubicBezTo>
                    <a:pt x="206" y="44"/>
                    <a:pt x="204" y="44"/>
                    <a:pt x="203" y="43"/>
                  </a:cubicBezTo>
                  <a:cubicBezTo>
                    <a:pt x="201" y="42"/>
                    <a:pt x="201" y="39"/>
                    <a:pt x="198" y="39"/>
                  </a:cubicBezTo>
                  <a:cubicBezTo>
                    <a:pt x="197" y="39"/>
                    <a:pt x="197" y="40"/>
                    <a:pt x="196" y="40"/>
                  </a:cubicBezTo>
                  <a:cubicBezTo>
                    <a:pt x="195" y="41"/>
                    <a:pt x="194" y="41"/>
                    <a:pt x="192" y="42"/>
                  </a:cubicBezTo>
                  <a:cubicBezTo>
                    <a:pt x="191" y="42"/>
                    <a:pt x="190" y="43"/>
                    <a:pt x="190" y="44"/>
                  </a:cubicBezTo>
                  <a:cubicBezTo>
                    <a:pt x="189" y="46"/>
                    <a:pt x="189" y="47"/>
                    <a:pt x="189" y="49"/>
                  </a:cubicBezTo>
                  <a:cubicBezTo>
                    <a:pt x="189" y="50"/>
                    <a:pt x="189" y="52"/>
                    <a:pt x="189" y="54"/>
                  </a:cubicBezTo>
                  <a:cubicBezTo>
                    <a:pt x="191" y="54"/>
                    <a:pt x="193" y="53"/>
                    <a:pt x="194" y="54"/>
                  </a:cubicBezTo>
                  <a:cubicBezTo>
                    <a:pt x="196" y="55"/>
                    <a:pt x="194" y="58"/>
                    <a:pt x="194" y="59"/>
                  </a:cubicBezTo>
                  <a:cubicBezTo>
                    <a:pt x="193" y="60"/>
                    <a:pt x="193" y="60"/>
                    <a:pt x="192" y="61"/>
                  </a:cubicBezTo>
                  <a:cubicBezTo>
                    <a:pt x="192" y="62"/>
                    <a:pt x="193" y="62"/>
                    <a:pt x="193" y="63"/>
                  </a:cubicBezTo>
                  <a:cubicBezTo>
                    <a:pt x="194" y="65"/>
                    <a:pt x="195" y="66"/>
                    <a:pt x="195" y="68"/>
                  </a:cubicBezTo>
                  <a:cubicBezTo>
                    <a:pt x="192" y="68"/>
                    <a:pt x="190" y="67"/>
                    <a:pt x="188" y="66"/>
                  </a:cubicBezTo>
                  <a:cubicBezTo>
                    <a:pt x="187" y="65"/>
                    <a:pt x="187" y="64"/>
                    <a:pt x="186" y="63"/>
                  </a:cubicBezTo>
                  <a:cubicBezTo>
                    <a:pt x="186" y="63"/>
                    <a:pt x="186" y="60"/>
                    <a:pt x="185" y="60"/>
                  </a:cubicBezTo>
                  <a:cubicBezTo>
                    <a:pt x="184" y="59"/>
                    <a:pt x="182" y="60"/>
                    <a:pt x="181" y="60"/>
                  </a:cubicBezTo>
                  <a:cubicBezTo>
                    <a:pt x="179" y="60"/>
                    <a:pt x="177" y="60"/>
                    <a:pt x="175" y="60"/>
                  </a:cubicBezTo>
                  <a:cubicBezTo>
                    <a:pt x="174" y="60"/>
                    <a:pt x="173" y="60"/>
                    <a:pt x="172" y="61"/>
                  </a:cubicBezTo>
                  <a:cubicBezTo>
                    <a:pt x="171" y="61"/>
                    <a:pt x="171" y="62"/>
                    <a:pt x="170" y="63"/>
                  </a:cubicBezTo>
                  <a:cubicBezTo>
                    <a:pt x="170" y="63"/>
                    <a:pt x="169" y="63"/>
                    <a:pt x="168" y="63"/>
                  </a:cubicBezTo>
                  <a:cubicBezTo>
                    <a:pt x="167" y="63"/>
                    <a:pt x="167" y="63"/>
                    <a:pt x="166" y="64"/>
                  </a:cubicBezTo>
                  <a:cubicBezTo>
                    <a:pt x="164" y="64"/>
                    <a:pt x="162" y="63"/>
                    <a:pt x="161" y="62"/>
                  </a:cubicBezTo>
                  <a:cubicBezTo>
                    <a:pt x="159" y="62"/>
                    <a:pt x="158" y="62"/>
                    <a:pt x="157" y="60"/>
                  </a:cubicBezTo>
                  <a:cubicBezTo>
                    <a:pt x="157" y="59"/>
                    <a:pt x="157" y="57"/>
                    <a:pt x="157" y="56"/>
                  </a:cubicBezTo>
                  <a:cubicBezTo>
                    <a:pt x="156" y="55"/>
                    <a:pt x="156" y="54"/>
                    <a:pt x="155" y="52"/>
                  </a:cubicBezTo>
                  <a:cubicBezTo>
                    <a:pt x="155" y="52"/>
                    <a:pt x="153" y="50"/>
                    <a:pt x="153" y="50"/>
                  </a:cubicBezTo>
                  <a:cubicBezTo>
                    <a:pt x="152" y="49"/>
                    <a:pt x="148" y="49"/>
                    <a:pt x="147" y="50"/>
                  </a:cubicBezTo>
                  <a:cubicBezTo>
                    <a:pt x="147" y="50"/>
                    <a:pt x="146" y="51"/>
                    <a:pt x="145" y="51"/>
                  </a:cubicBezTo>
                  <a:cubicBezTo>
                    <a:pt x="145" y="52"/>
                    <a:pt x="144" y="53"/>
                    <a:pt x="144" y="53"/>
                  </a:cubicBezTo>
                  <a:cubicBezTo>
                    <a:pt x="143" y="55"/>
                    <a:pt x="144" y="58"/>
                    <a:pt x="145" y="59"/>
                  </a:cubicBezTo>
                  <a:cubicBezTo>
                    <a:pt x="146" y="60"/>
                    <a:pt x="146" y="61"/>
                    <a:pt x="147" y="62"/>
                  </a:cubicBezTo>
                  <a:cubicBezTo>
                    <a:pt x="147" y="63"/>
                    <a:pt x="147" y="65"/>
                    <a:pt x="146" y="66"/>
                  </a:cubicBezTo>
                  <a:cubicBezTo>
                    <a:pt x="146" y="67"/>
                    <a:pt x="145" y="68"/>
                    <a:pt x="144" y="69"/>
                  </a:cubicBezTo>
                  <a:cubicBezTo>
                    <a:pt x="143" y="70"/>
                    <a:pt x="143" y="70"/>
                    <a:pt x="143" y="71"/>
                  </a:cubicBezTo>
                  <a:cubicBezTo>
                    <a:pt x="141" y="72"/>
                    <a:pt x="140" y="73"/>
                    <a:pt x="138" y="74"/>
                  </a:cubicBezTo>
                  <a:cubicBezTo>
                    <a:pt x="136" y="75"/>
                    <a:pt x="136" y="77"/>
                    <a:pt x="135" y="79"/>
                  </a:cubicBezTo>
                  <a:cubicBezTo>
                    <a:pt x="135" y="81"/>
                    <a:pt x="133" y="82"/>
                    <a:pt x="132" y="84"/>
                  </a:cubicBezTo>
                  <a:cubicBezTo>
                    <a:pt x="132" y="85"/>
                    <a:pt x="132" y="85"/>
                    <a:pt x="131" y="86"/>
                  </a:cubicBezTo>
                  <a:cubicBezTo>
                    <a:pt x="131" y="87"/>
                    <a:pt x="130" y="88"/>
                    <a:pt x="129" y="88"/>
                  </a:cubicBezTo>
                  <a:cubicBezTo>
                    <a:pt x="129" y="89"/>
                    <a:pt x="129" y="92"/>
                    <a:pt x="129" y="92"/>
                  </a:cubicBezTo>
                  <a:cubicBezTo>
                    <a:pt x="130" y="93"/>
                    <a:pt x="132" y="93"/>
                    <a:pt x="132" y="93"/>
                  </a:cubicBezTo>
                  <a:cubicBezTo>
                    <a:pt x="133" y="94"/>
                    <a:pt x="134" y="94"/>
                    <a:pt x="134" y="95"/>
                  </a:cubicBezTo>
                  <a:cubicBezTo>
                    <a:pt x="136" y="96"/>
                    <a:pt x="135" y="97"/>
                    <a:pt x="135" y="98"/>
                  </a:cubicBezTo>
                  <a:cubicBezTo>
                    <a:pt x="134" y="101"/>
                    <a:pt x="133" y="102"/>
                    <a:pt x="130" y="101"/>
                  </a:cubicBezTo>
                  <a:cubicBezTo>
                    <a:pt x="129" y="101"/>
                    <a:pt x="126" y="101"/>
                    <a:pt x="125" y="99"/>
                  </a:cubicBezTo>
                  <a:cubicBezTo>
                    <a:pt x="124" y="97"/>
                    <a:pt x="125" y="94"/>
                    <a:pt x="124" y="92"/>
                  </a:cubicBezTo>
                  <a:cubicBezTo>
                    <a:pt x="123" y="90"/>
                    <a:pt x="121" y="90"/>
                    <a:pt x="119" y="90"/>
                  </a:cubicBezTo>
                  <a:cubicBezTo>
                    <a:pt x="119" y="89"/>
                    <a:pt x="119" y="88"/>
                    <a:pt x="119" y="88"/>
                  </a:cubicBezTo>
                  <a:cubicBezTo>
                    <a:pt x="119" y="88"/>
                    <a:pt x="120" y="87"/>
                    <a:pt x="120" y="87"/>
                  </a:cubicBezTo>
                  <a:cubicBezTo>
                    <a:pt x="120" y="87"/>
                    <a:pt x="120" y="86"/>
                    <a:pt x="120" y="86"/>
                  </a:cubicBezTo>
                  <a:cubicBezTo>
                    <a:pt x="120" y="85"/>
                    <a:pt x="122" y="84"/>
                    <a:pt x="122" y="83"/>
                  </a:cubicBezTo>
                  <a:cubicBezTo>
                    <a:pt x="121" y="82"/>
                    <a:pt x="121" y="82"/>
                    <a:pt x="120" y="82"/>
                  </a:cubicBezTo>
                  <a:cubicBezTo>
                    <a:pt x="119" y="81"/>
                    <a:pt x="118" y="80"/>
                    <a:pt x="116" y="80"/>
                  </a:cubicBezTo>
                  <a:cubicBezTo>
                    <a:pt x="116" y="80"/>
                    <a:pt x="115" y="80"/>
                    <a:pt x="114" y="80"/>
                  </a:cubicBezTo>
                  <a:cubicBezTo>
                    <a:pt x="114" y="80"/>
                    <a:pt x="114" y="79"/>
                    <a:pt x="113" y="79"/>
                  </a:cubicBezTo>
                  <a:cubicBezTo>
                    <a:pt x="112" y="79"/>
                    <a:pt x="111" y="79"/>
                    <a:pt x="110" y="78"/>
                  </a:cubicBezTo>
                  <a:cubicBezTo>
                    <a:pt x="108" y="78"/>
                    <a:pt x="107" y="77"/>
                    <a:pt x="106" y="75"/>
                  </a:cubicBezTo>
                  <a:cubicBezTo>
                    <a:pt x="105" y="73"/>
                    <a:pt x="104" y="71"/>
                    <a:pt x="103" y="70"/>
                  </a:cubicBezTo>
                  <a:cubicBezTo>
                    <a:pt x="102" y="69"/>
                    <a:pt x="101" y="68"/>
                    <a:pt x="100" y="67"/>
                  </a:cubicBezTo>
                  <a:cubicBezTo>
                    <a:pt x="100" y="66"/>
                    <a:pt x="99" y="66"/>
                    <a:pt x="99" y="65"/>
                  </a:cubicBezTo>
                  <a:cubicBezTo>
                    <a:pt x="99" y="65"/>
                    <a:pt x="99" y="63"/>
                    <a:pt x="99" y="63"/>
                  </a:cubicBezTo>
                  <a:cubicBezTo>
                    <a:pt x="99" y="62"/>
                    <a:pt x="99" y="61"/>
                    <a:pt x="99" y="60"/>
                  </a:cubicBezTo>
                  <a:cubicBezTo>
                    <a:pt x="99" y="58"/>
                    <a:pt x="97" y="56"/>
                    <a:pt x="95" y="55"/>
                  </a:cubicBezTo>
                  <a:cubicBezTo>
                    <a:pt x="92" y="54"/>
                    <a:pt x="92" y="57"/>
                    <a:pt x="91" y="59"/>
                  </a:cubicBezTo>
                  <a:cubicBezTo>
                    <a:pt x="91" y="61"/>
                    <a:pt x="90" y="63"/>
                    <a:pt x="89" y="64"/>
                  </a:cubicBezTo>
                  <a:cubicBezTo>
                    <a:pt x="87" y="65"/>
                    <a:pt x="85" y="65"/>
                    <a:pt x="83" y="67"/>
                  </a:cubicBezTo>
                  <a:cubicBezTo>
                    <a:pt x="81" y="68"/>
                    <a:pt x="81" y="70"/>
                    <a:pt x="82" y="72"/>
                  </a:cubicBezTo>
                  <a:cubicBezTo>
                    <a:pt x="83" y="73"/>
                    <a:pt x="84" y="72"/>
                    <a:pt x="85" y="74"/>
                  </a:cubicBezTo>
                  <a:cubicBezTo>
                    <a:pt x="85" y="75"/>
                    <a:pt x="85" y="76"/>
                    <a:pt x="85" y="77"/>
                  </a:cubicBezTo>
                  <a:cubicBezTo>
                    <a:pt x="85" y="78"/>
                    <a:pt x="85" y="78"/>
                    <a:pt x="83" y="79"/>
                  </a:cubicBezTo>
                  <a:cubicBezTo>
                    <a:pt x="83" y="79"/>
                    <a:pt x="82" y="80"/>
                    <a:pt x="82" y="80"/>
                  </a:cubicBezTo>
                  <a:cubicBezTo>
                    <a:pt x="82" y="80"/>
                    <a:pt x="81" y="80"/>
                    <a:pt x="80" y="80"/>
                  </a:cubicBezTo>
                  <a:cubicBezTo>
                    <a:pt x="78" y="81"/>
                    <a:pt x="78" y="84"/>
                    <a:pt x="77" y="85"/>
                  </a:cubicBezTo>
                  <a:cubicBezTo>
                    <a:pt x="77" y="87"/>
                    <a:pt x="75" y="88"/>
                    <a:pt x="74" y="89"/>
                  </a:cubicBezTo>
                  <a:cubicBezTo>
                    <a:pt x="72" y="90"/>
                    <a:pt x="72" y="91"/>
                    <a:pt x="71" y="92"/>
                  </a:cubicBezTo>
                  <a:cubicBezTo>
                    <a:pt x="67" y="94"/>
                    <a:pt x="63" y="91"/>
                    <a:pt x="60" y="90"/>
                  </a:cubicBezTo>
                  <a:cubicBezTo>
                    <a:pt x="58" y="89"/>
                    <a:pt x="57" y="88"/>
                    <a:pt x="56" y="88"/>
                  </a:cubicBezTo>
                  <a:cubicBezTo>
                    <a:pt x="54" y="89"/>
                    <a:pt x="54" y="90"/>
                    <a:pt x="53" y="92"/>
                  </a:cubicBezTo>
                  <a:cubicBezTo>
                    <a:pt x="52" y="93"/>
                    <a:pt x="51" y="94"/>
                    <a:pt x="49" y="94"/>
                  </a:cubicBezTo>
                  <a:cubicBezTo>
                    <a:pt x="46" y="95"/>
                    <a:pt x="43" y="95"/>
                    <a:pt x="40" y="96"/>
                  </a:cubicBezTo>
                  <a:cubicBezTo>
                    <a:pt x="39" y="96"/>
                    <a:pt x="39" y="97"/>
                    <a:pt x="38" y="98"/>
                  </a:cubicBezTo>
                  <a:cubicBezTo>
                    <a:pt x="37" y="98"/>
                    <a:pt x="35" y="98"/>
                    <a:pt x="35" y="98"/>
                  </a:cubicBezTo>
                  <a:cubicBezTo>
                    <a:pt x="34" y="99"/>
                    <a:pt x="33" y="99"/>
                    <a:pt x="32" y="99"/>
                  </a:cubicBezTo>
                  <a:cubicBezTo>
                    <a:pt x="31" y="99"/>
                    <a:pt x="30" y="98"/>
                    <a:pt x="29" y="98"/>
                  </a:cubicBezTo>
                  <a:cubicBezTo>
                    <a:pt x="27" y="98"/>
                    <a:pt x="25" y="99"/>
                    <a:pt x="23" y="9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2" y="98"/>
                    <a:pt x="21" y="99"/>
                    <a:pt x="19" y="100"/>
                  </a:cubicBezTo>
                  <a:cubicBezTo>
                    <a:pt x="17" y="105"/>
                    <a:pt x="14" y="106"/>
                    <a:pt x="15" y="108"/>
                  </a:cubicBezTo>
                  <a:cubicBezTo>
                    <a:pt x="17" y="112"/>
                    <a:pt x="13" y="112"/>
                    <a:pt x="16" y="115"/>
                  </a:cubicBezTo>
                  <a:cubicBezTo>
                    <a:pt x="17" y="116"/>
                    <a:pt x="20" y="117"/>
                    <a:pt x="21" y="119"/>
                  </a:cubicBezTo>
                  <a:cubicBezTo>
                    <a:pt x="21" y="121"/>
                    <a:pt x="21" y="123"/>
                    <a:pt x="22" y="125"/>
                  </a:cubicBezTo>
                  <a:cubicBezTo>
                    <a:pt x="22" y="127"/>
                    <a:pt x="23" y="130"/>
                    <a:pt x="25" y="132"/>
                  </a:cubicBezTo>
                  <a:cubicBezTo>
                    <a:pt x="26" y="133"/>
                    <a:pt x="28" y="133"/>
                    <a:pt x="29" y="135"/>
                  </a:cubicBezTo>
                  <a:cubicBezTo>
                    <a:pt x="31" y="138"/>
                    <a:pt x="28" y="139"/>
                    <a:pt x="27" y="142"/>
                  </a:cubicBezTo>
                  <a:cubicBezTo>
                    <a:pt x="26" y="144"/>
                    <a:pt x="28" y="148"/>
                    <a:pt x="26" y="150"/>
                  </a:cubicBezTo>
                  <a:cubicBezTo>
                    <a:pt x="25" y="151"/>
                    <a:pt x="23" y="151"/>
                    <a:pt x="22" y="152"/>
                  </a:cubicBezTo>
                  <a:cubicBezTo>
                    <a:pt x="21" y="152"/>
                    <a:pt x="20" y="153"/>
                    <a:pt x="20" y="153"/>
                  </a:cubicBezTo>
                  <a:cubicBezTo>
                    <a:pt x="17" y="156"/>
                    <a:pt x="14" y="157"/>
                    <a:pt x="11" y="159"/>
                  </a:cubicBezTo>
                  <a:cubicBezTo>
                    <a:pt x="9" y="161"/>
                    <a:pt x="11" y="160"/>
                    <a:pt x="9" y="161"/>
                  </a:cubicBezTo>
                  <a:cubicBezTo>
                    <a:pt x="7" y="162"/>
                    <a:pt x="5" y="161"/>
                    <a:pt x="4" y="161"/>
                  </a:cubicBezTo>
                  <a:cubicBezTo>
                    <a:pt x="2" y="162"/>
                    <a:pt x="0" y="161"/>
                    <a:pt x="1" y="164"/>
                  </a:cubicBezTo>
                  <a:cubicBezTo>
                    <a:pt x="8" y="166"/>
                    <a:pt x="7" y="173"/>
                    <a:pt x="12" y="177"/>
                  </a:cubicBezTo>
                  <a:cubicBezTo>
                    <a:pt x="12" y="177"/>
                    <a:pt x="14" y="177"/>
                    <a:pt x="15" y="178"/>
                  </a:cubicBezTo>
                  <a:cubicBezTo>
                    <a:pt x="15" y="178"/>
                    <a:pt x="18" y="179"/>
                    <a:pt x="18" y="179"/>
                  </a:cubicBezTo>
                  <a:cubicBezTo>
                    <a:pt x="19" y="181"/>
                    <a:pt x="19" y="184"/>
                    <a:pt x="22" y="184"/>
                  </a:cubicBezTo>
                  <a:cubicBezTo>
                    <a:pt x="23" y="189"/>
                    <a:pt x="23" y="194"/>
                    <a:pt x="18" y="196"/>
                  </a:cubicBezTo>
                  <a:cubicBezTo>
                    <a:pt x="13" y="198"/>
                    <a:pt x="9" y="200"/>
                    <a:pt x="12" y="205"/>
                  </a:cubicBezTo>
                  <a:cubicBezTo>
                    <a:pt x="13" y="207"/>
                    <a:pt x="17" y="210"/>
                    <a:pt x="16" y="212"/>
                  </a:cubicBezTo>
                  <a:cubicBezTo>
                    <a:pt x="15" y="215"/>
                    <a:pt x="13" y="212"/>
                    <a:pt x="12" y="214"/>
                  </a:cubicBezTo>
                  <a:cubicBezTo>
                    <a:pt x="11" y="216"/>
                    <a:pt x="18" y="223"/>
                    <a:pt x="20" y="224"/>
                  </a:cubicBezTo>
                  <a:cubicBezTo>
                    <a:pt x="23" y="226"/>
                    <a:pt x="28" y="225"/>
                    <a:pt x="31" y="228"/>
                  </a:cubicBezTo>
                  <a:cubicBezTo>
                    <a:pt x="33" y="229"/>
                    <a:pt x="33" y="232"/>
                    <a:pt x="35" y="233"/>
                  </a:cubicBezTo>
                  <a:cubicBezTo>
                    <a:pt x="39" y="235"/>
                    <a:pt x="45" y="232"/>
                    <a:pt x="48" y="231"/>
                  </a:cubicBezTo>
                  <a:cubicBezTo>
                    <a:pt x="50" y="230"/>
                    <a:pt x="55" y="228"/>
                    <a:pt x="57" y="229"/>
                  </a:cubicBezTo>
                  <a:cubicBezTo>
                    <a:pt x="59" y="230"/>
                    <a:pt x="59" y="239"/>
                    <a:pt x="58" y="240"/>
                  </a:cubicBezTo>
                  <a:cubicBezTo>
                    <a:pt x="57" y="243"/>
                    <a:pt x="54" y="244"/>
                    <a:pt x="53" y="245"/>
                  </a:cubicBezTo>
                  <a:cubicBezTo>
                    <a:pt x="51" y="247"/>
                    <a:pt x="50" y="251"/>
                    <a:pt x="48" y="251"/>
                  </a:cubicBezTo>
                  <a:cubicBezTo>
                    <a:pt x="47" y="254"/>
                    <a:pt x="47" y="257"/>
                    <a:pt x="47" y="259"/>
                  </a:cubicBezTo>
                  <a:cubicBezTo>
                    <a:pt x="47" y="260"/>
                    <a:pt x="47" y="262"/>
                    <a:pt x="47" y="263"/>
                  </a:cubicBezTo>
                  <a:cubicBezTo>
                    <a:pt x="47" y="263"/>
                    <a:pt x="47" y="263"/>
                    <a:pt x="46" y="263"/>
                  </a:cubicBezTo>
                  <a:cubicBezTo>
                    <a:pt x="48" y="263"/>
                    <a:pt x="50" y="263"/>
                    <a:pt x="52" y="263"/>
                  </a:cubicBezTo>
                  <a:cubicBezTo>
                    <a:pt x="54" y="263"/>
                    <a:pt x="54" y="262"/>
                    <a:pt x="55" y="262"/>
                  </a:cubicBezTo>
                  <a:cubicBezTo>
                    <a:pt x="56" y="261"/>
                    <a:pt x="56" y="261"/>
                    <a:pt x="57" y="260"/>
                  </a:cubicBezTo>
                  <a:cubicBezTo>
                    <a:pt x="58" y="259"/>
                    <a:pt x="57" y="259"/>
                    <a:pt x="59" y="259"/>
                  </a:cubicBezTo>
                  <a:cubicBezTo>
                    <a:pt x="62" y="258"/>
                    <a:pt x="65" y="259"/>
                    <a:pt x="68" y="259"/>
                  </a:cubicBezTo>
                  <a:cubicBezTo>
                    <a:pt x="69" y="258"/>
                    <a:pt x="71" y="258"/>
                    <a:pt x="72" y="257"/>
                  </a:cubicBezTo>
                  <a:cubicBezTo>
                    <a:pt x="74" y="257"/>
                    <a:pt x="74" y="256"/>
                    <a:pt x="75" y="255"/>
                  </a:cubicBezTo>
                  <a:cubicBezTo>
                    <a:pt x="76" y="254"/>
                    <a:pt x="78" y="254"/>
                    <a:pt x="79" y="253"/>
                  </a:cubicBezTo>
                  <a:cubicBezTo>
                    <a:pt x="79" y="253"/>
                    <a:pt x="79" y="252"/>
                    <a:pt x="80" y="252"/>
                  </a:cubicBezTo>
                  <a:cubicBezTo>
                    <a:pt x="80" y="251"/>
                    <a:pt x="81" y="251"/>
                    <a:pt x="81" y="251"/>
                  </a:cubicBezTo>
                  <a:cubicBezTo>
                    <a:pt x="82" y="250"/>
                    <a:pt x="83" y="248"/>
                    <a:pt x="84" y="246"/>
                  </a:cubicBezTo>
                  <a:cubicBezTo>
                    <a:pt x="84" y="245"/>
                    <a:pt x="84" y="244"/>
                    <a:pt x="84" y="243"/>
                  </a:cubicBezTo>
                  <a:cubicBezTo>
                    <a:pt x="84" y="243"/>
                    <a:pt x="85" y="242"/>
                    <a:pt x="85" y="242"/>
                  </a:cubicBezTo>
                  <a:cubicBezTo>
                    <a:pt x="85" y="240"/>
                    <a:pt x="85" y="239"/>
                    <a:pt x="85" y="238"/>
                  </a:cubicBezTo>
                  <a:cubicBezTo>
                    <a:pt x="86" y="237"/>
                    <a:pt x="86" y="237"/>
                    <a:pt x="87" y="236"/>
                  </a:cubicBezTo>
                  <a:cubicBezTo>
                    <a:pt x="88" y="235"/>
                    <a:pt x="89" y="233"/>
                    <a:pt x="91" y="232"/>
                  </a:cubicBezTo>
                  <a:cubicBezTo>
                    <a:pt x="92" y="231"/>
                    <a:pt x="94" y="231"/>
                    <a:pt x="95" y="230"/>
                  </a:cubicBezTo>
                  <a:cubicBezTo>
                    <a:pt x="97" y="229"/>
                    <a:pt x="97" y="226"/>
                    <a:pt x="97" y="225"/>
                  </a:cubicBezTo>
                  <a:cubicBezTo>
                    <a:pt x="98" y="223"/>
                    <a:pt x="97" y="222"/>
                    <a:pt x="99" y="221"/>
                  </a:cubicBezTo>
                  <a:cubicBezTo>
                    <a:pt x="100" y="219"/>
                    <a:pt x="103" y="218"/>
                    <a:pt x="105" y="217"/>
                  </a:cubicBezTo>
                  <a:cubicBezTo>
                    <a:pt x="106" y="216"/>
                    <a:pt x="108" y="214"/>
                    <a:pt x="109" y="213"/>
                  </a:cubicBezTo>
                  <a:cubicBezTo>
                    <a:pt x="110" y="212"/>
                    <a:pt x="111" y="212"/>
                    <a:pt x="112" y="212"/>
                  </a:cubicBezTo>
                  <a:cubicBezTo>
                    <a:pt x="113" y="212"/>
                    <a:pt x="113" y="212"/>
                    <a:pt x="114" y="211"/>
                  </a:cubicBezTo>
                  <a:cubicBezTo>
                    <a:pt x="116" y="210"/>
                    <a:pt x="117" y="210"/>
                    <a:pt x="119" y="209"/>
                  </a:cubicBezTo>
                  <a:cubicBezTo>
                    <a:pt x="119" y="206"/>
                    <a:pt x="126" y="209"/>
                    <a:pt x="128" y="210"/>
                  </a:cubicBezTo>
                  <a:cubicBezTo>
                    <a:pt x="132" y="213"/>
                    <a:pt x="136" y="215"/>
                    <a:pt x="140" y="218"/>
                  </a:cubicBezTo>
                  <a:cubicBezTo>
                    <a:pt x="141" y="218"/>
                    <a:pt x="143" y="218"/>
                    <a:pt x="142" y="220"/>
                  </a:cubicBezTo>
                  <a:cubicBezTo>
                    <a:pt x="143" y="220"/>
                    <a:pt x="143" y="221"/>
                    <a:pt x="143" y="221"/>
                  </a:cubicBezTo>
                  <a:cubicBezTo>
                    <a:pt x="145" y="221"/>
                    <a:pt x="146" y="221"/>
                    <a:pt x="148" y="222"/>
                  </a:cubicBezTo>
                  <a:cubicBezTo>
                    <a:pt x="148" y="222"/>
                    <a:pt x="149" y="222"/>
                    <a:pt x="149" y="223"/>
                  </a:cubicBezTo>
                  <a:cubicBezTo>
                    <a:pt x="150" y="223"/>
                    <a:pt x="151" y="222"/>
                    <a:pt x="152" y="223"/>
                  </a:cubicBezTo>
                  <a:cubicBezTo>
                    <a:pt x="152" y="223"/>
                    <a:pt x="153" y="224"/>
                    <a:pt x="154" y="224"/>
                  </a:cubicBezTo>
                  <a:cubicBezTo>
                    <a:pt x="154" y="225"/>
                    <a:pt x="154" y="225"/>
                    <a:pt x="156" y="225"/>
                  </a:cubicBezTo>
                  <a:cubicBezTo>
                    <a:pt x="157" y="226"/>
                    <a:pt x="158" y="226"/>
                    <a:pt x="159" y="227"/>
                  </a:cubicBezTo>
                  <a:cubicBezTo>
                    <a:pt x="160" y="228"/>
                    <a:pt x="160" y="228"/>
                    <a:pt x="161" y="229"/>
                  </a:cubicBezTo>
                  <a:cubicBezTo>
                    <a:pt x="161" y="229"/>
                    <a:pt x="161" y="229"/>
                    <a:pt x="162" y="229"/>
                  </a:cubicBezTo>
                  <a:cubicBezTo>
                    <a:pt x="162" y="229"/>
                    <a:pt x="163" y="230"/>
                    <a:pt x="163" y="230"/>
                  </a:cubicBezTo>
                  <a:cubicBezTo>
                    <a:pt x="165" y="231"/>
                    <a:pt x="166" y="234"/>
                    <a:pt x="168" y="236"/>
                  </a:cubicBezTo>
                  <a:cubicBezTo>
                    <a:pt x="168" y="236"/>
                    <a:pt x="168" y="236"/>
                    <a:pt x="168" y="236"/>
                  </a:cubicBezTo>
                  <a:cubicBezTo>
                    <a:pt x="169" y="237"/>
                    <a:pt x="169" y="237"/>
                    <a:pt x="169" y="237"/>
                  </a:cubicBezTo>
                  <a:cubicBezTo>
                    <a:pt x="170" y="238"/>
                    <a:pt x="171" y="238"/>
                    <a:pt x="171" y="238"/>
                  </a:cubicBezTo>
                  <a:cubicBezTo>
                    <a:pt x="172" y="239"/>
                    <a:pt x="172" y="239"/>
                    <a:pt x="173" y="240"/>
                  </a:cubicBezTo>
                  <a:cubicBezTo>
                    <a:pt x="174" y="240"/>
                    <a:pt x="175" y="240"/>
                    <a:pt x="176" y="240"/>
                  </a:cubicBezTo>
                  <a:cubicBezTo>
                    <a:pt x="177" y="240"/>
                    <a:pt x="178" y="240"/>
                    <a:pt x="179" y="240"/>
                  </a:cubicBezTo>
                  <a:cubicBezTo>
                    <a:pt x="180" y="240"/>
                    <a:pt x="181" y="240"/>
                    <a:pt x="181" y="240"/>
                  </a:cubicBezTo>
                  <a:cubicBezTo>
                    <a:pt x="183" y="241"/>
                    <a:pt x="184" y="242"/>
                    <a:pt x="185" y="243"/>
                  </a:cubicBezTo>
                  <a:cubicBezTo>
                    <a:pt x="186" y="243"/>
                    <a:pt x="187" y="244"/>
                    <a:pt x="188" y="245"/>
                  </a:cubicBezTo>
                  <a:cubicBezTo>
                    <a:pt x="188" y="245"/>
                    <a:pt x="188" y="247"/>
                    <a:pt x="188" y="248"/>
                  </a:cubicBezTo>
                  <a:cubicBezTo>
                    <a:pt x="188" y="250"/>
                    <a:pt x="188" y="251"/>
                    <a:pt x="189" y="253"/>
                  </a:cubicBezTo>
                  <a:cubicBezTo>
                    <a:pt x="189" y="254"/>
                    <a:pt x="189" y="256"/>
                    <a:pt x="190" y="257"/>
                  </a:cubicBezTo>
                  <a:cubicBezTo>
                    <a:pt x="190" y="258"/>
                    <a:pt x="191" y="258"/>
                    <a:pt x="191" y="259"/>
                  </a:cubicBezTo>
                  <a:cubicBezTo>
                    <a:pt x="191" y="260"/>
                    <a:pt x="191" y="262"/>
                    <a:pt x="191" y="263"/>
                  </a:cubicBezTo>
                  <a:cubicBezTo>
                    <a:pt x="191" y="263"/>
                    <a:pt x="191" y="264"/>
                    <a:pt x="191" y="265"/>
                  </a:cubicBezTo>
                  <a:cubicBezTo>
                    <a:pt x="191" y="265"/>
                    <a:pt x="190" y="266"/>
                    <a:pt x="190" y="266"/>
                  </a:cubicBezTo>
                  <a:cubicBezTo>
                    <a:pt x="190" y="268"/>
                    <a:pt x="190" y="270"/>
                    <a:pt x="190" y="272"/>
                  </a:cubicBezTo>
                  <a:cubicBezTo>
                    <a:pt x="190" y="274"/>
                    <a:pt x="190" y="277"/>
                    <a:pt x="191" y="278"/>
                  </a:cubicBezTo>
                  <a:cubicBezTo>
                    <a:pt x="192" y="280"/>
                    <a:pt x="193" y="281"/>
                    <a:pt x="193" y="282"/>
                  </a:cubicBezTo>
                  <a:cubicBezTo>
                    <a:pt x="194" y="283"/>
                    <a:pt x="194" y="284"/>
                    <a:pt x="194" y="285"/>
                  </a:cubicBezTo>
                  <a:cubicBezTo>
                    <a:pt x="195" y="287"/>
                    <a:pt x="195" y="289"/>
                    <a:pt x="197" y="290"/>
                  </a:cubicBezTo>
                  <a:cubicBezTo>
                    <a:pt x="197" y="292"/>
                    <a:pt x="199" y="293"/>
                    <a:pt x="199" y="294"/>
                  </a:cubicBezTo>
                  <a:cubicBezTo>
                    <a:pt x="200" y="295"/>
                    <a:pt x="200" y="296"/>
                    <a:pt x="200" y="298"/>
                  </a:cubicBezTo>
                  <a:cubicBezTo>
                    <a:pt x="200" y="299"/>
                    <a:pt x="199" y="301"/>
                    <a:pt x="199" y="303"/>
                  </a:cubicBezTo>
                  <a:cubicBezTo>
                    <a:pt x="199" y="304"/>
                    <a:pt x="199" y="304"/>
                    <a:pt x="199" y="305"/>
                  </a:cubicBezTo>
                  <a:cubicBezTo>
                    <a:pt x="199" y="308"/>
                    <a:pt x="199" y="312"/>
                    <a:pt x="199" y="314"/>
                  </a:cubicBezTo>
                  <a:cubicBezTo>
                    <a:pt x="198" y="315"/>
                    <a:pt x="198" y="316"/>
                    <a:pt x="197" y="316"/>
                  </a:cubicBezTo>
                  <a:cubicBezTo>
                    <a:pt x="196" y="317"/>
                    <a:pt x="196" y="317"/>
                    <a:pt x="196" y="319"/>
                  </a:cubicBezTo>
                  <a:cubicBezTo>
                    <a:pt x="196" y="320"/>
                    <a:pt x="197" y="322"/>
                    <a:pt x="197" y="323"/>
                  </a:cubicBezTo>
                  <a:cubicBezTo>
                    <a:pt x="198" y="326"/>
                    <a:pt x="199" y="324"/>
                    <a:pt x="200" y="323"/>
                  </a:cubicBezTo>
                  <a:cubicBezTo>
                    <a:pt x="201" y="322"/>
                    <a:pt x="203" y="322"/>
                    <a:pt x="205" y="323"/>
                  </a:cubicBezTo>
                  <a:cubicBezTo>
                    <a:pt x="207" y="323"/>
                    <a:pt x="209" y="322"/>
                    <a:pt x="209" y="324"/>
                  </a:cubicBezTo>
                  <a:cubicBezTo>
                    <a:pt x="210" y="325"/>
                    <a:pt x="209" y="325"/>
                    <a:pt x="210" y="326"/>
                  </a:cubicBezTo>
                  <a:cubicBezTo>
                    <a:pt x="210" y="327"/>
                    <a:pt x="211" y="327"/>
                    <a:pt x="211" y="327"/>
                  </a:cubicBezTo>
                  <a:cubicBezTo>
                    <a:pt x="212" y="328"/>
                    <a:pt x="211" y="330"/>
                    <a:pt x="211" y="331"/>
                  </a:cubicBezTo>
                  <a:cubicBezTo>
                    <a:pt x="211" y="333"/>
                    <a:pt x="211" y="335"/>
                    <a:pt x="213" y="336"/>
                  </a:cubicBezTo>
                  <a:cubicBezTo>
                    <a:pt x="215" y="337"/>
                    <a:pt x="220" y="336"/>
                    <a:pt x="221" y="338"/>
                  </a:cubicBezTo>
                  <a:cubicBezTo>
                    <a:pt x="221" y="338"/>
                    <a:pt x="222" y="340"/>
                    <a:pt x="222" y="341"/>
                  </a:cubicBezTo>
                  <a:cubicBezTo>
                    <a:pt x="222" y="342"/>
                    <a:pt x="221" y="343"/>
                    <a:pt x="221" y="344"/>
                  </a:cubicBezTo>
                  <a:cubicBezTo>
                    <a:pt x="222" y="346"/>
                    <a:pt x="223" y="345"/>
                    <a:pt x="224" y="346"/>
                  </a:cubicBezTo>
                  <a:cubicBezTo>
                    <a:pt x="226" y="346"/>
                    <a:pt x="227" y="346"/>
                    <a:pt x="228" y="347"/>
                  </a:cubicBezTo>
                  <a:cubicBezTo>
                    <a:pt x="228" y="348"/>
                    <a:pt x="229" y="349"/>
                    <a:pt x="229" y="350"/>
                  </a:cubicBezTo>
                  <a:cubicBezTo>
                    <a:pt x="230" y="351"/>
                    <a:pt x="229" y="353"/>
                    <a:pt x="230" y="354"/>
                  </a:cubicBezTo>
                  <a:cubicBezTo>
                    <a:pt x="230" y="354"/>
                    <a:pt x="231" y="354"/>
                    <a:pt x="231" y="355"/>
                  </a:cubicBezTo>
                  <a:cubicBezTo>
                    <a:pt x="231" y="355"/>
                    <a:pt x="231" y="356"/>
                    <a:pt x="232" y="356"/>
                  </a:cubicBezTo>
                  <a:cubicBezTo>
                    <a:pt x="232" y="357"/>
                    <a:pt x="233" y="357"/>
                    <a:pt x="233" y="358"/>
                  </a:cubicBezTo>
                  <a:cubicBezTo>
                    <a:pt x="233" y="360"/>
                    <a:pt x="233" y="360"/>
                    <a:pt x="234" y="361"/>
                  </a:cubicBezTo>
                  <a:cubicBezTo>
                    <a:pt x="235" y="362"/>
                    <a:pt x="236" y="363"/>
                    <a:pt x="237" y="363"/>
                  </a:cubicBezTo>
                  <a:cubicBezTo>
                    <a:pt x="239" y="364"/>
                    <a:pt x="240" y="367"/>
                    <a:pt x="243" y="367"/>
                  </a:cubicBezTo>
                  <a:cubicBezTo>
                    <a:pt x="244" y="367"/>
                    <a:pt x="246" y="367"/>
                    <a:pt x="247" y="368"/>
                  </a:cubicBezTo>
                  <a:cubicBezTo>
                    <a:pt x="247" y="369"/>
                    <a:pt x="247" y="370"/>
                    <a:pt x="248" y="371"/>
                  </a:cubicBezTo>
                  <a:cubicBezTo>
                    <a:pt x="249" y="371"/>
                    <a:pt x="250" y="372"/>
                    <a:pt x="251" y="372"/>
                  </a:cubicBezTo>
                  <a:cubicBezTo>
                    <a:pt x="251" y="373"/>
                    <a:pt x="251" y="373"/>
                    <a:pt x="252" y="373"/>
                  </a:cubicBezTo>
                  <a:cubicBezTo>
                    <a:pt x="252" y="373"/>
                    <a:pt x="252" y="373"/>
                    <a:pt x="252" y="373"/>
                  </a:cubicBezTo>
                  <a:cubicBezTo>
                    <a:pt x="252" y="374"/>
                    <a:pt x="252" y="374"/>
                    <a:pt x="253" y="375"/>
                  </a:cubicBezTo>
                  <a:cubicBezTo>
                    <a:pt x="253" y="375"/>
                    <a:pt x="253" y="375"/>
                    <a:pt x="253" y="376"/>
                  </a:cubicBezTo>
                  <a:cubicBezTo>
                    <a:pt x="254" y="378"/>
                    <a:pt x="255" y="381"/>
                    <a:pt x="255" y="384"/>
                  </a:cubicBezTo>
                  <a:cubicBezTo>
                    <a:pt x="255" y="386"/>
                    <a:pt x="256" y="386"/>
                    <a:pt x="257" y="387"/>
                  </a:cubicBezTo>
                  <a:cubicBezTo>
                    <a:pt x="258" y="389"/>
                    <a:pt x="260" y="392"/>
                    <a:pt x="260" y="394"/>
                  </a:cubicBezTo>
                  <a:cubicBezTo>
                    <a:pt x="262" y="395"/>
                    <a:pt x="263" y="397"/>
                    <a:pt x="264" y="398"/>
                  </a:cubicBezTo>
                  <a:cubicBezTo>
                    <a:pt x="265" y="398"/>
                    <a:pt x="267" y="398"/>
                    <a:pt x="268" y="399"/>
                  </a:cubicBezTo>
                  <a:cubicBezTo>
                    <a:pt x="269" y="400"/>
                    <a:pt x="270" y="401"/>
                    <a:pt x="271" y="402"/>
                  </a:cubicBezTo>
                  <a:cubicBezTo>
                    <a:pt x="272" y="403"/>
                    <a:pt x="274" y="404"/>
                    <a:pt x="276" y="405"/>
                  </a:cubicBezTo>
                  <a:cubicBezTo>
                    <a:pt x="276" y="406"/>
                    <a:pt x="277" y="407"/>
                    <a:pt x="277" y="408"/>
                  </a:cubicBezTo>
                  <a:cubicBezTo>
                    <a:pt x="278" y="408"/>
                    <a:pt x="279" y="409"/>
                    <a:pt x="280" y="410"/>
                  </a:cubicBezTo>
                  <a:cubicBezTo>
                    <a:pt x="281" y="413"/>
                    <a:pt x="280" y="416"/>
                    <a:pt x="281" y="419"/>
                  </a:cubicBezTo>
                  <a:cubicBezTo>
                    <a:pt x="282" y="419"/>
                    <a:pt x="282" y="419"/>
                    <a:pt x="283" y="420"/>
                  </a:cubicBezTo>
                  <a:cubicBezTo>
                    <a:pt x="283" y="420"/>
                    <a:pt x="284" y="420"/>
                    <a:pt x="284" y="420"/>
                  </a:cubicBezTo>
                  <a:cubicBezTo>
                    <a:pt x="285" y="421"/>
                    <a:pt x="286" y="422"/>
                    <a:pt x="287" y="423"/>
                  </a:cubicBezTo>
                  <a:cubicBezTo>
                    <a:pt x="287" y="424"/>
                    <a:pt x="287" y="424"/>
                    <a:pt x="288" y="424"/>
                  </a:cubicBezTo>
                  <a:cubicBezTo>
                    <a:pt x="288" y="425"/>
                    <a:pt x="289" y="426"/>
                    <a:pt x="289" y="426"/>
                  </a:cubicBezTo>
                  <a:cubicBezTo>
                    <a:pt x="290" y="427"/>
                    <a:pt x="291" y="427"/>
                    <a:pt x="292" y="428"/>
                  </a:cubicBezTo>
                  <a:cubicBezTo>
                    <a:pt x="293" y="430"/>
                    <a:pt x="294" y="432"/>
                    <a:pt x="295" y="433"/>
                  </a:cubicBezTo>
                  <a:cubicBezTo>
                    <a:pt x="296" y="434"/>
                    <a:pt x="297" y="434"/>
                    <a:pt x="297" y="435"/>
                  </a:cubicBezTo>
                  <a:cubicBezTo>
                    <a:pt x="297" y="436"/>
                    <a:pt x="297" y="437"/>
                    <a:pt x="297" y="438"/>
                  </a:cubicBezTo>
                  <a:cubicBezTo>
                    <a:pt x="298" y="440"/>
                    <a:pt x="298" y="439"/>
                    <a:pt x="301" y="440"/>
                  </a:cubicBezTo>
                  <a:cubicBezTo>
                    <a:pt x="302" y="440"/>
                    <a:pt x="303" y="441"/>
                    <a:pt x="304" y="442"/>
                  </a:cubicBezTo>
                  <a:cubicBezTo>
                    <a:pt x="304" y="442"/>
                    <a:pt x="305" y="445"/>
                    <a:pt x="306" y="443"/>
                  </a:cubicBezTo>
                  <a:cubicBezTo>
                    <a:pt x="306" y="443"/>
                    <a:pt x="306" y="444"/>
                    <a:pt x="306" y="444"/>
                  </a:cubicBezTo>
                  <a:cubicBezTo>
                    <a:pt x="308" y="444"/>
                    <a:pt x="310" y="444"/>
                    <a:pt x="311" y="444"/>
                  </a:cubicBezTo>
                  <a:cubicBezTo>
                    <a:pt x="313" y="445"/>
                    <a:pt x="312" y="447"/>
                    <a:pt x="313" y="448"/>
                  </a:cubicBezTo>
                  <a:cubicBezTo>
                    <a:pt x="313" y="449"/>
                    <a:pt x="314" y="450"/>
                    <a:pt x="315" y="450"/>
                  </a:cubicBezTo>
                  <a:cubicBezTo>
                    <a:pt x="316" y="451"/>
                    <a:pt x="317" y="451"/>
                    <a:pt x="318" y="452"/>
                  </a:cubicBezTo>
                  <a:cubicBezTo>
                    <a:pt x="319" y="454"/>
                    <a:pt x="317" y="460"/>
                    <a:pt x="319" y="461"/>
                  </a:cubicBezTo>
                  <a:cubicBezTo>
                    <a:pt x="322" y="457"/>
                    <a:pt x="327" y="457"/>
                    <a:pt x="332" y="457"/>
                  </a:cubicBezTo>
                  <a:cubicBezTo>
                    <a:pt x="333" y="457"/>
                    <a:pt x="334" y="456"/>
                    <a:pt x="336" y="456"/>
                  </a:cubicBezTo>
                  <a:cubicBezTo>
                    <a:pt x="337" y="456"/>
                    <a:pt x="338" y="456"/>
                    <a:pt x="339" y="456"/>
                  </a:cubicBezTo>
                  <a:cubicBezTo>
                    <a:pt x="341" y="456"/>
                    <a:pt x="343" y="458"/>
                    <a:pt x="345" y="460"/>
                  </a:cubicBezTo>
                  <a:cubicBezTo>
                    <a:pt x="347" y="462"/>
                    <a:pt x="348" y="463"/>
                    <a:pt x="350" y="462"/>
                  </a:cubicBezTo>
                  <a:cubicBezTo>
                    <a:pt x="351" y="462"/>
                    <a:pt x="352" y="462"/>
                    <a:pt x="353" y="462"/>
                  </a:cubicBezTo>
                  <a:cubicBezTo>
                    <a:pt x="353" y="461"/>
                    <a:pt x="354" y="460"/>
                    <a:pt x="354" y="460"/>
                  </a:cubicBezTo>
                  <a:cubicBezTo>
                    <a:pt x="355" y="460"/>
                    <a:pt x="357" y="460"/>
                    <a:pt x="358" y="460"/>
                  </a:cubicBezTo>
                  <a:cubicBezTo>
                    <a:pt x="359" y="461"/>
                    <a:pt x="359" y="463"/>
                    <a:pt x="360" y="464"/>
                  </a:cubicBezTo>
                  <a:cubicBezTo>
                    <a:pt x="360" y="465"/>
                    <a:pt x="361" y="466"/>
                    <a:pt x="361" y="467"/>
                  </a:cubicBezTo>
                  <a:cubicBezTo>
                    <a:pt x="362" y="469"/>
                    <a:pt x="363" y="470"/>
                    <a:pt x="363" y="473"/>
                  </a:cubicBezTo>
                  <a:cubicBezTo>
                    <a:pt x="364" y="474"/>
                    <a:pt x="364" y="475"/>
                    <a:pt x="365" y="477"/>
                  </a:cubicBezTo>
                  <a:cubicBezTo>
                    <a:pt x="365" y="477"/>
                    <a:pt x="366" y="478"/>
                    <a:pt x="366" y="479"/>
                  </a:cubicBezTo>
                  <a:cubicBezTo>
                    <a:pt x="366" y="480"/>
                    <a:pt x="365" y="481"/>
                    <a:pt x="365" y="482"/>
                  </a:cubicBezTo>
                  <a:cubicBezTo>
                    <a:pt x="365" y="483"/>
                    <a:pt x="365" y="484"/>
                    <a:pt x="365" y="484"/>
                  </a:cubicBezTo>
                  <a:cubicBezTo>
                    <a:pt x="367" y="485"/>
                    <a:pt x="368" y="485"/>
                    <a:pt x="370" y="486"/>
                  </a:cubicBezTo>
                  <a:cubicBezTo>
                    <a:pt x="370" y="486"/>
                    <a:pt x="371" y="486"/>
                    <a:pt x="371" y="487"/>
                  </a:cubicBezTo>
                  <a:cubicBezTo>
                    <a:pt x="373" y="489"/>
                    <a:pt x="372" y="491"/>
                    <a:pt x="373" y="493"/>
                  </a:cubicBezTo>
                  <a:cubicBezTo>
                    <a:pt x="374" y="494"/>
                    <a:pt x="375" y="495"/>
                    <a:pt x="377" y="494"/>
                  </a:cubicBezTo>
                  <a:cubicBezTo>
                    <a:pt x="378" y="494"/>
                    <a:pt x="378" y="493"/>
                    <a:pt x="379" y="492"/>
                  </a:cubicBezTo>
                  <a:cubicBezTo>
                    <a:pt x="380" y="491"/>
                    <a:pt x="382" y="492"/>
                    <a:pt x="384" y="492"/>
                  </a:cubicBezTo>
                  <a:cubicBezTo>
                    <a:pt x="385" y="493"/>
                    <a:pt x="386" y="492"/>
                    <a:pt x="387" y="492"/>
                  </a:cubicBezTo>
                  <a:cubicBezTo>
                    <a:pt x="393" y="490"/>
                    <a:pt x="394" y="495"/>
                    <a:pt x="394" y="499"/>
                  </a:cubicBezTo>
                  <a:cubicBezTo>
                    <a:pt x="394" y="502"/>
                    <a:pt x="394" y="504"/>
                    <a:pt x="391" y="505"/>
                  </a:cubicBezTo>
                  <a:cubicBezTo>
                    <a:pt x="391" y="505"/>
                    <a:pt x="391" y="505"/>
                    <a:pt x="390" y="505"/>
                  </a:cubicBezTo>
                  <a:cubicBezTo>
                    <a:pt x="389" y="505"/>
                    <a:pt x="389" y="506"/>
                    <a:pt x="388" y="507"/>
                  </a:cubicBezTo>
                  <a:cubicBezTo>
                    <a:pt x="388" y="507"/>
                    <a:pt x="386" y="508"/>
                    <a:pt x="386" y="509"/>
                  </a:cubicBezTo>
                  <a:cubicBezTo>
                    <a:pt x="386" y="509"/>
                    <a:pt x="387" y="509"/>
                    <a:pt x="388" y="509"/>
                  </a:cubicBezTo>
                  <a:cubicBezTo>
                    <a:pt x="388" y="510"/>
                    <a:pt x="388" y="510"/>
                    <a:pt x="388" y="510"/>
                  </a:cubicBezTo>
                  <a:cubicBezTo>
                    <a:pt x="389" y="510"/>
                    <a:pt x="389" y="512"/>
                    <a:pt x="389" y="512"/>
                  </a:cubicBezTo>
                  <a:cubicBezTo>
                    <a:pt x="390" y="513"/>
                    <a:pt x="392" y="513"/>
                    <a:pt x="393" y="514"/>
                  </a:cubicBezTo>
                  <a:cubicBezTo>
                    <a:pt x="394" y="514"/>
                    <a:pt x="396" y="515"/>
                    <a:pt x="398" y="515"/>
                  </a:cubicBezTo>
                  <a:cubicBezTo>
                    <a:pt x="399" y="515"/>
                    <a:pt x="400" y="512"/>
                    <a:pt x="401" y="512"/>
                  </a:cubicBezTo>
                  <a:cubicBezTo>
                    <a:pt x="402" y="511"/>
                    <a:pt x="402" y="511"/>
                    <a:pt x="403" y="511"/>
                  </a:cubicBezTo>
                  <a:cubicBezTo>
                    <a:pt x="404" y="511"/>
                    <a:pt x="406" y="511"/>
                    <a:pt x="407" y="512"/>
                  </a:cubicBezTo>
                  <a:cubicBezTo>
                    <a:pt x="408" y="512"/>
                    <a:pt x="408" y="512"/>
                    <a:pt x="408" y="513"/>
                  </a:cubicBezTo>
                  <a:cubicBezTo>
                    <a:pt x="409" y="513"/>
                    <a:pt x="409" y="513"/>
                    <a:pt x="409" y="513"/>
                  </a:cubicBezTo>
                  <a:cubicBezTo>
                    <a:pt x="410" y="513"/>
                    <a:pt x="411" y="514"/>
                    <a:pt x="412" y="514"/>
                  </a:cubicBezTo>
                  <a:cubicBezTo>
                    <a:pt x="414" y="514"/>
                    <a:pt x="415" y="514"/>
                    <a:pt x="417" y="516"/>
                  </a:cubicBezTo>
                  <a:cubicBezTo>
                    <a:pt x="418" y="517"/>
                    <a:pt x="418" y="518"/>
                    <a:pt x="418" y="520"/>
                  </a:cubicBezTo>
                  <a:cubicBezTo>
                    <a:pt x="418" y="521"/>
                    <a:pt x="418" y="522"/>
                    <a:pt x="419" y="522"/>
                  </a:cubicBezTo>
                  <a:cubicBezTo>
                    <a:pt x="419" y="523"/>
                    <a:pt x="419" y="524"/>
                    <a:pt x="420" y="525"/>
                  </a:cubicBezTo>
                  <a:cubicBezTo>
                    <a:pt x="420" y="525"/>
                    <a:pt x="421" y="525"/>
                    <a:pt x="422" y="526"/>
                  </a:cubicBezTo>
                  <a:cubicBezTo>
                    <a:pt x="423" y="526"/>
                    <a:pt x="422" y="528"/>
                    <a:pt x="422" y="529"/>
                  </a:cubicBezTo>
                  <a:cubicBezTo>
                    <a:pt x="422" y="531"/>
                    <a:pt x="422" y="532"/>
                    <a:pt x="422" y="534"/>
                  </a:cubicBezTo>
                  <a:cubicBezTo>
                    <a:pt x="421" y="537"/>
                    <a:pt x="419" y="538"/>
                    <a:pt x="416" y="538"/>
                  </a:cubicBezTo>
                  <a:cubicBezTo>
                    <a:pt x="416" y="540"/>
                    <a:pt x="418" y="541"/>
                    <a:pt x="419" y="542"/>
                  </a:cubicBezTo>
                  <a:cubicBezTo>
                    <a:pt x="422" y="543"/>
                    <a:pt x="425" y="545"/>
                    <a:pt x="427" y="547"/>
                  </a:cubicBezTo>
                  <a:cubicBezTo>
                    <a:pt x="428" y="547"/>
                    <a:pt x="429" y="547"/>
                    <a:pt x="430" y="548"/>
                  </a:cubicBezTo>
                  <a:cubicBezTo>
                    <a:pt x="431" y="548"/>
                    <a:pt x="432" y="549"/>
                    <a:pt x="432" y="550"/>
                  </a:cubicBezTo>
                  <a:cubicBezTo>
                    <a:pt x="433" y="550"/>
                    <a:pt x="434" y="551"/>
                    <a:pt x="435" y="551"/>
                  </a:cubicBezTo>
                  <a:cubicBezTo>
                    <a:pt x="436" y="552"/>
                    <a:pt x="436" y="554"/>
                    <a:pt x="437" y="555"/>
                  </a:cubicBezTo>
                  <a:cubicBezTo>
                    <a:pt x="438" y="556"/>
                    <a:pt x="439" y="557"/>
                    <a:pt x="441" y="557"/>
                  </a:cubicBezTo>
                  <a:cubicBezTo>
                    <a:pt x="441" y="557"/>
                    <a:pt x="444" y="557"/>
                    <a:pt x="444" y="556"/>
                  </a:cubicBezTo>
                  <a:cubicBezTo>
                    <a:pt x="445" y="556"/>
                    <a:pt x="445" y="556"/>
                    <a:pt x="445" y="555"/>
                  </a:cubicBezTo>
                  <a:cubicBezTo>
                    <a:pt x="446" y="555"/>
                    <a:pt x="446" y="554"/>
                    <a:pt x="447" y="553"/>
                  </a:cubicBezTo>
                  <a:cubicBezTo>
                    <a:pt x="447" y="553"/>
                    <a:pt x="447" y="552"/>
                    <a:pt x="447" y="551"/>
                  </a:cubicBezTo>
                  <a:cubicBezTo>
                    <a:pt x="447" y="550"/>
                    <a:pt x="448" y="548"/>
                    <a:pt x="449" y="548"/>
                  </a:cubicBezTo>
                  <a:cubicBezTo>
                    <a:pt x="453" y="553"/>
                    <a:pt x="457" y="558"/>
                    <a:pt x="460" y="564"/>
                  </a:cubicBezTo>
                  <a:cubicBezTo>
                    <a:pt x="461" y="566"/>
                    <a:pt x="462" y="568"/>
                    <a:pt x="462" y="570"/>
                  </a:cubicBezTo>
                  <a:cubicBezTo>
                    <a:pt x="462" y="573"/>
                    <a:pt x="463" y="577"/>
                    <a:pt x="464" y="580"/>
                  </a:cubicBezTo>
                  <a:cubicBezTo>
                    <a:pt x="464" y="583"/>
                    <a:pt x="464" y="587"/>
                    <a:pt x="466" y="589"/>
                  </a:cubicBezTo>
                  <a:cubicBezTo>
                    <a:pt x="467" y="590"/>
                    <a:pt x="468" y="591"/>
                    <a:pt x="469" y="593"/>
                  </a:cubicBezTo>
                  <a:cubicBezTo>
                    <a:pt x="469" y="594"/>
                    <a:pt x="469" y="595"/>
                    <a:pt x="469" y="596"/>
                  </a:cubicBezTo>
                  <a:cubicBezTo>
                    <a:pt x="470" y="597"/>
                    <a:pt x="470" y="599"/>
                    <a:pt x="471" y="600"/>
                  </a:cubicBezTo>
                  <a:cubicBezTo>
                    <a:pt x="471" y="602"/>
                    <a:pt x="471" y="603"/>
                    <a:pt x="472" y="605"/>
                  </a:cubicBezTo>
                  <a:cubicBezTo>
                    <a:pt x="472" y="606"/>
                    <a:pt x="473" y="607"/>
                    <a:pt x="473" y="608"/>
                  </a:cubicBezTo>
                  <a:cubicBezTo>
                    <a:pt x="473" y="611"/>
                    <a:pt x="473" y="614"/>
                    <a:pt x="474" y="616"/>
                  </a:cubicBezTo>
                  <a:cubicBezTo>
                    <a:pt x="474" y="617"/>
                    <a:pt x="474" y="617"/>
                    <a:pt x="474" y="617"/>
                  </a:cubicBezTo>
                  <a:cubicBezTo>
                    <a:pt x="474" y="618"/>
                    <a:pt x="474" y="619"/>
                    <a:pt x="474" y="619"/>
                  </a:cubicBezTo>
                  <a:cubicBezTo>
                    <a:pt x="474" y="620"/>
                    <a:pt x="474" y="621"/>
                    <a:pt x="474" y="622"/>
                  </a:cubicBezTo>
                  <a:cubicBezTo>
                    <a:pt x="475" y="624"/>
                    <a:pt x="475" y="625"/>
                    <a:pt x="475" y="628"/>
                  </a:cubicBezTo>
                  <a:cubicBezTo>
                    <a:pt x="475" y="630"/>
                    <a:pt x="475" y="634"/>
                    <a:pt x="475" y="637"/>
                  </a:cubicBezTo>
                  <a:cubicBezTo>
                    <a:pt x="476" y="641"/>
                    <a:pt x="481" y="643"/>
                    <a:pt x="482" y="647"/>
                  </a:cubicBezTo>
                  <a:cubicBezTo>
                    <a:pt x="482" y="648"/>
                    <a:pt x="482" y="650"/>
                    <a:pt x="481" y="652"/>
                  </a:cubicBezTo>
                  <a:cubicBezTo>
                    <a:pt x="481" y="653"/>
                    <a:pt x="481" y="655"/>
                    <a:pt x="480" y="657"/>
                  </a:cubicBezTo>
                  <a:cubicBezTo>
                    <a:pt x="479" y="658"/>
                    <a:pt x="479" y="659"/>
                    <a:pt x="477" y="659"/>
                  </a:cubicBezTo>
                  <a:cubicBezTo>
                    <a:pt x="474" y="659"/>
                    <a:pt x="472" y="659"/>
                    <a:pt x="470" y="660"/>
                  </a:cubicBezTo>
                  <a:cubicBezTo>
                    <a:pt x="468" y="660"/>
                    <a:pt x="466" y="661"/>
                    <a:pt x="464" y="662"/>
                  </a:cubicBezTo>
                  <a:cubicBezTo>
                    <a:pt x="462" y="662"/>
                    <a:pt x="461" y="663"/>
                    <a:pt x="460" y="663"/>
                  </a:cubicBezTo>
                  <a:cubicBezTo>
                    <a:pt x="459" y="668"/>
                    <a:pt x="464" y="670"/>
                    <a:pt x="464" y="675"/>
                  </a:cubicBezTo>
                  <a:cubicBezTo>
                    <a:pt x="465" y="677"/>
                    <a:pt x="463" y="678"/>
                    <a:pt x="463" y="680"/>
                  </a:cubicBezTo>
                  <a:cubicBezTo>
                    <a:pt x="461" y="682"/>
                    <a:pt x="461" y="685"/>
                    <a:pt x="460" y="688"/>
                  </a:cubicBezTo>
                  <a:cubicBezTo>
                    <a:pt x="459" y="689"/>
                    <a:pt x="459" y="690"/>
                    <a:pt x="458" y="691"/>
                  </a:cubicBezTo>
                  <a:cubicBezTo>
                    <a:pt x="456" y="692"/>
                    <a:pt x="455" y="692"/>
                    <a:pt x="454" y="693"/>
                  </a:cubicBezTo>
                  <a:cubicBezTo>
                    <a:pt x="454" y="693"/>
                    <a:pt x="453" y="693"/>
                    <a:pt x="453" y="694"/>
                  </a:cubicBezTo>
                  <a:cubicBezTo>
                    <a:pt x="452" y="694"/>
                    <a:pt x="452" y="694"/>
                    <a:pt x="452" y="694"/>
                  </a:cubicBezTo>
                  <a:cubicBezTo>
                    <a:pt x="451" y="694"/>
                    <a:pt x="451" y="695"/>
                    <a:pt x="451" y="695"/>
                  </a:cubicBezTo>
                  <a:cubicBezTo>
                    <a:pt x="450" y="696"/>
                    <a:pt x="449" y="697"/>
                    <a:pt x="447" y="698"/>
                  </a:cubicBezTo>
                  <a:cubicBezTo>
                    <a:pt x="446" y="699"/>
                    <a:pt x="446" y="699"/>
                    <a:pt x="445" y="700"/>
                  </a:cubicBezTo>
                  <a:cubicBezTo>
                    <a:pt x="445" y="701"/>
                    <a:pt x="445" y="702"/>
                    <a:pt x="445" y="703"/>
                  </a:cubicBezTo>
                  <a:cubicBezTo>
                    <a:pt x="445" y="704"/>
                    <a:pt x="446" y="707"/>
                    <a:pt x="445" y="708"/>
                  </a:cubicBezTo>
                  <a:cubicBezTo>
                    <a:pt x="444" y="709"/>
                    <a:pt x="443" y="709"/>
                    <a:pt x="443" y="710"/>
                  </a:cubicBezTo>
                  <a:cubicBezTo>
                    <a:pt x="442" y="711"/>
                    <a:pt x="441" y="713"/>
                    <a:pt x="441" y="714"/>
                  </a:cubicBezTo>
                  <a:cubicBezTo>
                    <a:pt x="442" y="716"/>
                    <a:pt x="443" y="717"/>
                    <a:pt x="444" y="718"/>
                  </a:cubicBezTo>
                  <a:cubicBezTo>
                    <a:pt x="445" y="718"/>
                    <a:pt x="444" y="718"/>
                    <a:pt x="445" y="719"/>
                  </a:cubicBezTo>
                  <a:cubicBezTo>
                    <a:pt x="446" y="719"/>
                    <a:pt x="447" y="720"/>
                    <a:pt x="447" y="720"/>
                  </a:cubicBezTo>
                  <a:cubicBezTo>
                    <a:pt x="448" y="720"/>
                    <a:pt x="448" y="721"/>
                    <a:pt x="449" y="721"/>
                  </a:cubicBezTo>
                  <a:cubicBezTo>
                    <a:pt x="451" y="721"/>
                    <a:pt x="453" y="721"/>
                    <a:pt x="455" y="721"/>
                  </a:cubicBezTo>
                  <a:cubicBezTo>
                    <a:pt x="458" y="721"/>
                    <a:pt x="460" y="720"/>
                    <a:pt x="463" y="720"/>
                  </a:cubicBezTo>
                  <a:cubicBezTo>
                    <a:pt x="464" y="720"/>
                    <a:pt x="465" y="720"/>
                    <a:pt x="466" y="720"/>
                  </a:cubicBezTo>
                  <a:cubicBezTo>
                    <a:pt x="468" y="720"/>
                    <a:pt x="469" y="719"/>
                    <a:pt x="470" y="719"/>
                  </a:cubicBezTo>
                  <a:cubicBezTo>
                    <a:pt x="471" y="719"/>
                    <a:pt x="471" y="719"/>
                    <a:pt x="472" y="719"/>
                  </a:cubicBezTo>
                  <a:cubicBezTo>
                    <a:pt x="473" y="718"/>
                    <a:pt x="474" y="717"/>
                    <a:pt x="474" y="717"/>
                  </a:cubicBezTo>
                  <a:cubicBezTo>
                    <a:pt x="475" y="716"/>
                    <a:pt x="475" y="715"/>
                    <a:pt x="475" y="714"/>
                  </a:cubicBezTo>
                  <a:cubicBezTo>
                    <a:pt x="476" y="714"/>
                    <a:pt x="476" y="713"/>
                    <a:pt x="477" y="712"/>
                  </a:cubicBezTo>
                  <a:cubicBezTo>
                    <a:pt x="477" y="712"/>
                    <a:pt x="477" y="711"/>
                    <a:pt x="477" y="710"/>
                  </a:cubicBezTo>
                  <a:cubicBezTo>
                    <a:pt x="478" y="709"/>
                    <a:pt x="478" y="709"/>
                    <a:pt x="478" y="708"/>
                  </a:cubicBezTo>
                  <a:cubicBezTo>
                    <a:pt x="479" y="705"/>
                    <a:pt x="478" y="704"/>
                    <a:pt x="480" y="702"/>
                  </a:cubicBezTo>
                  <a:cubicBezTo>
                    <a:pt x="481" y="700"/>
                    <a:pt x="483" y="698"/>
                    <a:pt x="485" y="697"/>
                  </a:cubicBezTo>
                  <a:cubicBezTo>
                    <a:pt x="485" y="695"/>
                    <a:pt x="489" y="692"/>
                    <a:pt x="491" y="691"/>
                  </a:cubicBezTo>
                  <a:cubicBezTo>
                    <a:pt x="493" y="690"/>
                    <a:pt x="495" y="688"/>
                    <a:pt x="498" y="686"/>
                  </a:cubicBezTo>
                  <a:cubicBezTo>
                    <a:pt x="502" y="683"/>
                    <a:pt x="500" y="678"/>
                    <a:pt x="500" y="674"/>
                  </a:cubicBezTo>
                  <a:cubicBezTo>
                    <a:pt x="501" y="671"/>
                    <a:pt x="500" y="668"/>
                    <a:pt x="500" y="665"/>
                  </a:cubicBezTo>
                  <a:cubicBezTo>
                    <a:pt x="500" y="663"/>
                    <a:pt x="500" y="661"/>
                    <a:pt x="500" y="660"/>
                  </a:cubicBezTo>
                  <a:cubicBezTo>
                    <a:pt x="500" y="659"/>
                    <a:pt x="500" y="657"/>
                    <a:pt x="501" y="656"/>
                  </a:cubicBezTo>
                  <a:cubicBezTo>
                    <a:pt x="501" y="656"/>
                    <a:pt x="502" y="655"/>
                    <a:pt x="503" y="655"/>
                  </a:cubicBezTo>
                  <a:cubicBezTo>
                    <a:pt x="503" y="654"/>
                    <a:pt x="504" y="653"/>
                    <a:pt x="505" y="652"/>
                  </a:cubicBezTo>
                  <a:cubicBezTo>
                    <a:pt x="505" y="651"/>
                    <a:pt x="505" y="651"/>
                    <a:pt x="506" y="651"/>
                  </a:cubicBezTo>
                  <a:cubicBezTo>
                    <a:pt x="507" y="650"/>
                    <a:pt x="508" y="649"/>
                    <a:pt x="510" y="649"/>
                  </a:cubicBezTo>
                  <a:cubicBezTo>
                    <a:pt x="512" y="648"/>
                    <a:pt x="515" y="648"/>
                    <a:pt x="517" y="647"/>
                  </a:cubicBezTo>
                  <a:cubicBezTo>
                    <a:pt x="517" y="647"/>
                    <a:pt x="517" y="646"/>
                    <a:pt x="517" y="646"/>
                  </a:cubicBezTo>
                  <a:cubicBezTo>
                    <a:pt x="517" y="646"/>
                    <a:pt x="519" y="646"/>
                    <a:pt x="518" y="646"/>
                  </a:cubicBezTo>
                  <a:cubicBezTo>
                    <a:pt x="520" y="646"/>
                    <a:pt x="520" y="646"/>
                    <a:pt x="521" y="646"/>
                  </a:cubicBezTo>
                  <a:cubicBezTo>
                    <a:pt x="523" y="646"/>
                    <a:pt x="525" y="646"/>
                    <a:pt x="526" y="645"/>
                  </a:cubicBezTo>
                  <a:cubicBezTo>
                    <a:pt x="527" y="645"/>
                    <a:pt x="528" y="644"/>
                    <a:pt x="529" y="644"/>
                  </a:cubicBezTo>
                  <a:cubicBezTo>
                    <a:pt x="530" y="644"/>
                    <a:pt x="530" y="644"/>
                    <a:pt x="531" y="643"/>
                  </a:cubicBezTo>
                  <a:cubicBezTo>
                    <a:pt x="531" y="643"/>
                    <a:pt x="532" y="643"/>
                    <a:pt x="532" y="642"/>
                  </a:cubicBezTo>
                  <a:cubicBezTo>
                    <a:pt x="532" y="641"/>
                    <a:pt x="532" y="640"/>
                    <a:pt x="532" y="639"/>
                  </a:cubicBezTo>
                  <a:cubicBezTo>
                    <a:pt x="532" y="638"/>
                    <a:pt x="531" y="636"/>
                    <a:pt x="531" y="635"/>
                  </a:cubicBezTo>
                  <a:cubicBezTo>
                    <a:pt x="531" y="634"/>
                    <a:pt x="531" y="633"/>
                    <a:pt x="532" y="632"/>
                  </a:cubicBezTo>
                  <a:cubicBezTo>
                    <a:pt x="532" y="632"/>
                    <a:pt x="533" y="631"/>
                    <a:pt x="533" y="631"/>
                  </a:cubicBezTo>
                  <a:cubicBezTo>
                    <a:pt x="534" y="629"/>
                    <a:pt x="534" y="626"/>
                    <a:pt x="534" y="624"/>
                  </a:cubicBezTo>
                  <a:cubicBezTo>
                    <a:pt x="534" y="622"/>
                    <a:pt x="534" y="620"/>
                    <a:pt x="534" y="617"/>
                  </a:cubicBezTo>
                  <a:cubicBezTo>
                    <a:pt x="534" y="616"/>
                    <a:pt x="534" y="614"/>
                    <a:pt x="534" y="613"/>
                  </a:cubicBezTo>
                  <a:cubicBezTo>
                    <a:pt x="534" y="611"/>
                    <a:pt x="533" y="609"/>
                    <a:pt x="533" y="607"/>
                  </a:cubicBezTo>
                  <a:cubicBezTo>
                    <a:pt x="532" y="605"/>
                    <a:pt x="531" y="604"/>
                    <a:pt x="529" y="604"/>
                  </a:cubicBezTo>
                  <a:cubicBezTo>
                    <a:pt x="529" y="603"/>
                    <a:pt x="528" y="601"/>
                    <a:pt x="527" y="600"/>
                  </a:cubicBezTo>
                  <a:cubicBezTo>
                    <a:pt x="526" y="598"/>
                    <a:pt x="526" y="597"/>
                    <a:pt x="524" y="597"/>
                  </a:cubicBezTo>
                  <a:cubicBezTo>
                    <a:pt x="523" y="597"/>
                    <a:pt x="522" y="597"/>
                    <a:pt x="521" y="597"/>
                  </a:cubicBezTo>
                  <a:cubicBezTo>
                    <a:pt x="520" y="596"/>
                    <a:pt x="520" y="596"/>
                    <a:pt x="520" y="595"/>
                  </a:cubicBezTo>
                  <a:cubicBezTo>
                    <a:pt x="519" y="594"/>
                    <a:pt x="518" y="594"/>
                    <a:pt x="517" y="593"/>
                  </a:cubicBezTo>
                  <a:cubicBezTo>
                    <a:pt x="516" y="592"/>
                    <a:pt x="516" y="591"/>
                    <a:pt x="515" y="590"/>
                  </a:cubicBezTo>
                  <a:cubicBezTo>
                    <a:pt x="514" y="590"/>
                    <a:pt x="512" y="591"/>
                    <a:pt x="511" y="590"/>
                  </a:cubicBezTo>
                  <a:cubicBezTo>
                    <a:pt x="510" y="590"/>
                    <a:pt x="509" y="590"/>
                    <a:pt x="508" y="590"/>
                  </a:cubicBezTo>
                  <a:cubicBezTo>
                    <a:pt x="506" y="590"/>
                    <a:pt x="506" y="589"/>
                    <a:pt x="504" y="589"/>
                  </a:cubicBezTo>
                  <a:cubicBezTo>
                    <a:pt x="503" y="585"/>
                    <a:pt x="503" y="581"/>
                    <a:pt x="503" y="577"/>
                  </a:cubicBezTo>
                  <a:cubicBezTo>
                    <a:pt x="503" y="575"/>
                    <a:pt x="503" y="574"/>
                    <a:pt x="503" y="572"/>
                  </a:cubicBezTo>
                  <a:cubicBezTo>
                    <a:pt x="504" y="571"/>
                    <a:pt x="504" y="568"/>
                    <a:pt x="505" y="567"/>
                  </a:cubicBezTo>
                  <a:cubicBezTo>
                    <a:pt x="506" y="566"/>
                    <a:pt x="507" y="566"/>
                    <a:pt x="508" y="565"/>
                  </a:cubicBezTo>
                  <a:cubicBezTo>
                    <a:pt x="509" y="564"/>
                    <a:pt x="509" y="562"/>
                    <a:pt x="509" y="561"/>
                  </a:cubicBezTo>
                  <a:cubicBezTo>
                    <a:pt x="509" y="558"/>
                    <a:pt x="510" y="555"/>
                    <a:pt x="511" y="553"/>
                  </a:cubicBezTo>
                  <a:cubicBezTo>
                    <a:pt x="512" y="552"/>
                    <a:pt x="513" y="551"/>
                    <a:pt x="514" y="550"/>
                  </a:cubicBezTo>
                  <a:cubicBezTo>
                    <a:pt x="515" y="550"/>
                    <a:pt x="515" y="550"/>
                    <a:pt x="515" y="549"/>
                  </a:cubicBezTo>
                  <a:cubicBezTo>
                    <a:pt x="516" y="549"/>
                    <a:pt x="516" y="548"/>
                    <a:pt x="516" y="548"/>
                  </a:cubicBezTo>
                  <a:cubicBezTo>
                    <a:pt x="517" y="546"/>
                    <a:pt x="518" y="544"/>
                    <a:pt x="518" y="543"/>
                  </a:cubicBezTo>
                  <a:cubicBezTo>
                    <a:pt x="519" y="541"/>
                    <a:pt x="519" y="540"/>
                    <a:pt x="520" y="538"/>
                  </a:cubicBezTo>
                  <a:cubicBezTo>
                    <a:pt x="521" y="537"/>
                    <a:pt x="521" y="536"/>
                    <a:pt x="522" y="535"/>
                  </a:cubicBezTo>
                  <a:cubicBezTo>
                    <a:pt x="523" y="534"/>
                    <a:pt x="523" y="534"/>
                    <a:pt x="523" y="533"/>
                  </a:cubicBezTo>
                  <a:cubicBezTo>
                    <a:pt x="524" y="532"/>
                    <a:pt x="524" y="532"/>
                    <a:pt x="525" y="531"/>
                  </a:cubicBezTo>
                  <a:cubicBezTo>
                    <a:pt x="526" y="530"/>
                    <a:pt x="526" y="529"/>
                    <a:pt x="527" y="528"/>
                  </a:cubicBezTo>
                  <a:cubicBezTo>
                    <a:pt x="528" y="527"/>
                    <a:pt x="530" y="526"/>
                    <a:pt x="531" y="525"/>
                  </a:cubicBezTo>
                  <a:cubicBezTo>
                    <a:pt x="533" y="524"/>
                    <a:pt x="535" y="521"/>
                    <a:pt x="537" y="522"/>
                  </a:cubicBezTo>
                  <a:cubicBezTo>
                    <a:pt x="538" y="523"/>
                    <a:pt x="539" y="524"/>
                    <a:pt x="539" y="525"/>
                  </a:cubicBezTo>
                  <a:cubicBezTo>
                    <a:pt x="540" y="525"/>
                    <a:pt x="540" y="526"/>
                    <a:pt x="541" y="527"/>
                  </a:cubicBezTo>
                  <a:cubicBezTo>
                    <a:pt x="542" y="528"/>
                    <a:pt x="542" y="528"/>
                    <a:pt x="543" y="530"/>
                  </a:cubicBezTo>
                  <a:cubicBezTo>
                    <a:pt x="543" y="531"/>
                    <a:pt x="545" y="533"/>
                    <a:pt x="546" y="534"/>
                  </a:cubicBezTo>
                  <a:cubicBezTo>
                    <a:pt x="547" y="534"/>
                    <a:pt x="547" y="534"/>
                    <a:pt x="548" y="534"/>
                  </a:cubicBezTo>
                  <a:cubicBezTo>
                    <a:pt x="548" y="535"/>
                    <a:pt x="548" y="536"/>
                    <a:pt x="549" y="536"/>
                  </a:cubicBezTo>
                  <a:cubicBezTo>
                    <a:pt x="551" y="537"/>
                    <a:pt x="552" y="538"/>
                    <a:pt x="554" y="539"/>
                  </a:cubicBezTo>
                  <a:cubicBezTo>
                    <a:pt x="555" y="540"/>
                    <a:pt x="557" y="540"/>
                    <a:pt x="558" y="540"/>
                  </a:cubicBezTo>
                  <a:cubicBezTo>
                    <a:pt x="559" y="541"/>
                    <a:pt x="559" y="541"/>
                    <a:pt x="561" y="542"/>
                  </a:cubicBezTo>
                  <a:cubicBezTo>
                    <a:pt x="561" y="542"/>
                    <a:pt x="562" y="542"/>
                    <a:pt x="562" y="542"/>
                  </a:cubicBezTo>
                  <a:cubicBezTo>
                    <a:pt x="563" y="543"/>
                    <a:pt x="564" y="542"/>
                    <a:pt x="565" y="542"/>
                  </a:cubicBezTo>
                  <a:cubicBezTo>
                    <a:pt x="567" y="542"/>
                    <a:pt x="568" y="542"/>
                    <a:pt x="570" y="542"/>
                  </a:cubicBezTo>
                  <a:cubicBezTo>
                    <a:pt x="571" y="542"/>
                    <a:pt x="571" y="542"/>
                    <a:pt x="572" y="542"/>
                  </a:cubicBezTo>
                  <a:cubicBezTo>
                    <a:pt x="572" y="542"/>
                    <a:pt x="572" y="541"/>
                    <a:pt x="573" y="541"/>
                  </a:cubicBezTo>
                  <a:cubicBezTo>
                    <a:pt x="574" y="541"/>
                    <a:pt x="575" y="543"/>
                    <a:pt x="575" y="544"/>
                  </a:cubicBezTo>
                  <a:cubicBezTo>
                    <a:pt x="576" y="545"/>
                    <a:pt x="576" y="546"/>
                    <a:pt x="578" y="547"/>
                  </a:cubicBezTo>
                  <a:cubicBezTo>
                    <a:pt x="579" y="547"/>
                    <a:pt x="580" y="548"/>
                    <a:pt x="581" y="549"/>
                  </a:cubicBezTo>
                  <a:cubicBezTo>
                    <a:pt x="581" y="551"/>
                    <a:pt x="582" y="553"/>
                    <a:pt x="582" y="555"/>
                  </a:cubicBezTo>
                  <a:cubicBezTo>
                    <a:pt x="582" y="559"/>
                    <a:pt x="583" y="562"/>
                    <a:pt x="583" y="566"/>
                  </a:cubicBezTo>
                  <a:cubicBezTo>
                    <a:pt x="583" y="568"/>
                    <a:pt x="582" y="572"/>
                    <a:pt x="584" y="574"/>
                  </a:cubicBezTo>
                  <a:cubicBezTo>
                    <a:pt x="585" y="575"/>
                    <a:pt x="588" y="576"/>
                    <a:pt x="589" y="577"/>
                  </a:cubicBezTo>
                  <a:cubicBezTo>
                    <a:pt x="591" y="578"/>
                    <a:pt x="593" y="579"/>
                    <a:pt x="595" y="580"/>
                  </a:cubicBezTo>
                  <a:cubicBezTo>
                    <a:pt x="597" y="580"/>
                    <a:pt x="598" y="581"/>
                    <a:pt x="600" y="582"/>
                  </a:cubicBezTo>
                  <a:cubicBezTo>
                    <a:pt x="601" y="582"/>
                    <a:pt x="604" y="582"/>
                    <a:pt x="605" y="582"/>
                  </a:cubicBezTo>
                  <a:cubicBezTo>
                    <a:pt x="606" y="581"/>
                    <a:pt x="605" y="579"/>
                    <a:pt x="605" y="578"/>
                  </a:cubicBezTo>
                  <a:cubicBezTo>
                    <a:pt x="605" y="577"/>
                    <a:pt x="606" y="576"/>
                    <a:pt x="606" y="574"/>
                  </a:cubicBezTo>
                  <a:cubicBezTo>
                    <a:pt x="606" y="572"/>
                    <a:pt x="606" y="570"/>
                    <a:pt x="606" y="568"/>
                  </a:cubicBezTo>
                  <a:cubicBezTo>
                    <a:pt x="607" y="565"/>
                    <a:pt x="608" y="562"/>
                    <a:pt x="610" y="560"/>
                  </a:cubicBezTo>
                  <a:cubicBezTo>
                    <a:pt x="611" y="559"/>
                    <a:pt x="612" y="559"/>
                    <a:pt x="612" y="557"/>
                  </a:cubicBezTo>
                  <a:cubicBezTo>
                    <a:pt x="612" y="556"/>
                    <a:pt x="612" y="555"/>
                    <a:pt x="612" y="555"/>
                  </a:cubicBezTo>
                  <a:cubicBezTo>
                    <a:pt x="612" y="554"/>
                    <a:pt x="612" y="552"/>
                    <a:pt x="612" y="55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9" name="Freeform 19"/>
            <p:cNvSpPr>
              <a:spLocks/>
            </p:cNvSpPr>
            <p:nvPr/>
          </p:nvSpPr>
          <p:spPr bwMode="auto">
            <a:xfrm>
              <a:off x="4627563" y="6280150"/>
              <a:ext cx="320675" cy="239713"/>
            </a:xfrm>
            <a:custGeom>
              <a:avLst/>
              <a:gdLst/>
              <a:ahLst/>
              <a:cxnLst>
                <a:cxn ang="0">
                  <a:pos x="135" y="7"/>
                </a:cxn>
                <a:cxn ang="0">
                  <a:pos x="121" y="12"/>
                </a:cxn>
                <a:cxn ang="0">
                  <a:pos x="110" y="16"/>
                </a:cxn>
                <a:cxn ang="0">
                  <a:pos x="103" y="19"/>
                </a:cxn>
                <a:cxn ang="0">
                  <a:pos x="86" y="19"/>
                </a:cxn>
                <a:cxn ang="0">
                  <a:pos x="77" y="17"/>
                </a:cxn>
                <a:cxn ang="0">
                  <a:pos x="67" y="19"/>
                </a:cxn>
                <a:cxn ang="0">
                  <a:pos x="58" y="14"/>
                </a:cxn>
                <a:cxn ang="0">
                  <a:pos x="53" y="6"/>
                </a:cxn>
                <a:cxn ang="0">
                  <a:pos x="37" y="1"/>
                </a:cxn>
                <a:cxn ang="0">
                  <a:pos x="32" y="14"/>
                </a:cxn>
                <a:cxn ang="0">
                  <a:pos x="22" y="9"/>
                </a:cxn>
                <a:cxn ang="0">
                  <a:pos x="15" y="3"/>
                </a:cxn>
                <a:cxn ang="0">
                  <a:pos x="6" y="14"/>
                </a:cxn>
                <a:cxn ang="0">
                  <a:pos x="7" y="28"/>
                </a:cxn>
                <a:cxn ang="0">
                  <a:pos x="1" y="34"/>
                </a:cxn>
                <a:cxn ang="0">
                  <a:pos x="6" y="47"/>
                </a:cxn>
                <a:cxn ang="0">
                  <a:pos x="13" y="51"/>
                </a:cxn>
                <a:cxn ang="0">
                  <a:pos x="35" y="57"/>
                </a:cxn>
                <a:cxn ang="0">
                  <a:pos x="52" y="69"/>
                </a:cxn>
                <a:cxn ang="0">
                  <a:pos x="69" y="88"/>
                </a:cxn>
                <a:cxn ang="0">
                  <a:pos x="77" y="88"/>
                </a:cxn>
                <a:cxn ang="0">
                  <a:pos x="83" y="90"/>
                </a:cxn>
                <a:cxn ang="0">
                  <a:pos x="92" y="94"/>
                </a:cxn>
                <a:cxn ang="0">
                  <a:pos x="103" y="109"/>
                </a:cxn>
                <a:cxn ang="0">
                  <a:pos x="109" y="125"/>
                </a:cxn>
                <a:cxn ang="0">
                  <a:pos x="122" y="126"/>
                </a:cxn>
                <a:cxn ang="0">
                  <a:pos x="144" y="121"/>
                </a:cxn>
                <a:cxn ang="0">
                  <a:pos x="142" y="106"/>
                </a:cxn>
                <a:cxn ang="0">
                  <a:pos x="150" y="98"/>
                </a:cxn>
                <a:cxn ang="0">
                  <a:pos x="147" y="87"/>
                </a:cxn>
                <a:cxn ang="0">
                  <a:pos x="148" y="79"/>
                </a:cxn>
                <a:cxn ang="0">
                  <a:pos x="141" y="61"/>
                </a:cxn>
                <a:cxn ang="0">
                  <a:pos x="156" y="52"/>
                </a:cxn>
                <a:cxn ang="0">
                  <a:pos x="163" y="45"/>
                </a:cxn>
                <a:cxn ang="0">
                  <a:pos x="154" y="42"/>
                </a:cxn>
                <a:cxn ang="0">
                  <a:pos x="159" y="31"/>
                </a:cxn>
                <a:cxn ang="0">
                  <a:pos x="164" y="19"/>
                </a:cxn>
                <a:cxn ang="0">
                  <a:pos x="167" y="10"/>
                </a:cxn>
                <a:cxn ang="0">
                  <a:pos x="168" y="1"/>
                </a:cxn>
                <a:cxn ang="0">
                  <a:pos x="144" y="12"/>
                </a:cxn>
              </a:cxnLst>
              <a:rect l="0" t="0" r="r" b="b"/>
              <a:pathLst>
                <a:path w="171" h="128">
                  <a:moveTo>
                    <a:pt x="144" y="12"/>
                  </a:moveTo>
                  <a:cubicBezTo>
                    <a:pt x="141" y="11"/>
                    <a:pt x="138" y="8"/>
                    <a:pt x="135" y="7"/>
                  </a:cubicBezTo>
                  <a:cubicBezTo>
                    <a:pt x="133" y="7"/>
                    <a:pt x="132" y="8"/>
                    <a:pt x="130" y="8"/>
                  </a:cubicBezTo>
                  <a:cubicBezTo>
                    <a:pt x="126" y="8"/>
                    <a:pt x="123" y="10"/>
                    <a:pt x="121" y="12"/>
                  </a:cubicBezTo>
                  <a:cubicBezTo>
                    <a:pt x="120" y="13"/>
                    <a:pt x="118" y="14"/>
                    <a:pt x="117" y="15"/>
                  </a:cubicBezTo>
                  <a:cubicBezTo>
                    <a:pt x="115" y="16"/>
                    <a:pt x="113" y="15"/>
                    <a:pt x="110" y="16"/>
                  </a:cubicBezTo>
                  <a:cubicBezTo>
                    <a:pt x="109" y="17"/>
                    <a:pt x="108" y="17"/>
                    <a:pt x="106" y="17"/>
                  </a:cubicBezTo>
                  <a:cubicBezTo>
                    <a:pt x="105" y="18"/>
                    <a:pt x="105" y="19"/>
                    <a:pt x="103" y="19"/>
                  </a:cubicBezTo>
                  <a:cubicBezTo>
                    <a:pt x="100" y="21"/>
                    <a:pt x="95" y="19"/>
                    <a:pt x="91" y="19"/>
                  </a:cubicBezTo>
                  <a:cubicBezTo>
                    <a:pt x="90" y="19"/>
                    <a:pt x="87" y="20"/>
                    <a:pt x="86" y="19"/>
                  </a:cubicBezTo>
                  <a:cubicBezTo>
                    <a:pt x="85" y="19"/>
                    <a:pt x="86" y="18"/>
                    <a:pt x="85" y="18"/>
                  </a:cubicBezTo>
                  <a:cubicBezTo>
                    <a:pt x="82" y="17"/>
                    <a:pt x="80" y="17"/>
                    <a:pt x="77" y="17"/>
                  </a:cubicBezTo>
                  <a:cubicBezTo>
                    <a:pt x="74" y="17"/>
                    <a:pt x="71" y="17"/>
                    <a:pt x="68" y="18"/>
                  </a:cubicBezTo>
                  <a:cubicBezTo>
                    <a:pt x="67" y="19"/>
                    <a:pt x="68" y="19"/>
                    <a:pt x="67" y="19"/>
                  </a:cubicBezTo>
                  <a:cubicBezTo>
                    <a:pt x="65" y="20"/>
                    <a:pt x="64" y="19"/>
                    <a:pt x="63" y="18"/>
                  </a:cubicBezTo>
                  <a:cubicBezTo>
                    <a:pt x="61" y="17"/>
                    <a:pt x="59" y="15"/>
                    <a:pt x="58" y="14"/>
                  </a:cubicBezTo>
                  <a:cubicBezTo>
                    <a:pt x="57" y="13"/>
                    <a:pt x="57" y="11"/>
                    <a:pt x="56" y="10"/>
                  </a:cubicBezTo>
                  <a:cubicBezTo>
                    <a:pt x="55" y="9"/>
                    <a:pt x="54" y="8"/>
                    <a:pt x="53" y="6"/>
                  </a:cubicBezTo>
                  <a:cubicBezTo>
                    <a:pt x="51" y="3"/>
                    <a:pt x="49" y="1"/>
                    <a:pt x="44" y="0"/>
                  </a:cubicBezTo>
                  <a:cubicBezTo>
                    <a:pt x="42" y="0"/>
                    <a:pt x="39" y="0"/>
                    <a:pt x="37" y="1"/>
                  </a:cubicBezTo>
                  <a:cubicBezTo>
                    <a:pt x="36" y="2"/>
                    <a:pt x="37" y="6"/>
                    <a:pt x="36" y="7"/>
                  </a:cubicBezTo>
                  <a:cubicBezTo>
                    <a:pt x="36" y="11"/>
                    <a:pt x="34" y="12"/>
                    <a:pt x="32" y="14"/>
                  </a:cubicBezTo>
                  <a:cubicBezTo>
                    <a:pt x="31" y="14"/>
                    <a:pt x="28" y="16"/>
                    <a:pt x="27" y="16"/>
                  </a:cubicBezTo>
                  <a:cubicBezTo>
                    <a:pt x="26" y="16"/>
                    <a:pt x="23" y="10"/>
                    <a:pt x="22" y="9"/>
                  </a:cubicBezTo>
                  <a:cubicBezTo>
                    <a:pt x="21" y="7"/>
                    <a:pt x="20" y="3"/>
                    <a:pt x="19" y="2"/>
                  </a:cubicBezTo>
                  <a:cubicBezTo>
                    <a:pt x="18" y="1"/>
                    <a:pt x="16" y="2"/>
                    <a:pt x="15" y="3"/>
                  </a:cubicBezTo>
                  <a:cubicBezTo>
                    <a:pt x="14" y="5"/>
                    <a:pt x="15" y="6"/>
                    <a:pt x="13" y="8"/>
                  </a:cubicBezTo>
                  <a:cubicBezTo>
                    <a:pt x="10" y="10"/>
                    <a:pt x="7" y="11"/>
                    <a:pt x="6" y="14"/>
                  </a:cubicBezTo>
                  <a:cubicBezTo>
                    <a:pt x="5" y="15"/>
                    <a:pt x="4" y="17"/>
                    <a:pt x="4" y="18"/>
                  </a:cubicBezTo>
                  <a:cubicBezTo>
                    <a:pt x="4" y="21"/>
                    <a:pt x="8" y="25"/>
                    <a:pt x="7" y="28"/>
                  </a:cubicBezTo>
                  <a:cubicBezTo>
                    <a:pt x="7" y="30"/>
                    <a:pt x="5" y="30"/>
                    <a:pt x="4" y="31"/>
                  </a:cubicBezTo>
                  <a:cubicBezTo>
                    <a:pt x="3" y="31"/>
                    <a:pt x="2" y="33"/>
                    <a:pt x="1" y="34"/>
                  </a:cubicBezTo>
                  <a:cubicBezTo>
                    <a:pt x="0" y="37"/>
                    <a:pt x="2" y="41"/>
                    <a:pt x="3" y="43"/>
                  </a:cubicBezTo>
                  <a:cubicBezTo>
                    <a:pt x="4" y="46"/>
                    <a:pt x="4" y="46"/>
                    <a:pt x="6" y="47"/>
                  </a:cubicBezTo>
                  <a:cubicBezTo>
                    <a:pt x="8" y="47"/>
                    <a:pt x="9" y="47"/>
                    <a:pt x="11" y="48"/>
                  </a:cubicBezTo>
                  <a:cubicBezTo>
                    <a:pt x="11" y="49"/>
                    <a:pt x="12" y="50"/>
                    <a:pt x="13" y="51"/>
                  </a:cubicBezTo>
                  <a:cubicBezTo>
                    <a:pt x="16" y="54"/>
                    <a:pt x="19" y="52"/>
                    <a:pt x="23" y="52"/>
                  </a:cubicBezTo>
                  <a:cubicBezTo>
                    <a:pt x="28" y="52"/>
                    <a:pt x="32" y="52"/>
                    <a:pt x="35" y="57"/>
                  </a:cubicBezTo>
                  <a:cubicBezTo>
                    <a:pt x="37" y="60"/>
                    <a:pt x="40" y="60"/>
                    <a:pt x="43" y="62"/>
                  </a:cubicBezTo>
                  <a:cubicBezTo>
                    <a:pt x="46" y="63"/>
                    <a:pt x="50" y="66"/>
                    <a:pt x="52" y="69"/>
                  </a:cubicBezTo>
                  <a:cubicBezTo>
                    <a:pt x="54" y="74"/>
                    <a:pt x="58" y="81"/>
                    <a:pt x="62" y="84"/>
                  </a:cubicBezTo>
                  <a:cubicBezTo>
                    <a:pt x="64" y="85"/>
                    <a:pt x="67" y="86"/>
                    <a:pt x="69" y="88"/>
                  </a:cubicBezTo>
                  <a:cubicBezTo>
                    <a:pt x="71" y="88"/>
                    <a:pt x="72" y="89"/>
                    <a:pt x="74" y="89"/>
                  </a:cubicBezTo>
                  <a:cubicBezTo>
                    <a:pt x="75" y="89"/>
                    <a:pt x="75" y="88"/>
                    <a:pt x="77" y="88"/>
                  </a:cubicBezTo>
                  <a:cubicBezTo>
                    <a:pt x="78" y="88"/>
                    <a:pt x="79" y="89"/>
                    <a:pt x="80" y="90"/>
                  </a:cubicBezTo>
                  <a:cubicBezTo>
                    <a:pt x="81" y="90"/>
                    <a:pt x="82" y="90"/>
                    <a:pt x="83" y="90"/>
                  </a:cubicBezTo>
                  <a:cubicBezTo>
                    <a:pt x="85" y="90"/>
                    <a:pt x="86" y="90"/>
                    <a:pt x="88" y="90"/>
                  </a:cubicBezTo>
                  <a:cubicBezTo>
                    <a:pt x="91" y="90"/>
                    <a:pt x="91" y="92"/>
                    <a:pt x="92" y="94"/>
                  </a:cubicBezTo>
                  <a:cubicBezTo>
                    <a:pt x="94" y="97"/>
                    <a:pt x="97" y="98"/>
                    <a:pt x="100" y="101"/>
                  </a:cubicBezTo>
                  <a:cubicBezTo>
                    <a:pt x="103" y="103"/>
                    <a:pt x="103" y="106"/>
                    <a:pt x="103" y="109"/>
                  </a:cubicBezTo>
                  <a:cubicBezTo>
                    <a:pt x="103" y="113"/>
                    <a:pt x="103" y="117"/>
                    <a:pt x="105" y="121"/>
                  </a:cubicBezTo>
                  <a:cubicBezTo>
                    <a:pt x="106" y="124"/>
                    <a:pt x="106" y="125"/>
                    <a:pt x="109" y="125"/>
                  </a:cubicBezTo>
                  <a:cubicBezTo>
                    <a:pt x="111" y="125"/>
                    <a:pt x="114" y="124"/>
                    <a:pt x="116" y="124"/>
                  </a:cubicBezTo>
                  <a:cubicBezTo>
                    <a:pt x="118" y="124"/>
                    <a:pt x="120" y="125"/>
                    <a:pt x="122" y="126"/>
                  </a:cubicBezTo>
                  <a:cubicBezTo>
                    <a:pt x="127" y="128"/>
                    <a:pt x="132" y="127"/>
                    <a:pt x="136" y="128"/>
                  </a:cubicBezTo>
                  <a:cubicBezTo>
                    <a:pt x="140" y="128"/>
                    <a:pt x="146" y="125"/>
                    <a:pt x="144" y="121"/>
                  </a:cubicBezTo>
                  <a:cubicBezTo>
                    <a:pt x="143" y="117"/>
                    <a:pt x="138" y="114"/>
                    <a:pt x="140" y="110"/>
                  </a:cubicBezTo>
                  <a:cubicBezTo>
                    <a:pt x="140" y="108"/>
                    <a:pt x="141" y="107"/>
                    <a:pt x="142" y="106"/>
                  </a:cubicBezTo>
                  <a:cubicBezTo>
                    <a:pt x="144" y="103"/>
                    <a:pt x="146" y="103"/>
                    <a:pt x="148" y="101"/>
                  </a:cubicBezTo>
                  <a:cubicBezTo>
                    <a:pt x="149" y="100"/>
                    <a:pt x="149" y="99"/>
                    <a:pt x="150" y="98"/>
                  </a:cubicBezTo>
                  <a:cubicBezTo>
                    <a:pt x="152" y="97"/>
                    <a:pt x="153" y="97"/>
                    <a:pt x="153" y="94"/>
                  </a:cubicBezTo>
                  <a:cubicBezTo>
                    <a:pt x="153" y="89"/>
                    <a:pt x="149" y="91"/>
                    <a:pt x="147" y="87"/>
                  </a:cubicBezTo>
                  <a:cubicBezTo>
                    <a:pt x="146" y="86"/>
                    <a:pt x="146" y="84"/>
                    <a:pt x="146" y="83"/>
                  </a:cubicBezTo>
                  <a:cubicBezTo>
                    <a:pt x="146" y="81"/>
                    <a:pt x="147" y="81"/>
                    <a:pt x="148" y="79"/>
                  </a:cubicBezTo>
                  <a:cubicBezTo>
                    <a:pt x="149" y="76"/>
                    <a:pt x="143" y="72"/>
                    <a:pt x="142" y="70"/>
                  </a:cubicBezTo>
                  <a:cubicBezTo>
                    <a:pt x="139" y="66"/>
                    <a:pt x="140" y="65"/>
                    <a:pt x="141" y="61"/>
                  </a:cubicBezTo>
                  <a:cubicBezTo>
                    <a:pt x="142" y="57"/>
                    <a:pt x="147" y="52"/>
                    <a:pt x="151" y="52"/>
                  </a:cubicBezTo>
                  <a:cubicBezTo>
                    <a:pt x="153" y="52"/>
                    <a:pt x="154" y="52"/>
                    <a:pt x="156" y="52"/>
                  </a:cubicBezTo>
                  <a:cubicBezTo>
                    <a:pt x="157" y="53"/>
                    <a:pt x="158" y="55"/>
                    <a:pt x="160" y="54"/>
                  </a:cubicBezTo>
                  <a:cubicBezTo>
                    <a:pt x="165" y="53"/>
                    <a:pt x="167" y="48"/>
                    <a:pt x="163" y="45"/>
                  </a:cubicBezTo>
                  <a:cubicBezTo>
                    <a:pt x="162" y="44"/>
                    <a:pt x="160" y="43"/>
                    <a:pt x="158" y="43"/>
                  </a:cubicBezTo>
                  <a:cubicBezTo>
                    <a:pt x="157" y="42"/>
                    <a:pt x="155" y="43"/>
                    <a:pt x="154" y="42"/>
                  </a:cubicBezTo>
                  <a:cubicBezTo>
                    <a:pt x="152" y="41"/>
                    <a:pt x="152" y="37"/>
                    <a:pt x="152" y="35"/>
                  </a:cubicBezTo>
                  <a:cubicBezTo>
                    <a:pt x="153" y="31"/>
                    <a:pt x="156" y="31"/>
                    <a:pt x="159" y="31"/>
                  </a:cubicBezTo>
                  <a:cubicBezTo>
                    <a:pt x="165" y="29"/>
                    <a:pt x="162" y="27"/>
                    <a:pt x="163" y="22"/>
                  </a:cubicBezTo>
                  <a:cubicBezTo>
                    <a:pt x="163" y="21"/>
                    <a:pt x="164" y="20"/>
                    <a:pt x="164" y="19"/>
                  </a:cubicBezTo>
                  <a:cubicBezTo>
                    <a:pt x="164" y="17"/>
                    <a:pt x="163" y="15"/>
                    <a:pt x="164" y="14"/>
                  </a:cubicBezTo>
                  <a:cubicBezTo>
                    <a:pt x="164" y="12"/>
                    <a:pt x="166" y="11"/>
                    <a:pt x="167" y="10"/>
                  </a:cubicBezTo>
                  <a:cubicBezTo>
                    <a:pt x="169" y="9"/>
                    <a:pt x="170" y="6"/>
                    <a:pt x="171" y="5"/>
                  </a:cubicBezTo>
                  <a:cubicBezTo>
                    <a:pt x="171" y="3"/>
                    <a:pt x="170" y="1"/>
                    <a:pt x="168" y="1"/>
                  </a:cubicBezTo>
                  <a:cubicBezTo>
                    <a:pt x="166" y="1"/>
                    <a:pt x="165" y="4"/>
                    <a:pt x="164" y="5"/>
                  </a:cubicBezTo>
                  <a:lnTo>
                    <a:pt x="144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0" name="Freeform 20"/>
            <p:cNvSpPr>
              <a:spLocks/>
            </p:cNvSpPr>
            <p:nvPr/>
          </p:nvSpPr>
          <p:spPr bwMode="auto">
            <a:xfrm>
              <a:off x="4230688" y="5835650"/>
              <a:ext cx="161925" cy="334963"/>
            </a:xfrm>
            <a:custGeom>
              <a:avLst/>
              <a:gdLst/>
              <a:ahLst/>
              <a:cxnLst>
                <a:cxn ang="0">
                  <a:pos x="69" y="8"/>
                </a:cxn>
                <a:cxn ang="0">
                  <a:pos x="74" y="14"/>
                </a:cxn>
                <a:cxn ang="0">
                  <a:pos x="77" y="21"/>
                </a:cxn>
                <a:cxn ang="0">
                  <a:pos x="77" y="28"/>
                </a:cxn>
                <a:cxn ang="0">
                  <a:pos x="85" y="34"/>
                </a:cxn>
                <a:cxn ang="0">
                  <a:pos x="87" y="46"/>
                </a:cxn>
                <a:cxn ang="0">
                  <a:pos x="86" y="56"/>
                </a:cxn>
                <a:cxn ang="0">
                  <a:pos x="85" y="65"/>
                </a:cxn>
                <a:cxn ang="0">
                  <a:pos x="83" y="72"/>
                </a:cxn>
                <a:cxn ang="0">
                  <a:pos x="77" y="76"/>
                </a:cxn>
                <a:cxn ang="0">
                  <a:pos x="75" y="80"/>
                </a:cxn>
                <a:cxn ang="0">
                  <a:pos x="79" y="90"/>
                </a:cxn>
                <a:cxn ang="0">
                  <a:pos x="76" y="114"/>
                </a:cxn>
                <a:cxn ang="0">
                  <a:pos x="75" y="126"/>
                </a:cxn>
                <a:cxn ang="0">
                  <a:pos x="74" y="132"/>
                </a:cxn>
                <a:cxn ang="0">
                  <a:pos x="73" y="138"/>
                </a:cxn>
                <a:cxn ang="0">
                  <a:pos x="72" y="145"/>
                </a:cxn>
                <a:cxn ang="0">
                  <a:pos x="70" y="152"/>
                </a:cxn>
                <a:cxn ang="0">
                  <a:pos x="69" y="153"/>
                </a:cxn>
                <a:cxn ang="0">
                  <a:pos x="68" y="162"/>
                </a:cxn>
                <a:cxn ang="0">
                  <a:pos x="64" y="162"/>
                </a:cxn>
                <a:cxn ang="0">
                  <a:pos x="57" y="156"/>
                </a:cxn>
                <a:cxn ang="0">
                  <a:pos x="53" y="155"/>
                </a:cxn>
                <a:cxn ang="0">
                  <a:pos x="40" y="150"/>
                </a:cxn>
                <a:cxn ang="0">
                  <a:pos x="41" y="157"/>
                </a:cxn>
                <a:cxn ang="0">
                  <a:pos x="34" y="175"/>
                </a:cxn>
                <a:cxn ang="0">
                  <a:pos x="21" y="178"/>
                </a:cxn>
                <a:cxn ang="0">
                  <a:pos x="17" y="179"/>
                </a:cxn>
                <a:cxn ang="0">
                  <a:pos x="14" y="165"/>
                </a:cxn>
                <a:cxn ang="0">
                  <a:pos x="8" y="155"/>
                </a:cxn>
                <a:cxn ang="0">
                  <a:pos x="6" y="151"/>
                </a:cxn>
                <a:cxn ang="0">
                  <a:pos x="9" y="138"/>
                </a:cxn>
                <a:cxn ang="0">
                  <a:pos x="14" y="131"/>
                </a:cxn>
                <a:cxn ang="0">
                  <a:pos x="12" y="120"/>
                </a:cxn>
                <a:cxn ang="0">
                  <a:pos x="17" y="116"/>
                </a:cxn>
                <a:cxn ang="0">
                  <a:pos x="19" y="110"/>
                </a:cxn>
                <a:cxn ang="0">
                  <a:pos x="18" y="104"/>
                </a:cxn>
                <a:cxn ang="0">
                  <a:pos x="13" y="102"/>
                </a:cxn>
                <a:cxn ang="0">
                  <a:pos x="10" y="105"/>
                </a:cxn>
                <a:cxn ang="0">
                  <a:pos x="11" y="98"/>
                </a:cxn>
                <a:cxn ang="0">
                  <a:pos x="13" y="88"/>
                </a:cxn>
                <a:cxn ang="0">
                  <a:pos x="17" y="85"/>
                </a:cxn>
                <a:cxn ang="0">
                  <a:pos x="17" y="68"/>
                </a:cxn>
                <a:cxn ang="0">
                  <a:pos x="12" y="58"/>
                </a:cxn>
                <a:cxn ang="0">
                  <a:pos x="11" y="52"/>
                </a:cxn>
                <a:cxn ang="0">
                  <a:pos x="8" y="48"/>
                </a:cxn>
                <a:cxn ang="0">
                  <a:pos x="3" y="43"/>
                </a:cxn>
                <a:cxn ang="0">
                  <a:pos x="6" y="32"/>
                </a:cxn>
                <a:cxn ang="0">
                  <a:pos x="7" y="24"/>
                </a:cxn>
                <a:cxn ang="0">
                  <a:pos x="9" y="16"/>
                </a:cxn>
                <a:cxn ang="0">
                  <a:pos x="13" y="12"/>
                </a:cxn>
                <a:cxn ang="0">
                  <a:pos x="10" y="19"/>
                </a:cxn>
                <a:cxn ang="0">
                  <a:pos x="17" y="22"/>
                </a:cxn>
                <a:cxn ang="0">
                  <a:pos x="27" y="23"/>
                </a:cxn>
                <a:cxn ang="0">
                  <a:pos x="32" y="25"/>
                </a:cxn>
                <a:cxn ang="0">
                  <a:pos x="38" y="22"/>
                </a:cxn>
                <a:cxn ang="0">
                  <a:pos x="47" y="14"/>
                </a:cxn>
                <a:cxn ang="0">
                  <a:pos x="52" y="10"/>
                </a:cxn>
                <a:cxn ang="0">
                  <a:pos x="56" y="2"/>
                </a:cxn>
              </a:cxnLst>
              <a:rect l="0" t="0" r="r" b="b"/>
              <a:pathLst>
                <a:path w="87" h="179">
                  <a:moveTo>
                    <a:pt x="67" y="5"/>
                  </a:moveTo>
                  <a:cubicBezTo>
                    <a:pt x="67" y="6"/>
                    <a:pt x="68" y="8"/>
                    <a:pt x="69" y="8"/>
                  </a:cubicBezTo>
                  <a:cubicBezTo>
                    <a:pt x="71" y="9"/>
                    <a:pt x="73" y="9"/>
                    <a:pt x="73" y="11"/>
                  </a:cubicBezTo>
                  <a:cubicBezTo>
                    <a:pt x="74" y="12"/>
                    <a:pt x="73" y="13"/>
                    <a:pt x="74" y="14"/>
                  </a:cubicBezTo>
                  <a:cubicBezTo>
                    <a:pt x="74" y="15"/>
                    <a:pt x="75" y="14"/>
                    <a:pt x="76" y="15"/>
                  </a:cubicBezTo>
                  <a:cubicBezTo>
                    <a:pt x="77" y="16"/>
                    <a:pt x="77" y="19"/>
                    <a:pt x="77" y="21"/>
                  </a:cubicBezTo>
                  <a:cubicBezTo>
                    <a:pt x="77" y="22"/>
                    <a:pt x="77" y="23"/>
                    <a:pt x="76" y="25"/>
                  </a:cubicBezTo>
                  <a:cubicBezTo>
                    <a:pt x="76" y="26"/>
                    <a:pt x="76" y="27"/>
                    <a:pt x="77" y="28"/>
                  </a:cubicBezTo>
                  <a:cubicBezTo>
                    <a:pt x="79" y="30"/>
                    <a:pt x="81" y="29"/>
                    <a:pt x="83" y="30"/>
                  </a:cubicBezTo>
                  <a:cubicBezTo>
                    <a:pt x="85" y="31"/>
                    <a:pt x="85" y="32"/>
                    <a:pt x="85" y="34"/>
                  </a:cubicBezTo>
                  <a:cubicBezTo>
                    <a:pt x="85" y="37"/>
                    <a:pt x="87" y="40"/>
                    <a:pt x="87" y="43"/>
                  </a:cubicBezTo>
                  <a:cubicBezTo>
                    <a:pt x="87" y="44"/>
                    <a:pt x="87" y="45"/>
                    <a:pt x="87" y="46"/>
                  </a:cubicBezTo>
                  <a:cubicBezTo>
                    <a:pt x="87" y="48"/>
                    <a:pt x="86" y="49"/>
                    <a:pt x="86" y="50"/>
                  </a:cubicBezTo>
                  <a:cubicBezTo>
                    <a:pt x="86" y="52"/>
                    <a:pt x="86" y="54"/>
                    <a:pt x="86" y="56"/>
                  </a:cubicBezTo>
                  <a:cubicBezTo>
                    <a:pt x="86" y="58"/>
                    <a:pt x="86" y="60"/>
                    <a:pt x="86" y="62"/>
                  </a:cubicBezTo>
                  <a:cubicBezTo>
                    <a:pt x="85" y="63"/>
                    <a:pt x="85" y="64"/>
                    <a:pt x="85" y="65"/>
                  </a:cubicBezTo>
                  <a:cubicBezTo>
                    <a:pt x="85" y="66"/>
                    <a:pt x="85" y="67"/>
                    <a:pt x="85" y="68"/>
                  </a:cubicBezTo>
                  <a:cubicBezTo>
                    <a:pt x="84" y="69"/>
                    <a:pt x="83" y="71"/>
                    <a:pt x="83" y="72"/>
                  </a:cubicBezTo>
                  <a:cubicBezTo>
                    <a:pt x="82" y="73"/>
                    <a:pt x="81" y="74"/>
                    <a:pt x="81" y="74"/>
                  </a:cubicBezTo>
                  <a:cubicBezTo>
                    <a:pt x="79" y="75"/>
                    <a:pt x="77" y="74"/>
                    <a:pt x="77" y="76"/>
                  </a:cubicBezTo>
                  <a:cubicBezTo>
                    <a:pt x="76" y="76"/>
                    <a:pt x="77" y="77"/>
                    <a:pt x="76" y="78"/>
                  </a:cubicBezTo>
                  <a:cubicBezTo>
                    <a:pt x="76" y="79"/>
                    <a:pt x="76" y="79"/>
                    <a:pt x="75" y="80"/>
                  </a:cubicBezTo>
                  <a:cubicBezTo>
                    <a:pt x="75" y="81"/>
                    <a:pt x="75" y="84"/>
                    <a:pt x="76" y="86"/>
                  </a:cubicBezTo>
                  <a:cubicBezTo>
                    <a:pt x="77" y="87"/>
                    <a:pt x="78" y="88"/>
                    <a:pt x="79" y="90"/>
                  </a:cubicBezTo>
                  <a:cubicBezTo>
                    <a:pt x="79" y="91"/>
                    <a:pt x="80" y="92"/>
                    <a:pt x="80" y="94"/>
                  </a:cubicBezTo>
                  <a:cubicBezTo>
                    <a:pt x="79" y="101"/>
                    <a:pt x="77" y="107"/>
                    <a:pt x="76" y="114"/>
                  </a:cubicBezTo>
                  <a:cubicBezTo>
                    <a:pt x="76" y="117"/>
                    <a:pt x="76" y="119"/>
                    <a:pt x="76" y="122"/>
                  </a:cubicBezTo>
                  <a:cubicBezTo>
                    <a:pt x="76" y="123"/>
                    <a:pt x="76" y="125"/>
                    <a:pt x="75" y="126"/>
                  </a:cubicBezTo>
                  <a:cubicBezTo>
                    <a:pt x="75" y="128"/>
                    <a:pt x="75" y="129"/>
                    <a:pt x="75" y="130"/>
                  </a:cubicBezTo>
                  <a:cubicBezTo>
                    <a:pt x="75" y="131"/>
                    <a:pt x="74" y="131"/>
                    <a:pt x="74" y="132"/>
                  </a:cubicBezTo>
                  <a:cubicBezTo>
                    <a:pt x="74" y="133"/>
                    <a:pt x="74" y="134"/>
                    <a:pt x="73" y="135"/>
                  </a:cubicBezTo>
                  <a:cubicBezTo>
                    <a:pt x="73" y="136"/>
                    <a:pt x="73" y="137"/>
                    <a:pt x="73" y="138"/>
                  </a:cubicBezTo>
                  <a:cubicBezTo>
                    <a:pt x="72" y="140"/>
                    <a:pt x="73" y="142"/>
                    <a:pt x="72" y="143"/>
                  </a:cubicBezTo>
                  <a:cubicBezTo>
                    <a:pt x="72" y="144"/>
                    <a:pt x="72" y="145"/>
                    <a:pt x="72" y="145"/>
                  </a:cubicBezTo>
                  <a:cubicBezTo>
                    <a:pt x="71" y="147"/>
                    <a:pt x="71" y="148"/>
                    <a:pt x="71" y="150"/>
                  </a:cubicBezTo>
                  <a:cubicBezTo>
                    <a:pt x="71" y="151"/>
                    <a:pt x="70" y="151"/>
                    <a:pt x="70" y="152"/>
                  </a:cubicBezTo>
                  <a:cubicBezTo>
                    <a:pt x="70" y="152"/>
                    <a:pt x="69" y="152"/>
                    <a:pt x="69" y="153"/>
                  </a:cubicBezTo>
                  <a:cubicBezTo>
                    <a:pt x="69" y="153"/>
                    <a:pt x="69" y="153"/>
                    <a:pt x="69" y="153"/>
                  </a:cubicBezTo>
                  <a:cubicBezTo>
                    <a:pt x="68" y="155"/>
                    <a:pt x="68" y="156"/>
                    <a:pt x="68" y="158"/>
                  </a:cubicBezTo>
                  <a:cubicBezTo>
                    <a:pt x="68" y="158"/>
                    <a:pt x="68" y="161"/>
                    <a:pt x="68" y="162"/>
                  </a:cubicBezTo>
                  <a:cubicBezTo>
                    <a:pt x="67" y="162"/>
                    <a:pt x="67" y="161"/>
                    <a:pt x="66" y="161"/>
                  </a:cubicBezTo>
                  <a:cubicBezTo>
                    <a:pt x="65" y="161"/>
                    <a:pt x="65" y="162"/>
                    <a:pt x="64" y="162"/>
                  </a:cubicBezTo>
                  <a:cubicBezTo>
                    <a:pt x="63" y="163"/>
                    <a:pt x="61" y="163"/>
                    <a:pt x="60" y="161"/>
                  </a:cubicBezTo>
                  <a:cubicBezTo>
                    <a:pt x="59" y="159"/>
                    <a:pt x="59" y="158"/>
                    <a:pt x="57" y="156"/>
                  </a:cubicBezTo>
                  <a:cubicBezTo>
                    <a:pt x="57" y="155"/>
                    <a:pt x="57" y="155"/>
                    <a:pt x="55" y="155"/>
                  </a:cubicBezTo>
                  <a:cubicBezTo>
                    <a:pt x="55" y="154"/>
                    <a:pt x="54" y="155"/>
                    <a:pt x="53" y="155"/>
                  </a:cubicBezTo>
                  <a:cubicBezTo>
                    <a:pt x="49" y="154"/>
                    <a:pt x="47" y="152"/>
                    <a:pt x="44" y="150"/>
                  </a:cubicBezTo>
                  <a:cubicBezTo>
                    <a:pt x="44" y="150"/>
                    <a:pt x="41" y="149"/>
                    <a:pt x="40" y="150"/>
                  </a:cubicBezTo>
                  <a:cubicBezTo>
                    <a:pt x="39" y="152"/>
                    <a:pt x="42" y="153"/>
                    <a:pt x="42" y="154"/>
                  </a:cubicBezTo>
                  <a:cubicBezTo>
                    <a:pt x="43" y="155"/>
                    <a:pt x="42" y="156"/>
                    <a:pt x="41" y="157"/>
                  </a:cubicBezTo>
                  <a:cubicBezTo>
                    <a:pt x="39" y="160"/>
                    <a:pt x="41" y="162"/>
                    <a:pt x="41" y="166"/>
                  </a:cubicBezTo>
                  <a:cubicBezTo>
                    <a:pt x="41" y="170"/>
                    <a:pt x="38" y="173"/>
                    <a:pt x="34" y="175"/>
                  </a:cubicBezTo>
                  <a:cubicBezTo>
                    <a:pt x="31" y="176"/>
                    <a:pt x="28" y="176"/>
                    <a:pt x="25" y="177"/>
                  </a:cubicBezTo>
                  <a:cubicBezTo>
                    <a:pt x="24" y="177"/>
                    <a:pt x="23" y="178"/>
                    <a:pt x="21" y="178"/>
                  </a:cubicBezTo>
                  <a:cubicBezTo>
                    <a:pt x="21" y="178"/>
                    <a:pt x="20" y="177"/>
                    <a:pt x="19" y="178"/>
                  </a:cubicBezTo>
                  <a:cubicBezTo>
                    <a:pt x="18" y="178"/>
                    <a:pt x="18" y="179"/>
                    <a:pt x="17" y="179"/>
                  </a:cubicBezTo>
                  <a:cubicBezTo>
                    <a:pt x="16" y="176"/>
                    <a:pt x="16" y="173"/>
                    <a:pt x="15" y="170"/>
                  </a:cubicBezTo>
                  <a:cubicBezTo>
                    <a:pt x="15" y="168"/>
                    <a:pt x="15" y="167"/>
                    <a:pt x="14" y="165"/>
                  </a:cubicBezTo>
                  <a:cubicBezTo>
                    <a:pt x="13" y="163"/>
                    <a:pt x="11" y="161"/>
                    <a:pt x="10" y="158"/>
                  </a:cubicBezTo>
                  <a:cubicBezTo>
                    <a:pt x="10" y="157"/>
                    <a:pt x="9" y="157"/>
                    <a:pt x="8" y="155"/>
                  </a:cubicBezTo>
                  <a:cubicBezTo>
                    <a:pt x="7" y="154"/>
                    <a:pt x="6" y="154"/>
                    <a:pt x="5" y="153"/>
                  </a:cubicBezTo>
                  <a:cubicBezTo>
                    <a:pt x="4" y="152"/>
                    <a:pt x="5" y="152"/>
                    <a:pt x="6" y="151"/>
                  </a:cubicBezTo>
                  <a:cubicBezTo>
                    <a:pt x="8" y="149"/>
                    <a:pt x="9" y="144"/>
                    <a:pt x="9" y="141"/>
                  </a:cubicBezTo>
                  <a:cubicBezTo>
                    <a:pt x="9" y="140"/>
                    <a:pt x="8" y="139"/>
                    <a:pt x="9" y="138"/>
                  </a:cubicBezTo>
                  <a:cubicBezTo>
                    <a:pt x="9" y="137"/>
                    <a:pt x="9" y="137"/>
                    <a:pt x="10" y="137"/>
                  </a:cubicBezTo>
                  <a:cubicBezTo>
                    <a:pt x="12" y="135"/>
                    <a:pt x="13" y="133"/>
                    <a:pt x="14" y="131"/>
                  </a:cubicBezTo>
                  <a:cubicBezTo>
                    <a:pt x="14" y="129"/>
                    <a:pt x="15" y="126"/>
                    <a:pt x="14" y="124"/>
                  </a:cubicBezTo>
                  <a:cubicBezTo>
                    <a:pt x="14" y="123"/>
                    <a:pt x="13" y="122"/>
                    <a:pt x="12" y="120"/>
                  </a:cubicBezTo>
                  <a:cubicBezTo>
                    <a:pt x="12" y="117"/>
                    <a:pt x="15" y="116"/>
                    <a:pt x="15" y="113"/>
                  </a:cubicBezTo>
                  <a:cubicBezTo>
                    <a:pt x="15" y="114"/>
                    <a:pt x="16" y="116"/>
                    <a:pt x="17" y="116"/>
                  </a:cubicBezTo>
                  <a:cubicBezTo>
                    <a:pt x="17" y="115"/>
                    <a:pt x="17" y="115"/>
                    <a:pt x="18" y="114"/>
                  </a:cubicBezTo>
                  <a:cubicBezTo>
                    <a:pt x="19" y="112"/>
                    <a:pt x="19" y="111"/>
                    <a:pt x="19" y="110"/>
                  </a:cubicBezTo>
                  <a:cubicBezTo>
                    <a:pt x="20" y="108"/>
                    <a:pt x="24" y="106"/>
                    <a:pt x="22" y="104"/>
                  </a:cubicBezTo>
                  <a:cubicBezTo>
                    <a:pt x="21" y="104"/>
                    <a:pt x="19" y="104"/>
                    <a:pt x="18" y="104"/>
                  </a:cubicBezTo>
                  <a:cubicBezTo>
                    <a:pt x="16" y="104"/>
                    <a:pt x="17" y="103"/>
                    <a:pt x="16" y="102"/>
                  </a:cubicBezTo>
                  <a:cubicBezTo>
                    <a:pt x="15" y="100"/>
                    <a:pt x="15" y="101"/>
                    <a:pt x="13" y="102"/>
                  </a:cubicBezTo>
                  <a:cubicBezTo>
                    <a:pt x="13" y="102"/>
                    <a:pt x="12" y="102"/>
                    <a:pt x="12" y="103"/>
                  </a:cubicBezTo>
                  <a:cubicBezTo>
                    <a:pt x="11" y="103"/>
                    <a:pt x="11" y="104"/>
                    <a:pt x="10" y="105"/>
                  </a:cubicBezTo>
                  <a:cubicBezTo>
                    <a:pt x="9" y="105"/>
                    <a:pt x="9" y="104"/>
                    <a:pt x="9" y="103"/>
                  </a:cubicBezTo>
                  <a:cubicBezTo>
                    <a:pt x="10" y="101"/>
                    <a:pt x="11" y="100"/>
                    <a:pt x="11" y="98"/>
                  </a:cubicBezTo>
                  <a:cubicBezTo>
                    <a:pt x="11" y="97"/>
                    <a:pt x="11" y="94"/>
                    <a:pt x="12" y="93"/>
                  </a:cubicBezTo>
                  <a:cubicBezTo>
                    <a:pt x="13" y="91"/>
                    <a:pt x="13" y="90"/>
                    <a:pt x="13" y="88"/>
                  </a:cubicBezTo>
                  <a:cubicBezTo>
                    <a:pt x="15" y="87"/>
                    <a:pt x="20" y="89"/>
                    <a:pt x="21" y="87"/>
                  </a:cubicBezTo>
                  <a:cubicBezTo>
                    <a:pt x="22" y="85"/>
                    <a:pt x="18" y="85"/>
                    <a:pt x="17" y="85"/>
                  </a:cubicBezTo>
                  <a:cubicBezTo>
                    <a:pt x="16" y="82"/>
                    <a:pt x="17" y="78"/>
                    <a:pt x="17" y="74"/>
                  </a:cubicBezTo>
                  <a:cubicBezTo>
                    <a:pt x="17" y="73"/>
                    <a:pt x="17" y="69"/>
                    <a:pt x="17" y="68"/>
                  </a:cubicBezTo>
                  <a:cubicBezTo>
                    <a:pt x="16" y="67"/>
                    <a:pt x="14" y="66"/>
                    <a:pt x="13" y="66"/>
                  </a:cubicBezTo>
                  <a:cubicBezTo>
                    <a:pt x="12" y="63"/>
                    <a:pt x="13" y="61"/>
                    <a:pt x="12" y="58"/>
                  </a:cubicBezTo>
                  <a:cubicBezTo>
                    <a:pt x="12" y="56"/>
                    <a:pt x="12" y="55"/>
                    <a:pt x="11" y="53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0" y="51"/>
                    <a:pt x="9" y="51"/>
                    <a:pt x="9" y="50"/>
                  </a:cubicBezTo>
                  <a:cubicBezTo>
                    <a:pt x="8" y="49"/>
                    <a:pt x="8" y="48"/>
                    <a:pt x="8" y="48"/>
                  </a:cubicBezTo>
                  <a:cubicBezTo>
                    <a:pt x="7" y="46"/>
                    <a:pt x="7" y="47"/>
                    <a:pt x="5" y="47"/>
                  </a:cubicBezTo>
                  <a:cubicBezTo>
                    <a:pt x="3" y="46"/>
                    <a:pt x="0" y="45"/>
                    <a:pt x="3" y="43"/>
                  </a:cubicBezTo>
                  <a:cubicBezTo>
                    <a:pt x="4" y="41"/>
                    <a:pt x="5" y="41"/>
                    <a:pt x="5" y="39"/>
                  </a:cubicBezTo>
                  <a:cubicBezTo>
                    <a:pt x="5" y="36"/>
                    <a:pt x="5" y="34"/>
                    <a:pt x="6" y="32"/>
                  </a:cubicBezTo>
                  <a:cubicBezTo>
                    <a:pt x="6" y="30"/>
                    <a:pt x="5" y="28"/>
                    <a:pt x="6" y="27"/>
                  </a:cubicBezTo>
                  <a:cubicBezTo>
                    <a:pt x="6" y="26"/>
                    <a:pt x="7" y="25"/>
                    <a:pt x="7" y="24"/>
                  </a:cubicBezTo>
                  <a:cubicBezTo>
                    <a:pt x="8" y="23"/>
                    <a:pt x="8" y="21"/>
                    <a:pt x="8" y="20"/>
                  </a:cubicBezTo>
                  <a:cubicBezTo>
                    <a:pt x="9" y="19"/>
                    <a:pt x="9" y="17"/>
                    <a:pt x="9" y="16"/>
                  </a:cubicBezTo>
                  <a:cubicBezTo>
                    <a:pt x="9" y="14"/>
                    <a:pt x="9" y="13"/>
                    <a:pt x="11" y="12"/>
                  </a:cubicBezTo>
                  <a:cubicBezTo>
                    <a:pt x="11" y="12"/>
                    <a:pt x="12" y="11"/>
                    <a:pt x="13" y="12"/>
                  </a:cubicBezTo>
                  <a:cubicBezTo>
                    <a:pt x="13" y="13"/>
                    <a:pt x="11" y="15"/>
                    <a:pt x="11" y="15"/>
                  </a:cubicBezTo>
                  <a:cubicBezTo>
                    <a:pt x="9" y="17"/>
                    <a:pt x="10" y="17"/>
                    <a:pt x="10" y="19"/>
                  </a:cubicBezTo>
                  <a:cubicBezTo>
                    <a:pt x="10" y="21"/>
                    <a:pt x="10" y="20"/>
                    <a:pt x="11" y="21"/>
                  </a:cubicBezTo>
                  <a:cubicBezTo>
                    <a:pt x="13" y="22"/>
                    <a:pt x="15" y="22"/>
                    <a:pt x="17" y="22"/>
                  </a:cubicBezTo>
                  <a:cubicBezTo>
                    <a:pt x="19" y="22"/>
                    <a:pt x="21" y="21"/>
                    <a:pt x="24" y="21"/>
                  </a:cubicBezTo>
                  <a:cubicBezTo>
                    <a:pt x="25" y="22"/>
                    <a:pt x="26" y="23"/>
                    <a:pt x="27" y="23"/>
                  </a:cubicBezTo>
                  <a:cubicBezTo>
                    <a:pt x="27" y="23"/>
                    <a:pt x="28" y="23"/>
                    <a:pt x="29" y="23"/>
                  </a:cubicBezTo>
                  <a:cubicBezTo>
                    <a:pt x="29" y="24"/>
                    <a:pt x="31" y="25"/>
                    <a:pt x="32" y="25"/>
                  </a:cubicBezTo>
                  <a:cubicBezTo>
                    <a:pt x="32" y="25"/>
                    <a:pt x="33" y="24"/>
                    <a:pt x="34" y="23"/>
                  </a:cubicBezTo>
                  <a:cubicBezTo>
                    <a:pt x="35" y="22"/>
                    <a:pt x="36" y="22"/>
                    <a:pt x="38" y="22"/>
                  </a:cubicBezTo>
                  <a:cubicBezTo>
                    <a:pt x="41" y="21"/>
                    <a:pt x="40" y="18"/>
                    <a:pt x="42" y="16"/>
                  </a:cubicBezTo>
                  <a:cubicBezTo>
                    <a:pt x="44" y="14"/>
                    <a:pt x="45" y="14"/>
                    <a:pt x="47" y="14"/>
                  </a:cubicBezTo>
                  <a:cubicBezTo>
                    <a:pt x="48" y="13"/>
                    <a:pt x="49" y="12"/>
                    <a:pt x="50" y="11"/>
                  </a:cubicBezTo>
                  <a:cubicBezTo>
                    <a:pt x="51" y="11"/>
                    <a:pt x="52" y="10"/>
                    <a:pt x="52" y="10"/>
                  </a:cubicBezTo>
                  <a:cubicBezTo>
                    <a:pt x="53" y="9"/>
                    <a:pt x="53" y="8"/>
                    <a:pt x="53" y="7"/>
                  </a:cubicBezTo>
                  <a:cubicBezTo>
                    <a:pt x="53" y="4"/>
                    <a:pt x="54" y="3"/>
                    <a:pt x="56" y="2"/>
                  </a:cubicBezTo>
                  <a:cubicBezTo>
                    <a:pt x="59" y="0"/>
                    <a:pt x="65" y="1"/>
                    <a:pt x="67" y="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1" name="Freeform 21"/>
            <p:cNvSpPr>
              <a:spLocks noEditPoints="1"/>
            </p:cNvSpPr>
            <p:nvPr/>
          </p:nvSpPr>
          <p:spPr bwMode="auto">
            <a:xfrm>
              <a:off x="4889500" y="3751263"/>
              <a:ext cx="1041400" cy="944563"/>
            </a:xfrm>
            <a:custGeom>
              <a:avLst/>
              <a:gdLst/>
              <a:ahLst/>
              <a:cxnLst>
                <a:cxn ang="0">
                  <a:pos x="549" y="385"/>
                </a:cxn>
                <a:cxn ang="0">
                  <a:pos x="543" y="329"/>
                </a:cxn>
                <a:cxn ang="0">
                  <a:pos x="531" y="290"/>
                </a:cxn>
                <a:cxn ang="0">
                  <a:pos x="533" y="257"/>
                </a:cxn>
                <a:cxn ang="0">
                  <a:pos x="522" y="235"/>
                </a:cxn>
                <a:cxn ang="0">
                  <a:pos x="532" y="203"/>
                </a:cxn>
                <a:cxn ang="0">
                  <a:pos x="552" y="184"/>
                </a:cxn>
                <a:cxn ang="0">
                  <a:pos x="546" y="161"/>
                </a:cxn>
                <a:cxn ang="0">
                  <a:pos x="524" y="97"/>
                </a:cxn>
                <a:cxn ang="0">
                  <a:pos x="518" y="61"/>
                </a:cxn>
                <a:cxn ang="0">
                  <a:pos x="473" y="42"/>
                </a:cxn>
                <a:cxn ang="0">
                  <a:pos x="315" y="39"/>
                </a:cxn>
                <a:cxn ang="0">
                  <a:pos x="293" y="41"/>
                </a:cxn>
                <a:cxn ang="0">
                  <a:pos x="243" y="1"/>
                </a:cxn>
                <a:cxn ang="0">
                  <a:pos x="187" y="10"/>
                </a:cxn>
                <a:cxn ang="0">
                  <a:pos x="156" y="17"/>
                </a:cxn>
                <a:cxn ang="0">
                  <a:pos x="114" y="50"/>
                </a:cxn>
                <a:cxn ang="0">
                  <a:pos x="77" y="63"/>
                </a:cxn>
                <a:cxn ang="0">
                  <a:pos x="36" y="71"/>
                </a:cxn>
                <a:cxn ang="0">
                  <a:pos x="14" y="81"/>
                </a:cxn>
                <a:cxn ang="0">
                  <a:pos x="16" y="93"/>
                </a:cxn>
                <a:cxn ang="0">
                  <a:pos x="33" y="138"/>
                </a:cxn>
                <a:cxn ang="0">
                  <a:pos x="16" y="170"/>
                </a:cxn>
                <a:cxn ang="0">
                  <a:pos x="31" y="187"/>
                </a:cxn>
                <a:cxn ang="0">
                  <a:pos x="37" y="212"/>
                </a:cxn>
                <a:cxn ang="0">
                  <a:pos x="43" y="231"/>
                </a:cxn>
                <a:cxn ang="0">
                  <a:pos x="38" y="260"/>
                </a:cxn>
                <a:cxn ang="0">
                  <a:pos x="44" y="276"/>
                </a:cxn>
                <a:cxn ang="0">
                  <a:pos x="47" y="292"/>
                </a:cxn>
                <a:cxn ang="0">
                  <a:pos x="60" y="310"/>
                </a:cxn>
                <a:cxn ang="0">
                  <a:pos x="61" y="338"/>
                </a:cxn>
                <a:cxn ang="0">
                  <a:pos x="88" y="356"/>
                </a:cxn>
                <a:cxn ang="0">
                  <a:pos x="118" y="367"/>
                </a:cxn>
                <a:cxn ang="0">
                  <a:pos x="138" y="375"/>
                </a:cxn>
                <a:cxn ang="0">
                  <a:pos x="140" y="398"/>
                </a:cxn>
                <a:cxn ang="0">
                  <a:pos x="157" y="412"/>
                </a:cxn>
                <a:cxn ang="0">
                  <a:pos x="167" y="393"/>
                </a:cxn>
                <a:cxn ang="0">
                  <a:pos x="191" y="400"/>
                </a:cxn>
                <a:cxn ang="0">
                  <a:pos x="208" y="414"/>
                </a:cxn>
                <a:cxn ang="0">
                  <a:pos x="231" y="426"/>
                </a:cxn>
                <a:cxn ang="0">
                  <a:pos x="269" y="455"/>
                </a:cxn>
                <a:cxn ang="0">
                  <a:pos x="286" y="475"/>
                </a:cxn>
                <a:cxn ang="0">
                  <a:pos x="308" y="466"/>
                </a:cxn>
                <a:cxn ang="0">
                  <a:pos x="321" y="487"/>
                </a:cxn>
                <a:cxn ang="0">
                  <a:pos x="338" y="483"/>
                </a:cxn>
                <a:cxn ang="0">
                  <a:pos x="376" y="480"/>
                </a:cxn>
                <a:cxn ang="0">
                  <a:pos x="393" y="473"/>
                </a:cxn>
                <a:cxn ang="0">
                  <a:pos x="427" y="479"/>
                </a:cxn>
                <a:cxn ang="0">
                  <a:pos x="445" y="490"/>
                </a:cxn>
                <a:cxn ang="0">
                  <a:pos x="477" y="503"/>
                </a:cxn>
                <a:cxn ang="0">
                  <a:pos x="477" y="486"/>
                </a:cxn>
                <a:cxn ang="0">
                  <a:pos x="474" y="462"/>
                </a:cxn>
                <a:cxn ang="0">
                  <a:pos x="500" y="424"/>
                </a:cxn>
                <a:cxn ang="0">
                  <a:pos x="551" y="390"/>
                </a:cxn>
                <a:cxn ang="0">
                  <a:pos x="545" y="359"/>
                </a:cxn>
              </a:cxnLst>
              <a:rect l="0" t="0" r="r" b="b"/>
              <a:pathLst>
                <a:path w="557" h="505">
                  <a:moveTo>
                    <a:pt x="552" y="381"/>
                  </a:moveTo>
                  <a:cubicBezTo>
                    <a:pt x="552" y="381"/>
                    <a:pt x="552" y="382"/>
                    <a:pt x="552" y="382"/>
                  </a:cubicBezTo>
                  <a:cubicBezTo>
                    <a:pt x="552" y="382"/>
                    <a:pt x="552" y="381"/>
                    <a:pt x="552" y="381"/>
                  </a:cubicBezTo>
                  <a:moveTo>
                    <a:pt x="549" y="385"/>
                  </a:moveTo>
                  <a:cubicBezTo>
                    <a:pt x="550" y="385"/>
                    <a:pt x="550" y="385"/>
                    <a:pt x="550" y="385"/>
                  </a:cubicBezTo>
                  <a:cubicBezTo>
                    <a:pt x="550" y="385"/>
                    <a:pt x="550" y="385"/>
                    <a:pt x="550" y="385"/>
                  </a:cubicBezTo>
                  <a:lnTo>
                    <a:pt x="549" y="385"/>
                  </a:lnTo>
                  <a:close/>
                  <a:moveTo>
                    <a:pt x="557" y="352"/>
                  </a:moveTo>
                  <a:cubicBezTo>
                    <a:pt x="556" y="350"/>
                    <a:pt x="556" y="351"/>
                    <a:pt x="555" y="350"/>
                  </a:cubicBezTo>
                  <a:cubicBezTo>
                    <a:pt x="554" y="348"/>
                    <a:pt x="554" y="346"/>
                    <a:pt x="554" y="344"/>
                  </a:cubicBezTo>
                  <a:cubicBezTo>
                    <a:pt x="552" y="342"/>
                    <a:pt x="550" y="339"/>
                    <a:pt x="548" y="336"/>
                  </a:cubicBezTo>
                  <a:cubicBezTo>
                    <a:pt x="548" y="335"/>
                    <a:pt x="547" y="332"/>
                    <a:pt x="546" y="331"/>
                  </a:cubicBezTo>
                  <a:cubicBezTo>
                    <a:pt x="546" y="331"/>
                    <a:pt x="545" y="331"/>
                    <a:pt x="544" y="331"/>
                  </a:cubicBezTo>
                  <a:cubicBezTo>
                    <a:pt x="543" y="331"/>
                    <a:pt x="543" y="330"/>
                    <a:pt x="543" y="329"/>
                  </a:cubicBezTo>
                  <a:cubicBezTo>
                    <a:pt x="543" y="329"/>
                    <a:pt x="543" y="328"/>
                    <a:pt x="543" y="328"/>
                  </a:cubicBezTo>
                  <a:cubicBezTo>
                    <a:pt x="542" y="327"/>
                    <a:pt x="542" y="327"/>
                    <a:pt x="542" y="326"/>
                  </a:cubicBezTo>
                  <a:cubicBezTo>
                    <a:pt x="541" y="324"/>
                    <a:pt x="540" y="323"/>
                    <a:pt x="540" y="321"/>
                  </a:cubicBezTo>
                  <a:cubicBezTo>
                    <a:pt x="538" y="317"/>
                    <a:pt x="536" y="314"/>
                    <a:pt x="535" y="310"/>
                  </a:cubicBezTo>
                  <a:cubicBezTo>
                    <a:pt x="534" y="307"/>
                    <a:pt x="533" y="304"/>
                    <a:pt x="533" y="301"/>
                  </a:cubicBezTo>
                  <a:cubicBezTo>
                    <a:pt x="533" y="299"/>
                    <a:pt x="533" y="298"/>
                    <a:pt x="533" y="296"/>
                  </a:cubicBezTo>
                  <a:cubicBezTo>
                    <a:pt x="532" y="294"/>
                    <a:pt x="532" y="291"/>
                    <a:pt x="531" y="290"/>
                  </a:cubicBezTo>
                  <a:cubicBezTo>
                    <a:pt x="530" y="288"/>
                    <a:pt x="529" y="290"/>
                    <a:pt x="527" y="289"/>
                  </a:cubicBezTo>
                  <a:cubicBezTo>
                    <a:pt x="524" y="288"/>
                    <a:pt x="525" y="285"/>
                    <a:pt x="525" y="282"/>
                  </a:cubicBezTo>
                  <a:cubicBezTo>
                    <a:pt x="525" y="280"/>
                    <a:pt x="525" y="278"/>
                    <a:pt x="525" y="276"/>
                  </a:cubicBezTo>
                  <a:cubicBezTo>
                    <a:pt x="526" y="274"/>
                    <a:pt x="527" y="274"/>
                    <a:pt x="528" y="272"/>
                  </a:cubicBezTo>
                  <a:cubicBezTo>
                    <a:pt x="528" y="271"/>
                    <a:pt x="528" y="269"/>
                    <a:pt x="528" y="268"/>
                  </a:cubicBezTo>
                  <a:cubicBezTo>
                    <a:pt x="529" y="266"/>
                    <a:pt x="529" y="266"/>
                    <a:pt x="530" y="264"/>
                  </a:cubicBezTo>
                  <a:cubicBezTo>
                    <a:pt x="531" y="262"/>
                    <a:pt x="532" y="260"/>
                    <a:pt x="533" y="257"/>
                  </a:cubicBezTo>
                  <a:cubicBezTo>
                    <a:pt x="533" y="255"/>
                    <a:pt x="532" y="254"/>
                    <a:pt x="534" y="253"/>
                  </a:cubicBezTo>
                  <a:cubicBezTo>
                    <a:pt x="534" y="252"/>
                    <a:pt x="535" y="253"/>
                    <a:pt x="535" y="252"/>
                  </a:cubicBezTo>
                  <a:cubicBezTo>
                    <a:pt x="535" y="251"/>
                    <a:pt x="535" y="249"/>
                    <a:pt x="535" y="249"/>
                  </a:cubicBezTo>
                  <a:cubicBezTo>
                    <a:pt x="535" y="247"/>
                    <a:pt x="534" y="247"/>
                    <a:pt x="533" y="245"/>
                  </a:cubicBezTo>
                  <a:cubicBezTo>
                    <a:pt x="532" y="244"/>
                    <a:pt x="531" y="243"/>
                    <a:pt x="530" y="242"/>
                  </a:cubicBezTo>
                  <a:cubicBezTo>
                    <a:pt x="528" y="240"/>
                    <a:pt x="528" y="240"/>
                    <a:pt x="526" y="240"/>
                  </a:cubicBezTo>
                  <a:cubicBezTo>
                    <a:pt x="524" y="239"/>
                    <a:pt x="523" y="237"/>
                    <a:pt x="522" y="235"/>
                  </a:cubicBezTo>
                  <a:cubicBezTo>
                    <a:pt x="520" y="232"/>
                    <a:pt x="520" y="231"/>
                    <a:pt x="516" y="232"/>
                  </a:cubicBezTo>
                  <a:cubicBezTo>
                    <a:pt x="512" y="232"/>
                    <a:pt x="513" y="227"/>
                    <a:pt x="514" y="224"/>
                  </a:cubicBezTo>
                  <a:cubicBezTo>
                    <a:pt x="515" y="223"/>
                    <a:pt x="515" y="221"/>
                    <a:pt x="515" y="219"/>
                  </a:cubicBezTo>
                  <a:cubicBezTo>
                    <a:pt x="516" y="218"/>
                    <a:pt x="518" y="217"/>
                    <a:pt x="520" y="216"/>
                  </a:cubicBezTo>
                  <a:cubicBezTo>
                    <a:pt x="523" y="214"/>
                    <a:pt x="526" y="213"/>
                    <a:pt x="528" y="210"/>
                  </a:cubicBezTo>
                  <a:cubicBezTo>
                    <a:pt x="530" y="209"/>
                    <a:pt x="529" y="210"/>
                    <a:pt x="530" y="208"/>
                  </a:cubicBezTo>
                  <a:cubicBezTo>
                    <a:pt x="531" y="206"/>
                    <a:pt x="531" y="205"/>
                    <a:pt x="532" y="203"/>
                  </a:cubicBezTo>
                  <a:cubicBezTo>
                    <a:pt x="532" y="203"/>
                    <a:pt x="532" y="201"/>
                    <a:pt x="533" y="201"/>
                  </a:cubicBezTo>
                  <a:cubicBezTo>
                    <a:pt x="533" y="200"/>
                    <a:pt x="534" y="200"/>
                    <a:pt x="535" y="199"/>
                  </a:cubicBezTo>
                  <a:cubicBezTo>
                    <a:pt x="536" y="198"/>
                    <a:pt x="537" y="197"/>
                    <a:pt x="539" y="196"/>
                  </a:cubicBezTo>
                  <a:cubicBezTo>
                    <a:pt x="542" y="195"/>
                    <a:pt x="544" y="196"/>
                    <a:pt x="547" y="196"/>
                  </a:cubicBezTo>
                  <a:cubicBezTo>
                    <a:pt x="550" y="195"/>
                    <a:pt x="549" y="195"/>
                    <a:pt x="550" y="193"/>
                  </a:cubicBezTo>
                  <a:cubicBezTo>
                    <a:pt x="551" y="192"/>
                    <a:pt x="552" y="190"/>
                    <a:pt x="552" y="188"/>
                  </a:cubicBezTo>
                  <a:cubicBezTo>
                    <a:pt x="552" y="187"/>
                    <a:pt x="552" y="185"/>
                    <a:pt x="552" y="184"/>
                  </a:cubicBezTo>
                  <a:cubicBezTo>
                    <a:pt x="553" y="183"/>
                    <a:pt x="554" y="182"/>
                    <a:pt x="554" y="181"/>
                  </a:cubicBezTo>
                  <a:cubicBezTo>
                    <a:pt x="555" y="179"/>
                    <a:pt x="555" y="178"/>
                    <a:pt x="555" y="176"/>
                  </a:cubicBezTo>
                  <a:cubicBezTo>
                    <a:pt x="555" y="174"/>
                    <a:pt x="555" y="172"/>
                    <a:pt x="555" y="170"/>
                  </a:cubicBezTo>
                  <a:cubicBezTo>
                    <a:pt x="555" y="168"/>
                    <a:pt x="556" y="164"/>
                    <a:pt x="552" y="165"/>
                  </a:cubicBezTo>
                  <a:cubicBezTo>
                    <a:pt x="551" y="165"/>
                    <a:pt x="551" y="167"/>
                    <a:pt x="550" y="166"/>
                  </a:cubicBezTo>
                  <a:cubicBezTo>
                    <a:pt x="549" y="166"/>
                    <a:pt x="549" y="165"/>
                    <a:pt x="548" y="165"/>
                  </a:cubicBezTo>
                  <a:cubicBezTo>
                    <a:pt x="547" y="163"/>
                    <a:pt x="547" y="163"/>
                    <a:pt x="546" y="161"/>
                  </a:cubicBezTo>
                  <a:cubicBezTo>
                    <a:pt x="546" y="159"/>
                    <a:pt x="547" y="156"/>
                    <a:pt x="547" y="154"/>
                  </a:cubicBezTo>
                  <a:cubicBezTo>
                    <a:pt x="546" y="153"/>
                    <a:pt x="545" y="153"/>
                    <a:pt x="545" y="151"/>
                  </a:cubicBezTo>
                  <a:cubicBezTo>
                    <a:pt x="543" y="149"/>
                    <a:pt x="542" y="145"/>
                    <a:pt x="540" y="142"/>
                  </a:cubicBezTo>
                  <a:cubicBezTo>
                    <a:pt x="538" y="136"/>
                    <a:pt x="537" y="131"/>
                    <a:pt x="534" y="125"/>
                  </a:cubicBezTo>
                  <a:cubicBezTo>
                    <a:pt x="532" y="120"/>
                    <a:pt x="529" y="116"/>
                    <a:pt x="527" y="111"/>
                  </a:cubicBezTo>
                  <a:cubicBezTo>
                    <a:pt x="526" y="108"/>
                    <a:pt x="523" y="106"/>
                    <a:pt x="523" y="102"/>
                  </a:cubicBezTo>
                  <a:cubicBezTo>
                    <a:pt x="523" y="99"/>
                    <a:pt x="523" y="99"/>
                    <a:pt x="524" y="97"/>
                  </a:cubicBezTo>
                  <a:cubicBezTo>
                    <a:pt x="525" y="95"/>
                    <a:pt x="526" y="94"/>
                    <a:pt x="526" y="92"/>
                  </a:cubicBezTo>
                  <a:cubicBezTo>
                    <a:pt x="525" y="88"/>
                    <a:pt x="521" y="85"/>
                    <a:pt x="521" y="81"/>
                  </a:cubicBezTo>
                  <a:cubicBezTo>
                    <a:pt x="520" y="80"/>
                    <a:pt x="521" y="78"/>
                    <a:pt x="521" y="77"/>
                  </a:cubicBezTo>
                  <a:cubicBezTo>
                    <a:pt x="521" y="77"/>
                    <a:pt x="520" y="76"/>
                    <a:pt x="521" y="75"/>
                  </a:cubicBezTo>
                  <a:cubicBezTo>
                    <a:pt x="521" y="74"/>
                    <a:pt x="522" y="75"/>
                    <a:pt x="522" y="74"/>
                  </a:cubicBezTo>
                  <a:cubicBezTo>
                    <a:pt x="523" y="72"/>
                    <a:pt x="523" y="67"/>
                    <a:pt x="522" y="65"/>
                  </a:cubicBezTo>
                  <a:cubicBezTo>
                    <a:pt x="521" y="63"/>
                    <a:pt x="519" y="62"/>
                    <a:pt x="518" y="61"/>
                  </a:cubicBezTo>
                  <a:cubicBezTo>
                    <a:pt x="518" y="60"/>
                    <a:pt x="516" y="59"/>
                    <a:pt x="516" y="57"/>
                  </a:cubicBezTo>
                  <a:cubicBezTo>
                    <a:pt x="516" y="56"/>
                    <a:pt x="516" y="55"/>
                    <a:pt x="516" y="54"/>
                  </a:cubicBezTo>
                  <a:cubicBezTo>
                    <a:pt x="515" y="54"/>
                    <a:pt x="513" y="52"/>
                    <a:pt x="512" y="51"/>
                  </a:cubicBezTo>
                  <a:cubicBezTo>
                    <a:pt x="508" y="49"/>
                    <a:pt x="504" y="50"/>
                    <a:pt x="500" y="49"/>
                  </a:cubicBezTo>
                  <a:cubicBezTo>
                    <a:pt x="495" y="48"/>
                    <a:pt x="491" y="45"/>
                    <a:pt x="486" y="43"/>
                  </a:cubicBezTo>
                  <a:cubicBezTo>
                    <a:pt x="484" y="43"/>
                    <a:pt x="482" y="42"/>
                    <a:pt x="480" y="42"/>
                  </a:cubicBezTo>
                  <a:cubicBezTo>
                    <a:pt x="478" y="42"/>
                    <a:pt x="475" y="42"/>
                    <a:pt x="473" y="42"/>
                  </a:cubicBezTo>
                  <a:cubicBezTo>
                    <a:pt x="466" y="42"/>
                    <a:pt x="460" y="42"/>
                    <a:pt x="453" y="42"/>
                  </a:cubicBezTo>
                  <a:cubicBezTo>
                    <a:pt x="445" y="42"/>
                    <a:pt x="436" y="41"/>
                    <a:pt x="428" y="41"/>
                  </a:cubicBezTo>
                  <a:cubicBezTo>
                    <a:pt x="416" y="41"/>
                    <a:pt x="404" y="42"/>
                    <a:pt x="392" y="41"/>
                  </a:cubicBezTo>
                  <a:cubicBezTo>
                    <a:pt x="375" y="41"/>
                    <a:pt x="359" y="40"/>
                    <a:pt x="343" y="39"/>
                  </a:cubicBezTo>
                  <a:cubicBezTo>
                    <a:pt x="336" y="38"/>
                    <a:pt x="329" y="37"/>
                    <a:pt x="322" y="36"/>
                  </a:cubicBezTo>
                  <a:cubicBezTo>
                    <a:pt x="321" y="35"/>
                    <a:pt x="320" y="35"/>
                    <a:pt x="319" y="35"/>
                  </a:cubicBezTo>
                  <a:cubicBezTo>
                    <a:pt x="319" y="37"/>
                    <a:pt x="317" y="38"/>
                    <a:pt x="315" y="39"/>
                  </a:cubicBezTo>
                  <a:cubicBezTo>
                    <a:pt x="314" y="41"/>
                    <a:pt x="310" y="41"/>
                    <a:pt x="309" y="43"/>
                  </a:cubicBezTo>
                  <a:cubicBezTo>
                    <a:pt x="308" y="45"/>
                    <a:pt x="309" y="46"/>
                    <a:pt x="307" y="48"/>
                  </a:cubicBezTo>
                  <a:cubicBezTo>
                    <a:pt x="306" y="49"/>
                    <a:pt x="303" y="48"/>
                    <a:pt x="301" y="48"/>
                  </a:cubicBezTo>
                  <a:cubicBezTo>
                    <a:pt x="298" y="49"/>
                    <a:pt x="295" y="51"/>
                    <a:pt x="292" y="50"/>
                  </a:cubicBezTo>
                  <a:cubicBezTo>
                    <a:pt x="292" y="49"/>
                    <a:pt x="292" y="48"/>
                    <a:pt x="292" y="47"/>
                  </a:cubicBezTo>
                  <a:cubicBezTo>
                    <a:pt x="293" y="45"/>
                    <a:pt x="296" y="43"/>
                    <a:pt x="296" y="42"/>
                  </a:cubicBezTo>
                  <a:cubicBezTo>
                    <a:pt x="296" y="40"/>
                    <a:pt x="295" y="39"/>
                    <a:pt x="293" y="41"/>
                  </a:cubicBezTo>
                  <a:cubicBezTo>
                    <a:pt x="292" y="41"/>
                    <a:pt x="292" y="44"/>
                    <a:pt x="291" y="44"/>
                  </a:cubicBezTo>
                  <a:cubicBezTo>
                    <a:pt x="290" y="45"/>
                    <a:pt x="289" y="43"/>
                    <a:pt x="287" y="43"/>
                  </a:cubicBezTo>
                  <a:cubicBezTo>
                    <a:pt x="286" y="43"/>
                    <a:pt x="283" y="44"/>
                    <a:pt x="282" y="44"/>
                  </a:cubicBezTo>
                  <a:cubicBezTo>
                    <a:pt x="280" y="44"/>
                    <a:pt x="269" y="46"/>
                    <a:pt x="253" y="35"/>
                  </a:cubicBezTo>
                  <a:cubicBezTo>
                    <a:pt x="252" y="27"/>
                    <a:pt x="252" y="27"/>
                    <a:pt x="252" y="27"/>
                  </a:cubicBezTo>
                  <a:cubicBezTo>
                    <a:pt x="253" y="20"/>
                    <a:pt x="246" y="10"/>
                    <a:pt x="245" y="7"/>
                  </a:cubicBezTo>
                  <a:cubicBezTo>
                    <a:pt x="245" y="5"/>
                    <a:pt x="243" y="3"/>
                    <a:pt x="243" y="1"/>
                  </a:cubicBezTo>
                  <a:cubicBezTo>
                    <a:pt x="237" y="0"/>
                    <a:pt x="230" y="1"/>
                    <a:pt x="225" y="1"/>
                  </a:cubicBezTo>
                  <a:cubicBezTo>
                    <a:pt x="220" y="1"/>
                    <a:pt x="214" y="1"/>
                    <a:pt x="210" y="1"/>
                  </a:cubicBezTo>
                  <a:cubicBezTo>
                    <a:pt x="208" y="1"/>
                    <a:pt x="206" y="1"/>
                    <a:pt x="205" y="2"/>
                  </a:cubicBezTo>
                  <a:cubicBezTo>
                    <a:pt x="202" y="2"/>
                    <a:pt x="201" y="4"/>
                    <a:pt x="199" y="5"/>
                  </a:cubicBezTo>
                  <a:cubicBezTo>
                    <a:pt x="196" y="8"/>
                    <a:pt x="193" y="9"/>
                    <a:pt x="192" y="13"/>
                  </a:cubicBezTo>
                  <a:cubicBezTo>
                    <a:pt x="191" y="13"/>
                    <a:pt x="190" y="13"/>
                    <a:pt x="189" y="13"/>
                  </a:cubicBezTo>
                  <a:cubicBezTo>
                    <a:pt x="188" y="12"/>
                    <a:pt x="187" y="10"/>
                    <a:pt x="187" y="10"/>
                  </a:cubicBezTo>
                  <a:cubicBezTo>
                    <a:pt x="184" y="8"/>
                    <a:pt x="181" y="11"/>
                    <a:pt x="178" y="12"/>
                  </a:cubicBezTo>
                  <a:cubicBezTo>
                    <a:pt x="178" y="12"/>
                    <a:pt x="176" y="12"/>
                    <a:pt x="176" y="12"/>
                  </a:cubicBezTo>
                  <a:cubicBezTo>
                    <a:pt x="174" y="13"/>
                    <a:pt x="174" y="16"/>
                    <a:pt x="172" y="16"/>
                  </a:cubicBezTo>
                  <a:cubicBezTo>
                    <a:pt x="171" y="17"/>
                    <a:pt x="168" y="18"/>
                    <a:pt x="166" y="17"/>
                  </a:cubicBezTo>
                  <a:cubicBezTo>
                    <a:pt x="164" y="17"/>
                    <a:pt x="164" y="16"/>
                    <a:pt x="163" y="15"/>
                  </a:cubicBezTo>
                  <a:cubicBezTo>
                    <a:pt x="162" y="14"/>
                    <a:pt x="157" y="14"/>
                    <a:pt x="156" y="15"/>
                  </a:cubicBezTo>
                  <a:cubicBezTo>
                    <a:pt x="155" y="15"/>
                    <a:pt x="156" y="17"/>
                    <a:pt x="156" y="17"/>
                  </a:cubicBezTo>
                  <a:cubicBezTo>
                    <a:pt x="156" y="18"/>
                    <a:pt x="155" y="18"/>
                    <a:pt x="155" y="19"/>
                  </a:cubicBezTo>
                  <a:cubicBezTo>
                    <a:pt x="152" y="21"/>
                    <a:pt x="148" y="21"/>
                    <a:pt x="145" y="24"/>
                  </a:cubicBezTo>
                  <a:cubicBezTo>
                    <a:pt x="144" y="24"/>
                    <a:pt x="143" y="26"/>
                    <a:pt x="143" y="27"/>
                  </a:cubicBezTo>
                  <a:cubicBezTo>
                    <a:pt x="141" y="28"/>
                    <a:pt x="139" y="30"/>
                    <a:pt x="137" y="32"/>
                  </a:cubicBezTo>
                  <a:cubicBezTo>
                    <a:pt x="135" y="34"/>
                    <a:pt x="135" y="37"/>
                    <a:pt x="133" y="40"/>
                  </a:cubicBezTo>
                  <a:cubicBezTo>
                    <a:pt x="131" y="43"/>
                    <a:pt x="129" y="47"/>
                    <a:pt x="125" y="47"/>
                  </a:cubicBezTo>
                  <a:cubicBezTo>
                    <a:pt x="121" y="47"/>
                    <a:pt x="117" y="47"/>
                    <a:pt x="114" y="50"/>
                  </a:cubicBezTo>
                  <a:cubicBezTo>
                    <a:pt x="113" y="50"/>
                    <a:pt x="113" y="51"/>
                    <a:pt x="112" y="51"/>
                  </a:cubicBezTo>
                  <a:cubicBezTo>
                    <a:pt x="109" y="53"/>
                    <a:pt x="105" y="53"/>
                    <a:pt x="102" y="54"/>
                  </a:cubicBezTo>
                  <a:cubicBezTo>
                    <a:pt x="101" y="54"/>
                    <a:pt x="101" y="54"/>
                    <a:pt x="100" y="55"/>
                  </a:cubicBezTo>
                  <a:cubicBezTo>
                    <a:pt x="100" y="56"/>
                    <a:pt x="100" y="57"/>
                    <a:pt x="100" y="57"/>
                  </a:cubicBezTo>
                  <a:cubicBezTo>
                    <a:pt x="99" y="58"/>
                    <a:pt x="98" y="57"/>
                    <a:pt x="97" y="58"/>
                  </a:cubicBezTo>
                  <a:cubicBezTo>
                    <a:pt x="95" y="58"/>
                    <a:pt x="95" y="59"/>
                    <a:pt x="93" y="59"/>
                  </a:cubicBezTo>
                  <a:cubicBezTo>
                    <a:pt x="88" y="62"/>
                    <a:pt x="83" y="63"/>
                    <a:pt x="77" y="63"/>
                  </a:cubicBezTo>
                  <a:cubicBezTo>
                    <a:pt x="72" y="63"/>
                    <a:pt x="69" y="63"/>
                    <a:pt x="65" y="65"/>
                  </a:cubicBezTo>
                  <a:cubicBezTo>
                    <a:pt x="61" y="67"/>
                    <a:pt x="57" y="69"/>
                    <a:pt x="54" y="71"/>
                  </a:cubicBezTo>
                  <a:cubicBezTo>
                    <a:pt x="50" y="73"/>
                    <a:pt x="46" y="74"/>
                    <a:pt x="43" y="76"/>
                  </a:cubicBezTo>
                  <a:cubicBezTo>
                    <a:pt x="46" y="75"/>
                    <a:pt x="46" y="70"/>
                    <a:pt x="48" y="69"/>
                  </a:cubicBezTo>
                  <a:cubicBezTo>
                    <a:pt x="45" y="68"/>
                    <a:pt x="43" y="68"/>
                    <a:pt x="40" y="70"/>
                  </a:cubicBezTo>
                  <a:cubicBezTo>
                    <a:pt x="39" y="70"/>
                    <a:pt x="38" y="71"/>
                    <a:pt x="38" y="71"/>
                  </a:cubicBezTo>
                  <a:cubicBezTo>
                    <a:pt x="37" y="72"/>
                    <a:pt x="36" y="71"/>
                    <a:pt x="36" y="71"/>
                  </a:cubicBezTo>
                  <a:cubicBezTo>
                    <a:pt x="34" y="72"/>
                    <a:pt x="31" y="72"/>
                    <a:pt x="29" y="73"/>
                  </a:cubicBezTo>
                  <a:cubicBezTo>
                    <a:pt x="29" y="73"/>
                    <a:pt x="28" y="74"/>
                    <a:pt x="27" y="74"/>
                  </a:cubicBezTo>
                  <a:cubicBezTo>
                    <a:pt x="25" y="75"/>
                    <a:pt x="21" y="76"/>
                    <a:pt x="18" y="77"/>
                  </a:cubicBezTo>
                  <a:cubicBezTo>
                    <a:pt x="18" y="77"/>
                    <a:pt x="18" y="78"/>
                    <a:pt x="19" y="78"/>
                  </a:cubicBezTo>
                  <a:cubicBezTo>
                    <a:pt x="19" y="79"/>
                    <a:pt x="20" y="79"/>
                    <a:pt x="20" y="80"/>
                  </a:cubicBezTo>
                  <a:cubicBezTo>
                    <a:pt x="19" y="80"/>
                    <a:pt x="18" y="80"/>
                    <a:pt x="17" y="80"/>
                  </a:cubicBezTo>
                  <a:cubicBezTo>
                    <a:pt x="16" y="80"/>
                    <a:pt x="15" y="80"/>
                    <a:pt x="14" y="81"/>
                  </a:cubicBezTo>
                  <a:cubicBezTo>
                    <a:pt x="12" y="81"/>
                    <a:pt x="11" y="82"/>
                    <a:pt x="9" y="82"/>
                  </a:cubicBezTo>
                  <a:cubicBezTo>
                    <a:pt x="6" y="82"/>
                    <a:pt x="3" y="81"/>
                    <a:pt x="0" y="83"/>
                  </a:cubicBezTo>
                  <a:cubicBezTo>
                    <a:pt x="0" y="84"/>
                    <a:pt x="1" y="85"/>
                    <a:pt x="1" y="85"/>
                  </a:cubicBezTo>
                  <a:cubicBezTo>
                    <a:pt x="1" y="86"/>
                    <a:pt x="1" y="87"/>
                    <a:pt x="1" y="87"/>
                  </a:cubicBezTo>
                  <a:cubicBezTo>
                    <a:pt x="2" y="88"/>
                    <a:pt x="5" y="89"/>
                    <a:pt x="7" y="90"/>
                  </a:cubicBezTo>
                  <a:cubicBezTo>
                    <a:pt x="8" y="91"/>
                    <a:pt x="9" y="92"/>
                    <a:pt x="10" y="93"/>
                  </a:cubicBezTo>
                  <a:cubicBezTo>
                    <a:pt x="11" y="93"/>
                    <a:pt x="14" y="94"/>
                    <a:pt x="16" y="93"/>
                  </a:cubicBezTo>
                  <a:cubicBezTo>
                    <a:pt x="18" y="93"/>
                    <a:pt x="20" y="90"/>
                    <a:pt x="21" y="89"/>
                  </a:cubicBezTo>
                  <a:cubicBezTo>
                    <a:pt x="22" y="88"/>
                    <a:pt x="23" y="93"/>
                    <a:pt x="23" y="94"/>
                  </a:cubicBezTo>
                  <a:cubicBezTo>
                    <a:pt x="23" y="96"/>
                    <a:pt x="22" y="99"/>
                    <a:pt x="23" y="101"/>
                  </a:cubicBezTo>
                  <a:cubicBezTo>
                    <a:pt x="23" y="103"/>
                    <a:pt x="24" y="106"/>
                    <a:pt x="24" y="108"/>
                  </a:cubicBezTo>
                  <a:cubicBezTo>
                    <a:pt x="26" y="113"/>
                    <a:pt x="27" y="117"/>
                    <a:pt x="29" y="122"/>
                  </a:cubicBezTo>
                  <a:cubicBezTo>
                    <a:pt x="30" y="124"/>
                    <a:pt x="32" y="127"/>
                    <a:pt x="33" y="130"/>
                  </a:cubicBezTo>
                  <a:cubicBezTo>
                    <a:pt x="34" y="132"/>
                    <a:pt x="33" y="136"/>
                    <a:pt x="33" y="138"/>
                  </a:cubicBezTo>
                  <a:cubicBezTo>
                    <a:pt x="33" y="141"/>
                    <a:pt x="33" y="143"/>
                    <a:pt x="32" y="145"/>
                  </a:cubicBezTo>
                  <a:cubicBezTo>
                    <a:pt x="31" y="148"/>
                    <a:pt x="30" y="149"/>
                    <a:pt x="28" y="151"/>
                  </a:cubicBezTo>
                  <a:cubicBezTo>
                    <a:pt x="27" y="152"/>
                    <a:pt x="26" y="155"/>
                    <a:pt x="25" y="156"/>
                  </a:cubicBezTo>
                  <a:cubicBezTo>
                    <a:pt x="25" y="156"/>
                    <a:pt x="24" y="156"/>
                    <a:pt x="23" y="157"/>
                  </a:cubicBezTo>
                  <a:cubicBezTo>
                    <a:pt x="23" y="158"/>
                    <a:pt x="22" y="159"/>
                    <a:pt x="22" y="160"/>
                  </a:cubicBezTo>
                  <a:cubicBezTo>
                    <a:pt x="21" y="162"/>
                    <a:pt x="20" y="163"/>
                    <a:pt x="19" y="164"/>
                  </a:cubicBezTo>
                  <a:cubicBezTo>
                    <a:pt x="18" y="166"/>
                    <a:pt x="17" y="168"/>
                    <a:pt x="16" y="170"/>
                  </a:cubicBezTo>
                  <a:cubicBezTo>
                    <a:pt x="16" y="170"/>
                    <a:pt x="16" y="171"/>
                    <a:pt x="16" y="171"/>
                  </a:cubicBezTo>
                  <a:cubicBezTo>
                    <a:pt x="16" y="171"/>
                    <a:pt x="15" y="172"/>
                    <a:pt x="15" y="172"/>
                  </a:cubicBezTo>
                  <a:cubicBezTo>
                    <a:pt x="15" y="174"/>
                    <a:pt x="17" y="174"/>
                    <a:pt x="17" y="175"/>
                  </a:cubicBezTo>
                  <a:cubicBezTo>
                    <a:pt x="19" y="176"/>
                    <a:pt x="20" y="177"/>
                    <a:pt x="21" y="178"/>
                  </a:cubicBezTo>
                  <a:cubicBezTo>
                    <a:pt x="22" y="180"/>
                    <a:pt x="23" y="181"/>
                    <a:pt x="25" y="182"/>
                  </a:cubicBezTo>
                  <a:cubicBezTo>
                    <a:pt x="26" y="183"/>
                    <a:pt x="27" y="183"/>
                    <a:pt x="28" y="184"/>
                  </a:cubicBezTo>
                  <a:cubicBezTo>
                    <a:pt x="29" y="185"/>
                    <a:pt x="30" y="185"/>
                    <a:pt x="31" y="187"/>
                  </a:cubicBezTo>
                  <a:cubicBezTo>
                    <a:pt x="33" y="188"/>
                    <a:pt x="33" y="190"/>
                    <a:pt x="34" y="192"/>
                  </a:cubicBezTo>
                  <a:cubicBezTo>
                    <a:pt x="34" y="192"/>
                    <a:pt x="34" y="193"/>
                    <a:pt x="34" y="193"/>
                  </a:cubicBezTo>
                  <a:cubicBezTo>
                    <a:pt x="36" y="196"/>
                    <a:pt x="40" y="196"/>
                    <a:pt x="41" y="199"/>
                  </a:cubicBezTo>
                  <a:cubicBezTo>
                    <a:pt x="41" y="200"/>
                    <a:pt x="40" y="202"/>
                    <a:pt x="40" y="203"/>
                  </a:cubicBezTo>
                  <a:cubicBezTo>
                    <a:pt x="40" y="204"/>
                    <a:pt x="40" y="205"/>
                    <a:pt x="39" y="206"/>
                  </a:cubicBezTo>
                  <a:cubicBezTo>
                    <a:pt x="39" y="208"/>
                    <a:pt x="38" y="208"/>
                    <a:pt x="37" y="210"/>
                  </a:cubicBezTo>
                  <a:cubicBezTo>
                    <a:pt x="36" y="211"/>
                    <a:pt x="36" y="210"/>
                    <a:pt x="37" y="212"/>
                  </a:cubicBezTo>
                  <a:cubicBezTo>
                    <a:pt x="37" y="214"/>
                    <a:pt x="37" y="215"/>
                    <a:pt x="37" y="217"/>
                  </a:cubicBezTo>
                  <a:cubicBezTo>
                    <a:pt x="37" y="218"/>
                    <a:pt x="38" y="221"/>
                    <a:pt x="38" y="222"/>
                  </a:cubicBezTo>
                  <a:cubicBezTo>
                    <a:pt x="39" y="223"/>
                    <a:pt x="39" y="223"/>
                    <a:pt x="39" y="223"/>
                  </a:cubicBezTo>
                  <a:cubicBezTo>
                    <a:pt x="40" y="223"/>
                    <a:pt x="40" y="224"/>
                    <a:pt x="40" y="224"/>
                  </a:cubicBezTo>
                  <a:cubicBezTo>
                    <a:pt x="40" y="224"/>
                    <a:pt x="41" y="224"/>
                    <a:pt x="42" y="225"/>
                  </a:cubicBezTo>
                  <a:cubicBezTo>
                    <a:pt x="42" y="225"/>
                    <a:pt x="42" y="227"/>
                    <a:pt x="42" y="227"/>
                  </a:cubicBezTo>
                  <a:cubicBezTo>
                    <a:pt x="42" y="229"/>
                    <a:pt x="43" y="230"/>
                    <a:pt x="43" y="231"/>
                  </a:cubicBezTo>
                  <a:cubicBezTo>
                    <a:pt x="43" y="232"/>
                    <a:pt x="42" y="232"/>
                    <a:pt x="43" y="233"/>
                  </a:cubicBezTo>
                  <a:cubicBezTo>
                    <a:pt x="43" y="234"/>
                    <a:pt x="46" y="235"/>
                    <a:pt x="46" y="236"/>
                  </a:cubicBezTo>
                  <a:cubicBezTo>
                    <a:pt x="49" y="238"/>
                    <a:pt x="47" y="241"/>
                    <a:pt x="47" y="244"/>
                  </a:cubicBezTo>
                  <a:cubicBezTo>
                    <a:pt x="46" y="247"/>
                    <a:pt x="46" y="249"/>
                    <a:pt x="46" y="252"/>
                  </a:cubicBezTo>
                  <a:cubicBezTo>
                    <a:pt x="46" y="252"/>
                    <a:pt x="46" y="252"/>
                    <a:pt x="46" y="253"/>
                  </a:cubicBezTo>
                  <a:cubicBezTo>
                    <a:pt x="45" y="255"/>
                    <a:pt x="43" y="255"/>
                    <a:pt x="41" y="255"/>
                  </a:cubicBezTo>
                  <a:cubicBezTo>
                    <a:pt x="37" y="256"/>
                    <a:pt x="38" y="257"/>
                    <a:pt x="38" y="260"/>
                  </a:cubicBezTo>
                  <a:cubicBezTo>
                    <a:pt x="38" y="261"/>
                    <a:pt x="38" y="264"/>
                    <a:pt x="38" y="265"/>
                  </a:cubicBezTo>
                  <a:cubicBezTo>
                    <a:pt x="39" y="266"/>
                    <a:pt x="40" y="265"/>
                    <a:pt x="41" y="265"/>
                  </a:cubicBezTo>
                  <a:cubicBezTo>
                    <a:pt x="40" y="265"/>
                    <a:pt x="39" y="266"/>
                    <a:pt x="38" y="267"/>
                  </a:cubicBezTo>
                  <a:cubicBezTo>
                    <a:pt x="39" y="269"/>
                    <a:pt x="41" y="271"/>
                    <a:pt x="42" y="273"/>
                  </a:cubicBezTo>
                  <a:cubicBezTo>
                    <a:pt x="42" y="273"/>
                    <a:pt x="42" y="274"/>
                    <a:pt x="42" y="274"/>
                  </a:cubicBezTo>
                  <a:cubicBezTo>
                    <a:pt x="42" y="275"/>
                    <a:pt x="43" y="275"/>
                    <a:pt x="43" y="275"/>
                  </a:cubicBezTo>
                  <a:cubicBezTo>
                    <a:pt x="43" y="275"/>
                    <a:pt x="44" y="277"/>
                    <a:pt x="44" y="276"/>
                  </a:cubicBezTo>
                  <a:cubicBezTo>
                    <a:pt x="44" y="278"/>
                    <a:pt x="45" y="280"/>
                    <a:pt x="45" y="282"/>
                  </a:cubicBezTo>
                  <a:cubicBezTo>
                    <a:pt x="45" y="283"/>
                    <a:pt x="44" y="283"/>
                    <a:pt x="44" y="284"/>
                  </a:cubicBezTo>
                  <a:cubicBezTo>
                    <a:pt x="44" y="284"/>
                    <a:pt x="43" y="284"/>
                    <a:pt x="43" y="284"/>
                  </a:cubicBezTo>
                  <a:cubicBezTo>
                    <a:pt x="43" y="285"/>
                    <a:pt x="42" y="285"/>
                    <a:pt x="41" y="285"/>
                  </a:cubicBezTo>
                  <a:cubicBezTo>
                    <a:pt x="40" y="286"/>
                    <a:pt x="41" y="287"/>
                    <a:pt x="42" y="288"/>
                  </a:cubicBezTo>
                  <a:cubicBezTo>
                    <a:pt x="42" y="288"/>
                    <a:pt x="42" y="288"/>
                    <a:pt x="43" y="289"/>
                  </a:cubicBezTo>
                  <a:cubicBezTo>
                    <a:pt x="45" y="290"/>
                    <a:pt x="46" y="291"/>
                    <a:pt x="47" y="292"/>
                  </a:cubicBezTo>
                  <a:cubicBezTo>
                    <a:pt x="48" y="293"/>
                    <a:pt x="50" y="293"/>
                    <a:pt x="51" y="294"/>
                  </a:cubicBezTo>
                  <a:cubicBezTo>
                    <a:pt x="52" y="295"/>
                    <a:pt x="52" y="295"/>
                    <a:pt x="53" y="296"/>
                  </a:cubicBezTo>
                  <a:cubicBezTo>
                    <a:pt x="54" y="298"/>
                    <a:pt x="54" y="299"/>
                    <a:pt x="54" y="301"/>
                  </a:cubicBezTo>
                  <a:cubicBezTo>
                    <a:pt x="55" y="302"/>
                    <a:pt x="55" y="303"/>
                    <a:pt x="55" y="303"/>
                  </a:cubicBezTo>
                  <a:cubicBezTo>
                    <a:pt x="55" y="304"/>
                    <a:pt x="56" y="304"/>
                    <a:pt x="56" y="304"/>
                  </a:cubicBezTo>
                  <a:cubicBezTo>
                    <a:pt x="57" y="305"/>
                    <a:pt x="58" y="306"/>
                    <a:pt x="58" y="307"/>
                  </a:cubicBezTo>
                  <a:cubicBezTo>
                    <a:pt x="59" y="308"/>
                    <a:pt x="59" y="309"/>
                    <a:pt x="60" y="310"/>
                  </a:cubicBezTo>
                  <a:cubicBezTo>
                    <a:pt x="60" y="312"/>
                    <a:pt x="60" y="311"/>
                    <a:pt x="60" y="313"/>
                  </a:cubicBezTo>
                  <a:cubicBezTo>
                    <a:pt x="59" y="315"/>
                    <a:pt x="59" y="317"/>
                    <a:pt x="58" y="319"/>
                  </a:cubicBezTo>
                  <a:cubicBezTo>
                    <a:pt x="57" y="321"/>
                    <a:pt x="57" y="322"/>
                    <a:pt x="57" y="324"/>
                  </a:cubicBezTo>
                  <a:cubicBezTo>
                    <a:pt x="56" y="326"/>
                    <a:pt x="57" y="328"/>
                    <a:pt x="56" y="330"/>
                  </a:cubicBezTo>
                  <a:cubicBezTo>
                    <a:pt x="56" y="332"/>
                    <a:pt x="54" y="333"/>
                    <a:pt x="54" y="336"/>
                  </a:cubicBezTo>
                  <a:cubicBezTo>
                    <a:pt x="54" y="337"/>
                    <a:pt x="54" y="337"/>
                    <a:pt x="54" y="338"/>
                  </a:cubicBezTo>
                  <a:cubicBezTo>
                    <a:pt x="56" y="338"/>
                    <a:pt x="59" y="338"/>
                    <a:pt x="61" y="338"/>
                  </a:cubicBezTo>
                  <a:cubicBezTo>
                    <a:pt x="65" y="338"/>
                    <a:pt x="68" y="338"/>
                    <a:pt x="72" y="338"/>
                  </a:cubicBezTo>
                  <a:cubicBezTo>
                    <a:pt x="75" y="338"/>
                    <a:pt x="75" y="338"/>
                    <a:pt x="76" y="340"/>
                  </a:cubicBezTo>
                  <a:cubicBezTo>
                    <a:pt x="76" y="340"/>
                    <a:pt x="77" y="340"/>
                    <a:pt x="77" y="341"/>
                  </a:cubicBezTo>
                  <a:cubicBezTo>
                    <a:pt x="78" y="341"/>
                    <a:pt x="78" y="341"/>
                    <a:pt x="78" y="342"/>
                  </a:cubicBezTo>
                  <a:cubicBezTo>
                    <a:pt x="78" y="342"/>
                    <a:pt x="79" y="343"/>
                    <a:pt x="79" y="343"/>
                  </a:cubicBezTo>
                  <a:cubicBezTo>
                    <a:pt x="81" y="346"/>
                    <a:pt x="82" y="348"/>
                    <a:pt x="84" y="350"/>
                  </a:cubicBezTo>
                  <a:cubicBezTo>
                    <a:pt x="85" y="352"/>
                    <a:pt x="86" y="355"/>
                    <a:pt x="88" y="356"/>
                  </a:cubicBezTo>
                  <a:cubicBezTo>
                    <a:pt x="89" y="356"/>
                    <a:pt x="90" y="356"/>
                    <a:pt x="91" y="356"/>
                  </a:cubicBezTo>
                  <a:cubicBezTo>
                    <a:pt x="93" y="356"/>
                    <a:pt x="95" y="358"/>
                    <a:pt x="97" y="358"/>
                  </a:cubicBezTo>
                  <a:cubicBezTo>
                    <a:pt x="99" y="359"/>
                    <a:pt x="102" y="361"/>
                    <a:pt x="104" y="362"/>
                  </a:cubicBezTo>
                  <a:cubicBezTo>
                    <a:pt x="106" y="362"/>
                    <a:pt x="107" y="363"/>
                    <a:pt x="108" y="363"/>
                  </a:cubicBezTo>
                  <a:cubicBezTo>
                    <a:pt x="110" y="364"/>
                    <a:pt x="111" y="364"/>
                    <a:pt x="113" y="365"/>
                  </a:cubicBezTo>
                  <a:cubicBezTo>
                    <a:pt x="114" y="365"/>
                    <a:pt x="114" y="366"/>
                    <a:pt x="115" y="366"/>
                  </a:cubicBezTo>
                  <a:cubicBezTo>
                    <a:pt x="116" y="367"/>
                    <a:pt x="117" y="366"/>
                    <a:pt x="118" y="367"/>
                  </a:cubicBezTo>
                  <a:cubicBezTo>
                    <a:pt x="118" y="367"/>
                    <a:pt x="119" y="368"/>
                    <a:pt x="120" y="369"/>
                  </a:cubicBezTo>
                  <a:cubicBezTo>
                    <a:pt x="120" y="369"/>
                    <a:pt x="122" y="369"/>
                    <a:pt x="122" y="369"/>
                  </a:cubicBezTo>
                  <a:cubicBezTo>
                    <a:pt x="124" y="370"/>
                    <a:pt x="125" y="370"/>
                    <a:pt x="127" y="370"/>
                  </a:cubicBezTo>
                  <a:cubicBezTo>
                    <a:pt x="129" y="370"/>
                    <a:pt x="131" y="369"/>
                    <a:pt x="133" y="370"/>
                  </a:cubicBezTo>
                  <a:cubicBezTo>
                    <a:pt x="135" y="370"/>
                    <a:pt x="135" y="370"/>
                    <a:pt x="136" y="371"/>
                  </a:cubicBezTo>
                  <a:cubicBezTo>
                    <a:pt x="138" y="372"/>
                    <a:pt x="137" y="370"/>
                    <a:pt x="138" y="372"/>
                  </a:cubicBezTo>
                  <a:cubicBezTo>
                    <a:pt x="138" y="372"/>
                    <a:pt x="138" y="374"/>
                    <a:pt x="138" y="375"/>
                  </a:cubicBezTo>
                  <a:cubicBezTo>
                    <a:pt x="137" y="376"/>
                    <a:pt x="136" y="377"/>
                    <a:pt x="136" y="378"/>
                  </a:cubicBezTo>
                  <a:cubicBezTo>
                    <a:pt x="135" y="379"/>
                    <a:pt x="134" y="380"/>
                    <a:pt x="133" y="381"/>
                  </a:cubicBezTo>
                  <a:cubicBezTo>
                    <a:pt x="132" y="382"/>
                    <a:pt x="130" y="383"/>
                    <a:pt x="129" y="385"/>
                  </a:cubicBezTo>
                  <a:cubicBezTo>
                    <a:pt x="128" y="386"/>
                    <a:pt x="128" y="388"/>
                    <a:pt x="128" y="389"/>
                  </a:cubicBezTo>
                  <a:cubicBezTo>
                    <a:pt x="129" y="392"/>
                    <a:pt x="131" y="392"/>
                    <a:pt x="133" y="393"/>
                  </a:cubicBezTo>
                  <a:cubicBezTo>
                    <a:pt x="135" y="394"/>
                    <a:pt x="136" y="395"/>
                    <a:pt x="137" y="396"/>
                  </a:cubicBezTo>
                  <a:cubicBezTo>
                    <a:pt x="138" y="397"/>
                    <a:pt x="139" y="397"/>
                    <a:pt x="140" y="398"/>
                  </a:cubicBezTo>
                  <a:cubicBezTo>
                    <a:pt x="140" y="398"/>
                    <a:pt x="141" y="400"/>
                    <a:pt x="141" y="400"/>
                  </a:cubicBezTo>
                  <a:cubicBezTo>
                    <a:pt x="142" y="401"/>
                    <a:pt x="142" y="401"/>
                    <a:pt x="143" y="402"/>
                  </a:cubicBezTo>
                  <a:cubicBezTo>
                    <a:pt x="144" y="404"/>
                    <a:pt x="145" y="405"/>
                    <a:pt x="145" y="407"/>
                  </a:cubicBezTo>
                  <a:cubicBezTo>
                    <a:pt x="145" y="409"/>
                    <a:pt x="146" y="410"/>
                    <a:pt x="147" y="412"/>
                  </a:cubicBezTo>
                  <a:cubicBezTo>
                    <a:pt x="148" y="413"/>
                    <a:pt x="148" y="414"/>
                    <a:pt x="149" y="415"/>
                  </a:cubicBezTo>
                  <a:cubicBezTo>
                    <a:pt x="152" y="417"/>
                    <a:pt x="154" y="415"/>
                    <a:pt x="156" y="413"/>
                  </a:cubicBezTo>
                  <a:cubicBezTo>
                    <a:pt x="156" y="412"/>
                    <a:pt x="157" y="412"/>
                    <a:pt x="157" y="412"/>
                  </a:cubicBezTo>
                  <a:cubicBezTo>
                    <a:pt x="158" y="410"/>
                    <a:pt x="158" y="411"/>
                    <a:pt x="160" y="410"/>
                  </a:cubicBezTo>
                  <a:cubicBezTo>
                    <a:pt x="162" y="408"/>
                    <a:pt x="161" y="407"/>
                    <a:pt x="163" y="406"/>
                  </a:cubicBezTo>
                  <a:cubicBezTo>
                    <a:pt x="164" y="405"/>
                    <a:pt x="165" y="405"/>
                    <a:pt x="166" y="405"/>
                  </a:cubicBezTo>
                  <a:cubicBezTo>
                    <a:pt x="167" y="404"/>
                    <a:pt x="169" y="403"/>
                    <a:pt x="171" y="403"/>
                  </a:cubicBezTo>
                  <a:cubicBezTo>
                    <a:pt x="173" y="402"/>
                    <a:pt x="174" y="402"/>
                    <a:pt x="174" y="400"/>
                  </a:cubicBezTo>
                  <a:cubicBezTo>
                    <a:pt x="173" y="397"/>
                    <a:pt x="171" y="397"/>
                    <a:pt x="169" y="395"/>
                  </a:cubicBezTo>
                  <a:cubicBezTo>
                    <a:pt x="168" y="394"/>
                    <a:pt x="168" y="394"/>
                    <a:pt x="167" y="393"/>
                  </a:cubicBezTo>
                  <a:cubicBezTo>
                    <a:pt x="166" y="391"/>
                    <a:pt x="165" y="390"/>
                    <a:pt x="165" y="388"/>
                  </a:cubicBezTo>
                  <a:cubicBezTo>
                    <a:pt x="169" y="388"/>
                    <a:pt x="174" y="388"/>
                    <a:pt x="177" y="390"/>
                  </a:cubicBezTo>
                  <a:cubicBezTo>
                    <a:pt x="177" y="390"/>
                    <a:pt x="178" y="391"/>
                    <a:pt x="177" y="392"/>
                  </a:cubicBezTo>
                  <a:cubicBezTo>
                    <a:pt x="179" y="393"/>
                    <a:pt x="179" y="392"/>
                    <a:pt x="180" y="393"/>
                  </a:cubicBezTo>
                  <a:cubicBezTo>
                    <a:pt x="181" y="394"/>
                    <a:pt x="183" y="395"/>
                    <a:pt x="184" y="395"/>
                  </a:cubicBezTo>
                  <a:cubicBezTo>
                    <a:pt x="184" y="397"/>
                    <a:pt x="185" y="397"/>
                    <a:pt x="187" y="398"/>
                  </a:cubicBezTo>
                  <a:cubicBezTo>
                    <a:pt x="189" y="398"/>
                    <a:pt x="190" y="400"/>
                    <a:pt x="191" y="400"/>
                  </a:cubicBezTo>
                  <a:cubicBezTo>
                    <a:pt x="192" y="401"/>
                    <a:pt x="192" y="400"/>
                    <a:pt x="193" y="401"/>
                  </a:cubicBezTo>
                  <a:cubicBezTo>
                    <a:pt x="194" y="401"/>
                    <a:pt x="193" y="402"/>
                    <a:pt x="194" y="402"/>
                  </a:cubicBezTo>
                  <a:cubicBezTo>
                    <a:pt x="196" y="403"/>
                    <a:pt x="200" y="402"/>
                    <a:pt x="201" y="402"/>
                  </a:cubicBezTo>
                  <a:cubicBezTo>
                    <a:pt x="204" y="402"/>
                    <a:pt x="208" y="399"/>
                    <a:pt x="210" y="402"/>
                  </a:cubicBezTo>
                  <a:cubicBezTo>
                    <a:pt x="210" y="403"/>
                    <a:pt x="210" y="406"/>
                    <a:pt x="210" y="407"/>
                  </a:cubicBezTo>
                  <a:cubicBezTo>
                    <a:pt x="209" y="409"/>
                    <a:pt x="207" y="409"/>
                    <a:pt x="206" y="411"/>
                  </a:cubicBezTo>
                  <a:cubicBezTo>
                    <a:pt x="206" y="412"/>
                    <a:pt x="207" y="413"/>
                    <a:pt x="208" y="414"/>
                  </a:cubicBezTo>
                  <a:cubicBezTo>
                    <a:pt x="209" y="415"/>
                    <a:pt x="210" y="417"/>
                    <a:pt x="212" y="417"/>
                  </a:cubicBezTo>
                  <a:cubicBezTo>
                    <a:pt x="213" y="418"/>
                    <a:pt x="214" y="420"/>
                    <a:pt x="215" y="421"/>
                  </a:cubicBezTo>
                  <a:cubicBezTo>
                    <a:pt x="217" y="422"/>
                    <a:pt x="219" y="421"/>
                    <a:pt x="220" y="421"/>
                  </a:cubicBezTo>
                  <a:cubicBezTo>
                    <a:pt x="221" y="422"/>
                    <a:pt x="221" y="422"/>
                    <a:pt x="222" y="423"/>
                  </a:cubicBezTo>
                  <a:cubicBezTo>
                    <a:pt x="222" y="423"/>
                    <a:pt x="222" y="423"/>
                    <a:pt x="223" y="423"/>
                  </a:cubicBezTo>
                  <a:cubicBezTo>
                    <a:pt x="225" y="424"/>
                    <a:pt x="226" y="423"/>
                    <a:pt x="227" y="424"/>
                  </a:cubicBezTo>
                  <a:cubicBezTo>
                    <a:pt x="229" y="424"/>
                    <a:pt x="229" y="425"/>
                    <a:pt x="231" y="426"/>
                  </a:cubicBezTo>
                  <a:cubicBezTo>
                    <a:pt x="233" y="426"/>
                    <a:pt x="235" y="426"/>
                    <a:pt x="237" y="427"/>
                  </a:cubicBezTo>
                  <a:cubicBezTo>
                    <a:pt x="239" y="427"/>
                    <a:pt x="240" y="428"/>
                    <a:pt x="243" y="428"/>
                  </a:cubicBezTo>
                  <a:cubicBezTo>
                    <a:pt x="243" y="429"/>
                    <a:pt x="243" y="429"/>
                    <a:pt x="243" y="429"/>
                  </a:cubicBezTo>
                  <a:cubicBezTo>
                    <a:pt x="245" y="429"/>
                    <a:pt x="247" y="430"/>
                    <a:pt x="249" y="431"/>
                  </a:cubicBezTo>
                  <a:cubicBezTo>
                    <a:pt x="253" y="433"/>
                    <a:pt x="256" y="433"/>
                    <a:pt x="260" y="434"/>
                  </a:cubicBezTo>
                  <a:cubicBezTo>
                    <a:pt x="257" y="440"/>
                    <a:pt x="259" y="446"/>
                    <a:pt x="264" y="449"/>
                  </a:cubicBezTo>
                  <a:cubicBezTo>
                    <a:pt x="267" y="451"/>
                    <a:pt x="269" y="452"/>
                    <a:pt x="269" y="455"/>
                  </a:cubicBezTo>
                  <a:cubicBezTo>
                    <a:pt x="269" y="457"/>
                    <a:pt x="269" y="459"/>
                    <a:pt x="269" y="460"/>
                  </a:cubicBezTo>
                  <a:cubicBezTo>
                    <a:pt x="268" y="462"/>
                    <a:pt x="267" y="463"/>
                    <a:pt x="268" y="465"/>
                  </a:cubicBezTo>
                  <a:cubicBezTo>
                    <a:pt x="268" y="465"/>
                    <a:pt x="269" y="465"/>
                    <a:pt x="270" y="465"/>
                  </a:cubicBezTo>
                  <a:cubicBezTo>
                    <a:pt x="271" y="465"/>
                    <a:pt x="271" y="465"/>
                    <a:pt x="271" y="466"/>
                  </a:cubicBezTo>
                  <a:cubicBezTo>
                    <a:pt x="272" y="467"/>
                    <a:pt x="272" y="469"/>
                    <a:pt x="272" y="470"/>
                  </a:cubicBezTo>
                  <a:cubicBezTo>
                    <a:pt x="273" y="473"/>
                    <a:pt x="272" y="475"/>
                    <a:pt x="276" y="475"/>
                  </a:cubicBezTo>
                  <a:cubicBezTo>
                    <a:pt x="279" y="476"/>
                    <a:pt x="283" y="476"/>
                    <a:pt x="286" y="475"/>
                  </a:cubicBezTo>
                  <a:cubicBezTo>
                    <a:pt x="290" y="475"/>
                    <a:pt x="289" y="473"/>
                    <a:pt x="289" y="469"/>
                  </a:cubicBezTo>
                  <a:cubicBezTo>
                    <a:pt x="290" y="466"/>
                    <a:pt x="291" y="465"/>
                    <a:pt x="294" y="464"/>
                  </a:cubicBezTo>
                  <a:cubicBezTo>
                    <a:pt x="296" y="464"/>
                    <a:pt x="296" y="463"/>
                    <a:pt x="298" y="463"/>
                  </a:cubicBezTo>
                  <a:cubicBezTo>
                    <a:pt x="298" y="463"/>
                    <a:pt x="299" y="463"/>
                    <a:pt x="299" y="462"/>
                  </a:cubicBezTo>
                  <a:cubicBezTo>
                    <a:pt x="301" y="462"/>
                    <a:pt x="301" y="461"/>
                    <a:pt x="302" y="460"/>
                  </a:cubicBezTo>
                  <a:cubicBezTo>
                    <a:pt x="304" y="458"/>
                    <a:pt x="307" y="460"/>
                    <a:pt x="307" y="463"/>
                  </a:cubicBezTo>
                  <a:cubicBezTo>
                    <a:pt x="307" y="464"/>
                    <a:pt x="307" y="465"/>
                    <a:pt x="308" y="466"/>
                  </a:cubicBezTo>
                  <a:cubicBezTo>
                    <a:pt x="309" y="467"/>
                    <a:pt x="311" y="466"/>
                    <a:pt x="311" y="468"/>
                  </a:cubicBezTo>
                  <a:cubicBezTo>
                    <a:pt x="312" y="468"/>
                    <a:pt x="315" y="470"/>
                    <a:pt x="315" y="471"/>
                  </a:cubicBezTo>
                  <a:cubicBezTo>
                    <a:pt x="316" y="472"/>
                    <a:pt x="316" y="473"/>
                    <a:pt x="316" y="473"/>
                  </a:cubicBezTo>
                  <a:cubicBezTo>
                    <a:pt x="317" y="474"/>
                    <a:pt x="318" y="475"/>
                    <a:pt x="318" y="476"/>
                  </a:cubicBezTo>
                  <a:cubicBezTo>
                    <a:pt x="319" y="477"/>
                    <a:pt x="319" y="477"/>
                    <a:pt x="319" y="479"/>
                  </a:cubicBezTo>
                  <a:cubicBezTo>
                    <a:pt x="319" y="481"/>
                    <a:pt x="319" y="483"/>
                    <a:pt x="319" y="485"/>
                  </a:cubicBezTo>
                  <a:cubicBezTo>
                    <a:pt x="319" y="487"/>
                    <a:pt x="319" y="486"/>
                    <a:pt x="321" y="487"/>
                  </a:cubicBezTo>
                  <a:cubicBezTo>
                    <a:pt x="321" y="488"/>
                    <a:pt x="322" y="488"/>
                    <a:pt x="323" y="488"/>
                  </a:cubicBezTo>
                  <a:cubicBezTo>
                    <a:pt x="323" y="489"/>
                    <a:pt x="324" y="490"/>
                    <a:pt x="325" y="490"/>
                  </a:cubicBezTo>
                  <a:cubicBezTo>
                    <a:pt x="326" y="491"/>
                    <a:pt x="326" y="491"/>
                    <a:pt x="327" y="491"/>
                  </a:cubicBezTo>
                  <a:cubicBezTo>
                    <a:pt x="328" y="491"/>
                    <a:pt x="329" y="492"/>
                    <a:pt x="329" y="493"/>
                  </a:cubicBezTo>
                  <a:cubicBezTo>
                    <a:pt x="331" y="493"/>
                    <a:pt x="333" y="493"/>
                    <a:pt x="334" y="493"/>
                  </a:cubicBezTo>
                  <a:cubicBezTo>
                    <a:pt x="334" y="491"/>
                    <a:pt x="334" y="490"/>
                    <a:pt x="334" y="488"/>
                  </a:cubicBezTo>
                  <a:cubicBezTo>
                    <a:pt x="334" y="485"/>
                    <a:pt x="335" y="484"/>
                    <a:pt x="338" y="483"/>
                  </a:cubicBezTo>
                  <a:cubicBezTo>
                    <a:pt x="341" y="480"/>
                    <a:pt x="345" y="482"/>
                    <a:pt x="349" y="481"/>
                  </a:cubicBezTo>
                  <a:cubicBezTo>
                    <a:pt x="350" y="479"/>
                    <a:pt x="349" y="478"/>
                    <a:pt x="349" y="476"/>
                  </a:cubicBezTo>
                  <a:cubicBezTo>
                    <a:pt x="351" y="476"/>
                    <a:pt x="354" y="476"/>
                    <a:pt x="356" y="476"/>
                  </a:cubicBezTo>
                  <a:cubicBezTo>
                    <a:pt x="359" y="476"/>
                    <a:pt x="361" y="473"/>
                    <a:pt x="365" y="473"/>
                  </a:cubicBezTo>
                  <a:cubicBezTo>
                    <a:pt x="366" y="474"/>
                    <a:pt x="366" y="475"/>
                    <a:pt x="368" y="475"/>
                  </a:cubicBezTo>
                  <a:cubicBezTo>
                    <a:pt x="369" y="476"/>
                    <a:pt x="370" y="475"/>
                    <a:pt x="371" y="475"/>
                  </a:cubicBezTo>
                  <a:cubicBezTo>
                    <a:pt x="373" y="476"/>
                    <a:pt x="374" y="479"/>
                    <a:pt x="376" y="480"/>
                  </a:cubicBezTo>
                  <a:cubicBezTo>
                    <a:pt x="376" y="480"/>
                    <a:pt x="378" y="480"/>
                    <a:pt x="378" y="480"/>
                  </a:cubicBezTo>
                  <a:cubicBezTo>
                    <a:pt x="379" y="481"/>
                    <a:pt x="380" y="481"/>
                    <a:pt x="381" y="481"/>
                  </a:cubicBezTo>
                  <a:cubicBezTo>
                    <a:pt x="381" y="482"/>
                    <a:pt x="381" y="483"/>
                    <a:pt x="382" y="483"/>
                  </a:cubicBezTo>
                  <a:cubicBezTo>
                    <a:pt x="382" y="483"/>
                    <a:pt x="385" y="483"/>
                    <a:pt x="385" y="483"/>
                  </a:cubicBezTo>
                  <a:cubicBezTo>
                    <a:pt x="386" y="483"/>
                    <a:pt x="389" y="481"/>
                    <a:pt x="389" y="480"/>
                  </a:cubicBezTo>
                  <a:cubicBezTo>
                    <a:pt x="390" y="478"/>
                    <a:pt x="389" y="477"/>
                    <a:pt x="390" y="475"/>
                  </a:cubicBezTo>
                  <a:cubicBezTo>
                    <a:pt x="391" y="474"/>
                    <a:pt x="392" y="473"/>
                    <a:pt x="393" y="473"/>
                  </a:cubicBezTo>
                  <a:cubicBezTo>
                    <a:pt x="395" y="473"/>
                    <a:pt x="398" y="475"/>
                    <a:pt x="399" y="471"/>
                  </a:cubicBezTo>
                  <a:cubicBezTo>
                    <a:pt x="399" y="471"/>
                    <a:pt x="400" y="470"/>
                    <a:pt x="401" y="470"/>
                  </a:cubicBezTo>
                  <a:cubicBezTo>
                    <a:pt x="402" y="470"/>
                    <a:pt x="402" y="471"/>
                    <a:pt x="403" y="471"/>
                  </a:cubicBezTo>
                  <a:cubicBezTo>
                    <a:pt x="405" y="471"/>
                    <a:pt x="408" y="471"/>
                    <a:pt x="410" y="471"/>
                  </a:cubicBezTo>
                  <a:cubicBezTo>
                    <a:pt x="413" y="472"/>
                    <a:pt x="417" y="473"/>
                    <a:pt x="420" y="474"/>
                  </a:cubicBezTo>
                  <a:cubicBezTo>
                    <a:pt x="422" y="475"/>
                    <a:pt x="423" y="476"/>
                    <a:pt x="425" y="477"/>
                  </a:cubicBezTo>
                  <a:cubicBezTo>
                    <a:pt x="426" y="478"/>
                    <a:pt x="425" y="478"/>
                    <a:pt x="427" y="479"/>
                  </a:cubicBezTo>
                  <a:cubicBezTo>
                    <a:pt x="428" y="479"/>
                    <a:pt x="429" y="478"/>
                    <a:pt x="430" y="478"/>
                  </a:cubicBezTo>
                  <a:cubicBezTo>
                    <a:pt x="431" y="479"/>
                    <a:pt x="432" y="480"/>
                    <a:pt x="433" y="481"/>
                  </a:cubicBezTo>
                  <a:cubicBezTo>
                    <a:pt x="433" y="482"/>
                    <a:pt x="433" y="482"/>
                    <a:pt x="434" y="483"/>
                  </a:cubicBezTo>
                  <a:cubicBezTo>
                    <a:pt x="434" y="483"/>
                    <a:pt x="435" y="485"/>
                    <a:pt x="435" y="485"/>
                  </a:cubicBezTo>
                  <a:cubicBezTo>
                    <a:pt x="436" y="485"/>
                    <a:pt x="436" y="485"/>
                    <a:pt x="437" y="485"/>
                  </a:cubicBezTo>
                  <a:cubicBezTo>
                    <a:pt x="439" y="486"/>
                    <a:pt x="441" y="487"/>
                    <a:pt x="442" y="488"/>
                  </a:cubicBezTo>
                  <a:cubicBezTo>
                    <a:pt x="444" y="489"/>
                    <a:pt x="444" y="489"/>
                    <a:pt x="445" y="490"/>
                  </a:cubicBezTo>
                  <a:cubicBezTo>
                    <a:pt x="446" y="492"/>
                    <a:pt x="447" y="492"/>
                    <a:pt x="448" y="493"/>
                  </a:cubicBezTo>
                  <a:cubicBezTo>
                    <a:pt x="452" y="494"/>
                    <a:pt x="455" y="494"/>
                    <a:pt x="459" y="496"/>
                  </a:cubicBezTo>
                  <a:cubicBezTo>
                    <a:pt x="460" y="496"/>
                    <a:pt x="462" y="497"/>
                    <a:pt x="464" y="498"/>
                  </a:cubicBezTo>
                  <a:cubicBezTo>
                    <a:pt x="464" y="498"/>
                    <a:pt x="465" y="499"/>
                    <a:pt x="466" y="499"/>
                  </a:cubicBezTo>
                  <a:cubicBezTo>
                    <a:pt x="466" y="500"/>
                    <a:pt x="467" y="500"/>
                    <a:pt x="468" y="500"/>
                  </a:cubicBezTo>
                  <a:cubicBezTo>
                    <a:pt x="470" y="501"/>
                    <a:pt x="471" y="503"/>
                    <a:pt x="474" y="503"/>
                  </a:cubicBezTo>
                  <a:cubicBezTo>
                    <a:pt x="475" y="503"/>
                    <a:pt x="476" y="503"/>
                    <a:pt x="477" y="503"/>
                  </a:cubicBezTo>
                  <a:cubicBezTo>
                    <a:pt x="478" y="503"/>
                    <a:pt x="478" y="504"/>
                    <a:pt x="479" y="505"/>
                  </a:cubicBezTo>
                  <a:cubicBezTo>
                    <a:pt x="481" y="505"/>
                    <a:pt x="485" y="505"/>
                    <a:pt x="487" y="505"/>
                  </a:cubicBezTo>
                  <a:cubicBezTo>
                    <a:pt x="488" y="502"/>
                    <a:pt x="485" y="500"/>
                    <a:pt x="485" y="497"/>
                  </a:cubicBezTo>
                  <a:cubicBezTo>
                    <a:pt x="484" y="497"/>
                    <a:pt x="484" y="497"/>
                    <a:pt x="483" y="496"/>
                  </a:cubicBezTo>
                  <a:cubicBezTo>
                    <a:pt x="483" y="496"/>
                    <a:pt x="483" y="495"/>
                    <a:pt x="482" y="495"/>
                  </a:cubicBezTo>
                  <a:cubicBezTo>
                    <a:pt x="482" y="495"/>
                    <a:pt x="481" y="495"/>
                    <a:pt x="480" y="495"/>
                  </a:cubicBezTo>
                  <a:cubicBezTo>
                    <a:pt x="476" y="494"/>
                    <a:pt x="477" y="489"/>
                    <a:pt x="477" y="486"/>
                  </a:cubicBezTo>
                  <a:cubicBezTo>
                    <a:pt x="477" y="484"/>
                    <a:pt x="478" y="481"/>
                    <a:pt x="477" y="479"/>
                  </a:cubicBezTo>
                  <a:cubicBezTo>
                    <a:pt x="476" y="479"/>
                    <a:pt x="476" y="478"/>
                    <a:pt x="475" y="478"/>
                  </a:cubicBezTo>
                  <a:cubicBezTo>
                    <a:pt x="475" y="477"/>
                    <a:pt x="475" y="475"/>
                    <a:pt x="475" y="474"/>
                  </a:cubicBezTo>
                  <a:cubicBezTo>
                    <a:pt x="475" y="472"/>
                    <a:pt x="474" y="471"/>
                    <a:pt x="473" y="468"/>
                  </a:cubicBezTo>
                  <a:cubicBezTo>
                    <a:pt x="473" y="467"/>
                    <a:pt x="473" y="467"/>
                    <a:pt x="473" y="466"/>
                  </a:cubicBezTo>
                  <a:cubicBezTo>
                    <a:pt x="473" y="465"/>
                    <a:pt x="473" y="464"/>
                    <a:pt x="473" y="464"/>
                  </a:cubicBezTo>
                  <a:cubicBezTo>
                    <a:pt x="473" y="462"/>
                    <a:pt x="473" y="464"/>
                    <a:pt x="474" y="462"/>
                  </a:cubicBezTo>
                  <a:cubicBezTo>
                    <a:pt x="476" y="461"/>
                    <a:pt x="477" y="459"/>
                    <a:pt x="478" y="458"/>
                  </a:cubicBezTo>
                  <a:cubicBezTo>
                    <a:pt x="480" y="457"/>
                    <a:pt x="481" y="457"/>
                    <a:pt x="482" y="455"/>
                  </a:cubicBezTo>
                  <a:cubicBezTo>
                    <a:pt x="483" y="455"/>
                    <a:pt x="484" y="454"/>
                    <a:pt x="484" y="453"/>
                  </a:cubicBezTo>
                  <a:cubicBezTo>
                    <a:pt x="485" y="451"/>
                    <a:pt x="487" y="448"/>
                    <a:pt x="488" y="445"/>
                  </a:cubicBezTo>
                  <a:cubicBezTo>
                    <a:pt x="491" y="440"/>
                    <a:pt x="494" y="436"/>
                    <a:pt x="497" y="431"/>
                  </a:cubicBezTo>
                  <a:cubicBezTo>
                    <a:pt x="498" y="429"/>
                    <a:pt x="499" y="427"/>
                    <a:pt x="500" y="426"/>
                  </a:cubicBezTo>
                  <a:cubicBezTo>
                    <a:pt x="500" y="426"/>
                    <a:pt x="500" y="425"/>
                    <a:pt x="500" y="424"/>
                  </a:cubicBezTo>
                  <a:cubicBezTo>
                    <a:pt x="500" y="424"/>
                    <a:pt x="500" y="423"/>
                    <a:pt x="501" y="423"/>
                  </a:cubicBezTo>
                  <a:cubicBezTo>
                    <a:pt x="501" y="421"/>
                    <a:pt x="501" y="419"/>
                    <a:pt x="502" y="419"/>
                  </a:cubicBezTo>
                  <a:cubicBezTo>
                    <a:pt x="503" y="417"/>
                    <a:pt x="505" y="417"/>
                    <a:pt x="506" y="416"/>
                  </a:cubicBezTo>
                  <a:cubicBezTo>
                    <a:pt x="508" y="412"/>
                    <a:pt x="512" y="410"/>
                    <a:pt x="514" y="406"/>
                  </a:cubicBezTo>
                  <a:cubicBezTo>
                    <a:pt x="517" y="403"/>
                    <a:pt x="521" y="398"/>
                    <a:pt x="525" y="396"/>
                  </a:cubicBezTo>
                  <a:cubicBezTo>
                    <a:pt x="530" y="392"/>
                    <a:pt x="536" y="390"/>
                    <a:pt x="542" y="390"/>
                  </a:cubicBezTo>
                  <a:cubicBezTo>
                    <a:pt x="544" y="390"/>
                    <a:pt x="550" y="391"/>
                    <a:pt x="551" y="390"/>
                  </a:cubicBezTo>
                  <a:cubicBezTo>
                    <a:pt x="553" y="389"/>
                    <a:pt x="552" y="385"/>
                    <a:pt x="552" y="382"/>
                  </a:cubicBezTo>
                  <a:cubicBezTo>
                    <a:pt x="552" y="383"/>
                    <a:pt x="552" y="383"/>
                    <a:pt x="551" y="384"/>
                  </a:cubicBezTo>
                  <a:cubicBezTo>
                    <a:pt x="551" y="383"/>
                    <a:pt x="552" y="382"/>
                    <a:pt x="552" y="382"/>
                  </a:cubicBezTo>
                  <a:cubicBezTo>
                    <a:pt x="552" y="377"/>
                    <a:pt x="552" y="372"/>
                    <a:pt x="552" y="367"/>
                  </a:cubicBezTo>
                  <a:cubicBezTo>
                    <a:pt x="552" y="365"/>
                    <a:pt x="552" y="364"/>
                    <a:pt x="551" y="362"/>
                  </a:cubicBezTo>
                  <a:cubicBezTo>
                    <a:pt x="550" y="361"/>
                    <a:pt x="548" y="360"/>
                    <a:pt x="548" y="360"/>
                  </a:cubicBezTo>
                  <a:cubicBezTo>
                    <a:pt x="547" y="360"/>
                    <a:pt x="545" y="359"/>
                    <a:pt x="545" y="359"/>
                  </a:cubicBezTo>
                  <a:cubicBezTo>
                    <a:pt x="541" y="354"/>
                    <a:pt x="556" y="355"/>
                    <a:pt x="556" y="355"/>
                  </a:cubicBezTo>
                  <a:cubicBezTo>
                    <a:pt x="557" y="354"/>
                    <a:pt x="557" y="353"/>
                    <a:pt x="557" y="35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2" name="Freeform 22"/>
            <p:cNvSpPr>
              <a:spLocks noEditPoints="1"/>
            </p:cNvSpPr>
            <p:nvPr/>
          </p:nvSpPr>
          <p:spPr bwMode="auto">
            <a:xfrm>
              <a:off x="4694238" y="4368800"/>
              <a:ext cx="700088" cy="392113"/>
            </a:xfrm>
            <a:custGeom>
              <a:avLst/>
              <a:gdLst/>
              <a:ahLst/>
              <a:cxnLst>
                <a:cxn ang="0">
                  <a:pos x="261" y="202"/>
                </a:cxn>
                <a:cxn ang="0">
                  <a:pos x="275" y="194"/>
                </a:cxn>
                <a:cxn ang="0">
                  <a:pos x="288" y="192"/>
                </a:cxn>
                <a:cxn ang="0">
                  <a:pos x="306" y="190"/>
                </a:cxn>
                <a:cxn ang="0">
                  <a:pos x="322" y="178"/>
                </a:cxn>
                <a:cxn ang="0">
                  <a:pos x="334" y="162"/>
                </a:cxn>
                <a:cxn ang="0">
                  <a:pos x="344" y="152"/>
                </a:cxn>
                <a:cxn ang="0">
                  <a:pos x="354" y="140"/>
                </a:cxn>
                <a:cxn ang="0">
                  <a:pos x="368" y="137"/>
                </a:cxn>
                <a:cxn ang="0">
                  <a:pos x="373" y="135"/>
                </a:cxn>
                <a:cxn ang="0">
                  <a:pos x="354" y="101"/>
                </a:cxn>
                <a:cxn ang="0">
                  <a:pos x="332" y="94"/>
                </a:cxn>
                <a:cxn ang="0">
                  <a:pos x="317" y="87"/>
                </a:cxn>
                <a:cxn ang="0">
                  <a:pos x="306" y="72"/>
                </a:cxn>
                <a:cxn ang="0">
                  <a:pos x="289" y="65"/>
                </a:cxn>
                <a:cxn ang="0">
                  <a:pos x="272" y="63"/>
                </a:cxn>
                <a:cxn ang="0">
                  <a:pos x="268" y="76"/>
                </a:cxn>
                <a:cxn ang="0">
                  <a:pos x="252" y="82"/>
                </a:cxn>
                <a:cxn ang="0">
                  <a:pos x="242" y="66"/>
                </a:cxn>
                <a:cxn ang="0">
                  <a:pos x="241" y="48"/>
                </a:cxn>
                <a:cxn ang="0">
                  <a:pos x="232" y="40"/>
                </a:cxn>
                <a:cxn ang="0">
                  <a:pos x="218" y="35"/>
                </a:cxn>
                <a:cxn ang="0">
                  <a:pos x="193" y="26"/>
                </a:cxn>
                <a:cxn ang="0">
                  <a:pos x="181" y="10"/>
                </a:cxn>
                <a:cxn ang="0">
                  <a:pos x="157" y="13"/>
                </a:cxn>
                <a:cxn ang="0">
                  <a:pos x="145" y="19"/>
                </a:cxn>
                <a:cxn ang="0">
                  <a:pos x="137" y="4"/>
                </a:cxn>
                <a:cxn ang="0">
                  <a:pos x="126" y="9"/>
                </a:cxn>
                <a:cxn ang="0">
                  <a:pos x="115" y="20"/>
                </a:cxn>
                <a:cxn ang="0">
                  <a:pos x="102" y="26"/>
                </a:cxn>
                <a:cxn ang="0">
                  <a:pos x="86" y="30"/>
                </a:cxn>
                <a:cxn ang="0">
                  <a:pos x="78" y="41"/>
                </a:cxn>
                <a:cxn ang="0">
                  <a:pos x="71" y="41"/>
                </a:cxn>
                <a:cxn ang="0">
                  <a:pos x="61" y="48"/>
                </a:cxn>
                <a:cxn ang="0">
                  <a:pos x="51" y="56"/>
                </a:cxn>
                <a:cxn ang="0">
                  <a:pos x="39" y="55"/>
                </a:cxn>
                <a:cxn ang="0">
                  <a:pos x="28" y="59"/>
                </a:cxn>
                <a:cxn ang="0">
                  <a:pos x="15" y="73"/>
                </a:cxn>
                <a:cxn ang="0">
                  <a:pos x="11" y="75"/>
                </a:cxn>
                <a:cxn ang="0">
                  <a:pos x="2" y="68"/>
                </a:cxn>
                <a:cxn ang="0">
                  <a:pos x="11" y="88"/>
                </a:cxn>
                <a:cxn ang="0">
                  <a:pos x="23" y="102"/>
                </a:cxn>
                <a:cxn ang="0">
                  <a:pos x="18" y="117"/>
                </a:cxn>
                <a:cxn ang="0">
                  <a:pos x="29" y="137"/>
                </a:cxn>
                <a:cxn ang="0">
                  <a:pos x="40" y="148"/>
                </a:cxn>
                <a:cxn ang="0">
                  <a:pos x="54" y="164"/>
                </a:cxn>
                <a:cxn ang="0">
                  <a:pos x="66" y="171"/>
                </a:cxn>
                <a:cxn ang="0">
                  <a:pos x="83" y="186"/>
                </a:cxn>
                <a:cxn ang="0">
                  <a:pos x="91" y="194"/>
                </a:cxn>
                <a:cxn ang="0">
                  <a:pos x="102" y="207"/>
                </a:cxn>
                <a:cxn ang="0">
                  <a:pos x="114" y="210"/>
                </a:cxn>
                <a:cxn ang="0">
                  <a:pos x="127" y="208"/>
                </a:cxn>
                <a:cxn ang="0">
                  <a:pos x="136" y="207"/>
                </a:cxn>
                <a:cxn ang="0">
                  <a:pos x="151" y="192"/>
                </a:cxn>
                <a:cxn ang="0">
                  <a:pos x="157" y="175"/>
                </a:cxn>
                <a:cxn ang="0">
                  <a:pos x="172" y="178"/>
                </a:cxn>
                <a:cxn ang="0">
                  <a:pos x="194" y="187"/>
                </a:cxn>
                <a:cxn ang="0">
                  <a:pos x="215" y="196"/>
                </a:cxn>
                <a:cxn ang="0">
                  <a:pos x="238" y="193"/>
                </a:cxn>
                <a:cxn ang="0">
                  <a:pos x="254" y="200"/>
                </a:cxn>
                <a:cxn ang="0">
                  <a:pos x="261" y="202"/>
                </a:cxn>
              </a:cxnLst>
              <a:rect l="0" t="0" r="r" b="b"/>
              <a:pathLst>
                <a:path w="375" h="210">
                  <a:moveTo>
                    <a:pt x="159" y="8"/>
                  </a:moveTo>
                  <a:cubicBezTo>
                    <a:pt x="159" y="8"/>
                    <a:pt x="159" y="8"/>
                    <a:pt x="159" y="8"/>
                  </a:cubicBezTo>
                  <a:cubicBezTo>
                    <a:pt x="159" y="8"/>
                    <a:pt x="159" y="7"/>
                    <a:pt x="159" y="7"/>
                  </a:cubicBezTo>
                  <a:cubicBezTo>
                    <a:pt x="159" y="7"/>
                    <a:pt x="159" y="8"/>
                    <a:pt x="159" y="8"/>
                  </a:cubicBezTo>
                  <a:moveTo>
                    <a:pt x="261" y="202"/>
                  </a:moveTo>
                  <a:cubicBezTo>
                    <a:pt x="262" y="202"/>
                    <a:pt x="263" y="203"/>
                    <a:pt x="264" y="202"/>
                  </a:cubicBezTo>
                  <a:cubicBezTo>
                    <a:pt x="267" y="202"/>
                    <a:pt x="268" y="201"/>
                    <a:pt x="270" y="200"/>
                  </a:cubicBezTo>
                  <a:cubicBezTo>
                    <a:pt x="271" y="199"/>
                    <a:pt x="271" y="198"/>
                    <a:pt x="272" y="197"/>
                  </a:cubicBezTo>
                  <a:cubicBezTo>
                    <a:pt x="272" y="196"/>
                    <a:pt x="273" y="196"/>
                    <a:pt x="273" y="196"/>
                  </a:cubicBezTo>
                  <a:cubicBezTo>
                    <a:pt x="274" y="195"/>
                    <a:pt x="274" y="194"/>
                    <a:pt x="275" y="194"/>
                  </a:cubicBezTo>
                  <a:cubicBezTo>
                    <a:pt x="276" y="193"/>
                    <a:pt x="277" y="192"/>
                    <a:pt x="278" y="191"/>
                  </a:cubicBezTo>
                  <a:cubicBezTo>
                    <a:pt x="279" y="191"/>
                    <a:pt x="279" y="189"/>
                    <a:pt x="280" y="188"/>
                  </a:cubicBezTo>
                  <a:cubicBezTo>
                    <a:pt x="282" y="188"/>
                    <a:pt x="282" y="189"/>
                    <a:pt x="282" y="190"/>
                  </a:cubicBezTo>
                  <a:cubicBezTo>
                    <a:pt x="283" y="190"/>
                    <a:pt x="284" y="190"/>
                    <a:pt x="285" y="191"/>
                  </a:cubicBezTo>
                  <a:cubicBezTo>
                    <a:pt x="286" y="191"/>
                    <a:pt x="287" y="192"/>
                    <a:pt x="288" y="192"/>
                  </a:cubicBezTo>
                  <a:cubicBezTo>
                    <a:pt x="292" y="194"/>
                    <a:pt x="296" y="193"/>
                    <a:pt x="300" y="192"/>
                  </a:cubicBezTo>
                  <a:cubicBezTo>
                    <a:pt x="301" y="192"/>
                    <a:pt x="302" y="193"/>
                    <a:pt x="303" y="192"/>
                  </a:cubicBezTo>
                  <a:cubicBezTo>
                    <a:pt x="303" y="192"/>
                    <a:pt x="303" y="192"/>
                    <a:pt x="303" y="191"/>
                  </a:cubicBezTo>
                  <a:cubicBezTo>
                    <a:pt x="303" y="191"/>
                    <a:pt x="304" y="191"/>
                    <a:pt x="304" y="191"/>
                  </a:cubicBezTo>
                  <a:cubicBezTo>
                    <a:pt x="305" y="190"/>
                    <a:pt x="305" y="190"/>
                    <a:pt x="306" y="190"/>
                  </a:cubicBezTo>
                  <a:cubicBezTo>
                    <a:pt x="308" y="189"/>
                    <a:pt x="310" y="188"/>
                    <a:pt x="311" y="187"/>
                  </a:cubicBezTo>
                  <a:cubicBezTo>
                    <a:pt x="312" y="186"/>
                    <a:pt x="314" y="185"/>
                    <a:pt x="315" y="184"/>
                  </a:cubicBezTo>
                  <a:cubicBezTo>
                    <a:pt x="316" y="184"/>
                    <a:pt x="317" y="183"/>
                    <a:pt x="318" y="182"/>
                  </a:cubicBezTo>
                  <a:cubicBezTo>
                    <a:pt x="319" y="181"/>
                    <a:pt x="319" y="181"/>
                    <a:pt x="319" y="180"/>
                  </a:cubicBezTo>
                  <a:cubicBezTo>
                    <a:pt x="320" y="179"/>
                    <a:pt x="320" y="179"/>
                    <a:pt x="322" y="178"/>
                  </a:cubicBezTo>
                  <a:cubicBezTo>
                    <a:pt x="323" y="178"/>
                    <a:pt x="323" y="178"/>
                    <a:pt x="324" y="178"/>
                  </a:cubicBezTo>
                  <a:cubicBezTo>
                    <a:pt x="325" y="177"/>
                    <a:pt x="326" y="178"/>
                    <a:pt x="326" y="178"/>
                  </a:cubicBezTo>
                  <a:cubicBezTo>
                    <a:pt x="327" y="177"/>
                    <a:pt x="327" y="176"/>
                    <a:pt x="327" y="175"/>
                  </a:cubicBezTo>
                  <a:cubicBezTo>
                    <a:pt x="329" y="173"/>
                    <a:pt x="331" y="171"/>
                    <a:pt x="331" y="168"/>
                  </a:cubicBezTo>
                  <a:cubicBezTo>
                    <a:pt x="331" y="165"/>
                    <a:pt x="333" y="164"/>
                    <a:pt x="334" y="162"/>
                  </a:cubicBezTo>
                  <a:cubicBezTo>
                    <a:pt x="334" y="161"/>
                    <a:pt x="334" y="159"/>
                    <a:pt x="334" y="159"/>
                  </a:cubicBezTo>
                  <a:cubicBezTo>
                    <a:pt x="335" y="158"/>
                    <a:pt x="335" y="157"/>
                    <a:pt x="336" y="156"/>
                  </a:cubicBezTo>
                  <a:cubicBezTo>
                    <a:pt x="336" y="155"/>
                    <a:pt x="336" y="153"/>
                    <a:pt x="337" y="153"/>
                  </a:cubicBezTo>
                  <a:cubicBezTo>
                    <a:pt x="338" y="153"/>
                    <a:pt x="340" y="153"/>
                    <a:pt x="341" y="153"/>
                  </a:cubicBezTo>
                  <a:cubicBezTo>
                    <a:pt x="342" y="153"/>
                    <a:pt x="343" y="152"/>
                    <a:pt x="344" y="152"/>
                  </a:cubicBezTo>
                  <a:cubicBezTo>
                    <a:pt x="344" y="151"/>
                    <a:pt x="345" y="150"/>
                    <a:pt x="345" y="150"/>
                  </a:cubicBezTo>
                  <a:cubicBezTo>
                    <a:pt x="345" y="149"/>
                    <a:pt x="345" y="149"/>
                    <a:pt x="346" y="149"/>
                  </a:cubicBezTo>
                  <a:cubicBezTo>
                    <a:pt x="347" y="147"/>
                    <a:pt x="347" y="145"/>
                    <a:pt x="350" y="143"/>
                  </a:cubicBezTo>
                  <a:cubicBezTo>
                    <a:pt x="351" y="143"/>
                    <a:pt x="352" y="143"/>
                    <a:pt x="352" y="142"/>
                  </a:cubicBezTo>
                  <a:cubicBezTo>
                    <a:pt x="353" y="141"/>
                    <a:pt x="353" y="141"/>
                    <a:pt x="354" y="140"/>
                  </a:cubicBezTo>
                  <a:cubicBezTo>
                    <a:pt x="355" y="140"/>
                    <a:pt x="356" y="139"/>
                    <a:pt x="357" y="138"/>
                  </a:cubicBezTo>
                  <a:cubicBezTo>
                    <a:pt x="358" y="137"/>
                    <a:pt x="357" y="136"/>
                    <a:pt x="359" y="136"/>
                  </a:cubicBezTo>
                  <a:cubicBezTo>
                    <a:pt x="360" y="136"/>
                    <a:pt x="361" y="137"/>
                    <a:pt x="363" y="138"/>
                  </a:cubicBezTo>
                  <a:cubicBezTo>
                    <a:pt x="364" y="138"/>
                    <a:pt x="365" y="138"/>
                    <a:pt x="366" y="137"/>
                  </a:cubicBezTo>
                  <a:cubicBezTo>
                    <a:pt x="368" y="137"/>
                    <a:pt x="367" y="137"/>
                    <a:pt x="368" y="137"/>
                  </a:cubicBezTo>
                  <a:cubicBezTo>
                    <a:pt x="369" y="136"/>
                    <a:pt x="369" y="136"/>
                    <a:pt x="370" y="136"/>
                  </a:cubicBezTo>
                  <a:cubicBezTo>
                    <a:pt x="371" y="135"/>
                    <a:pt x="373" y="135"/>
                    <a:pt x="375" y="135"/>
                  </a:cubicBezTo>
                  <a:cubicBezTo>
                    <a:pt x="375" y="135"/>
                    <a:pt x="375" y="135"/>
                    <a:pt x="375" y="135"/>
                  </a:cubicBezTo>
                  <a:cubicBezTo>
                    <a:pt x="375" y="135"/>
                    <a:pt x="375" y="135"/>
                    <a:pt x="375" y="135"/>
                  </a:cubicBezTo>
                  <a:cubicBezTo>
                    <a:pt x="374" y="135"/>
                    <a:pt x="373" y="135"/>
                    <a:pt x="373" y="135"/>
                  </a:cubicBezTo>
                  <a:cubicBezTo>
                    <a:pt x="372" y="133"/>
                    <a:pt x="373" y="132"/>
                    <a:pt x="374" y="130"/>
                  </a:cubicBezTo>
                  <a:cubicBezTo>
                    <a:pt x="374" y="129"/>
                    <a:pt x="374" y="127"/>
                    <a:pt x="374" y="125"/>
                  </a:cubicBezTo>
                  <a:cubicBezTo>
                    <a:pt x="374" y="122"/>
                    <a:pt x="372" y="121"/>
                    <a:pt x="369" y="119"/>
                  </a:cubicBezTo>
                  <a:cubicBezTo>
                    <a:pt x="364" y="116"/>
                    <a:pt x="362" y="110"/>
                    <a:pt x="365" y="104"/>
                  </a:cubicBezTo>
                  <a:cubicBezTo>
                    <a:pt x="361" y="103"/>
                    <a:pt x="358" y="103"/>
                    <a:pt x="354" y="101"/>
                  </a:cubicBezTo>
                  <a:cubicBezTo>
                    <a:pt x="352" y="100"/>
                    <a:pt x="350" y="99"/>
                    <a:pt x="348" y="99"/>
                  </a:cubicBezTo>
                  <a:cubicBezTo>
                    <a:pt x="348" y="99"/>
                    <a:pt x="348" y="99"/>
                    <a:pt x="348" y="98"/>
                  </a:cubicBezTo>
                  <a:cubicBezTo>
                    <a:pt x="345" y="98"/>
                    <a:pt x="344" y="97"/>
                    <a:pt x="342" y="97"/>
                  </a:cubicBezTo>
                  <a:cubicBezTo>
                    <a:pt x="340" y="96"/>
                    <a:pt x="338" y="96"/>
                    <a:pt x="336" y="96"/>
                  </a:cubicBezTo>
                  <a:cubicBezTo>
                    <a:pt x="334" y="95"/>
                    <a:pt x="334" y="94"/>
                    <a:pt x="332" y="94"/>
                  </a:cubicBezTo>
                  <a:cubicBezTo>
                    <a:pt x="331" y="93"/>
                    <a:pt x="330" y="94"/>
                    <a:pt x="328" y="93"/>
                  </a:cubicBezTo>
                  <a:cubicBezTo>
                    <a:pt x="327" y="93"/>
                    <a:pt x="327" y="93"/>
                    <a:pt x="327" y="93"/>
                  </a:cubicBezTo>
                  <a:cubicBezTo>
                    <a:pt x="326" y="92"/>
                    <a:pt x="326" y="92"/>
                    <a:pt x="325" y="91"/>
                  </a:cubicBezTo>
                  <a:cubicBezTo>
                    <a:pt x="324" y="91"/>
                    <a:pt x="322" y="92"/>
                    <a:pt x="320" y="91"/>
                  </a:cubicBezTo>
                  <a:cubicBezTo>
                    <a:pt x="319" y="90"/>
                    <a:pt x="318" y="88"/>
                    <a:pt x="317" y="87"/>
                  </a:cubicBezTo>
                  <a:cubicBezTo>
                    <a:pt x="315" y="87"/>
                    <a:pt x="314" y="85"/>
                    <a:pt x="313" y="84"/>
                  </a:cubicBezTo>
                  <a:cubicBezTo>
                    <a:pt x="312" y="83"/>
                    <a:pt x="311" y="82"/>
                    <a:pt x="311" y="81"/>
                  </a:cubicBezTo>
                  <a:cubicBezTo>
                    <a:pt x="312" y="79"/>
                    <a:pt x="314" y="79"/>
                    <a:pt x="315" y="77"/>
                  </a:cubicBezTo>
                  <a:cubicBezTo>
                    <a:pt x="315" y="76"/>
                    <a:pt x="315" y="73"/>
                    <a:pt x="315" y="72"/>
                  </a:cubicBezTo>
                  <a:cubicBezTo>
                    <a:pt x="313" y="69"/>
                    <a:pt x="309" y="72"/>
                    <a:pt x="306" y="72"/>
                  </a:cubicBezTo>
                  <a:cubicBezTo>
                    <a:pt x="305" y="72"/>
                    <a:pt x="301" y="73"/>
                    <a:pt x="299" y="72"/>
                  </a:cubicBezTo>
                  <a:cubicBezTo>
                    <a:pt x="298" y="72"/>
                    <a:pt x="299" y="71"/>
                    <a:pt x="298" y="71"/>
                  </a:cubicBezTo>
                  <a:cubicBezTo>
                    <a:pt x="297" y="70"/>
                    <a:pt x="297" y="71"/>
                    <a:pt x="296" y="70"/>
                  </a:cubicBezTo>
                  <a:cubicBezTo>
                    <a:pt x="295" y="70"/>
                    <a:pt x="294" y="68"/>
                    <a:pt x="292" y="68"/>
                  </a:cubicBezTo>
                  <a:cubicBezTo>
                    <a:pt x="290" y="67"/>
                    <a:pt x="289" y="67"/>
                    <a:pt x="289" y="65"/>
                  </a:cubicBezTo>
                  <a:cubicBezTo>
                    <a:pt x="288" y="65"/>
                    <a:pt x="286" y="64"/>
                    <a:pt x="285" y="63"/>
                  </a:cubicBezTo>
                  <a:cubicBezTo>
                    <a:pt x="284" y="62"/>
                    <a:pt x="284" y="63"/>
                    <a:pt x="282" y="62"/>
                  </a:cubicBezTo>
                  <a:cubicBezTo>
                    <a:pt x="283" y="61"/>
                    <a:pt x="282" y="60"/>
                    <a:pt x="282" y="60"/>
                  </a:cubicBezTo>
                  <a:cubicBezTo>
                    <a:pt x="279" y="58"/>
                    <a:pt x="274" y="58"/>
                    <a:pt x="270" y="58"/>
                  </a:cubicBezTo>
                  <a:cubicBezTo>
                    <a:pt x="270" y="60"/>
                    <a:pt x="271" y="61"/>
                    <a:pt x="272" y="63"/>
                  </a:cubicBezTo>
                  <a:cubicBezTo>
                    <a:pt x="273" y="64"/>
                    <a:pt x="273" y="64"/>
                    <a:pt x="274" y="65"/>
                  </a:cubicBezTo>
                  <a:cubicBezTo>
                    <a:pt x="276" y="67"/>
                    <a:pt x="278" y="67"/>
                    <a:pt x="279" y="70"/>
                  </a:cubicBezTo>
                  <a:cubicBezTo>
                    <a:pt x="279" y="72"/>
                    <a:pt x="278" y="72"/>
                    <a:pt x="276" y="73"/>
                  </a:cubicBezTo>
                  <a:cubicBezTo>
                    <a:pt x="274" y="73"/>
                    <a:pt x="272" y="74"/>
                    <a:pt x="271" y="75"/>
                  </a:cubicBezTo>
                  <a:cubicBezTo>
                    <a:pt x="270" y="75"/>
                    <a:pt x="269" y="75"/>
                    <a:pt x="268" y="76"/>
                  </a:cubicBezTo>
                  <a:cubicBezTo>
                    <a:pt x="266" y="77"/>
                    <a:pt x="267" y="78"/>
                    <a:pt x="265" y="80"/>
                  </a:cubicBezTo>
                  <a:cubicBezTo>
                    <a:pt x="263" y="81"/>
                    <a:pt x="263" y="80"/>
                    <a:pt x="262" y="82"/>
                  </a:cubicBezTo>
                  <a:cubicBezTo>
                    <a:pt x="262" y="82"/>
                    <a:pt x="261" y="82"/>
                    <a:pt x="261" y="83"/>
                  </a:cubicBezTo>
                  <a:cubicBezTo>
                    <a:pt x="259" y="85"/>
                    <a:pt x="257" y="87"/>
                    <a:pt x="254" y="85"/>
                  </a:cubicBezTo>
                  <a:cubicBezTo>
                    <a:pt x="253" y="84"/>
                    <a:pt x="253" y="83"/>
                    <a:pt x="252" y="82"/>
                  </a:cubicBezTo>
                  <a:cubicBezTo>
                    <a:pt x="251" y="80"/>
                    <a:pt x="250" y="79"/>
                    <a:pt x="250" y="77"/>
                  </a:cubicBezTo>
                  <a:cubicBezTo>
                    <a:pt x="250" y="75"/>
                    <a:pt x="249" y="74"/>
                    <a:pt x="248" y="72"/>
                  </a:cubicBezTo>
                  <a:cubicBezTo>
                    <a:pt x="247" y="71"/>
                    <a:pt x="247" y="71"/>
                    <a:pt x="246" y="70"/>
                  </a:cubicBezTo>
                  <a:cubicBezTo>
                    <a:pt x="246" y="70"/>
                    <a:pt x="245" y="68"/>
                    <a:pt x="245" y="68"/>
                  </a:cubicBezTo>
                  <a:cubicBezTo>
                    <a:pt x="244" y="67"/>
                    <a:pt x="243" y="67"/>
                    <a:pt x="242" y="66"/>
                  </a:cubicBezTo>
                  <a:cubicBezTo>
                    <a:pt x="241" y="65"/>
                    <a:pt x="240" y="64"/>
                    <a:pt x="238" y="63"/>
                  </a:cubicBezTo>
                  <a:cubicBezTo>
                    <a:pt x="236" y="62"/>
                    <a:pt x="234" y="62"/>
                    <a:pt x="233" y="59"/>
                  </a:cubicBezTo>
                  <a:cubicBezTo>
                    <a:pt x="233" y="58"/>
                    <a:pt x="233" y="56"/>
                    <a:pt x="234" y="55"/>
                  </a:cubicBezTo>
                  <a:cubicBezTo>
                    <a:pt x="235" y="53"/>
                    <a:pt x="237" y="52"/>
                    <a:pt x="238" y="51"/>
                  </a:cubicBezTo>
                  <a:cubicBezTo>
                    <a:pt x="239" y="50"/>
                    <a:pt x="240" y="49"/>
                    <a:pt x="241" y="48"/>
                  </a:cubicBezTo>
                  <a:cubicBezTo>
                    <a:pt x="241" y="47"/>
                    <a:pt x="242" y="46"/>
                    <a:pt x="243" y="45"/>
                  </a:cubicBezTo>
                  <a:cubicBezTo>
                    <a:pt x="243" y="44"/>
                    <a:pt x="243" y="42"/>
                    <a:pt x="243" y="42"/>
                  </a:cubicBezTo>
                  <a:cubicBezTo>
                    <a:pt x="242" y="40"/>
                    <a:pt x="243" y="42"/>
                    <a:pt x="241" y="41"/>
                  </a:cubicBezTo>
                  <a:cubicBezTo>
                    <a:pt x="240" y="40"/>
                    <a:pt x="240" y="40"/>
                    <a:pt x="238" y="40"/>
                  </a:cubicBezTo>
                  <a:cubicBezTo>
                    <a:pt x="236" y="39"/>
                    <a:pt x="234" y="40"/>
                    <a:pt x="232" y="40"/>
                  </a:cubicBezTo>
                  <a:cubicBezTo>
                    <a:pt x="230" y="40"/>
                    <a:pt x="229" y="40"/>
                    <a:pt x="227" y="39"/>
                  </a:cubicBezTo>
                  <a:cubicBezTo>
                    <a:pt x="227" y="39"/>
                    <a:pt x="225" y="39"/>
                    <a:pt x="225" y="39"/>
                  </a:cubicBezTo>
                  <a:cubicBezTo>
                    <a:pt x="224" y="38"/>
                    <a:pt x="223" y="37"/>
                    <a:pt x="223" y="37"/>
                  </a:cubicBezTo>
                  <a:cubicBezTo>
                    <a:pt x="222" y="36"/>
                    <a:pt x="221" y="37"/>
                    <a:pt x="220" y="36"/>
                  </a:cubicBezTo>
                  <a:cubicBezTo>
                    <a:pt x="219" y="36"/>
                    <a:pt x="219" y="35"/>
                    <a:pt x="218" y="35"/>
                  </a:cubicBezTo>
                  <a:cubicBezTo>
                    <a:pt x="216" y="34"/>
                    <a:pt x="215" y="34"/>
                    <a:pt x="213" y="33"/>
                  </a:cubicBezTo>
                  <a:cubicBezTo>
                    <a:pt x="212" y="33"/>
                    <a:pt x="211" y="32"/>
                    <a:pt x="209" y="32"/>
                  </a:cubicBezTo>
                  <a:cubicBezTo>
                    <a:pt x="207" y="31"/>
                    <a:pt x="204" y="29"/>
                    <a:pt x="202" y="28"/>
                  </a:cubicBezTo>
                  <a:cubicBezTo>
                    <a:pt x="200" y="28"/>
                    <a:pt x="198" y="26"/>
                    <a:pt x="196" y="26"/>
                  </a:cubicBezTo>
                  <a:cubicBezTo>
                    <a:pt x="195" y="26"/>
                    <a:pt x="194" y="26"/>
                    <a:pt x="193" y="26"/>
                  </a:cubicBezTo>
                  <a:cubicBezTo>
                    <a:pt x="191" y="25"/>
                    <a:pt x="190" y="22"/>
                    <a:pt x="189" y="20"/>
                  </a:cubicBezTo>
                  <a:cubicBezTo>
                    <a:pt x="187" y="18"/>
                    <a:pt x="186" y="16"/>
                    <a:pt x="184" y="13"/>
                  </a:cubicBezTo>
                  <a:cubicBezTo>
                    <a:pt x="184" y="13"/>
                    <a:pt x="183" y="12"/>
                    <a:pt x="183" y="12"/>
                  </a:cubicBezTo>
                  <a:cubicBezTo>
                    <a:pt x="183" y="11"/>
                    <a:pt x="183" y="11"/>
                    <a:pt x="182" y="11"/>
                  </a:cubicBezTo>
                  <a:cubicBezTo>
                    <a:pt x="182" y="10"/>
                    <a:pt x="181" y="10"/>
                    <a:pt x="181" y="10"/>
                  </a:cubicBezTo>
                  <a:cubicBezTo>
                    <a:pt x="180" y="8"/>
                    <a:pt x="180" y="8"/>
                    <a:pt x="177" y="8"/>
                  </a:cubicBezTo>
                  <a:cubicBezTo>
                    <a:pt x="173" y="8"/>
                    <a:pt x="170" y="8"/>
                    <a:pt x="166" y="8"/>
                  </a:cubicBezTo>
                  <a:cubicBezTo>
                    <a:pt x="164" y="8"/>
                    <a:pt x="161" y="8"/>
                    <a:pt x="159" y="8"/>
                  </a:cubicBezTo>
                  <a:cubicBezTo>
                    <a:pt x="160" y="8"/>
                    <a:pt x="160" y="8"/>
                    <a:pt x="160" y="9"/>
                  </a:cubicBezTo>
                  <a:cubicBezTo>
                    <a:pt x="161" y="11"/>
                    <a:pt x="158" y="12"/>
                    <a:pt x="157" y="13"/>
                  </a:cubicBezTo>
                  <a:cubicBezTo>
                    <a:pt x="157" y="14"/>
                    <a:pt x="157" y="17"/>
                    <a:pt x="158" y="18"/>
                  </a:cubicBezTo>
                  <a:cubicBezTo>
                    <a:pt x="156" y="16"/>
                    <a:pt x="154" y="19"/>
                    <a:pt x="153" y="20"/>
                  </a:cubicBezTo>
                  <a:cubicBezTo>
                    <a:pt x="152" y="21"/>
                    <a:pt x="151" y="22"/>
                    <a:pt x="150" y="22"/>
                  </a:cubicBezTo>
                  <a:cubicBezTo>
                    <a:pt x="149" y="22"/>
                    <a:pt x="146" y="22"/>
                    <a:pt x="146" y="22"/>
                  </a:cubicBezTo>
                  <a:cubicBezTo>
                    <a:pt x="145" y="21"/>
                    <a:pt x="145" y="20"/>
                    <a:pt x="145" y="19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4" y="17"/>
                    <a:pt x="142" y="16"/>
                    <a:pt x="141" y="16"/>
                  </a:cubicBezTo>
                  <a:cubicBezTo>
                    <a:pt x="139" y="15"/>
                    <a:pt x="139" y="15"/>
                    <a:pt x="140" y="13"/>
                  </a:cubicBezTo>
                  <a:cubicBezTo>
                    <a:pt x="141" y="12"/>
                    <a:pt x="141" y="11"/>
                    <a:pt x="142" y="10"/>
                  </a:cubicBezTo>
                  <a:cubicBezTo>
                    <a:pt x="142" y="8"/>
                    <a:pt x="139" y="4"/>
                    <a:pt x="137" y="4"/>
                  </a:cubicBezTo>
                  <a:cubicBezTo>
                    <a:pt x="136" y="3"/>
                    <a:pt x="135" y="2"/>
                    <a:pt x="134" y="1"/>
                  </a:cubicBezTo>
                  <a:cubicBezTo>
                    <a:pt x="133" y="0"/>
                    <a:pt x="133" y="0"/>
                    <a:pt x="131" y="1"/>
                  </a:cubicBezTo>
                  <a:cubicBezTo>
                    <a:pt x="130" y="1"/>
                    <a:pt x="129" y="3"/>
                    <a:pt x="128" y="4"/>
                  </a:cubicBezTo>
                  <a:cubicBezTo>
                    <a:pt x="126" y="5"/>
                    <a:pt x="123" y="6"/>
                    <a:pt x="121" y="6"/>
                  </a:cubicBezTo>
                  <a:cubicBezTo>
                    <a:pt x="122" y="7"/>
                    <a:pt x="124" y="8"/>
                    <a:pt x="126" y="9"/>
                  </a:cubicBezTo>
                  <a:cubicBezTo>
                    <a:pt x="126" y="10"/>
                    <a:pt x="130" y="12"/>
                    <a:pt x="129" y="13"/>
                  </a:cubicBezTo>
                  <a:cubicBezTo>
                    <a:pt x="129" y="14"/>
                    <a:pt x="128" y="14"/>
                    <a:pt x="127" y="15"/>
                  </a:cubicBezTo>
                  <a:cubicBezTo>
                    <a:pt x="125" y="16"/>
                    <a:pt x="123" y="17"/>
                    <a:pt x="121" y="17"/>
                  </a:cubicBezTo>
                  <a:cubicBezTo>
                    <a:pt x="120" y="18"/>
                    <a:pt x="118" y="19"/>
                    <a:pt x="117" y="20"/>
                  </a:cubicBezTo>
                  <a:cubicBezTo>
                    <a:pt x="116" y="20"/>
                    <a:pt x="116" y="21"/>
                    <a:pt x="115" y="20"/>
                  </a:cubicBezTo>
                  <a:cubicBezTo>
                    <a:pt x="114" y="19"/>
                    <a:pt x="113" y="21"/>
                    <a:pt x="112" y="21"/>
                  </a:cubicBezTo>
                  <a:cubicBezTo>
                    <a:pt x="111" y="22"/>
                    <a:pt x="110" y="21"/>
                    <a:pt x="109" y="21"/>
                  </a:cubicBezTo>
                  <a:cubicBezTo>
                    <a:pt x="108" y="21"/>
                    <a:pt x="105" y="22"/>
                    <a:pt x="105" y="23"/>
                  </a:cubicBezTo>
                  <a:cubicBezTo>
                    <a:pt x="105" y="23"/>
                    <a:pt x="105" y="24"/>
                    <a:pt x="105" y="24"/>
                  </a:cubicBezTo>
                  <a:cubicBezTo>
                    <a:pt x="104" y="25"/>
                    <a:pt x="103" y="26"/>
                    <a:pt x="102" y="26"/>
                  </a:cubicBezTo>
                  <a:cubicBezTo>
                    <a:pt x="101" y="27"/>
                    <a:pt x="101" y="28"/>
                    <a:pt x="100" y="28"/>
                  </a:cubicBezTo>
                  <a:cubicBezTo>
                    <a:pt x="99" y="28"/>
                    <a:pt x="98" y="28"/>
                    <a:pt x="97" y="28"/>
                  </a:cubicBezTo>
                  <a:cubicBezTo>
                    <a:pt x="96" y="28"/>
                    <a:pt x="94" y="29"/>
                    <a:pt x="93" y="29"/>
                  </a:cubicBezTo>
                  <a:cubicBezTo>
                    <a:pt x="91" y="29"/>
                    <a:pt x="90" y="30"/>
                    <a:pt x="88" y="30"/>
                  </a:cubicBezTo>
                  <a:cubicBezTo>
                    <a:pt x="87" y="30"/>
                    <a:pt x="87" y="30"/>
                    <a:pt x="86" y="30"/>
                  </a:cubicBezTo>
                  <a:cubicBezTo>
                    <a:pt x="85" y="30"/>
                    <a:pt x="84" y="31"/>
                    <a:pt x="83" y="32"/>
                  </a:cubicBezTo>
                  <a:cubicBezTo>
                    <a:pt x="83" y="32"/>
                    <a:pt x="82" y="32"/>
                    <a:pt x="82" y="33"/>
                  </a:cubicBezTo>
                  <a:cubicBezTo>
                    <a:pt x="81" y="34"/>
                    <a:pt x="81" y="36"/>
                    <a:pt x="81" y="37"/>
                  </a:cubicBezTo>
                  <a:cubicBezTo>
                    <a:pt x="81" y="38"/>
                    <a:pt x="82" y="40"/>
                    <a:pt x="81" y="40"/>
                  </a:cubicBezTo>
                  <a:cubicBezTo>
                    <a:pt x="80" y="41"/>
                    <a:pt x="79" y="41"/>
                    <a:pt x="78" y="41"/>
                  </a:cubicBezTo>
                  <a:cubicBezTo>
                    <a:pt x="78" y="41"/>
                    <a:pt x="76" y="41"/>
                    <a:pt x="75" y="41"/>
                  </a:cubicBezTo>
                  <a:cubicBezTo>
                    <a:pt x="75" y="40"/>
                    <a:pt x="75" y="38"/>
                    <a:pt x="74" y="38"/>
                  </a:cubicBezTo>
                  <a:cubicBezTo>
                    <a:pt x="74" y="37"/>
                    <a:pt x="72" y="36"/>
                    <a:pt x="71" y="38"/>
                  </a:cubicBezTo>
                  <a:cubicBezTo>
                    <a:pt x="71" y="38"/>
                    <a:pt x="71" y="39"/>
                    <a:pt x="71" y="40"/>
                  </a:cubicBezTo>
                  <a:cubicBezTo>
                    <a:pt x="71" y="40"/>
                    <a:pt x="71" y="40"/>
                    <a:pt x="71" y="41"/>
                  </a:cubicBezTo>
                  <a:cubicBezTo>
                    <a:pt x="70" y="42"/>
                    <a:pt x="70" y="43"/>
                    <a:pt x="70" y="44"/>
                  </a:cubicBezTo>
                  <a:cubicBezTo>
                    <a:pt x="68" y="44"/>
                    <a:pt x="66" y="41"/>
                    <a:pt x="65" y="43"/>
                  </a:cubicBezTo>
                  <a:cubicBezTo>
                    <a:pt x="64" y="43"/>
                    <a:pt x="64" y="44"/>
                    <a:pt x="64" y="45"/>
                  </a:cubicBezTo>
                  <a:cubicBezTo>
                    <a:pt x="64" y="46"/>
                    <a:pt x="63" y="46"/>
                    <a:pt x="63" y="47"/>
                  </a:cubicBezTo>
                  <a:cubicBezTo>
                    <a:pt x="63" y="47"/>
                    <a:pt x="62" y="48"/>
                    <a:pt x="61" y="48"/>
                  </a:cubicBezTo>
                  <a:cubicBezTo>
                    <a:pt x="61" y="48"/>
                    <a:pt x="61" y="49"/>
                    <a:pt x="61" y="49"/>
                  </a:cubicBezTo>
                  <a:cubicBezTo>
                    <a:pt x="61" y="49"/>
                    <a:pt x="60" y="49"/>
                    <a:pt x="60" y="49"/>
                  </a:cubicBezTo>
                  <a:cubicBezTo>
                    <a:pt x="57" y="49"/>
                    <a:pt x="57" y="49"/>
                    <a:pt x="55" y="51"/>
                  </a:cubicBezTo>
                  <a:cubicBezTo>
                    <a:pt x="55" y="52"/>
                    <a:pt x="54" y="53"/>
                    <a:pt x="53" y="54"/>
                  </a:cubicBezTo>
                  <a:cubicBezTo>
                    <a:pt x="52" y="55"/>
                    <a:pt x="51" y="55"/>
                    <a:pt x="51" y="56"/>
                  </a:cubicBezTo>
                  <a:cubicBezTo>
                    <a:pt x="50" y="57"/>
                    <a:pt x="50" y="58"/>
                    <a:pt x="49" y="57"/>
                  </a:cubicBezTo>
                  <a:cubicBezTo>
                    <a:pt x="49" y="57"/>
                    <a:pt x="48" y="56"/>
                    <a:pt x="48" y="56"/>
                  </a:cubicBezTo>
                  <a:cubicBezTo>
                    <a:pt x="46" y="55"/>
                    <a:pt x="45" y="56"/>
                    <a:pt x="44" y="56"/>
                  </a:cubicBezTo>
                  <a:cubicBezTo>
                    <a:pt x="43" y="56"/>
                    <a:pt x="43" y="55"/>
                    <a:pt x="42" y="55"/>
                  </a:cubicBezTo>
                  <a:cubicBezTo>
                    <a:pt x="42" y="55"/>
                    <a:pt x="40" y="55"/>
                    <a:pt x="39" y="55"/>
                  </a:cubicBezTo>
                  <a:cubicBezTo>
                    <a:pt x="39" y="55"/>
                    <a:pt x="39" y="57"/>
                    <a:pt x="38" y="57"/>
                  </a:cubicBezTo>
                  <a:cubicBezTo>
                    <a:pt x="37" y="59"/>
                    <a:pt x="36" y="59"/>
                    <a:pt x="34" y="59"/>
                  </a:cubicBezTo>
                  <a:cubicBezTo>
                    <a:pt x="33" y="59"/>
                    <a:pt x="33" y="60"/>
                    <a:pt x="32" y="59"/>
                  </a:cubicBezTo>
                  <a:cubicBezTo>
                    <a:pt x="31" y="59"/>
                    <a:pt x="31" y="58"/>
                    <a:pt x="30" y="58"/>
                  </a:cubicBezTo>
                  <a:cubicBezTo>
                    <a:pt x="29" y="57"/>
                    <a:pt x="29" y="59"/>
                    <a:pt x="28" y="59"/>
                  </a:cubicBezTo>
                  <a:cubicBezTo>
                    <a:pt x="27" y="60"/>
                    <a:pt x="26" y="60"/>
                    <a:pt x="26" y="61"/>
                  </a:cubicBezTo>
                  <a:cubicBezTo>
                    <a:pt x="24" y="61"/>
                    <a:pt x="23" y="63"/>
                    <a:pt x="22" y="64"/>
                  </a:cubicBezTo>
                  <a:cubicBezTo>
                    <a:pt x="20" y="65"/>
                    <a:pt x="18" y="66"/>
                    <a:pt x="17" y="68"/>
                  </a:cubicBezTo>
                  <a:cubicBezTo>
                    <a:pt x="16" y="69"/>
                    <a:pt x="15" y="70"/>
                    <a:pt x="15" y="70"/>
                  </a:cubicBezTo>
                  <a:cubicBezTo>
                    <a:pt x="15" y="71"/>
                    <a:pt x="15" y="72"/>
                    <a:pt x="15" y="73"/>
                  </a:cubicBezTo>
                  <a:cubicBezTo>
                    <a:pt x="15" y="74"/>
                    <a:pt x="14" y="74"/>
                    <a:pt x="13" y="76"/>
                  </a:cubicBezTo>
                  <a:cubicBezTo>
                    <a:pt x="13" y="77"/>
                    <a:pt x="13" y="78"/>
                    <a:pt x="12" y="79"/>
                  </a:cubicBezTo>
                  <a:cubicBezTo>
                    <a:pt x="12" y="78"/>
                    <a:pt x="12" y="78"/>
                    <a:pt x="12" y="77"/>
                  </a:cubicBezTo>
                  <a:cubicBezTo>
                    <a:pt x="11" y="76"/>
                    <a:pt x="11" y="77"/>
                    <a:pt x="11" y="76"/>
                  </a:cubicBezTo>
                  <a:cubicBezTo>
                    <a:pt x="11" y="76"/>
                    <a:pt x="11" y="75"/>
                    <a:pt x="11" y="75"/>
                  </a:cubicBezTo>
                  <a:cubicBezTo>
                    <a:pt x="10" y="74"/>
                    <a:pt x="9" y="74"/>
                    <a:pt x="9" y="73"/>
                  </a:cubicBezTo>
                  <a:cubicBezTo>
                    <a:pt x="8" y="72"/>
                    <a:pt x="8" y="71"/>
                    <a:pt x="8" y="70"/>
                  </a:cubicBezTo>
                  <a:cubicBezTo>
                    <a:pt x="8" y="68"/>
                    <a:pt x="7" y="64"/>
                    <a:pt x="5" y="65"/>
                  </a:cubicBezTo>
                  <a:cubicBezTo>
                    <a:pt x="3" y="66"/>
                    <a:pt x="3" y="66"/>
                    <a:pt x="2" y="67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9"/>
                    <a:pt x="2" y="69"/>
                    <a:pt x="1" y="69"/>
                  </a:cubicBezTo>
                  <a:cubicBezTo>
                    <a:pt x="0" y="73"/>
                    <a:pt x="6" y="73"/>
                    <a:pt x="6" y="76"/>
                  </a:cubicBezTo>
                  <a:cubicBezTo>
                    <a:pt x="7" y="78"/>
                    <a:pt x="7" y="80"/>
                    <a:pt x="7" y="81"/>
                  </a:cubicBezTo>
                  <a:cubicBezTo>
                    <a:pt x="7" y="83"/>
                    <a:pt x="7" y="84"/>
                    <a:pt x="8" y="86"/>
                  </a:cubicBezTo>
                  <a:cubicBezTo>
                    <a:pt x="8" y="88"/>
                    <a:pt x="9" y="87"/>
                    <a:pt x="11" y="88"/>
                  </a:cubicBezTo>
                  <a:cubicBezTo>
                    <a:pt x="13" y="89"/>
                    <a:pt x="12" y="91"/>
                    <a:pt x="14" y="92"/>
                  </a:cubicBezTo>
                  <a:cubicBezTo>
                    <a:pt x="14" y="93"/>
                    <a:pt x="16" y="93"/>
                    <a:pt x="17" y="94"/>
                  </a:cubicBezTo>
                  <a:cubicBezTo>
                    <a:pt x="18" y="95"/>
                    <a:pt x="18" y="96"/>
                    <a:pt x="20" y="96"/>
                  </a:cubicBezTo>
                  <a:cubicBezTo>
                    <a:pt x="21" y="97"/>
                    <a:pt x="23" y="97"/>
                    <a:pt x="24" y="99"/>
                  </a:cubicBezTo>
                  <a:cubicBezTo>
                    <a:pt x="24" y="100"/>
                    <a:pt x="23" y="101"/>
                    <a:pt x="23" y="102"/>
                  </a:cubicBezTo>
                  <a:cubicBezTo>
                    <a:pt x="23" y="103"/>
                    <a:pt x="23" y="104"/>
                    <a:pt x="23" y="105"/>
                  </a:cubicBezTo>
                  <a:cubicBezTo>
                    <a:pt x="23" y="106"/>
                    <a:pt x="22" y="107"/>
                    <a:pt x="21" y="108"/>
                  </a:cubicBezTo>
                  <a:cubicBezTo>
                    <a:pt x="21" y="108"/>
                    <a:pt x="20" y="109"/>
                    <a:pt x="20" y="110"/>
                  </a:cubicBezTo>
                  <a:cubicBezTo>
                    <a:pt x="19" y="111"/>
                    <a:pt x="18" y="112"/>
                    <a:pt x="18" y="113"/>
                  </a:cubicBezTo>
                  <a:cubicBezTo>
                    <a:pt x="17" y="114"/>
                    <a:pt x="17" y="116"/>
                    <a:pt x="18" y="117"/>
                  </a:cubicBezTo>
                  <a:cubicBezTo>
                    <a:pt x="20" y="118"/>
                    <a:pt x="21" y="119"/>
                    <a:pt x="22" y="120"/>
                  </a:cubicBezTo>
                  <a:cubicBezTo>
                    <a:pt x="23" y="121"/>
                    <a:pt x="24" y="123"/>
                    <a:pt x="24" y="124"/>
                  </a:cubicBezTo>
                  <a:cubicBezTo>
                    <a:pt x="25" y="126"/>
                    <a:pt x="26" y="128"/>
                    <a:pt x="27" y="130"/>
                  </a:cubicBezTo>
                  <a:cubicBezTo>
                    <a:pt x="27" y="131"/>
                    <a:pt x="27" y="131"/>
                    <a:pt x="28" y="132"/>
                  </a:cubicBezTo>
                  <a:cubicBezTo>
                    <a:pt x="28" y="133"/>
                    <a:pt x="28" y="136"/>
                    <a:pt x="29" y="137"/>
                  </a:cubicBezTo>
                  <a:cubicBezTo>
                    <a:pt x="29" y="139"/>
                    <a:pt x="29" y="139"/>
                    <a:pt x="30" y="140"/>
                  </a:cubicBezTo>
                  <a:cubicBezTo>
                    <a:pt x="31" y="141"/>
                    <a:pt x="32" y="142"/>
                    <a:pt x="33" y="144"/>
                  </a:cubicBezTo>
                  <a:cubicBezTo>
                    <a:pt x="33" y="145"/>
                    <a:pt x="33" y="145"/>
                    <a:pt x="34" y="145"/>
                  </a:cubicBezTo>
                  <a:cubicBezTo>
                    <a:pt x="34" y="146"/>
                    <a:pt x="36" y="146"/>
                    <a:pt x="37" y="147"/>
                  </a:cubicBezTo>
                  <a:cubicBezTo>
                    <a:pt x="38" y="147"/>
                    <a:pt x="38" y="148"/>
                    <a:pt x="40" y="148"/>
                  </a:cubicBezTo>
                  <a:cubicBezTo>
                    <a:pt x="40" y="148"/>
                    <a:pt x="42" y="147"/>
                    <a:pt x="42" y="147"/>
                  </a:cubicBezTo>
                  <a:cubicBezTo>
                    <a:pt x="43" y="148"/>
                    <a:pt x="43" y="148"/>
                    <a:pt x="44" y="148"/>
                  </a:cubicBezTo>
                  <a:cubicBezTo>
                    <a:pt x="45" y="150"/>
                    <a:pt x="47" y="151"/>
                    <a:pt x="48" y="152"/>
                  </a:cubicBezTo>
                  <a:cubicBezTo>
                    <a:pt x="49" y="153"/>
                    <a:pt x="50" y="155"/>
                    <a:pt x="51" y="156"/>
                  </a:cubicBezTo>
                  <a:cubicBezTo>
                    <a:pt x="53" y="159"/>
                    <a:pt x="54" y="161"/>
                    <a:pt x="54" y="164"/>
                  </a:cubicBezTo>
                  <a:cubicBezTo>
                    <a:pt x="54" y="164"/>
                    <a:pt x="54" y="164"/>
                    <a:pt x="54" y="165"/>
                  </a:cubicBezTo>
                  <a:cubicBezTo>
                    <a:pt x="55" y="166"/>
                    <a:pt x="58" y="166"/>
                    <a:pt x="59" y="167"/>
                  </a:cubicBezTo>
                  <a:cubicBezTo>
                    <a:pt x="60" y="167"/>
                    <a:pt x="62" y="168"/>
                    <a:pt x="63" y="169"/>
                  </a:cubicBezTo>
                  <a:cubicBezTo>
                    <a:pt x="63" y="169"/>
                    <a:pt x="63" y="169"/>
                    <a:pt x="63" y="170"/>
                  </a:cubicBezTo>
                  <a:cubicBezTo>
                    <a:pt x="64" y="170"/>
                    <a:pt x="65" y="171"/>
                    <a:pt x="66" y="171"/>
                  </a:cubicBezTo>
                  <a:cubicBezTo>
                    <a:pt x="66" y="172"/>
                    <a:pt x="67" y="173"/>
                    <a:pt x="67" y="174"/>
                  </a:cubicBezTo>
                  <a:cubicBezTo>
                    <a:pt x="68" y="175"/>
                    <a:pt x="69" y="176"/>
                    <a:pt x="69" y="177"/>
                  </a:cubicBezTo>
                  <a:cubicBezTo>
                    <a:pt x="71" y="183"/>
                    <a:pt x="77" y="176"/>
                    <a:pt x="79" y="181"/>
                  </a:cubicBezTo>
                  <a:cubicBezTo>
                    <a:pt x="79" y="182"/>
                    <a:pt x="79" y="183"/>
                    <a:pt x="80" y="184"/>
                  </a:cubicBezTo>
                  <a:cubicBezTo>
                    <a:pt x="81" y="184"/>
                    <a:pt x="82" y="185"/>
                    <a:pt x="83" y="186"/>
                  </a:cubicBezTo>
                  <a:cubicBezTo>
                    <a:pt x="84" y="187"/>
                    <a:pt x="85" y="188"/>
                    <a:pt x="86" y="188"/>
                  </a:cubicBezTo>
                  <a:cubicBezTo>
                    <a:pt x="86" y="189"/>
                    <a:pt x="87" y="189"/>
                    <a:pt x="88" y="190"/>
                  </a:cubicBezTo>
                  <a:cubicBezTo>
                    <a:pt x="88" y="190"/>
                    <a:pt x="89" y="192"/>
                    <a:pt x="89" y="193"/>
                  </a:cubicBezTo>
                  <a:cubicBezTo>
                    <a:pt x="89" y="193"/>
                    <a:pt x="89" y="193"/>
                    <a:pt x="89" y="193"/>
                  </a:cubicBezTo>
                  <a:cubicBezTo>
                    <a:pt x="90" y="193"/>
                    <a:pt x="90" y="194"/>
                    <a:pt x="91" y="194"/>
                  </a:cubicBezTo>
                  <a:cubicBezTo>
                    <a:pt x="92" y="195"/>
                    <a:pt x="94" y="195"/>
                    <a:pt x="95" y="196"/>
                  </a:cubicBezTo>
                  <a:cubicBezTo>
                    <a:pt x="96" y="197"/>
                    <a:pt x="97" y="198"/>
                    <a:pt x="97" y="198"/>
                  </a:cubicBezTo>
                  <a:cubicBezTo>
                    <a:pt x="98" y="199"/>
                    <a:pt x="99" y="200"/>
                    <a:pt x="99" y="201"/>
                  </a:cubicBezTo>
                  <a:cubicBezTo>
                    <a:pt x="101" y="201"/>
                    <a:pt x="101" y="203"/>
                    <a:pt x="101" y="204"/>
                  </a:cubicBezTo>
                  <a:cubicBezTo>
                    <a:pt x="101" y="205"/>
                    <a:pt x="101" y="206"/>
                    <a:pt x="102" y="207"/>
                  </a:cubicBezTo>
                  <a:cubicBezTo>
                    <a:pt x="102" y="208"/>
                    <a:pt x="104" y="209"/>
                    <a:pt x="104" y="209"/>
                  </a:cubicBezTo>
                  <a:cubicBezTo>
                    <a:pt x="105" y="210"/>
                    <a:pt x="106" y="209"/>
                    <a:pt x="107" y="210"/>
                  </a:cubicBezTo>
                  <a:cubicBezTo>
                    <a:pt x="108" y="210"/>
                    <a:pt x="108" y="210"/>
                    <a:pt x="108" y="210"/>
                  </a:cubicBezTo>
                  <a:cubicBezTo>
                    <a:pt x="109" y="210"/>
                    <a:pt x="110" y="210"/>
                    <a:pt x="111" y="210"/>
                  </a:cubicBezTo>
                  <a:cubicBezTo>
                    <a:pt x="112" y="210"/>
                    <a:pt x="113" y="210"/>
                    <a:pt x="114" y="210"/>
                  </a:cubicBezTo>
                  <a:cubicBezTo>
                    <a:pt x="115" y="210"/>
                    <a:pt x="116" y="209"/>
                    <a:pt x="117" y="209"/>
                  </a:cubicBezTo>
                  <a:cubicBezTo>
                    <a:pt x="118" y="209"/>
                    <a:pt x="119" y="209"/>
                    <a:pt x="119" y="209"/>
                  </a:cubicBezTo>
                  <a:cubicBezTo>
                    <a:pt x="120" y="208"/>
                    <a:pt x="120" y="204"/>
                    <a:pt x="123" y="204"/>
                  </a:cubicBezTo>
                  <a:cubicBezTo>
                    <a:pt x="124" y="204"/>
                    <a:pt x="125" y="205"/>
                    <a:pt x="126" y="206"/>
                  </a:cubicBezTo>
                  <a:cubicBezTo>
                    <a:pt x="126" y="207"/>
                    <a:pt x="126" y="207"/>
                    <a:pt x="127" y="208"/>
                  </a:cubicBezTo>
                  <a:cubicBezTo>
                    <a:pt x="127" y="208"/>
                    <a:pt x="128" y="208"/>
                    <a:pt x="128" y="209"/>
                  </a:cubicBezTo>
                  <a:cubicBezTo>
                    <a:pt x="128" y="209"/>
                    <a:pt x="128" y="209"/>
                    <a:pt x="129" y="209"/>
                  </a:cubicBezTo>
                  <a:cubicBezTo>
                    <a:pt x="129" y="210"/>
                    <a:pt x="130" y="209"/>
                    <a:pt x="131" y="209"/>
                  </a:cubicBezTo>
                  <a:cubicBezTo>
                    <a:pt x="131" y="209"/>
                    <a:pt x="132" y="209"/>
                    <a:pt x="133" y="209"/>
                  </a:cubicBezTo>
                  <a:cubicBezTo>
                    <a:pt x="134" y="209"/>
                    <a:pt x="135" y="208"/>
                    <a:pt x="136" y="207"/>
                  </a:cubicBezTo>
                  <a:cubicBezTo>
                    <a:pt x="138" y="205"/>
                    <a:pt x="138" y="202"/>
                    <a:pt x="139" y="199"/>
                  </a:cubicBezTo>
                  <a:cubicBezTo>
                    <a:pt x="139" y="197"/>
                    <a:pt x="141" y="197"/>
                    <a:pt x="141" y="195"/>
                  </a:cubicBezTo>
                  <a:cubicBezTo>
                    <a:pt x="142" y="195"/>
                    <a:pt x="142" y="193"/>
                    <a:pt x="142" y="193"/>
                  </a:cubicBezTo>
                  <a:cubicBezTo>
                    <a:pt x="143" y="192"/>
                    <a:pt x="145" y="192"/>
                    <a:pt x="147" y="193"/>
                  </a:cubicBezTo>
                  <a:cubicBezTo>
                    <a:pt x="148" y="194"/>
                    <a:pt x="150" y="194"/>
                    <a:pt x="151" y="192"/>
                  </a:cubicBezTo>
                  <a:cubicBezTo>
                    <a:pt x="151" y="191"/>
                    <a:pt x="150" y="190"/>
                    <a:pt x="150" y="188"/>
                  </a:cubicBezTo>
                  <a:cubicBezTo>
                    <a:pt x="149" y="186"/>
                    <a:pt x="150" y="184"/>
                    <a:pt x="150" y="183"/>
                  </a:cubicBezTo>
                  <a:cubicBezTo>
                    <a:pt x="150" y="180"/>
                    <a:pt x="152" y="178"/>
                    <a:pt x="153" y="176"/>
                  </a:cubicBezTo>
                  <a:cubicBezTo>
                    <a:pt x="153" y="175"/>
                    <a:pt x="153" y="175"/>
                    <a:pt x="154" y="175"/>
                  </a:cubicBezTo>
                  <a:cubicBezTo>
                    <a:pt x="155" y="175"/>
                    <a:pt x="156" y="175"/>
                    <a:pt x="157" y="175"/>
                  </a:cubicBezTo>
                  <a:cubicBezTo>
                    <a:pt x="159" y="175"/>
                    <a:pt x="158" y="177"/>
                    <a:pt x="159" y="178"/>
                  </a:cubicBezTo>
                  <a:cubicBezTo>
                    <a:pt x="161" y="180"/>
                    <a:pt x="163" y="180"/>
                    <a:pt x="165" y="179"/>
                  </a:cubicBezTo>
                  <a:cubicBezTo>
                    <a:pt x="167" y="179"/>
                    <a:pt x="166" y="177"/>
                    <a:pt x="166" y="176"/>
                  </a:cubicBezTo>
                  <a:cubicBezTo>
                    <a:pt x="167" y="175"/>
                    <a:pt x="171" y="175"/>
                    <a:pt x="171" y="177"/>
                  </a:cubicBezTo>
                  <a:cubicBezTo>
                    <a:pt x="171" y="177"/>
                    <a:pt x="172" y="178"/>
                    <a:pt x="172" y="178"/>
                  </a:cubicBezTo>
                  <a:cubicBezTo>
                    <a:pt x="174" y="179"/>
                    <a:pt x="175" y="179"/>
                    <a:pt x="177" y="180"/>
                  </a:cubicBezTo>
                  <a:cubicBezTo>
                    <a:pt x="179" y="181"/>
                    <a:pt x="183" y="182"/>
                    <a:pt x="185" y="184"/>
                  </a:cubicBezTo>
                  <a:cubicBezTo>
                    <a:pt x="186" y="185"/>
                    <a:pt x="186" y="186"/>
                    <a:pt x="187" y="187"/>
                  </a:cubicBezTo>
                  <a:cubicBezTo>
                    <a:pt x="188" y="187"/>
                    <a:pt x="190" y="187"/>
                    <a:pt x="192" y="187"/>
                  </a:cubicBezTo>
                  <a:cubicBezTo>
                    <a:pt x="192" y="187"/>
                    <a:pt x="193" y="187"/>
                    <a:pt x="194" y="187"/>
                  </a:cubicBezTo>
                  <a:cubicBezTo>
                    <a:pt x="195" y="186"/>
                    <a:pt x="195" y="186"/>
                    <a:pt x="196" y="186"/>
                  </a:cubicBezTo>
                  <a:cubicBezTo>
                    <a:pt x="198" y="185"/>
                    <a:pt x="199" y="186"/>
                    <a:pt x="200" y="188"/>
                  </a:cubicBezTo>
                  <a:cubicBezTo>
                    <a:pt x="201" y="189"/>
                    <a:pt x="200" y="191"/>
                    <a:pt x="202" y="192"/>
                  </a:cubicBezTo>
                  <a:cubicBezTo>
                    <a:pt x="204" y="193"/>
                    <a:pt x="207" y="194"/>
                    <a:pt x="210" y="195"/>
                  </a:cubicBezTo>
                  <a:cubicBezTo>
                    <a:pt x="212" y="196"/>
                    <a:pt x="213" y="196"/>
                    <a:pt x="215" y="196"/>
                  </a:cubicBezTo>
                  <a:cubicBezTo>
                    <a:pt x="218" y="196"/>
                    <a:pt x="221" y="197"/>
                    <a:pt x="224" y="196"/>
                  </a:cubicBezTo>
                  <a:cubicBezTo>
                    <a:pt x="225" y="196"/>
                    <a:pt x="227" y="195"/>
                    <a:pt x="228" y="194"/>
                  </a:cubicBezTo>
                  <a:cubicBezTo>
                    <a:pt x="229" y="192"/>
                    <a:pt x="228" y="190"/>
                    <a:pt x="230" y="190"/>
                  </a:cubicBezTo>
                  <a:cubicBezTo>
                    <a:pt x="232" y="189"/>
                    <a:pt x="233" y="190"/>
                    <a:pt x="234" y="191"/>
                  </a:cubicBezTo>
                  <a:cubicBezTo>
                    <a:pt x="235" y="193"/>
                    <a:pt x="237" y="192"/>
                    <a:pt x="238" y="193"/>
                  </a:cubicBezTo>
                  <a:cubicBezTo>
                    <a:pt x="239" y="194"/>
                    <a:pt x="239" y="194"/>
                    <a:pt x="240" y="195"/>
                  </a:cubicBezTo>
                  <a:cubicBezTo>
                    <a:pt x="240" y="196"/>
                    <a:pt x="240" y="197"/>
                    <a:pt x="240" y="197"/>
                  </a:cubicBezTo>
                  <a:cubicBezTo>
                    <a:pt x="241" y="200"/>
                    <a:pt x="247" y="198"/>
                    <a:pt x="249" y="198"/>
                  </a:cubicBezTo>
                  <a:cubicBezTo>
                    <a:pt x="250" y="198"/>
                    <a:pt x="252" y="198"/>
                    <a:pt x="253" y="199"/>
                  </a:cubicBezTo>
                  <a:cubicBezTo>
                    <a:pt x="254" y="199"/>
                    <a:pt x="254" y="200"/>
                    <a:pt x="254" y="200"/>
                  </a:cubicBezTo>
                  <a:cubicBezTo>
                    <a:pt x="255" y="200"/>
                    <a:pt x="255" y="201"/>
                    <a:pt x="255" y="201"/>
                  </a:cubicBezTo>
                  <a:cubicBezTo>
                    <a:pt x="256" y="201"/>
                    <a:pt x="256" y="201"/>
                    <a:pt x="256" y="201"/>
                  </a:cubicBezTo>
                  <a:cubicBezTo>
                    <a:pt x="256" y="201"/>
                    <a:pt x="256" y="201"/>
                    <a:pt x="256" y="201"/>
                  </a:cubicBezTo>
                  <a:cubicBezTo>
                    <a:pt x="256" y="202"/>
                    <a:pt x="256" y="202"/>
                    <a:pt x="257" y="203"/>
                  </a:cubicBezTo>
                  <a:cubicBezTo>
                    <a:pt x="258" y="203"/>
                    <a:pt x="259" y="202"/>
                    <a:pt x="261" y="20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3" name="Freeform 23"/>
            <p:cNvSpPr>
              <a:spLocks/>
            </p:cNvSpPr>
            <p:nvPr/>
          </p:nvSpPr>
          <p:spPr bwMode="auto">
            <a:xfrm>
              <a:off x="5159375" y="4606925"/>
              <a:ext cx="604838" cy="287338"/>
            </a:xfrm>
            <a:custGeom>
              <a:avLst/>
              <a:gdLst/>
              <a:ahLst/>
              <a:cxnLst>
                <a:cxn ang="0">
                  <a:pos x="23" y="143"/>
                </a:cxn>
                <a:cxn ang="0">
                  <a:pos x="37" y="152"/>
                </a:cxn>
                <a:cxn ang="0">
                  <a:pos x="76" y="151"/>
                </a:cxn>
                <a:cxn ang="0">
                  <a:pos x="90" y="147"/>
                </a:cxn>
                <a:cxn ang="0">
                  <a:pos x="93" y="130"/>
                </a:cxn>
                <a:cxn ang="0">
                  <a:pos x="118" y="125"/>
                </a:cxn>
                <a:cxn ang="0">
                  <a:pos x="133" y="115"/>
                </a:cxn>
                <a:cxn ang="0">
                  <a:pos x="144" y="116"/>
                </a:cxn>
                <a:cxn ang="0">
                  <a:pos x="161" y="116"/>
                </a:cxn>
                <a:cxn ang="0">
                  <a:pos x="173" y="111"/>
                </a:cxn>
                <a:cxn ang="0">
                  <a:pos x="182" y="94"/>
                </a:cxn>
                <a:cxn ang="0">
                  <a:pos x="207" y="89"/>
                </a:cxn>
                <a:cxn ang="0">
                  <a:pos x="221" y="91"/>
                </a:cxn>
                <a:cxn ang="0">
                  <a:pos x="236" y="88"/>
                </a:cxn>
                <a:cxn ang="0">
                  <a:pos x="248" y="102"/>
                </a:cxn>
                <a:cxn ang="0">
                  <a:pos x="262" y="102"/>
                </a:cxn>
                <a:cxn ang="0">
                  <a:pos x="275" y="90"/>
                </a:cxn>
                <a:cxn ang="0">
                  <a:pos x="281" y="76"/>
                </a:cxn>
                <a:cxn ang="0">
                  <a:pos x="289" y="57"/>
                </a:cxn>
                <a:cxn ang="0">
                  <a:pos x="301" y="52"/>
                </a:cxn>
                <a:cxn ang="0">
                  <a:pos x="323" y="43"/>
                </a:cxn>
                <a:cxn ang="0">
                  <a:pos x="320" y="40"/>
                </a:cxn>
                <a:cxn ang="0">
                  <a:pos x="298" y="30"/>
                </a:cxn>
                <a:cxn ang="0">
                  <a:pos x="289" y="23"/>
                </a:cxn>
                <a:cxn ang="0">
                  <a:pos x="276" y="16"/>
                </a:cxn>
                <a:cxn ang="0">
                  <a:pos x="255" y="13"/>
                </a:cxn>
                <a:cxn ang="0">
                  <a:pos x="241" y="25"/>
                </a:cxn>
                <a:cxn ang="0">
                  <a:pos x="232" y="22"/>
                </a:cxn>
                <a:cxn ang="0">
                  <a:pos x="212" y="18"/>
                </a:cxn>
                <a:cxn ang="0">
                  <a:pos x="190" y="30"/>
                </a:cxn>
                <a:cxn ang="0">
                  <a:pos x="181" y="32"/>
                </a:cxn>
                <a:cxn ang="0">
                  <a:pos x="175" y="21"/>
                </a:cxn>
                <a:cxn ang="0">
                  <a:pos x="167" y="10"/>
                </a:cxn>
                <a:cxn ang="0">
                  <a:pos x="155" y="4"/>
                </a:cxn>
                <a:cxn ang="0">
                  <a:pos x="142" y="17"/>
                </a:cxn>
                <a:cxn ang="0">
                  <a:pos x="126" y="7"/>
                </a:cxn>
                <a:cxn ang="0">
                  <a:pos x="117" y="9"/>
                </a:cxn>
                <a:cxn ang="0">
                  <a:pos x="105" y="12"/>
                </a:cxn>
                <a:cxn ang="0">
                  <a:pos x="96" y="22"/>
                </a:cxn>
                <a:cxn ang="0">
                  <a:pos x="87" y="28"/>
                </a:cxn>
                <a:cxn ang="0">
                  <a:pos x="78" y="47"/>
                </a:cxn>
                <a:cxn ang="0">
                  <a:pos x="70" y="52"/>
                </a:cxn>
                <a:cxn ang="0">
                  <a:pos x="57" y="62"/>
                </a:cxn>
                <a:cxn ang="0">
                  <a:pos x="51" y="64"/>
                </a:cxn>
                <a:cxn ang="0">
                  <a:pos x="31" y="60"/>
                </a:cxn>
                <a:cxn ang="0">
                  <a:pos x="23" y="69"/>
                </a:cxn>
                <a:cxn ang="0">
                  <a:pos x="8" y="75"/>
                </a:cxn>
                <a:cxn ang="0">
                  <a:pos x="4" y="88"/>
                </a:cxn>
                <a:cxn ang="0">
                  <a:pos x="4" y="101"/>
                </a:cxn>
                <a:cxn ang="0">
                  <a:pos x="9" y="118"/>
                </a:cxn>
                <a:cxn ang="0">
                  <a:pos x="12" y="126"/>
                </a:cxn>
                <a:cxn ang="0">
                  <a:pos x="9" y="135"/>
                </a:cxn>
              </a:cxnLst>
              <a:rect l="0" t="0" r="r" b="b"/>
              <a:pathLst>
                <a:path w="324" h="153">
                  <a:moveTo>
                    <a:pt x="9" y="135"/>
                  </a:moveTo>
                  <a:cubicBezTo>
                    <a:pt x="10" y="135"/>
                    <a:pt x="11" y="135"/>
                    <a:pt x="12" y="136"/>
                  </a:cubicBezTo>
                  <a:cubicBezTo>
                    <a:pt x="14" y="136"/>
                    <a:pt x="16" y="137"/>
                    <a:pt x="17" y="138"/>
                  </a:cubicBezTo>
                  <a:cubicBezTo>
                    <a:pt x="19" y="139"/>
                    <a:pt x="20" y="142"/>
                    <a:pt x="23" y="143"/>
                  </a:cubicBezTo>
                  <a:cubicBezTo>
                    <a:pt x="24" y="143"/>
                    <a:pt x="25" y="143"/>
                    <a:pt x="26" y="143"/>
                  </a:cubicBezTo>
                  <a:cubicBezTo>
                    <a:pt x="28" y="144"/>
                    <a:pt x="29" y="146"/>
                    <a:pt x="30" y="147"/>
                  </a:cubicBezTo>
                  <a:cubicBezTo>
                    <a:pt x="30" y="149"/>
                    <a:pt x="31" y="151"/>
                    <a:pt x="32" y="152"/>
                  </a:cubicBezTo>
                  <a:cubicBezTo>
                    <a:pt x="33" y="153"/>
                    <a:pt x="35" y="152"/>
                    <a:pt x="37" y="152"/>
                  </a:cubicBezTo>
                  <a:cubicBezTo>
                    <a:pt x="44" y="152"/>
                    <a:pt x="51" y="152"/>
                    <a:pt x="59" y="152"/>
                  </a:cubicBezTo>
                  <a:cubicBezTo>
                    <a:pt x="63" y="152"/>
                    <a:pt x="69" y="153"/>
                    <a:pt x="73" y="152"/>
                  </a:cubicBezTo>
                  <a:cubicBezTo>
                    <a:pt x="73" y="152"/>
                    <a:pt x="75" y="151"/>
                    <a:pt x="75" y="151"/>
                  </a:cubicBezTo>
                  <a:cubicBezTo>
                    <a:pt x="75" y="152"/>
                    <a:pt x="76" y="151"/>
                    <a:pt x="76" y="151"/>
                  </a:cubicBezTo>
                  <a:cubicBezTo>
                    <a:pt x="76" y="151"/>
                    <a:pt x="76" y="150"/>
                    <a:pt x="76" y="150"/>
                  </a:cubicBezTo>
                  <a:cubicBezTo>
                    <a:pt x="78" y="149"/>
                    <a:pt x="79" y="149"/>
                    <a:pt x="80" y="149"/>
                  </a:cubicBezTo>
                  <a:cubicBezTo>
                    <a:pt x="82" y="148"/>
                    <a:pt x="83" y="148"/>
                    <a:pt x="85" y="148"/>
                  </a:cubicBezTo>
                  <a:cubicBezTo>
                    <a:pt x="86" y="148"/>
                    <a:pt x="89" y="148"/>
                    <a:pt x="90" y="147"/>
                  </a:cubicBezTo>
                  <a:cubicBezTo>
                    <a:pt x="92" y="147"/>
                    <a:pt x="93" y="145"/>
                    <a:pt x="93" y="144"/>
                  </a:cubicBezTo>
                  <a:cubicBezTo>
                    <a:pt x="92" y="141"/>
                    <a:pt x="89" y="142"/>
                    <a:pt x="89" y="139"/>
                  </a:cubicBezTo>
                  <a:cubicBezTo>
                    <a:pt x="90" y="138"/>
                    <a:pt x="91" y="137"/>
                    <a:pt x="92" y="136"/>
                  </a:cubicBezTo>
                  <a:cubicBezTo>
                    <a:pt x="92" y="134"/>
                    <a:pt x="92" y="132"/>
                    <a:pt x="93" y="130"/>
                  </a:cubicBezTo>
                  <a:cubicBezTo>
                    <a:pt x="93" y="130"/>
                    <a:pt x="95" y="128"/>
                    <a:pt x="96" y="128"/>
                  </a:cubicBezTo>
                  <a:cubicBezTo>
                    <a:pt x="97" y="127"/>
                    <a:pt x="100" y="128"/>
                    <a:pt x="101" y="128"/>
                  </a:cubicBezTo>
                  <a:cubicBezTo>
                    <a:pt x="105" y="127"/>
                    <a:pt x="109" y="126"/>
                    <a:pt x="113" y="126"/>
                  </a:cubicBezTo>
                  <a:cubicBezTo>
                    <a:pt x="114" y="125"/>
                    <a:pt x="116" y="126"/>
                    <a:pt x="118" y="125"/>
                  </a:cubicBezTo>
                  <a:cubicBezTo>
                    <a:pt x="119" y="125"/>
                    <a:pt x="121" y="125"/>
                    <a:pt x="122" y="124"/>
                  </a:cubicBezTo>
                  <a:cubicBezTo>
                    <a:pt x="123" y="124"/>
                    <a:pt x="126" y="125"/>
                    <a:pt x="127" y="124"/>
                  </a:cubicBezTo>
                  <a:cubicBezTo>
                    <a:pt x="128" y="124"/>
                    <a:pt x="130" y="122"/>
                    <a:pt x="130" y="121"/>
                  </a:cubicBezTo>
                  <a:cubicBezTo>
                    <a:pt x="131" y="119"/>
                    <a:pt x="132" y="116"/>
                    <a:pt x="133" y="115"/>
                  </a:cubicBezTo>
                  <a:cubicBezTo>
                    <a:pt x="134" y="114"/>
                    <a:pt x="136" y="114"/>
                    <a:pt x="137" y="114"/>
                  </a:cubicBezTo>
                  <a:cubicBezTo>
                    <a:pt x="138" y="114"/>
                    <a:pt x="141" y="114"/>
                    <a:pt x="141" y="115"/>
                  </a:cubicBezTo>
                  <a:cubicBezTo>
                    <a:pt x="142" y="115"/>
                    <a:pt x="141" y="116"/>
                    <a:pt x="142" y="116"/>
                  </a:cubicBezTo>
                  <a:cubicBezTo>
                    <a:pt x="142" y="117"/>
                    <a:pt x="143" y="116"/>
                    <a:pt x="144" y="116"/>
                  </a:cubicBezTo>
                  <a:cubicBezTo>
                    <a:pt x="146" y="116"/>
                    <a:pt x="149" y="116"/>
                    <a:pt x="150" y="117"/>
                  </a:cubicBezTo>
                  <a:cubicBezTo>
                    <a:pt x="152" y="118"/>
                    <a:pt x="152" y="121"/>
                    <a:pt x="153" y="122"/>
                  </a:cubicBezTo>
                  <a:cubicBezTo>
                    <a:pt x="155" y="121"/>
                    <a:pt x="155" y="119"/>
                    <a:pt x="157" y="117"/>
                  </a:cubicBezTo>
                  <a:cubicBezTo>
                    <a:pt x="158" y="117"/>
                    <a:pt x="159" y="117"/>
                    <a:pt x="161" y="116"/>
                  </a:cubicBezTo>
                  <a:cubicBezTo>
                    <a:pt x="161" y="115"/>
                    <a:pt x="162" y="115"/>
                    <a:pt x="163" y="114"/>
                  </a:cubicBezTo>
                  <a:cubicBezTo>
                    <a:pt x="163" y="114"/>
                    <a:pt x="164" y="114"/>
                    <a:pt x="165" y="114"/>
                  </a:cubicBezTo>
                  <a:cubicBezTo>
                    <a:pt x="167" y="114"/>
                    <a:pt x="168" y="112"/>
                    <a:pt x="170" y="111"/>
                  </a:cubicBezTo>
                  <a:cubicBezTo>
                    <a:pt x="171" y="111"/>
                    <a:pt x="172" y="111"/>
                    <a:pt x="173" y="111"/>
                  </a:cubicBezTo>
                  <a:cubicBezTo>
                    <a:pt x="174" y="111"/>
                    <a:pt x="175" y="110"/>
                    <a:pt x="175" y="109"/>
                  </a:cubicBezTo>
                  <a:cubicBezTo>
                    <a:pt x="177" y="108"/>
                    <a:pt x="178" y="106"/>
                    <a:pt x="179" y="104"/>
                  </a:cubicBezTo>
                  <a:cubicBezTo>
                    <a:pt x="180" y="102"/>
                    <a:pt x="180" y="101"/>
                    <a:pt x="180" y="99"/>
                  </a:cubicBezTo>
                  <a:cubicBezTo>
                    <a:pt x="181" y="97"/>
                    <a:pt x="182" y="96"/>
                    <a:pt x="182" y="94"/>
                  </a:cubicBezTo>
                  <a:cubicBezTo>
                    <a:pt x="183" y="92"/>
                    <a:pt x="182" y="90"/>
                    <a:pt x="183" y="89"/>
                  </a:cubicBezTo>
                  <a:cubicBezTo>
                    <a:pt x="184" y="86"/>
                    <a:pt x="190" y="88"/>
                    <a:pt x="192" y="88"/>
                  </a:cubicBezTo>
                  <a:cubicBezTo>
                    <a:pt x="196" y="88"/>
                    <a:pt x="199" y="88"/>
                    <a:pt x="203" y="88"/>
                  </a:cubicBezTo>
                  <a:cubicBezTo>
                    <a:pt x="205" y="88"/>
                    <a:pt x="206" y="88"/>
                    <a:pt x="207" y="89"/>
                  </a:cubicBezTo>
                  <a:cubicBezTo>
                    <a:pt x="208" y="89"/>
                    <a:pt x="208" y="90"/>
                    <a:pt x="209" y="91"/>
                  </a:cubicBezTo>
                  <a:cubicBezTo>
                    <a:pt x="209" y="91"/>
                    <a:pt x="210" y="91"/>
                    <a:pt x="211" y="91"/>
                  </a:cubicBezTo>
                  <a:cubicBezTo>
                    <a:pt x="213" y="91"/>
                    <a:pt x="215" y="91"/>
                    <a:pt x="216" y="91"/>
                  </a:cubicBezTo>
                  <a:cubicBezTo>
                    <a:pt x="218" y="91"/>
                    <a:pt x="219" y="92"/>
                    <a:pt x="221" y="91"/>
                  </a:cubicBezTo>
                  <a:cubicBezTo>
                    <a:pt x="222" y="91"/>
                    <a:pt x="223" y="89"/>
                    <a:pt x="225" y="89"/>
                  </a:cubicBezTo>
                  <a:cubicBezTo>
                    <a:pt x="226" y="89"/>
                    <a:pt x="227" y="89"/>
                    <a:pt x="228" y="88"/>
                  </a:cubicBezTo>
                  <a:cubicBezTo>
                    <a:pt x="229" y="88"/>
                    <a:pt x="230" y="88"/>
                    <a:pt x="232" y="88"/>
                  </a:cubicBezTo>
                  <a:cubicBezTo>
                    <a:pt x="233" y="88"/>
                    <a:pt x="235" y="87"/>
                    <a:pt x="236" y="88"/>
                  </a:cubicBezTo>
                  <a:cubicBezTo>
                    <a:pt x="237" y="88"/>
                    <a:pt x="237" y="89"/>
                    <a:pt x="237" y="89"/>
                  </a:cubicBezTo>
                  <a:cubicBezTo>
                    <a:pt x="238" y="89"/>
                    <a:pt x="239" y="89"/>
                    <a:pt x="240" y="90"/>
                  </a:cubicBezTo>
                  <a:cubicBezTo>
                    <a:pt x="243" y="92"/>
                    <a:pt x="243" y="96"/>
                    <a:pt x="244" y="99"/>
                  </a:cubicBezTo>
                  <a:cubicBezTo>
                    <a:pt x="245" y="100"/>
                    <a:pt x="247" y="101"/>
                    <a:pt x="248" y="102"/>
                  </a:cubicBezTo>
                  <a:cubicBezTo>
                    <a:pt x="250" y="103"/>
                    <a:pt x="250" y="103"/>
                    <a:pt x="252" y="104"/>
                  </a:cubicBezTo>
                  <a:cubicBezTo>
                    <a:pt x="252" y="105"/>
                    <a:pt x="253" y="106"/>
                    <a:pt x="254" y="107"/>
                  </a:cubicBezTo>
                  <a:cubicBezTo>
                    <a:pt x="256" y="107"/>
                    <a:pt x="257" y="105"/>
                    <a:pt x="258" y="103"/>
                  </a:cubicBezTo>
                  <a:cubicBezTo>
                    <a:pt x="260" y="102"/>
                    <a:pt x="260" y="102"/>
                    <a:pt x="262" y="102"/>
                  </a:cubicBezTo>
                  <a:cubicBezTo>
                    <a:pt x="264" y="102"/>
                    <a:pt x="266" y="103"/>
                    <a:pt x="268" y="102"/>
                  </a:cubicBezTo>
                  <a:cubicBezTo>
                    <a:pt x="269" y="101"/>
                    <a:pt x="270" y="99"/>
                    <a:pt x="270" y="98"/>
                  </a:cubicBezTo>
                  <a:cubicBezTo>
                    <a:pt x="271" y="97"/>
                    <a:pt x="271" y="95"/>
                    <a:pt x="272" y="94"/>
                  </a:cubicBezTo>
                  <a:cubicBezTo>
                    <a:pt x="273" y="92"/>
                    <a:pt x="274" y="91"/>
                    <a:pt x="275" y="90"/>
                  </a:cubicBezTo>
                  <a:cubicBezTo>
                    <a:pt x="276" y="89"/>
                    <a:pt x="276" y="90"/>
                    <a:pt x="276" y="88"/>
                  </a:cubicBezTo>
                  <a:cubicBezTo>
                    <a:pt x="276" y="86"/>
                    <a:pt x="277" y="86"/>
                    <a:pt x="277" y="84"/>
                  </a:cubicBezTo>
                  <a:cubicBezTo>
                    <a:pt x="278" y="83"/>
                    <a:pt x="278" y="82"/>
                    <a:pt x="279" y="80"/>
                  </a:cubicBezTo>
                  <a:cubicBezTo>
                    <a:pt x="279" y="79"/>
                    <a:pt x="280" y="77"/>
                    <a:pt x="281" y="76"/>
                  </a:cubicBezTo>
                  <a:cubicBezTo>
                    <a:pt x="281" y="75"/>
                    <a:pt x="283" y="73"/>
                    <a:pt x="283" y="72"/>
                  </a:cubicBezTo>
                  <a:cubicBezTo>
                    <a:pt x="283" y="70"/>
                    <a:pt x="283" y="69"/>
                    <a:pt x="284" y="67"/>
                  </a:cubicBezTo>
                  <a:cubicBezTo>
                    <a:pt x="284" y="65"/>
                    <a:pt x="285" y="64"/>
                    <a:pt x="286" y="62"/>
                  </a:cubicBezTo>
                  <a:cubicBezTo>
                    <a:pt x="287" y="61"/>
                    <a:pt x="289" y="59"/>
                    <a:pt x="289" y="57"/>
                  </a:cubicBezTo>
                  <a:cubicBezTo>
                    <a:pt x="290" y="56"/>
                    <a:pt x="289" y="56"/>
                    <a:pt x="290" y="55"/>
                  </a:cubicBezTo>
                  <a:cubicBezTo>
                    <a:pt x="290" y="55"/>
                    <a:pt x="291" y="54"/>
                    <a:pt x="292" y="54"/>
                  </a:cubicBezTo>
                  <a:cubicBezTo>
                    <a:pt x="293" y="53"/>
                    <a:pt x="296" y="54"/>
                    <a:pt x="297" y="53"/>
                  </a:cubicBezTo>
                  <a:cubicBezTo>
                    <a:pt x="299" y="53"/>
                    <a:pt x="300" y="52"/>
                    <a:pt x="301" y="52"/>
                  </a:cubicBezTo>
                  <a:cubicBezTo>
                    <a:pt x="303" y="52"/>
                    <a:pt x="305" y="53"/>
                    <a:pt x="307" y="53"/>
                  </a:cubicBezTo>
                  <a:cubicBezTo>
                    <a:pt x="309" y="53"/>
                    <a:pt x="311" y="53"/>
                    <a:pt x="312" y="53"/>
                  </a:cubicBezTo>
                  <a:cubicBezTo>
                    <a:pt x="316" y="52"/>
                    <a:pt x="319" y="51"/>
                    <a:pt x="322" y="47"/>
                  </a:cubicBezTo>
                  <a:cubicBezTo>
                    <a:pt x="322" y="46"/>
                    <a:pt x="323" y="45"/>
                    <a:pt x="323" y="43"/>
                  </a:cubicBezTo>
                  <a:cubicBezTo>
                    <a:pt x="324" y="43"/>
                    <a:pt x="324" y="43"/>
                    <a:pt x="324" y="42"/>
                  </a:cubicBezTo>
                  <a:cubicBezTo>
                    <a:pt x="324" y="42"/>
                    <a:pt x="324" y="42"/>
                    <a:pt x="324" y="42"/>
                  </a:cubicBezTo>
                  <a:cubicBezTo>
                    <a:pt x="323" y="42"/>
                    <a:pt x="322" y="42"/>
                    <a:pt x="322" y="41"/>
                  </a:cubicBezTo>
                  <a:cubicBezTo>
                    <a:pt x="321" y="41"/>
                    <a:pt x="320" y="40"/>
                    <a:pt x="320" y="40"/>
                  </a:cubicBezTo>
                  <a:cubicBezTo>
                    <a:pt x="318" y="39"/>
                    <a:pt x="316" y="38"/>
                    <a:pt x="315" y="38"/>
                  </a:cubicBezTo>
                  <a:cubicBezTo>
                    <a:pt x="311" y="36"/>
                    <a:pt x="308" y="36"/>
                    <a:pt x="304" y="35"/>
                  </a:cubicBezTo>
                  <a:cubicBezTo>
                    <a:pt x="303" y="34"/>
                    <a:pt x="302" y="34"/>
                    <a:pt x="301" y="32"/>
                  </a:cubicBezTo>
                  <a:cubicBezTo>
                    <a:pt x="300" y="31"/>
                    <a:pt x="300" y="31"/>
                    <a:pt x="298" y="30"/>
                  </a:cubicBezTo>
                  <a:cubicBezTo>
                    <a:pt x="297" y="29"/>
                    <a:pt x="295" y="28"/>
                    <a:pt x="293" y="27"/>
                  </a:cubicBezTo>
                  <a:cubicBezTo>
                    <a:pt x="292" y="27"/>
                    <a:pt x="292" y="27"/>
                    <a:pt x="291" y="27"/>
                  </a:cubicBezTo>
                  <a:cubicBezTo>
                    <a:pt x="291" y="27"/>
                    <a:pt x="290" y="25"/>
                    <a:pt x="290" y="25"/>
                  </a:cubicBezTo>
                  <a:cubicBezTo>
                    <a:pt x="289" y="24"/>
                    <a:pt x="289" y="24"/>
                    <a:pt x="289" y="23"/>
                  </a:cubicBezTo>
                  <a:cubicBezTo>
                    <a:pt x="288" y="22"/>
                    <a:pt x="287" y="21"/>
                    <a:pt x="286" y="20"/>
                  </a:cubicBezTo>
                  <a:cubicBezTo>
                    <a:pt x="285" y="20"/>
                    <a:pt x="284" y="21"/>
                    <a:pt x="283" y="21"/>
                  </a:cubicBezTo>
                  <a:cubicBezTo>
                    <a:pt x="281" y="20"/>
                    <a:pt x="282" y="20"/>
                    <a:pt x="281" y="19"/>
                  </a:cubicBezTo>
                  <a:cubicBezTo>
                    <a:pt x="279" y="18"/>
                    <a:pt x="278" y="17"/>
                    <a:pt x="276" y="16"/>
                  </a:cubicBezTo>
                  <a:cubicBezTo>
                    <a:pt x="273" y="15"/>
                    <a:pt x="269" y="14"/>
                    <a:pt x="266" y="13"/>
                  </a:cubicBezTo>
                  <a:cubicBezTo>
                    <a:pt x="264" y="13"/>
                    <a:pt x="261" y="13"/>
                    <a:pt x="259" y="13"/>
                  </a:cubicBezTo>
                  <a:cubicBezTo>
                    <a:pt x="258" y="13"/>
                    <a:pt x="258" y="12"/>
                    <a:pt x="257" y="12"/>
                  </a:cubicBezTo>
                  <a:cubicBezTo>
                    <a:pt x="256" y="12"/>
                    <a:pt x="255" y="13"/>
                    <a:pt x="255" y="13"/>
                  </a:cubicBezTo>
                  <a:cubicBezTo>
                    <a:pt x="254" y="17"/>
                    <a:pt x="251" y="15"/>
                    <a:pt x="249" y="15"/>
                  </a:cubicBezTo>
                  <a:cubicBezTo>
                    <a:pt x="248" y="15"/>
                    <a:pt x="247" y="16"/>
                    <a:pt x="246" y="17"/>
                  </a:cubicBezTo>
                  <a:cubicBezTo>
                    <a:pt x="245" y="19"/>
                    <a:pt x="246" y="20"/>
                    <a:pt x="245" y="22"/>
                  </a:cubicBezTo>
                  <a:cubicBezTo>
                    <a:pt x="245" y="23"/>
                    <a:pt x="242" y="25"/>
                    <a:pt x="241" y="25"/>
                  </a:cubicBezTo>
                  <a:cubicBezTo>
                    <a:pt x="241" y="25"/>
                    <a:pt x="238" y="25"/>
                    <a:pt x="238" y="25"/>
                  </a:cubicBezTo>
                  <a:cubicBezTo>
                    <a:pt x="237" y="25"/>
                    <a:pt x="237" y="24"/>
                    <a:pt x="237" y="23"/>
                  </a:cubicBezTo>
                  <a:cubicBezTo>
                    <a:pt x="236" y="23"/>
                    <a:pt x="235" y="23"/>
                    <a:pt x="234" y="22"/>
                  </a:cubicBezTo>
                  <a:cubicBezTo>
                    <a:pt x="234" y="22"/>
                    <a:pt x="232" y="22"/>
                    <a:pt x="232" y="22"/>
                  </a:cubicBezTo>
                  <a:cubicBezTo>
                    <a:pt x="230" y="21"/>
                    <a:pt x="229" y="18"/>
                    <a:pt x="227" y="17"/>
                  </a:cubicBezTo>
                  <a:cubicBezTo>
                    <a:pt x="226" y="17"/>
                    <a:pt x="225" y="18"/>
                    <a:pt x="224" y="17"/>
                  </a:cubicBezTo>
                  <a:cubicBezTo>
                    <a:pt x="222" y="17"/>
                    <a:pt x="222" y="16"/>
                    <a:pt x="221" y="15"/>
                  </a:cubicBezTo>
                  <a:cubicBezTo>
                    <a:pt x="217" y="15"/>
                    <a:pt x="215" y="18"/>
                    <a:pt x="212" y="18"/>
                  </a:cubicBezTo>
                  <a:cubicBezTo>
                    <a:pt x="210" y="18"/>
                    <a:pt x="207" y="18"/>
                    <a:pt x="205" y="18"/>
                  </a:cubicBezTo>
                  <a:cubicBezTo>
                    <a:pt x="205" y="20"/>
                    <a:pt x="206" y="21"/>
                    <a:pt x="205" y="23"/>
                  </a:cubicBezTo>
                  <a:cubicBezTo>
                    <a:pt x="201" y="24"/>
                    <a:pt x="197" y="22"/>
                    <a:pt x="194" y="25"/>
                  </a:cubicBezTo>
                  <a:cubicBezTo>
                    <a:pt x="191" y="26"/>
                    <a:pt x="190" y="27"/>
                    <a:pt x="190" y="30"/>
                  </a:cubicBezTo>
                  <a:cubicBezTo>
                    <a:pt x="190" y="32"/>
                    <a:pt x="190" y="33"/>
                    <a:pt x="190" y="35"/>
                  </a:cubicBezTo>
                  <a:cubicBezTo>
                    <a:pt x="189" y="35"/>
                    <a:pt x="187" y="35"/>
                    <a:pt x="185" y="35"/>
                  </a:cubicBezTo>
                  <a:cubicBezTo>
                    <a:pt x="185" y="34"/>
                    <a:pt x="184" y="33"/>
                    <a:pt x="183" y="33"/>
                  </a:cubicBezTo>
                  <a:cubicBezTo>
                    <a:pt x="182" y="33"/>
                    <a:pt x="182" y="33"/>
                    <a:pt x="181" y="32"/>
                  </a:cubicBezTo>
                  <a:cubicBezTo>
                    <a:pt x="180" y="32"/>
                    <a:pt x="179" y="31"/>
                    <a:pt x="179" y="30"/>
                  </a:cubicBezTo>
                  <a:cubicBezTo>
                    <a:pt x="178" y="30"/>
                    <a:pt x="177" y="30"/>
                    <a:pt x="177" y="29"/>
                  </a:cubicBezTo>
                  <a:cubicBezTo>
                    <a:pt x="175" y="28"/>
                    <a:pt x="175" y="29"/>
                    <a:pt x="175" y="27"/>
                  </a:cubicBezTo>
                  <a:cubicBezTo>
                    <a:pt x="175" y="25"/>
                    <a:pt x="175" y="23"/>
                    <a:pt x="175" y="21"/>
                  </a:cubicBezTo>
                  <a:cubicBezTo>
                    <a:pt x="175" y="19"/>
                    <a:pt x="175" y="19"/>
                    <a:pt x="174" y="18"/>
                  </a:cubicBezTo>
                  <a:cubicBezTo>
                    <a:pt x="174" y="17"/>
                    <a:pt x="173" y="16"/>
                    <a:pt x="172" y="15"/>
                  </a:cubicBezTo>
                  <a:cubicBezTo>
                    <a:pt x="172" y="15"/>
                    <a:pt x="172" y="14"/>
                    <a:pt x="171" y="13"/>
                  </a:cubicBezTo>
                  <a:cubicBezTo>
                    <a:pt x="171" y="12"/>
                    <a:pt x="168" y="10"/>
                    <a:pt x="167" y="10"/>
                  </a:cubicBezTo>
                  <a:cubicBezTo>
                    <a:pt x="167" y="8"/>
                    <a:pt x="165" y="9"/>
                    <a:pt x="164" y="8"/>
                  </a:cubicBezTo>
                  <a:cubicBezTo>
                    <a:pt x="163" y="7"/>
                    <a:pt x="163" y="6"/>
                    <a:pt x="163" y="5"/>
                  </a:cubicBezTo>
                  <a:cubicBezTo>
                    <a:pt x="163" y="2"/>
                    <a:pt x="160" y="0"/>
                    <a:pt x="158" y="2"/>
                  </a:cubicBezTo>
                  <a:cubicBezTo>
                    <a:pt x="157" y="3"/>
                    <a:pt x="157" y="4"/>
                    <a:pt x="155" y="4"/>
                  </a:cubicBezTo>
                  <a:cubicBezTo>
                    <a:pt x="155" y="5"/>
                    <a:pt x="154" y="5"/>
                    <a:pt x="154" y="5"/>
                  </a:cubicBezTo>
                  <a:cubicBezTo>
                    <a:pt x="152" y="5"/>
                    <a:pt x="152" y="6"/>
                    <a:pt x="150" y="6"/>
                  </a:cubicBezTo>
                  <a:cubicBezTo>
                    <a:pt x="147" y="7"/>
                    <a:pt x="146" y="8"/>
                    <a:pt x="145" y="11"/>
                  </a:cubicBezTo>
                  <a:cubicBezTo>
                    <a:pt x="145" y="15"/>
                    <a:pt x="146" y="17"/>
                    <a:pt x="142" y="17"/>
                  </a:cubicBezTo>
                  <a:cubicBezTo>
                    <a:pt x="139" y="18"/>
                    <a:pt x="135" y="18"/>
                    <a:pt x="132" y="17"/>
                  </a:cubicBezTo>
                  <a:cubicBezTo>
                    <a:pt x="128" y="17"/>
                    <a:pt x="129" y="15"/>
                    <a:pt x="128" y="12"/>
                  </a:cubicBezTo>
                  <a:cubicBezTo>
                    <a:pt x="128" y="11"/>
                    <a:pt x="128" y="9"/>
                    <a:pt x="127" y="8"/>
                  </a:cubicBezTo>
                  <a:cubicBezTo>
                    <a:pt x="127" y="7"/>
                    <a:pt x="127" y="7"/>
                    <a:pt x="126" y="7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4" y="7"/>
                    <a:pt x="122" y="7"/>
                    <a:pt x="121" y="8"/>
                  </a:cubicBezTo>
                  <a:cubicBezTo>
                    <a:pt x="120" y="8"/>
                    <a:pt x="120" y="8"/>
                    <a:pt x="119" y="9"/>
                  </a:cubicBezTo>
                  <a:cubicBezTo>
                    <a:pt x="118" y="9"/>
                    <a:pt x="119" y="9"/>
                    <a:pt x="117" y="9"/>
                  </a:cubicBezTo>
                  <a:cubicBezTo>
                    <a:pt x="116" y="10"/>
                    <a:pt x="115" y="10"/>
                    <a:pt x="114" y="10"/>
                  </a:cubicBezTo>
                  <a:cubicBezTo>
                    <a:pt x="112" y="9"/>
                    <a:pt x="111" y="8"/>
                    <a:pt x="110" y="8"/>
                  </a:cubicBezTo>
                  <a:cubicBezTo>
                    <a:pt x="108" y="8"/>
                    <a:pt x="109" y="9"/>
                    <a:pt x="108" y="10"/>
                  </a:cubicBezTo>
                  <a:cubicBezTo>
                    <a:pt x="107" y="11"/>
                    <a:pt x="106" y="12"/>
                    <a:pt x="105" y="12"/>
                  </a:cubicBezTo>
                  <a:cubicBezTo>
                    <a:pt x="104" y="13"/>
                    <a:pt x="104" y="13"/>
                    <a:pt x="103" y="14"/>
                  </a:cubicBezTo>
                  <a:cubicBezTo>
                    <a:pt x="103" y="15"/>
                    <a:pt x="102" y="15"/>
                    <a:pt x="101" y="15"/>
                  </a:cubicBezTo>
                  <a:cubicBezTo>
                    <a:pt x="98" y="17"/>
                    <a:pt x="98" y="19"/>
                    <a:pt x="97" y="21"/>
                  </a:cubicBezTo>
                  <a:cubicBezTo>
                    <a:pt x="96" y="21"/>
                    <a:pt x="96" y="21"/>
                    <a:pt x="96" y="22"/>
                  </a:cubicBezTo>
                  <a:cubicBezTo>
                    <a:pt x="96" y="22"/>
                    <a:pt x="95" y="23"/>
                    <a:pt x="95" y="24"/>
                  </a:cubicBezTo>
                  <a:cubicBezTo>
                    <a:pt x="94" y="24"/>
                    <a:pt x="93" y="25"/>
                    <a:pt x="92" y="25"/>
                  </a:cubicBezTo>
                  <a:cubicBezTo>
                    <a:pt x="91" y="25"/>
                    <a:pt x="89" y="25"/>
                    <a:pt x="88" y="25"/>
                  </a:cubicBezTo>
                  <a:cubicBezTo>
                    <a:pt x="87" y="25"/>
                    <a:pt x="87" y="27"/>
                    <a:pt x="87" y="28"/>
                  </a:cubicBezTo>
                  <a:cubicBezTo>
                    <a:pt x="86" y="29"/>
                    <a:pt x="86" y="30"/>
                    <a:pt x="85" y="31"/>
                  </a:cubicBezTo>
                  <a:cubicBezTo>
                    <a:pt x="85" y="31"/>
                    <a:pt x="85" y="33"/>
                    <a:pt x="85" y="34"/>
                  </a:cubicBezTo>
                  <a:cubicBezTo>
                    <a:pt x="84" y="36"/>
                    <a:pt x="82" y="37"/>
                    <a:pt x="82" y="40"/>
                  </a:cubicBezTo>
                  <a:cubicBezTo>
                    <a:pt x="82" y="43"/>
                    <a:pt x="80" y="45"/>
                    <a:pt x="78" y="47"/>
                  </a:cubicBezTo>
                  <a:cubicBezTo>
                    <a:pt x="78" y="48"/>
                    <a:pt x="78" y="49"/>
                    <a:pt x="77" y="50"/>
                  </a:cubicBezTo>
                  <a:cubicBezTo>
                    <a:pt x="77" y="50"/>
                    <a:pt x="76" y="49"/>
                    <a:pt x="75" y="50"/>
                  </a:cubicBezTo>
                  <a:cubicBezTo>
                    <a:pt x="74" y="50"/>
                    <a:pt x="74" y="50"/>
                    <a:pt x="73" y="50"/>
                  </a:cubicBezTo>
                  <a:cubicBezTo>
                    <a:pt x="71" y="51"/>
                    <a:pt x="71" y="51"/>
                    <a:pt x="70" y="52"/>
                  </a:cubicBezTo>
                  <a:cubicBezTo>
                    <a:pt x="70" y="53"/>
                    <a:pt x="70" y="53"/>
                    <a:pt x="69" y="54"/>
                  </a:cubicBezTo>
                  <a:cubicBezTo>
                    <a:pt x="68" y="55"/>
                    <a:pt x="67" y="56"/>
                    <a:pt x="66" y="56"/>
                  </a:cubicBezTo>
                  <a:cubicBezTo>
                    <a:pt x="65" y="57"/>
                    <a:pt x="63" y="58"/>
                    <a:pt x="62" y="59"/>
                  </a:cubicBezTo>
                  <a:cubicBezTo>
                    <a:pt x="61" y="60"/>
                    <a:pt x="59" y="61"/>
                    <a:pt x="57" y="62"/>
                  </a:cubicBezTo>
                  <a:cubicBezTo>
                    <a:pt x="56" y="62"/>
                    <a:pt x="56" y="62"/>
                    <a:pt x="55" y="63"/>
                  </a:cubicBezTo>
                  <a:cubicBezTo>
                    <a:pt x="55" y="63"/>
                    <a:pt x="54" y="63"/>
                    <a:pt x="54" y="63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3" y="65"/>
                    <a:pt x="52" y="64"/>
                    <a:pt x="51" y="64"/>
                  </a:cubicBezTo>
                  <a:cubicBezTo>
                    <a:pt x="47" y="65"/>
                    <a:pt x="43" y="66"/>
                    <a:pt x="39" y="64"/>
                  </a:cubicBezTo>
                  <a:cubicBezTo>
                    <a:pt x="38" y="64"/>
                    <a:pt x="37" y="63"/>
                    <a:pt x="36" y="63"/>
                  </a:cubicBezTo>
                  <a:cubicBezTo>
                    <a:pt x="35" y="62"/>
                    <a:pt x="34" y="62"/>
                    <a:pt x="33" y="62"/>
                  </a:cubicBezTo>
                  <a:cubicBezTo>
                    <a:pt x="33" y="61"/>
                    <a:pt x="33" y="60"/>
                    <a:pt x="31" y="60"/>
                  </a:cubicBezTo>
                  <a:cubicBezTo>
                    <a:pt x="30" y="61"/>
                    <a:pt x="30" y="63"/>
                    <a:pt x="29" y="63"/>
                  </a:cubicBezTo>
                  <a:cubicBezTo>
                    <a:pt x="28" y="64"/>
                    <a:pt x="27" y="65"/>
                    <a:pt x="26" y="66"/>
                  </a:cubicBezTo>
                  <a:cubicBezTo>
                    <a:pt x="25" y="66"/>
                    <a:pt x="25" y="67"/>
                    <a:pt x="24" y="68"/>
                  </a:cubicBezTo>
                  <a:cubicBezTo>
                    <a:pt x="24" y="68"/>
                    <a:pt x="23" y="68"/>
                    <a:pt x="23" y="69"/>
                  </a:cubicBezTo>
                  <a:cubicBezTo>
                    <a:pt x="22" y="70"/>
                    <a:pt x="22" y="71"/>
                    <a:pt x="21" y="72"/>
                  </a:cubicBezTo>
                  <a:cubicBezTo>
                    <a:pt x="19" y="73"/>
                    <a:pt x="18" y="74"/>
                    <a:pt x="15" y="74"/>
                  </a:cubicBezTo>
                  <a:cubicBezTo>
                    <a:pt x="14" y="75"/>
                    <a:pt x="13" y="74"/>
                    <a:pt x="12" y="74"/>
                  </a:cubicBezTo>
                  <a:cubicBezTo>
                    <a:pt x="10" y="74"/>
                    <a:pt x="9" y="75"/>
                    <a:pt x="8" y="75"/>
                  </a:cubicBezTo>
                  <a:cubicBezTo>
                    <a:pt x="8" y="75"/>
                    <a:pt x="8" y="75"/>
                    <a:pt x="8" y="76"/>
                  </a:cubicBezTo>
                  <a:cubicBezTo>
                    <a:pt x="8" y="77"/>
                    <a:pt x="8" y="79"/>
                    <a:pt x="8" y="80"/>
                  </a:cubicBezTo>
                  <a:cubicBezTo>
                    <a:pt x="8" y="82"/>
                    <a:pt x="7" y="84"/>
                    <a:pt x="6" y="85"/>
                  </a:cubicBezTo>
                  <a:cubicBezTo>
                    <a:pt x="6" y="86"/>
                    <a:pt x="5" y="87"/>
                    <a:pt x="4" y="88"/>
                  </a:cubicBezTo>
                  <a:cubicBezTo>
                    <a:pt x="3" y="89"/>
                    <a:pt x="2" y="91"/>
                    <a:pt x="1" y="93"/>
                  </a:cubicBezTo>
                  <a:cubicBezTo>
                    <a:pt x="1" y="94"/>
                    <a:pt x="0" y="95"/>
                    <a:pt x="1" y="96"/>
                  </a:cubicBezTo>
                  <a:cubicBezTo>
                    <a:pt x="1" y="97"/>
                    <a:pt x="2" y="99"/>
                    <a:pt x="2" y="100"/>
                  </a:cubicBezTo>
                  <a:cubicBezTo>
                    <a:pt x="3" y="100"/>
                    <a:pt x="4" y="101"/>
                    <a:pt x="4" y="101"/>
                  </a:cubicBezTo>
                  <a:cubicBezTo>
                    <a:pt x="5" y="102"/>
                    <a:pt x="5" y="103"/>
                    <a:pt x="5" y="104"/>
                  </a:cubicBezTo>
                  <a:cubicBezTo>
                    <a:pt x="6" y="107"/>
                    <a:pt x="5" y="110"/>
                    <a:pt x="6" y="113"/>
                  </a:cubicBezTo>
                  <a:cubicBezTo>
                    <a:pt x="6" y="114"/>
                    <a:pt x="7" y="116"/>
                    <a:pt x="8" y="117"/>
                  </a:cubicBezTo>
                  <a:cubicBezTo>
                    <a:pt x="8" y="118"/>
                    <a:pt x="9" y="118"/>
                    <a:pt x="9" y="118"/>
                  </a:cubicBezTo>
                  <a:cubicBezTo>
                    <a:pt x="10" y="119"/>
                    <a:pt x="10" y="120"/>
                    <a:pt x="10" y="120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2"/>
                    <a:pt x="11" y="122"/>
                    <a:pt x="11" y="122"/>
                  </a:cubicBezTo>
                  <a:cubicBezTo>
                    <a:pt x="11" y="123"/>
                    <a:pt x="11" y="124"/>
                    <a:pt x="12" y="126"/>
                  </a:cubicBezTo>
                  <a:cubicBezTo>
                    <a:pt x="13" y="127"/>
                    <a:pt x="13" y="129"/>
                    <a:pt x="13" y="130"/>
                  </a:cubicBezTo>
                  <a:cubicBezTo>
                    <a:pt x="13" y="130"/>
                    <a:pt x="12" y="131"/>
                    <a:pt x="12" y="131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1" y="133"/>
                    <a:pt x="10" y="134"/>
                    <a:pt x="9" y="13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4" name="Freeform 24"/>
            <p:cNvSpPr>
              <a:spLocks noEditPoints="1"/>
            </p:cNvSpPr>
            <p:nvPr/>
          </p:nvSpPr>
          <p:spPr bwMode="auto">
            <a:xfrm>
              <a:off x="5080000" y="4768850"/>
              <a:ext cx="660400" cy="425450"/>
            </a:xfrm>
            <a:custGeom>
              <a:avLst/>
              <a:gdLst/>
              <a:ahLst/>
              <a:cxnLst>
                <a:cxn ang="0">
                  <a:pos x="3" y="150"/>
                </a:cxn>
                <a:cxn ang="0">
                  <a:pos x="12" y="165"/>
                </a:cxn>
                <a:cxn ang="0">
                  <a:pos x="27" y="181"/>
                </a:cxn>
                <a:cxn ang="0">
                  <a:pos x="42" y="192"/>
                </a:cxn>
                <a:cxn ang="0">
                  <a:pos x="44" y="198"/>
                </a:cxn>
                <a:cxn ang="0">
                  <a:pos x="58" y="213"/>
                </a:cxn>
                <a:cxn ang="0">
                  <a:pos x="71" y="221"/>
                </a:cxn>
                <a:cxn ang="0">
                  <a:pos x="88" y="225"/>
                </a:cxn>
                <a:cxn ang="0">
                  <a:pos x="104" y="226"/>
                </a:cxn>
                <a:cxn ang="0">
                  <a:pos x="123" y="219"/>
                </a:cxn>
                <a:cxn ang="0">
                  <a:pos x="132" y="214"/>
                </a:cxn>
                <a:cxn ang="0">
                  <a:pos x="150" y="211"/>
                </a:cxn>
                <a:cxn ang="0">
                  <a:pos x="165" y="200"/>
                </a:cxn>
                <a:cxn ang="0">
                  <a:pos x="172" y="196"/>
                </a:cxn>
                <a:cxn ang="0">
                  <a:pos x="197" y="196"/>
                </a:cxn>
                <a:cxn ang="0">
                  <a:pos x="234" y="193"/>
                </a:cxn>
                <a:cxn ang="0">
                  <a:pos x="251" y="191"/>
                </a:cxn>
                <a:cxn ang="0">
                  <a:pos x="255" y="185"/>
                </a:cxn>
                <a:cxn ang="0">
                  <a:pos x="259" y="180"/>
                </a:cxn>
                <a:cxn ang="0">
                  <a:pos x="262" y="174"/>
                </a:cxn>
                <a:cxn ang="0">
                  <a:pos x="267" y="162"/>
                </a:cxn>
                <a:cxn ang="0">
                  <a:pos x="275" y="154"/>
                </a:cxn>
                <a:cxn ang="0">
                  <a:pos x="281" y="148"/>
                </a:cxn>
                <a:cxn ang="0">
                  <a:pos x="285" y="133"/>
                </a:cxn>
                <a:cxn ang="0">
                  <a:pos x="292" y="121"/>
                </a:cxn>
                <a:cxn ang="0">
                  <a:pos x="302" y="101"/>
                </a:cxn>
                <a:cxn ang="0">
                  <a:pos x="307" y="91"/>
                </a:cxn>
                <a:cxn ang="0">
                  <a:pos x="311" y="85"/>
                </a:cxn>
                <a:cxn ang="0">
                  <a:pos x="315" y="78"/>
                </a:cxn>
                <a:cxn ang="0">
                  <a:pos x="327" y="70"/>
                </a:cxn>
                <a:cxn ang="0">
                  <a:pos x="341" y="64"/>
                </a:cxn>
                <a:cxn ang="0">
                  <a:pos x="353" y="52"/>
                </a:cxn>
                <a:cxn ang="0">
                  <a:pos x="348" y="38"/>
                </a:cxn>
                <a:cxn ang="0">
                  <a:pos x="337" y="30"/>
                </a:cxn>
                <a:cxn ang="0">
                  <a:pos x="312" y="12"/>
                </a:cxn>
                <a:cxn ang="0">
                  <a:pos x="296" y="21"/>
                </a:cxn>
                <a:cxn ang="0">
                  <a:pos x="282" y="4"/>
                </a:cxn>
                <a:cxn ang="0">
                  <a:pos x="270" y="2"/>
                </a:cxn>
                <a:cxn ang="0">
                  <a:pos x="253" y="5"/>
                </a:cxn>
                <a:cxn ang="0">
                  <a:pos x="234" y="2"/>
                </a:cxn>
                <a:cxn ang="0">
                  <a:pos x="221" y="18"/>
                </a:cxn>
                <a:cxn ang="0">
                  <a:pos x="207" y="28"/>
                </a:cxn>
                <a:cxn ang="0">
                  <a:pos x="195" y="36"/>
                </a:cxn>
                <a:cxn ang="0">
                  <a:pos x="183" y="29"/>
                </a:cxn>
                <a:cxn ang="0">
                  <a:pos x="169" y="38"/>
                </a:cxn>
                <a:cxn ang="0">
                  <a:pos x="143" y="42"/>
                </a:cxn>
                <a:cxn ang="0">
                  <a:pos x="131" y="53"/>
                </a:cxn>
                <a:cxn ang="0">
                  <a:pos x="122" y="63"/>
                </a:cxn>
                <a:cxn ang="0">
                  <a:pos x="115" y="66"/>
                </a:cxn>
                <a:cxn ang="0">
                  <a:pos x="72" y="61"/>
                </a:cxn>
                <a:cxn ang="0">
                  <a:pos x="54" y="50"/>
                </a:cxn>
                <a:cxn ang="0">
                  <a:pos x="52" y="61"/>
                </a:cxn>
                <a:cxn ang="0">
                  <a:pos x="36" y="69"/>
                </a:cxn>
                <a:cxn ang="0">
                  <a:pos x="21" y="68"/>
                </a:cxn>
                <a:cxn ang="0">
                  <a:pos x="26" y="74"/>
                </a:cxn>
                <a:cxn ang="0">
                  <a:pos x="28" y="82"/>
                </a:cxn>
                <a:cxn ang="0">
                  <a:pos x="19" y="90"/>
                </a:cxn>
                <a:cxn ang="0">
                  <a:pos x="17" y="103"/>
                </a:cxn>
                <a:cxn ang="0">
                  <a:pos x="17" y="113"/>
                </a:cxn>
                <a:cxn ang="0">
                  <a:pos x="17" y="122"/>
                </a:cxn>
                <a:cxn ang="0">
                  <a:pos x="2" y="131"/>
                </a:cxn>
                <a:cxn ang="0">
                  <a:pos x="53" y="47"/>
                </a:cxn>
              </a:cxnLst>
              <a:rect l="0" t="0" r="r" b="b"/>
              <a:pathLst>
                <a:path w="353" h="228">
                  <a:moveTo>
                    <a:pt x="2" y="136"/>
                  </a:moveTo>
                  <a:cubicBezTo>
                    <a:pt x="4" y="138"/>
                    <a:pt x="5" y="139"/>
                    <a:pt x="5" y="141"/>
                  </a:cubicBezTo>
                  <a:cubicBezTo>
                    <a:pt x="5" y="143"/>
                    <a:pt x="4" y="144"/>
                    <a:pt x="4" y="146"/>
                  </a:cubicBezTo>
                  <a:cubicBezTo>
                    <a:pt x="3" y="147"/>
                    <a:pt x="3" y="148"/>
                    <a:pt x="3" y="150"/>
                  </a:cubicBezTo>
                  <a:cubicBezTo>
                    <a:pt x="3" y="152"/>
                    <a:pt x="3" y="152"/>
                    <a:pt x="5" y="153"/>
                  </a:cubicBezTo>
                  <a:cubicBezTo>
                    <a:pt x="6" y="154"/>
                    <a:pt x="7" y="154"/>
                    <a:pt x="8" y="155"/>
                  </a:cubicBezTo>
                  <a:cubicBezTo>
                    <a:pt x="9" y="159"/>
                    <a:pt x="6" y="162"/>
                    <a:pt x="10" y="165"/>
                  </a:cubicBezTo>
                  <a:cubicBezTo>
                    <a:pt x="10" y="165"/>
                    <a:pt x="11" y="165"/>
                    <a:pt x="12" y="165"/>
                  </a:cubicBezTo>
                  <a:cubicBezTo>
                    <a:pt x="12" y="165"/>
                    <a:pt x="13" y="167"/>
                    <a:pt x="13" y="167"/>
                  </a:cubicBezTo>
                  <a:cubicBezTo>
                    <a:pt x="14" y="168"/>
                    <a:pt x="15" y="169"/>
                    <a:pt x="17" y="170"/>
                  </a:cubicBezTo>
                  <a:cubicBezTo>
                    <a:pt x="20" y="172"/>
                    <a:pt x="23" y="174"/>
                    <a:pt x="25" y="177"/>
                  </a:cubicBezTo>
                  <a:cubicBezTo>
                    <a:pt x="26" y="178"/>
                    <a:pt x="26" y="180"/>
                    <a:pt x="27" y="181"/>
                  </a:cubicBezTo>
                  <a:cubicBezTo>
                    <a:pt x="28" y="182"/>
                    <a:pt x="30" y="183"/>
                    <a:pt x="32" y="183"/>
                  </a:cubicBezTo>
                  <a:cubicBezTo>
                    <a:pt x="31" y="186"/>
                    <a:pt x="31" y="187"/>
                    <a:pt x="34" y="189"/>
                  </a:cubicBezTo>
                  <a:cubicBezTo>
                    <a:pt x="35" y="190"/>
                    <a:pt x="37" y="190"/>
                    <a:pt x="38" y="191"/>
                  </a:cubicBezTo>
                  <a:cubicBezTo>
                    <a:pt x="39" y="191"/>
                    <a:pt x="40" y="193"/>
                    <a:pt x="42" y="192"/>
                  </a:cubicBezTo>
                  <a:cubicBezTo>
                    <a:pt x="41" y="192"/>
                    <a:pt x="41" y="193"/>
                    <a:pt x="41" y="193"/>
                  </a:cubicBezTo>
                  <a:cubicBezTo>
                    <a:pt x="42" y="194"/>
                    <a:pt x="43" y="195"/>
                    <a:pt x="43" y="196"/>
                  </a:cubicBezTo>
                  <a:cubicBezTo>
                    <a:pt x="44" y="196"/>
                    <a:pt x="44" y="196"/>
                    <a:pt x="43" y="197"/>
                  </a:cubicBezTo>
                  <a:cubicBezTo>
                    <a:pt x="44" y="197"/>
                    <a:pt x="44" y="197"/>
                    <a:pt x="44" y="198"/>
                  </a:cubicBezTo>
                  <a:cubicBezTo>
                    <a:pt x="45" y="198"/>
                    <a:pt x="45" y="199"/>
                    <a:pt x="46" y="199"/>
                  </a:cubicBezTo>
                  <a:cubicBezTo>
                    <a:pt x="47" y="201"/>
                    <a:pt x="48" y="201"/>
                    <a:pt x="49" y="203"/>
                  </a:cubicBezTo>
                  <a:cubicBezTo>
                    <a:pt x="50" y="205"/>
                    <a:pt x="50" y="208"/>
                    <a:pt x="51" y="210"/>
                  </a:cubicBezTo>
                  <a:cubicBezTo>
                    <a:pt x="53" y="212"/>
                    <a:pt x="56" y="212"/>
                    <a:pt x="58" y="213"/>
                  </a:cubicBezTo>
                  <a:cubicBezTo>
                    <a:pt x="60" y="214"/>
                    <a:pt x="60" y="215"/>
                    <a:pt x="63" y="215"/>
                  </a:cubicBezTo>
                  <a:cubicBezTo>
                    <a:pt x="64" y="215"/>
                    <a:pt x="64" y="215"/>
                    <a:pt x="65" y="215"/>
                  </a:cubicBezTo>
                  <a:cubicBezTo>
                    <a:pt x="66" y="216"/>
                    <a:pt x="66" y="216"/>
                    <a:pt x="66" y="217"/>
                  </a:cubicBezTo>
                  <a:cubicBezTo>
                    <a:pt x="68" y="218"/>
                    <a:pt x="70" y="219"/>
                    <a:pt x="71" y="221"/>
                  </a:cubicBezTo>
                  <a:cubicBezTo>
                    <a:pt x="72" y="222"/>
                    <a:pt x="72" y="222"/>
                    <a:pt x="73" y="223"/>
                  </a:cubicBezTo>
                  <a:cubicBezTo>
                    <a:pt x="75" y="223"/>
                    <a:pt x="77" y="223"/>
                    <a:pt x="78" y="223"/>
                  </a:cubicBezTo>
                  <a:cubicBezTo>
                    <a:pt x="80" y="223"/>
                    <a:pt x="82" y="224"/>
                    <a:pt x="84" y="224"/>
                  </a:cubicBezTo>
                  <a:cubicBezTo>
                    <a:pt x="85" y="225"/>
                    <a:pt x="87" y="224"/>
                    <a:pt x="88" y="225"/>
                  </a:cubicBezTo>
                  <a:cubicBezTo>
                    <a:pt x="89" y="225"/>
                    <a:pt x="89" y="225"/>
                    <a:pt x="90" y="226"/>
                  </a:cubicBezTo>
                  <a:cubicBezTo>
                    <a:pt x="91" y="226"/>
                    <a:pt x="92" y="226"/>
                    <a:pt x="92" y="226"/>
                  </a:cubicBezTo>
                  <a:cubicBezTo>
                    <a:pt x="94" y="226"/>
                    <a:pt x="95" y="226"/>
                    <a:pt x="97" y="226"/>
                  </a:cubicBezTo>
                  <a:cubicBezTo>
                    <a:pt x="99" y="226"/>
                    <a:pt x="101" y="226"/>
                    <a:pt x="104" y="226"/>
                  </a:cubicBezTo>
                  <a:cubicBezTo>
                    <a:pt x="107" y="225"/>
                    <a:pt x="113" y="228"/>
                    <a:pt x="116" y="226"/>
                  </a:cubicBezTo>
                  <a:cubicBezTo>
                    <a:pt x="116" y="225"/>
                    <a:pt x="116" y="223"/>
                    <a:pt x="117" y="222"/>
                  </a:cubicBezTo>
                  <a:cubicBezTo>
                    <a:pt x="117" y="221"/>
                    <a:pt x="118" y="221"/>
                    <a:pt x="119" y="220"/>
                  </a:cubicBezTo>
                  <a:cubicBezTo>
                    <a:pt x="120" y="220"/>
                    <a:pt x="122" y="219"/>
                    <a:pt x="123" y="219"/>
                  </a:cubicBezTo>
                  <a:cubicBezTo>
                    <a:pt x="123" y="219"/>
                    <a:pt x="125" y="218"/>
                    <a:pt x="125" y="218"/>
                  </a:cubicBezTo>
                  <a:cubicBezTo>
                    <a:pt x="126" y="217"/>
                    <a:pt x="127" y="213"/>
                    <a:pt x="129" y="214"/>
                  </a:cubicBezTo>
                  <a:cubicBezTo>
                    <a:pt x="129" y="215"/>
                    <a:pt x="130" y="215"/>
                    <a:pt x="130" y="215"/>
                  </a:cubicBezTo>
                  <a:cubicBezTo>
                    <a:pt x="131" y="215"/>
                    <a:pt x="131" y="214"/>
                    <a:pt x="132" y="214"/>
                  </a:cubicBezTo>
                  <a:cubicBezTo>
                    <a:pt x="133" y="213"/>
                    <a:pt x="136" y="214"/>
                    <a:pt x="138" y="213"/>
                  </a:cubicBezTo>
                  <a:cubicBezTo>
                    <a:pt x="139" y="210"/>
                    <a:pt x="141" y="206"/>
                    <a:pt x="144" y="204"/>
                  </a:cubicBezTo>
                  <a:cubicBezTo>
                    <a:pt x="144" y="205"/>
                    <a:pt x="145" y="206"/>
                    <a:pt x="146" y="206"/>
                  </a:cubicBezTo>
                  <a:cubicBezTo>
                    <a:pt x="147" y="208"/>
                    <a:pt x="148" y="210"/>
                    <a:pt x="150" y="211"/>
                  </a:cubicBezTo>
                  <a:cubicBezTo>
                    <a:pt x="152" y="212"/>
                    <a:pt x="154" y="211"/>
                    <a:pt x="155" y="209"/>
                  </a:cubicBezTo>
                  <a:cubicBezTo>
                    <a:pt x="155" y="208"/>
                    <a:pt x="155" y="208"/>
                    <a:pt x="155" y="206"/>
                  </a:cubicBezTo>
                  <a:cubicBezTo>
                    <a:pt x="156" y="205"/>
                    <a:pt x="157" y="204"/>
                    <a:pt x="158" y="203"/>
                  </a:cubicBezTo>
                  <a:cubicBezTo>
                    <a:pt x="160" y="202"/>
                    <a:pt x="163" y="202"/>
                    <a:pt x="165" y="200"/>
                  </a:cubicBezTo>
                  <a:cubicBezTo>
                    <a:pt x="165" y="200"/>
                    <a:pt x="165" y="199"/>
                    <a:pt x="165" y="199"/>
                  </a:cubicBezTo>
                  <a:cubicBezTo>
                    <a:pt x="166" y="199"/>
                    <a:pt x="166" y="199"/>
                    <a:pt x="166" y="198"/>
                  </a:cubicBezTo>
                  <a:cubicBezTo>
                    <a:pt x="167" y="198"/>
                    <a:pt x="167" y="197"/>
                    <a:pt x="168" y="197"/>
                  </a:cubicBezTo>
                  <a:cubicBezTo>
                    <a:pt x="169" y="196"/>
                    <a:pt x="170" y="196"/>
                    <a:pt x="172" y="196"/>
                  </a:cubicBezTo>
                  <a:cubicBezTo>
                    <a:pt x="173" y="196"/>
                    <a:pt x="175" y="195"/>
                    <a:pt x="176" y="195"/>
                  </a:cubicBezTo>
                  <a:cubicBezTo>
                    <a:pt x="177" y="196"/>
                    <a:pt x="177" y="197"/>
                    <a:pt x="178" y="197"/>
                  </a:cubicBezTo>
                  <a:cubicBezTo>
                    <a:pt x="182" y="198"/>
                    <a:pt x="185" y="198"/>
                    <a:pt x="188" y="198"/>
                  </a:cubicBezTo>
                  <a:cubicBezTo>
                    <a:pt x="191" y="197"/>
                    <a:pt x="193" y="196"/>
                    <a:pt x="197" y="196"/>
                  </a:cubicBezTo>
                  <a:cubicBezTo>
                    <a:pt x="200" y="196"/>
                    <a:pt x="203" y="198"/>
                    <a:pt x="206" y="198"/>
                  </a:cubicBezTo>
                  <a:cubicBezTo>
                    <a:pt x="208" y="198"/>
                    <a:pt x="209" y="198"/>
                    <a:pt x="210" y="198"/>
                  </a:cubicBezTo>
                  <a:cubicBezTo>
                    <a:pt x="212" y="198"/>
                    <a:pt x="212" y="197"/>
                    <a:pt x="213" y="197"/>
                  </a:cubicBezTo>
                  <a:cubicBezTo>
                    <a:pt x="220" y="196"/>
                    <a:pt x="230" y="202"/>
                    <a:pt x="234" y="193"/>
                  </a:cubicBezTo>
                  <a:cubicBezTo>
                    <a:pt x="235" y="192"/>
                    <a:pt x="236" y="189"/>
                    <a:pt x="239" y="189"/>
                  </a:cubicBezTo>
                  <a:cubicBezTo>
                    <a:pt x="240" y="189"/>
                    <a:pt x="241" y="189"/>
                    <a:pt x="242" y="190"/>
                  </a:cubicBezTo>
                  <a:cubicBezTo>
                    <a:pt x="244" y="191"/>
                    <a:pt x="245" y="191"/>
                    <a:pt x="246" y="191"/>
                  </a:cubicBezTo>
                  <a:cubicBezTo>
                    <a:pt x="248" y="191"/>
                    <a:pt x="250" y="191"/>
                    <a:pt x="251" y="191"/>
                  </a:cubicBezTo>
                  <a:cubicBezTo>
                    <a:pt x="253" y="190"/>
                    <a:pt x="253" y="189"/>
                    <a:pt x="254" y="188"/>
                  </a:cubicBezTo>
                  <a:cubicBezTo>
                    <a:pt x="253" y="188"/>
                    <a:pt x="254" y="187"/>
                    <a:pt x="254" y="187"/>
                  </a:cubicBezTo>
                  <a:cubicBezTo>
                    <a:pt x="254" y="187"/>
                    <a:pt x="254" y="186"/>
                    <a:pt x="255" y="186"/>
                  </a:cubicBezTo>
                  <a:cubicBezTo>
                    <a:pt x="254" y="186"/>
                    <a:pt x="255" y="186"/>
                    <a:pt x="255" y="185"/>
                  </a:cubicBezTo>
                  <a:cubicBezTo>
                    <a:pt x="255" y="185"/>
                    <a:pt x="255" y="186"/>
                    <a:pt x="255" y="186"/>
                  </a:cubicBezTo>
                  <a:cubicBezTo>
                    <a:pt x="255" y="186"/>
                    <a:pt x="256" y="183"/>
                    <a:pt x="256" y="184"/>
                  </a:cubicBezTo>
                  <a:cubicBezTo>
                    <a:pt x="256" y="184"/>
                    <a:pt x="257" y="184"/>
                    <a:pt x="257" y="183"/>
                  </a:cubicBezTo>
                  <a:cubicBezTo>
                    <a:pt x="258" y="182"/>
                    <a:pt x="258" y="181"/>
                    <a:pt x="259" y="180"/>
                  </a:cubicBezTo>
                  <a:cubicBezTo>
                    <a:pt x="259" y="180"/>
                    <a:pt x="260" y="179"/>
                    <a:pt x="260" y="179"/>
                  </a:cubicBezTo>
                  <a:cubicBezTo>
                    <a:pt x="261" y="178"/>
                    <a:pt x="261" y="177"/>
                    <a:pt x="261" y="177"/>
                  </a:cubicBezTo>
                  <a:cubicBezTo>
                    <a:pt x="261" y="176"/>
                    <a:pt x="262" y="176"/>
                    <a:pt x="262" y="176"/>
                  </a:cubicBezTo>
                  <a:cubicBezTo>
                    <a:pt x="263" y="175"/>
                    <a:pt x="262" y="174"/>
                    <a:pt x="262" y="174"/>
                  </a:cubicBezTo>
                  <a:cubicBezTo>
                    <a:pt x="262" y="173"/>
                    <a:pt x="263" y="171"/>
                    <a:pt x="263" y="170"/>
                  </a:cubicBezTo>
                  <a:cubicBezTo>
                    <a:pt x="264" y="168"/>
                    <a:pt x="265" y="167"/>
                    <a:pt x="266" y="166"/>
                  </a:cubicBezTo>
                  <a:cubicBezTo>
                    <a:pt x="266" y="165"/>
                    <a:pt x="267" y="165"/>
                    <a:pt x="267" y="164"/>
                  </a:cubicBezTo>
                  <a:cubicBezTo>
                    <a:pt x="267" y="164"/>
                    <a:pt x="267" y="163"/>
                    <a:pt x="267" y="162"/>
                  </a:cubicBezTo>
                  <a:cubicBezTo>
                    <a:pt x="268" y="161"/>
                    <a:pt x="269" y="161"/>
                    <a:pt x="270" y="160"/>
                  </a:cubicBezTo>
                  <a:cubicBezTo>
                    <a:pt x="271" y="159"/>
                    <a:pt x="270" y="158"/>
                    <a:pt x="272" y="158"/>
                  </a:cubicBezTo>
                  <a:cubicBezTo>
                    <a:pt x="272" y="157"/>
                    <a:pt x="272" y="157"/>
                    <a:pt x="272" y="157"/>
                  </a:cubicBezTo>
                  <a:cubicBezTo>
                    <a:pt x="274" y="157"/>
                    <a:pt x="274" y="154"/>
                    <a:pt x="275" y="154"/>
                  </a:cubicBezTo>
                  <a:cubicBezTo>
                    <a:pt x="275" y="153"/>
                    <a:pt x="275" y="153"/>
                    <a:pt x="276" y="153"/>
                  </a:cubicBezTo>
                  <a:cubicBezTo>
                    <a:pt x="276" y="153"/>
                    <a:pt x="276" y="153"/>
                    <a:pt x="277" y="153"/>
                  </a:cubicBezTo>
                  <a:cubicBezTo>
                    <a:pt x="278" y="152"/>
                    <a:pt x="278" y="152"/>
                    <a:pt x="278" y="151"/>
                  </a:cubicBezTo>
                  <a:cubicBezTo>
                    <a:pt x="279" y="151"/>
                    <a:pt x="280" y="150"/>
                    <a:pt x="281" y="148"/>
                  </a:cubicBezTo>
                  <a:cubicBezTo>
                    <a:pt x="282" y="147"/>
                    <a:pt x="282" y="145"/>
                    <a:pt x="282" y="143"/>
                  </a:cubicBezTo>
                  <a:cubicBezTo>
                    <a:pt x="282" y="142"/>
                    <a:pt x="283" y="140"/>
                    <a:pt x="283" y="138"/>
                  </a:cubicBezTo>
                  <a:cubicBezTo>
                    <a:pt x="283" y="137"/>
                    <a:pt x="283" y="135"/>
                    <a:pt x="283" y="134"/>
                  </a:cubicBezTo>
                  <a:cubicBezTo>
                    <a:pt x="284" y="134"/>
                    <a:pt x="284" y="134"/>
                    <a:pt x="285" y="133"/>
                  </a:cubicBezTo>
                  <a:cubicBezTo>
                    <a:pt x="285" y="132"/>
                    <a:pt x="285" y="131"/>
                    <a:pt x="286" y="130"/>
                  </a:cubicBezTo>
                  <a:cubicBezTo>
                    <a:pt x="287" y="129"/>
                    <a:pt x="287" y="128"/>
                    <a:pt x="288" y="127"/>
                  </a:cubicBezTo>
                  <a:cubicBezTo>
                    <a:pt x="288" y="126"/>
                    <a:pt x="288" y="124"/>
                    <a:pt x="289" y="123"/>
                  </a:cubicBezTo>
                  <a:cubicBezTo>
                    <a:pt x="289" y="122"/>
                    <a:pt x="291" y="121"/>
                    <a:pt x="292" y="121"/>
                  </a:cubicBezTo>
                  <a:cubicBezTo>
                    <a:pt x="294" y="119"/>
                    <a:pt x="296" y="116"/>
                    <a:pt x="296" y="114"/>
                  </a:cubicBezTo>
                  <a:cubicBezTo>
                    <a:pt x="297" y="112"/>
                    <a:pt x="296" y="111"/>
                    <a:pt x="297" y="109"/>
                  </a:cubicBezTo>
                  <a:cubicBezTo>
                    <a:pt x="297" y="108"/>
                    <a:pt x="297" y="107"/>
                    <a:pt x="298" y="106"/>
                  </a:cubicBezTo>
                  <a:cubicBezTo>
                    <a:pt x="299" y="104"/>
                    <a:pt x="300" y="102"/>
                    <a:pt x="302" y="101"/>
                  </a:cubicBezTo>
                  <a:cubicBezTo>
                    <a:pt x="303" y="101"/>
                    <a:pt x="305" y="101"/>
                    <a:pt x="306" y="100"/>
                  </a:cubicBezTo>
                  <a:cubicBezTo>
                    <a:pt x="306" y="99"/>
                    <a:pt x="306" y="98"/>
                    <a:pt x="306" y="96"/>
                  </a:cubicBezTo>
                  <a:cubicBezTo>
                    <a:pt x="307" y="95"/>
                    <a:pt x="307" y="94"/>
                    <a:pt x="307" y="92"/>
                  </a:cubicBezTo>
                  <a:cubicBezTo>
                    <a:pt x="307" y="92"/>
                    <a:pt x="307" y="91"/>
                    <a:pt x="307" y="91"/>
                  </a:cubicBezTo>
                  <a:cubicBezTo>
                    <a:pt x="308" y="90"/>
                    <a:pt x="308" y="89"/>
                    <a:pt x="309" y="88"/>
                  </a:cubicBezTo>
                  <a:cubicBezTo>
                    <a:pt x="309" y="88"/>
                    <a:pt x="310" y="87"/>
                    <a:pt x="310" y="87"/>
                  </a:cubicBezTo>
                  <a:cubicBezTo>
                    <a:pt x="310" y="86"/>
                    <a:pt x="310" y="86"/>
                    <a:pt x="310" y="86"/>
                  </a:cubicBezTo>
                  <a:cubicBezTo>
                    <a:pt x="310" y="86"/>
                    <a:pt x="311" y="85"/>
                    <a:pt x="311" y="85"/>
                  </a:cubicBezTo>
                  <a:cubicBezTo>
                    <a:pt x="311" y="85"/>
                    <a:pt x="312" y="84"/>
                    <a:pt x="312" y="84"/>
                  </a:cubicBezTo>
                  <a:cubicBezTo>
                    <a:pt x="313" y="83"/>
                    <a:pt x="312" y="82"/>
                    <a:pt x="312" y="81"/>
                  </a:cubicBezTo>
                  <a:cubicBezTo>
                    <a:pt x="313" y="80"/>
                    <a:pt x="313" y="80"/>
                    <a:pt x="314" y="80"/>
                  </a:cubicBezTo>
                  <a:cubicBezTo>
                    <a:pt x="314" y="79"/>
                    <a:pt x="314" y="78"/>
                    <a:pt x="315" y="78"/>
                  </a:cubicBezTo>
                  <a:cubicBezTo>
                    <a:pt x="316" y="77"/>
                    <a:pt x="316" y="76"/>
                    <a:pt x="317" y="75"/>
                  </a:cubicBezTo>
                  <a:cubicBezTo>
                    <a:pt x="318" y="73"/>
                    <a:pt x="318" y="73"/>
                    <a:pt x="320" y="73"/>
                  </a:cubicBezTo>
                  <a:cubicBezTo>
                    <a:pt x="321" y="73"/>
                    <a:pt x="323" y="73"/>
                    <a:pt x="324" y="73"/>
                  </a:cubicBezTo>
                  <a:cubicBezTo>
                    <a:pt x="326" y="72"/>
                    <a:pt x="326" y="71"/>
                    <a:pt x="327" y="70"/>
                  </a:cubicBezTo>
                  <a:cubicBezTo>
                    <a:pt x="328" y="68"/>
                    <a:pt x="329" y="68"/>
                    <a:pt x="330" y="68"/>
                  </a:cubicBezTo>
                  <a:cubicBezTo>
                    <a:pt x="332" y="68"/>
                    <a:pt x="332" y="67"/>
                    <a:pt x="333" y="67"/>
                  </a:cubicBezTo>
                  <a:cubicBezTo>
                    <a:pt x="335" y="67"/>
                    <a:pt x="338" y="68"/>
                    <a:pt x="340" y="67"/>
                  </a:cubicBezTo>
                  <a:cubicBezTo>
                    <a:pt x="341" y="66"/>
                    <a:pt x="341" y="65"/>
                    <a:pt x="341" y="64"/>
                  </a:cubicBezTo>
                  <a:cubicBezTo>
                    <a:pt x="343" y="62"/>
                    <a:pt x="346" y="60"/>
                    <a:pt x="348" y="60"/>
                  </a:cubicBezTo>
                  <a:cubicBezTo>
                    <a:pt x="348" y="59"/>
                    <a:pt x="349" y="58"/>
                    <a:pt x="349" y="58"/>
                  </a:cubicBezTo>
                  <a:cubicBezTo>
                    <a:pt x="350" y="57"/>
                    <a:pt x="349" y="56"/>
                    <a:pt x="350" y="55"/>
                  </a:cubicBezTo>
                  <a:cubicBezTo>
                    <a:pt x="350" y="53"/>
                    <a:pt x="351" y="52"/>
                    <a:pt x="353" y="52"/>
                  </a:cubicBezTo>
                  <a:cubicBezTo>
                    <a:pt x="353" y="50"/>
                    <a:pt x="353" y="47"/>
                    <a:pt x="353" y="45"/>
                  </a:cubicBezTo>
                  <a:cubicBezTo>
                    <a:pt x="353" y="44"/>
                    <a:pt x="353" y="42"/>
                    <a:pt x="353" y="41"/>
                  </a:cubicBezTo>
                  <a:cubicBezTo>
                    <a:pt x="352" y="40"/>
                    <a:pt x="351" y="40"/>
                    <a:pt x="351" y="39"/>
                  </a:cubicBezTo>
                  <a:cubicBezTo>
                    <a:pt x="350" y="39"/>
                    <a:pt x="349" y="39"/>
                    <a:pt x="348" y="38"/>
                  </a:cubicBezTo>
                  <a:cubicBezTo>
                    <a:pt x="347" y="38"/>
                    <a:pt x="346" y="38"/>
                    <a:pt x="345" y="38"/>
                  </a:cubicBezTo>
                  <a:cubicBezTo>
                    <a:pt x="342" y="38"/>
                    <a:pt x="339" y="36"/>
                    <a:pt x="338" y="38"/>
                  </a:cubicBezTo>
                  <a:cubicBezTo>
                    <a:pt x="336" y="38"/>
                    <a:pt x="337" y="35"/>
                    <a:pt x="337" y="33"/>
                  </a:cubicBezTo>
                  <a:cubicBezTo>
                    <a:pt x="337" y="32"/>
                    <a:pt x="337" y="31"/>
                    <a:pt x="337" y="30"/>
                  </a:cubicBezTo>
                  <a:cubicBezTo>
                    <a:pt x="336" y="29"/>
                    <a:pt x="336" y="29"/>
                    <a:pt x="334" y="29"/>
                  </a:cubicBezTo>
                  <a:cubicBezTo>
                    <a:pt x="314" y="7"/>
                    <a:pt x="314" y="7"/>
                    <a:pt x="314" y="7"/>
                  </a:cubicBezTo>
                  <a:cubicBezTo>
                    <a:pt x="314" y="7"/>
                    <a:pt x="314" y="7"/>
                    <a:pt x="314" y="8"/>
                  </a:cubicBezTo>
                  <a:cubicBezTo>
                    <a:pt x="313" y="9"/>
                    <a:pt x="313" y="11"/>
                    <a:pt x="312" y="12"/>
                  </a:cubicBezTo>
                  <a:cubicBezTo>
                    <a:pt x="312" y="13"/>
                    <a:pt x="311" y="15"/>
                    <a:pt x="310" y="16"/>
                  </a:cubicBezTo>
                  <a:cubicBezTo>
                    <a:pt x="308" y="17"/>
                    <a:pt x="306" y="16"/>
                    <a:pt x="304" y="16"/>
                  </a:cubicBezTo>
                  <a:cubicBezTo>
                    <a:pt x="302" y="16"/>
                    <a:pt x="302" y="16"/>
                    <a:pt x="300" y="17"/>
                  </a:cubicBezTo>
                  <a:cubicBezTo>
                    <a:pt x="299" y="19"/>
                    <a:pt x="298" y="21"/>
                    <a:pt x="296" y="21"/>
                  </a:cubicBezTo>
                  <a:cubicBezTo>
                    <a:pt x="295" y="20"/>
                    <a:pt x="294" y="19"/>
                    <a:pt x="294" y="18"/>
                  </a:cubicBezTo>
                  <a:cubicBezTo>
                    <a:pt x="292" y="17"/>
                    <a:pt x="292" y="17"/>
                    <a:pt x="290" y="16"/>
                  </a:cubicBezTo>
                  <a:cubicBezTo>
                    <a:pt x="289" y="15"/>
                    <a:pt x="287" y="14"/>
                    <a:pt x="286" y="13"/>
                  </a:cubicBezTo>
                  <a:cubicBezTo>
                    <a:pt x="285" y="10"/>
                    <a:pt x="285" y="6"/>
                    <a:pt x="282" y="4"/>
                  </a:cubicBezTo>
                  <a:cubicBezTo>
                    <a:pt x="281" y="3"/>
                    <a:pt x="280" y="3"/>
                    <a:pt x="279" y="3"/>
                  </a:cubicBezTo>
                  <a:cubicBezTo>
                    <a:pt x="279" y="3"/>
                    <a:pt x="279" y="2"/>
                    <a:pt x="278" y="2"/>
                  </a:cubicBezTo>
                  <a:cubicBezTo>
                    <a:pt x="277" y="1"/>
                    <a:pt x="275" y="2"/>
                    <a:pt x="274" y="2"/>
                  </a:cubicBezTo>
                  <a:cubicBezTo>
                    <a:pt x="272" y="2"/>
                    <a:pt x="271" y="2"/>
                    <a:pt x="270" y="2"/>
                  </a:cubicBezTo>
                  <a:cubicBezTo>
                    <a:pt x="269" y="3"/>
                    <a:pt x="268" y="3"/>
                    <a:pt x="267" y="3"/>
                  </a:cubicBezTo>
                  <a:cubicBezTo>
                    <a:pt x="265" y="3"/>
                    <a:pt x="264" y="5"/>
                    <a:pt x="263" y="5"/>
                  </a:cubicBezTo>
                  <a:cubicBezTo>
                    <a:pt x="261" y="6"/>
                    <a:pt x="260" y="5"/>
                    <a:pt x="258" y="5"/>
                  </a:cubicBezTo>
                  <a:cubicBezTo>
                    <a:pt x="257" y="5"/>
                    <a:pt x="255" y="5"/>
                    <a:pt x="253" y="5"/>
                  </a:cubicBezTo>
                  <a:cubicBezTo>
                    <a:pt x="252" y="5"/>
                    <a:pt x="251" y="5"/>
                    <a:pt x="251" y="5"/>
                  </a:cubicBezTo>
                  <a:cubicBezTo>
                    <a:pt x="250" y="4"/>
                    <a:pt x="250" y="3"/>
                    <a:pt x="249" y="3"/>
                  </a:cubicBezTo>
                  <a:cubicBezTo>
                    <a:pt x="248" y="2"/>
                    <a:pt x="247" y="2"/>
                    <a:pt x="245" y="2"/>
                  </a:cubicBezTo>
                  <a:cubicBezTo>
                    <a:pt x="241" y="2"/>
                    <a:pt x="238" y="2"/>
                    <a:pt x="234" y="2"/>
                  </a:cubicBezTo>
                  <a:cubicBezTo>
                    <a:pt x="232" y="2"/>
                    <a:pt x="226" y="0"/>
                    <a:pt x="225" y="3"/>
                  </a:cubicBezTo>
                  <a:cubicBezTo>
                    <a:pt x="224" y="4"/>
                    <a:pt x="225" y="6"/>
                    <a:pt x="224" y="8"/>
                  </a:cubicBezTo>
                  <a:cubicBezTo>
                    <a:pt x="224" y="10"/>
                    <a:pt x="223" y="11"/>
                    <a:pt x="222" y="13"/>
                  </a:cubicBezTo>
                  <a:cubicBezTo>
                    <a:pt x="222" y="15"/>
                    <a:pt x="222" y="16"/>
                    <a:pt x="221" y="18"/>
                  </a:cubicBezTo>
                  <a:cubicBezTo>
                    <a:pt x="220" y="20"/>
                    <a:pt x="219" y="22"/>
                    <a:pt x="217" y="23"/>
                  </a:cubicBezTo>
                  <a:cubicBezTo>
                    <a:pt x="217" y="24"/>
                    <a:pt x="216" y="25"/>
                    <a:pt x="215" y="25"/>
                  </a:cubicBezTo>
                  <a:cubicBezTo>
                    <a:pt x="214" y="25"/>
                    <a:pt x="213" y="25"/>
                    <a:pt x="212" y="25"/>
                  </a:cubicBezTo>
                  <a:cubicBezTo>
                    <a:pt x="210" y="26"/>
                    <a:pt x="209" y="28"/>
                    <a:pt x="207" y="28"/>
                  </a:cubicBezTo>
                  <a:cubicBezTo>
                    <a:pt x="206" y="28"/>
                    <a:pt x="205" y="28"/>
                    <a:pt x="205" y="28"/>
                  </a:cubicBezTo>
                  <a:cubicBezTo>
                    <a:pt x="204" y="29"/>
                    <a:pt x="203" y="29"/>
                    <a:pt x="203" y="30"/>
                  </a:cubicBezTo>
                  <a:cubicBezTo>
                    <a:pt x="201" y="31"/>
                    <a:pt x="200" y="31"/>
                    <a:pt x="199" y="31"/>
                  </a:cubicBezTo>
                  <a:cubicBezTo>
                    <a:pt x="197" y="33"/>
                    <a:pt x="197" y="35"/>
                    <a:pt x="195" y="36"/>
                  </a:cubicBezTo>
                  <a:cubicBezTo>
                    <a:pt x="194" y="35"/>
                    <a:pt x="194" y="32"/>
                    <a:pt x="192" y="31"/>
                  </a:cubicBezTo>
                  <a:cubicBezTo>
                    <a:pt x="191" y="30"/>
                    <a:pt x="188" y="30"/>
                    <a:pt x="186" y="30"/>
                  </a:cubicBezTo>
                  <a:cubicBezTo>
                    <a:pt x="185" y="30"/>
                    <a:pt x="184" y="31"/>
                    <a:pt x="184" y="30"/>
                  </a:cubicBezTo>
                  <a:cubicBezTo>
                    <a:pt x="183" y="30"/>
                    <a:pt x="184" y="29"/>
                    <a:pt x="183" y="29"/>
                  </a:cubicBezTo>
                  <a:cubicBezTo>
                    <a:pt x="183" y="28"/>
                    <a:pt x="180" y="28"/>
                    <a:pt x="179" y="28"/>
                  </a:cubicBezTo>
                  <a:cubicBezTo>
                    <a:pt x="178" y="28"/>
                    <a:pt x="176" y="28"/>
                    <a:pt x="175" y="29"/>
                  </a:cubicBezTo>
                  <a:cubicBezTo>
                    <a:pt x="174" y="30"/>
                    <a:pt x="173" y="33"/>
                    <a:pt x="172" y="35"/>
                  </a:cubicBezTo>
                  <a:cubicBezTo>
                    <a:pt x="172" y="36"/>
                    <a:pt x="170" y="38"/>
                    <a:pt x="169" y="38"/>
                  </a:cubicBezTo>
                  <a:cubicBezTo>
                    <a:pt x="168" y="39"/>
                    <a:pt x="165" y="38"/>
                    <a:pt x="164" y="38"/>
                  </a:cubicBezTo>
                  <a:cubicBezTo>
                    <a:pt x="163" y="39"/>
                    <a:pt x="161" y="39"/>
                    <a:pt x="160" y="39"/>
                  </a:cubicBezTo>
                  <a:cubicBezTo>
                    <a:pt x="158" y="40"/>
                    <a:pt x="156" y="39"/>
                    <a:pt x="155" y="40"/>
                  </a:cubicBezTo>
                  <a:cubicBezTo>
                    <a:pt x="151" y="40"/>
                    <a:pt x="147" y="41"/>
                    <a:pt x="143" y="42"/>
                  </a:cubicBezTo>
                  <a:cubicBezTo>
                    <a:pt x="142" y="42"/>
                    <a:pt x="139" y="41"/>
                    <a:pt x="138" y="42"/>
                  </a:cubicBezTo>
                  <a:cubicBezTo>
                    <a:pt x="137" y="42"/>
                    <a:pt x="135" y="44"/>
                    <a:pt x="135" y="44"/>
                  </a:cubicBezTo>
                  <a:cubicBezTo>
                    <a:pt x="134" y="46"/>
                    <a:pt x="134" y="48"/>
                    <a:pt x="134" y="50"/>
                  </a:cubicBezTo>
                  <a:cubicBezTo>
                    <a:pt x="133" y="51"/>
                    <a:pt x="132" y="52"/>
                    <a:pt x="131" y="53"/>
                  </a:cubicBezTo>
                  <a:cubicBezTo>
                    <a:pt x="131" y="56"/>
                    <a:pt x="134" y="55"/>
                    <a:pt x="135" y="58"/>
                  </a:cubicBezTo>
                  <a:cubicBezTo>
                    <a:pt x="135" y="59"/>
                    <a:pt x="134" y="61"/>
                    <a:pt x="132" y="61"/>
                  </a:cubicBezTo>
                  <a:cubicBezTo>
                    <a:pt x="131" y="62"/>
                    <a:pt x="128" y="62"/>
                    <a:pt x="127" y="62"/>
                  </a:cubicBezTo>
                  <a:cubicBezTo>
                    <a:pt x="125" y="62"/>
                    <a:pt x="124" y="62"/>
                    <a:pt x="122" y="63"/>
                  </a:cubicBezTo>
                  <a:cubicBezTo>
                    <a:pt x="121" y="63"/>
                    <a:pt x="120" y="63"/>
                    <a:pt x="118" y="64"/>
                  </a:cubicBezTo>
                  <a:cubicBezTo>
                    <a:pt x="118" y="64"/>
                    <a:pt x="118" y="65"/>
                    <a:pt x="118" y="65"/>
                  </a:cubicBezTo>
                  <a:cubicBezTo>
                    <a:pt x="118" y="65"/>
                    <a:pt x="117" y="66"/>
                    <a:pt x="117" y="65"/>
                  </a:cubicBezTo>
                  <a:cubicBezTo>
                    <a:pt x="117" y="65"/>
                    <a:pt x="115" y="66"/>
                    <a:pt x="115" y="66"/>
                  </a:cubicBezTo>
                  <a:cubicBezTo>
                    <a:pt x="111" y="67"/>
                    <a:pt x="105" y="66"/>
                    <a:pt x="101" y="66"/>
                  </a:cubicBezTo>
                  <a:cubicBezTo>
                    <a:pt x="93" y="66"/>
                    <a:pt x="86" y="66"/>
                    <a:pt x="79" y="66"/>
                  </a:cubicBezTo>
                  <a:cubicBezTo>
                    <a:pt x="77" y="66"/>
                    <a:pt x="75" y="67"/>
                    <a:pt x="74" y="66"/>
                  </a:cubicBezTo>
                  <a:cubicBezTo>
                    <a:pt x="73" y="65"/>
                    <a:pt x="72" y="63"/>
                    <a:pt x="72" y="61"/>
                  </a:cubicBezTo>
                  <a:cubicBezTo>
                    <a:pt x="71" y="60"/>
                    <a:pt x="70" y="58"/>
                    <a:pt x="68" y="57"/>
                  </a:cubicBezTo>
                  <a:cubicBezTo>
                    <a:pt x="67" y="57"/>
                    <a:pt x="66" y="57"/>
                    <a:pt x="65" y="57"/>
                  </a:cubicBezTo>
                  <a:cubicBezTo>
                    <a:pt x="62" y="56"/>
                    <a:pt x="61" y="53"/>
                    <a:pt x="59" y="52"/>
                  </a:cubicBezTo>
                  <a:cubicBezTo>
                    <a:pt x="58" y="51"/>
                    <a:pt x="56" y="50"/>
                    <a:pt x="54" y="50"/>
                  </a:cubicBezTo>
                  <a:cubicBezTo>
                    <a:pt x="53" y="49"/>
                    <a:pt x="52" y="49"/>
                    <a:pt x="51" y="49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49" y="52"/>
                    <a:pt x="46" y="55"/>
                    <a:pt x="48" y="57"/>
                  </a:cubicBezTo>
                  <a:cubicBezTo>
                    <a:pt x="50" y="59"/>
                    <a:pt x="53" y="58"/>
                    <a:pt x="52" y="61"/>
                  </a:cubicBezTo>
                  <a:cubicBezTo>
                    <a:pt x="51" y="63"/>
                    <a:pt x="48" y="64"/>
                    <a:pt x="47" y="65"/>
                  </a:cubicBezTo>
                  <a:cubicBezTo>
                    <a:pt x="46" y="66"/>
                    <a:pt x="45" y="66"/>
                    <a:pt x="44" y="66"/>
                  </a:cubicBezTo>
                  <a:cubicBezTo>
                    <a:pt x="43" y="67"/>
                    <a:pt x="43" y="67"/>
                    <a:pt x="42" y="67"/>
                  </a:cubicBezTo>
                  <a:cubicBezTo>
                    <a:pt x="39" y="67"/>
                    <a:pt x="38" y="69"/>
                    <a:pt x="36" y="69"/>
                  </a:cubicBezTo>
                  <a:cubicBezTo>
                    <a:pt x="35" y="69"/>
                    <a:pt x="34" y="70"/>
                    <a:pt x="33" y="69"/>
                  </a:cubicBezTo>
                  <a:cubicBezTo>
                    <a:pt x="32" y="69"/>
                    <a:pt x="32" y="67"/>
                    <a:pt x="31" y="66"/>
                  </a:cubicBezTo>
                  <a:cubicBezTo>
                    <a:pt x="30" y="64"/>
                    <a:pt x="26" y="63"/>
                    <a:pt x="25" y="64"/>
                  </a:cubicBezTo>
                  <a:cubicBezTo>
                    <a:pt x="23" y="66"/>
                    <a:pt x="24" y="68"/>
                    <a:pt x="21" y="68"/>
                  </a:cubicBezTo>
                  <a:cubicBezTo>
                    <a:pt x="20" y="68"/>
                    <a:pt x="17" y="67"/>
                    <a:pt x="17" y="68"/>
                  </a:cubicBezTo>
                  <a:cubicBezTo>
                    <a:pt x="16" y="69"/>
                    <a:pt x="17" y="70"/>
                    <a:pt x="17" y="70"/>
                  </a:cubicBezTo>
                  <a:cubicBezTo>
                    <a:pt x="18" y="71"/>
                    <a:pt x="19" y="72"/>
                    <a:pt x="21" y="73"/>
                  </a:cubicBezTo>
                  <a:cubicBezTo>
                    <a:pt x="22" y="74"/>
                    <a:pt x="24" y="73"/>
                    <a:pt x="26" y="74"/>
                  </a:cubicBezTo>
                  <a:cubicBezTo>
                    <a:pt x="26" y="74"/>
                    <a:pt x="26" y="75"/>
                    <a:pt x="27" y="75"/>
                  </a:cubicBezTo>
                  <a:cubicBezTo>
                    <a:pt x="27" y="76"/>
                    <a:pt x="27" y="76"/>
                    <a:pt x="27" y="77"/>
                  </a:cubicBezTo>
                  <a:cubicBezTo>
                    <a:pt x="28" y="78"/>
                    <a:pt x="28" y="78"/>
                    <a:pt x="28" y="79"/>
                  </a:cubicBezTo>
                  <a:cubicBezTo>
                    <a:pt x="28" y="80"/>
                    <a:pt x="28" y="82"/>
                    <a:pt x="28" y="82"/>
                  </a:cubicBezTo>
                  <a:cubicBezTo>
                    <a:pt x="28" y="83"/>
                    <a:pt x="27" y="84"/>
                    <a:pt x="26" y="85"/>
                  </a:cubicBezTo>
                  <a:cubicBezTo>
                    <a:pt x="25" y="86"/>
                    <a:pt x="24" y="88"/>
                    <a:pt x="24" y="89"/>
                  </a:cubicBezTo>
                  <a:cubicBezTo>
                    <a:pt x="23" y="90"/>
                    <a:pt x="23" y="90"/>
                    <a:pt x="22" y="91"/>
                  </a:cubicBezTo>
                  <a:cubicBezTo>
                    <a:pt x="21" y="91"/>
                    <a:pt x="20" y="90"/>
                    <a:pt x="19" y="90"/>
                  </a:cubicBezTo>
                  <a:cubicBezTo>
                    <a:pt x="18" y="90"/>
                    <a:pt x="17" y="91"/>
                    <a:pt x="17" y="91"/>
                  </a:cubicBezTo>
                  <a:cubicBezTo>
                    <a:pt x="15" y="92"/>
                    <a:pt x="14" y="97"/>
                    <a:pt x="16" y="99"/>
                  </a:cubicBezTo>
                  <a:cubicBezTo>
                    <a:pt x="16" y="100"/>
                    <a:pt x="20" y="99"/>
                    <a:pt x="19" y="102"/>
                  </a:cubicBezTo>
                  <a:cubicBezTo>
                    <a:pt x="19" y="102"/>
                    <a:pt x="17" y="103"/>
                    <a:pt x="17" y="103"/>
                  </a:cubicBezTo>
                  <a:cubicBezTo>
                    <a:pt x="16" y="103"/>
                    <a:pt x="14" y="105"/>
                    <a:pt x="14" y="106"/>
                  </a:cubicBezTo>
                  <a:cubicBezTo>
                    <a:pt x="13" y="107"/>
                    <a:pt x="14" y="108"/>
                    <a:pt x="14" y="108"/>
                  </a:cubicBezTo>
                  <a:cubicBezTo>
                    <a:pt x="14" y="109"/>
                    <a:pt x="14" y="110"/>
                    <a:pt x="15" y="110"/>
                  </a:cubicBezTo>
                  <a:cubicBezTo>
                    <a:pt x="15" y="112"/>
                    <a:pt x="15" y="112"/>
                    <a:pt x="17" y="113"/>
                  </a:cubicBezTo>
                  <a:cubicBezTo>
                    <a:pt x="18" y="113"/>
                    <a:pt x="18" y="113"/>
                    <a:pt x="18" y="115"/>
                  </a:cubicBezTo>
                  <a:cubicBezTo>
                    <a:pt x="18" y="116"/>
                    <a:pt x="18" y="117"/>
                    <a:pt x="18" y="117"/>
                  </a:cubicBezTo>
                  <a:cubicBezTo>
                    <a:pt x="18" y="118"/>
                    <a:pt x="17" y="119"/>
                    <a:pt x="17" y="120"/>
                  </a:cubicBezTo>
                  <a:cubicBezTo>
                    <a:pt x="17" y="121"/>
                    <a:pt x="17" y="121"/>
                    <a:pt x="17" y="122"/>
                  </a:cubicBezTo>
                  <a:cubicBezTo>
                    <a:pt x="17" y="124"/>
                    <a:pt x="16" y="124"/>
                    <a:pt x="14" y="124"/>
                  </a:cubicBezTo>
                  <a:cubicBezTo>
                    <a:pt x="13" y="124"/>
                    <a:pt x="12" y="125"/>
                    <a:pt x="10" y="125"/>
                  </a:cubicBezTo>
                  <a:cubicBezTo>
                    <a:pt x="8" y="125"/>
                    <a:pt x="8" y="126"/>
                    <a:pt x="6" y="127"/>
                  </a:cubicBezTo>
                  <a:cubicBezTo>
                    <a:pt x="4" y="128"/>
                    <a:pt x="3" y="128"/>
                    <a:pt x="2" y="131"/>
                  </a:cubicBezTo>
                  <a:cubicBezTo>
                    <a:pt x="1" y="132"/>
                    <a:pt x="1" y="132"/>
                    <a:pt x="0" y="133"/>
                  </a:cubicBezTo>
                  <a:cubicBezTo>
                    <a:pt x="1" y="134"/>
                    <a:pt x="2" y="135"/>
                    <a:pt x="2" y="136"/>
                  </a:cubicBezTo>
                  <a:moveTo>
                    <a:pt x="51" y="49"/>
                  </a:moveTo>
                  <a:cubicBezTo>
                    <a:pt x="52" y="49"/>
                    <a:pt x="53" y="48"/>
                    <a:pt x="53" y="47"/>
                  </a:cubicBezTo>
                  <a:cubicBezTo>
                    <a:pt x="53" y="48"/>
                    <a:pt x="52" y="49"/>
                    <a:pt x="51" y="49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5" name="Freeform 25"/>
            <p:cNvSpPr>
              <a:spLocks/>
            </p:cNvSpPr>
            <p:nvPr/>
          </p:nvSpPr>
          <p:spPr bwMode="auto">
            <a:xfrm>
              <a:off x="4791075" y="5016500"/>
              <a:ext cx="311150" cy="225425"/>
            </a:xfrm>
            <a:custGeom>
              <a:avLst/>
              <a:gdLst/>
              <a:ahLst/>
              <a:cxnLst>
                <a:cxn ang="0">
                  <a:pos x="159" y="13"/>
                </a:cxn>
                <a:cxn ang="0">
                  <a:pos x="155" y="0"/>
                </a:cxn>
                <a:cxn ang="0">
                  <a:pos x="145" y="15"/>
                </a:cxn>
                <a:cxn ang="0">
                  <a:pos x="125" y="14"/>
                </a:cxn>
                <a:cxn ang="0">
                  <a:pos x="119" y="23"/>
                </a:cxn>
                <a:cxn ang="0">
                  <a:pos x="105" y="21"/>
                </a:cxn>
                <a:cxn ang="0">
                  <a:pos x="84" y="25"/>
                </a:cxn>
                <a:cxn ang="0">
                  <a:pos x="78" y="32"/>
                </a:cxn>
                <a:cxn ang="0">
                  <a:pos x="69" y="41"/>
                </a:cxn>
                <a:cxn ang="0">
                  <a:pos x="57" y="37"/>
                </a:cxn>
                <a:cxn ang="0">
                  <a:pos x="49" y="35"/>
                </a:cxn>
                <a:cxn ang="0">
                  <a:pos x="29" y="31"/>
                </a:cxn>
                <a:cxn ang="0">
                  <a:pos x="19" y="40"/>
                </a:cxn>
                <a:cxn ang="0">
                  <a:pos x="3" y="50"/>
                </a:cxn>
                <a:cxn ang="0">
                  <a:pos x="11" y="57"/>
                </a:cxn>
                <a:cxn ang="0">
                  <a:pos x="6" y="69"/>
                </a:cxn>
                <a:cxn ang="0">
                  <a:pos x="9" y="77"/>
                </a:cxn>
                <a:cxn ang="0">
                  <a:pos x="19" y="87"/>
                </a:cxn>
                <a:cxn ang="0">
                  <a:pos x="28" y="92"/>
                </a:cxn>
                <a:cxn ang="0">
                  <a:pos x="24" y="104"/>
                </a:cxn>
                <a:cxn ang="0">
                  <a:pos x="10" y="109"/>
                </a:cxn>
                <a:cxn ang="0">
                  <a:pos x="10" y="113"/>
                </a:cxn>
                <a:cxn ang="0">
                  <a:pos x="18" y="117"/>
                </a:cxn>
                <a:cxn ang="0">
                  <a:pos x="26" y="116"/>
                </a:cxn>
                <a:cxn ang="0">
                  <a:pos x="33" y="113"/>
                </a:cxn>
                <a:cxn ang="0">
                  <a:pos x="43" y="116"/>
                </a:cxn>
                <a:cxn ang="0">
                  <a:pos x="51" y="120"/>
                </a:cxn>
                <a:cxn ang="0">
                  <a:pos x="61" y="116"/>
                </a:cxn>
                <a:cxn ang="0">
                  <a:pos x="56" y="108"/>
                </a:cxn>
                <a:cxn ang="0">
                  <a:pos x="58" y="101"/>
                </a:cxn>
                <a:cxn ang="0">
                  <a:pos x="66" y="108"/>
                </a:cxn>
                <a:cxn ang="0">
                  <a:pos x="74" y="114"/>
                </a:cxn>
                <a:cxn ang="0">
                  <a:pos x="80" y="112"/>
                </a:cxn>
                <a:cxn ang="0">
                  <a:pos x="90" y="119"/>
                </a:cxn>
                <a:cxn ang="0">
                  <a:pos x="95" y="117"/>
                </a:cxn>
                <a:cxn ang="0">
                  <a:pos x="99" y="109"/>
                </a:cxn>
                <a:cxn ang="0">
                  <a:pos x="102" y="99"/>
                </a:cxn>
                <a:cxn ang="0">
                  <a:pos x="104" y="90"/>
                </a:cxn>
                <a:cxn ang="0">
                  <a:pos x="113" y="88"/>
                </a:cxn>
                <a:cxn ang="0">
                  <a:pos x="120" y="87"/>
                </a:cxn>
                <a:cxn ang="0">
                  <a:pos x="133" y="91"/>
                </a:cxn>
                <a:cxn ang="0">
                  <a:pos x="132" y="82"/>
                </a:cxn>
                <a:cxn ang="0">
                  <a:pos x="126" y="75"/>
                </a:cxn>
                <a:cxn ang="0">
                  <a:pos x="121" y="70"/>
                </a:cxn>
                <a:cxn ang="0">
                  <a:pos x="116" y="65"/>
                </a:cxn>
                <a:cxn ang="0">
                  <a:pos x="121" y="58"/>
                </a:cxn>
                <a:cxn ang="0">
                  <a:pos x="128" y="53"/>
                </a:cxn>
                <a:cxn ang="0">
                  <a:pos x="137" y="47"/>
                </a:cxn>
                <a:cxn ang="0">
                  <a:pos x="144" y="43"/>
                </a:cxn>
                <a:cxn ang="0">
                  <a:pos x="152" y="40"/>
                </a:cxn>
                <a:cxn ang="0">
                  <a:pos x="151" y="33"/>
                </a:cxn>
                <a:cxn ang="0">
                  <a:pos x="165" y="33"/>
                </a:cxn>
                <a:cxn ang="0">
                  <a:pos x="163" y="22"/>
                </a:cxn>
              </a:cxnLst>
              <a:rect l="0" t="0" r="r" b="b"/>
              <a:pathLst>
                <a:path w="167" h="120">
                  <a:moveTo>
                    <a:pt x="163" y="22"/>
                  </a:moveTo>
                  <a:cubicBezTo>
                    <a:pt x="162" y="21"/>
                    <a:pt x="161" y="21"/>
                    <a:pt x="160" y="20"/>
                  </a:cubicBezTo>
                  <a:cubicBezTo>
                    <a:pt x="158" y="19"/>
                    <a:pt x="158" y="19"/>
                    <a:pt x="158" y="17"/>
                  </a:cubicBezTo>
                  <a:cubicBezTo>
                    <a:pt x="158" y="15"/>
                    <a:pt x="158" y="14"/>
                    <a:pt x="159" y="13"/>
                  </a:cubicBezTo>
                  <a:cubicBezTo>
                    <a:pt x="159" y="11"/>
                    <a:pt x="160" y="10"/>
                    <a:pt x="160" y="8"/>
                  </a:cubicBezTo>
                  <a:cubicBezTo>
                    <a:pt x="160" y="6"/>
                    <a:pt x="159" y="5"/>
                    <a:pt x="157" y="3"/>
                  </a:cubicBezTo>
                  <a:cubicBezTo>
                    <a:pt x="157" y="2"/>
                    <a:pt x="156" y="1"/>
                    <a:pt x="15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4" y="0"/>
                    <a:pt x="154" y="1"/>
                    <a:pt x="153" y="1"/>
                  </a:cubicBezTo>
                  <a:cubicBezTo>
                    <a:pt x="152" y="3"/>
                    <a:pt x="150" y="2"/>
                    <a:pt x="149" y="3"/>
                  </a:cubicBezTo>
                  <a:cubicBezTo>
                    <a:pt x="147" y="4"/>
                    <a:pt x="146" y="6"/>
                    <a:pt x="146" y="9"/>
                  </a:cubicBezTo>
                  <a:cubicBezTo>
                    <a:pt x="146" y="11"/>
                    <a:pt x="146" y="13"/>
                    <a:pt x="145" y="15"/>
                  </a:cubicBezTo>
                  <a:cubicBezTo>
                    <a:pt x="144" y="18"/>
                    <a:pt x="141" y="18"/>
                    <a:pt x="138" y="18"/>
                  </a:cubicBezTo>
                  <a:cubicBezTo>
                    <a:pt x="136" y="17"/>
                    <a:pt x="133" y="18"/>
                    <a:pt x="131" y="17"/>
                  </a:cubicBezTo>
                  <a:cubicBezTo>
                    <a:pt x="129" y="15"/>
                    <a:pt x="131" y="12"/>
                    <a:pt x="129" y="11"/>
                  </a:cubicBezTo>
                  <a:cubicBezTo>
                    <a:pt x="128" y="10"/>
                    <a:pt x="126" y="13"/>
                    <a:pt x="125" y="14"/>
                  </a:cubicBezTo>
                  <a:cubicBezTo>
                    <a:pt x="124" y="15"/>
                    <a:pt x="125" y="14"/>
                    <a:pt x="124" y="15"/>
                  </a:cubicBezTo>
                  <a:cubicBezTo>
                    <a:pt x="124" y="15"/>
                    <a:pt x="123" y="15"/>
                    <a:pt x="123" y="15"/>
                  </a:cubicBezTo>
                  <a:cubicBezTo>
                    <a:pt x="122" y="15"/>
                    <a:pt x="122" y="15"/>
                    <a:pt x="122" y="16"/>
                  </a:cubicBezTo>
                  <a:cubicBezTo>
                    <a:pt x="121" y="18"/>
                    <a:pt x="119" y="20"/>
                    <a:pt x="119" y="23"/>
                  </a:cubicBezTo>
                  <a:cubicBezTo>
                    <a:pt x="118" y="23"/>
                    <a:pt x="118" y="22"/>
                    <a:pt x="116" y="22"/>
                  </a:cubicBezTo>
                  <a:cubicBezTo>
                    <a:pt x="115" y="21"/>
                    <a:pt x="113" y="22"/>
                    <a:pt x="112" y="22"/>
                  </a:cubicBezTo>
                  <a:cubicBezTo>
                    <a:pt x="111" y="22"/>
                    <a:pt x="111" y="22"/>
                    <a:pt x="111" y="21"/>
                  </a:cubicBezTo>
                  <a:cubicBezTo>
                    <a:pt x="109" y="21"/>
                    <a:pt x="107" y="21"/>
                    <a:pt x="105" y="21"/>
                  </a:cubicBezTo>
                  <a:cubicBezTo>
                    <a:pt x="104" y="21"/>
                    <a:pt x="103" y="20"/>
                    <a:pt x="102" y="20"/>
                  </a:cubicBezTo>
                  <a:cubicBezTo>
                    <a:pt x="100" y="19"/>
                    <a:pt x="99" y="20"/>
                    <a:pt x="97" y="21"/>
                  </a:cubicBezTo>
                  <a:cubicBezTo>
                    <a:pt x="95" y="22"/>
                    <a:pt x="93" y="22"/>
                    <a:pt x="90" y="23"/>
                  </a:cubicBezTo>
                  <a:cubicBezTo>
                    <a:pt x="88" y="23"/>
                    <a:pt x="85" y="23"/>
                    <a:pt x="84" y="25"/>
                  </a:cubicBezTo>
                  <a:cubicBezTo>
                    <a:pt x="84" y="26"/>
                    <a:pt x="83" y="27"/>
                    <a:pt x="83" y="27"/>
                  </a:cubicBezTo>
                  <a:cubicBezTo>
                    <a:pt x="83" y="28"/>
                    <a:pt x="82" y="28"/>
                    <a:pt x="82" y="28"/>
                  </a:cubicBezTo>
                  <a:cubicBezTo>
                    <a:pt x="81" y="29"/>
                    <a:pt x="81" y="29"/>
                    <a:pt x="81" y="30"/>
                  </a:cubicBezTo>
                  <a:cubicBezTo>
                    <a:pt x="80" y="31"/>
                    <a:pt x="79" y="32"/>
                    <a:pt x="78" y="32"/>
                  </a:cubicBezTo>
                  <a:cubicBezTo>
                    <a:pt x="77" y="32"/>
                    <a:pt x="76" y="31"/>
                    <a:pt x="76" y="32"/>
                  </a:cubicBezTo>
                  <a:cubicBezTo>
                    <a:pt x="75" y="32"/>
                    <a:pt x="74" y="33"/>
                    <a:pt x="74" y="33"/>
                  </a:cubicBezTo>
                  <a:cubicBezTo>
                    <a:pt x="73" y="34"/>
                    <a:pt x="73" y="35"/>
                    <a:pt x="72" y="35"/>
                  </a:cubicBezTo>
                  <a:cubicBezTo>
                    <a:pt x="71" y="37"/>
                    <a:pt x="72" y="40"/>
                    <a:pt x="69" y="41"/>
                  </a:cubicBezTo>
                  <a:cubicBezTo>
                    <a:pt x="67" y="41"/>
                    <a:pt x="65" y="40"/>
                    <a:pt x="63" y="39"/>
                  </a:cubicBezTo>
                  <a:cubicBezTo>
                    <a:pt x="62" y="39"/>
                    <a:pt x="61" y="39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59" y="37"/>
                    <a:pt x="57" y="38"/>
                    <a:pt x="57" y="37"/>
                  </a:cubicBezTo>
                  <a:cubicBezTo>
                    <a:pt x="55" y="37"/>
                    <a:pt x="52" y="37"/>
                    <a:pt x="50" y="36"/>
                  </a:cubicBezTo>
                  <a:cubicBezTo>
                    <a:pt x="49" y="36"/>
                    <a:pt x="48" y="36"/>
                    <a:pt x="47" y="36"/>
                  </a:cubicBezTo>
                  <a:cubicBezTo>
                    <a:pt x="48" y="36"/>
                    <a:pt x="48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3" y="33"/>
                    <a:pt x="38" y="34"/>
                    <a:pt x="33" y="32"/>
                  </a:cubicBezTo>
                  <a:cubicBezTo>
                    <a:pt x="32" y="32"/>
                    <a:pt x="31" y="31"/>
                    <a:pt x="29" y="31"/>
                  </a:cubicBezTo>
                  <a:cubicBezTo>
                    <a:pt x="29" y="30"/>
                    <a:pt x="28" y="31"/>
                    <a:pt x="28" y="31"/>
                  </a:cubicBezTo>
                  <a:cubicBezTo>
                    <a:pt x="27" y="30"/>
                    <a:pt x="26" y="30"/>
                    <a:pt x="25" y="30"/>
                  </a:cubicBezTo>
                  <a:cubicBezTo>
                    <a:pt x="24" y="30"/>
                    <a:pt x="22" y="29"/>
                    <a:pt x="21" y="29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17" y="41"/>
                    <a:pt x="15" y="41"/>
                    <a:pt x="13" y="41"/>
                  </a:cubicBezTo>
                  <a:cubicBezTo>
                    <a:pt x="10" y="41"/>
                    <a:pt x="8" y="42"/>
                    <a:pt x="6" y="44"/>
                  </a:cubicBezTo>
                  <a:cubicBezTo>
                    <a:pt x="5" y="45"/>
                    <a:pt x="5" y="46"/>
                    <a:pt x="5" y="48"/>
                  </a:cubicBezTo>
                  <a:cubicBezTo>
                    <a:pt x="5" y="49"/>
                    <a:pt x="5" y="49"/>
                    <a:pt x="3" y="50"/>
                  </a:cubicBezTo>
                  <a:cubicBezTo>
                    <a:pt x="2" y="51"/>
                    <a:pt x="1" y="51"/>
                    <a:pt x="1" y="52"/>
                  </a:cubicBezTo>
                  <a:cubicBezTo>
                    <a:pt x="0" y="53"/>
                    <a:pt x="0" y="54"/>
                    <a:pt x="0" y="55"/>
                  </a:cubicBezTo>
                  <a:cubicBezTo>
                    <a:pt x="2" y="55"/>
                    <a:pt x="4" y="56"/>
                    <a:pt x="7" y="56"/>
                  </a:cubicBezTo>
                  <a:cubicBezTo>
                    <a:pt x="8" y="56"/>
                    <a:pt x="9" y="57"/>
                    <a:pt x="11" y="57"/>
                  </a:cubicBezTo>
                  <a:cubicBezTo>
                    <a:pt x="12" y="58"/>
                    <a:pt x="15" y="59"/>
                    <a:pt x="16" y="60"/>
                  </a:cubicBezTo>
                  <a:cubicBezTo>
                    <a:pt x="17" y="62"/>
                    <a:pt x="14" y="62"/>
                    <a:pt x="13" y="62"/>
                  </a:cubicBezTo>
                  <a:cubicBezTo>
                    <a:pt x="11" y="63"/>
                    <a:pt x="10" y="65"/>
                    <a:pt x="9" y="66"/>
                  </a:cubicBezTo>
                  <a:cubicBezTo>
                    <a:pt x="7" y="67"/>
                    <a:pt x="7" y="68"/>
                    <a:pt x="6" y="69"/>
                  </a:cubicBezTo>
                  <a:cubicBezTo>
                    <a:pt x="3" y="73"/>
                    <a:pt x="8" y="72"/>
                    <a:pt x="11" y="73"/>
                  </a:cubicBezTo>
                  <a:cubicBezTo>
                    <a:pt x="11" y="73"/>
                    <a:pt x="11" y="74"/>
                    <a:pt x="11" y="74"/>
                  </a:cubicBezTo>
                  <a:cubicBezTo>
                    <a:pt x="11" y="76"/>
                    <a:pt x="11" y="75"/>
                    <a:pt x="10" y="76"/>
                  </a:cubicBezTo>
                  <a:cubicBezTo>
                    <a:pt x="10" y="76"/>
                    <a:pt x="9" y="76"/>
                    <a:pt x="9" y="77"/>
                  </a:cubicBezTo>
                  <a:cubicBezTo>
                    <a:pt x="9" y="78"/>
                    <a:pt x="9" y="78"/>
                    <a:pt x="9" y="78"/>
                  </a:cubicBezTo>
                  <a:cubicBezTo>
                    <a:pt x="10" y="79"/>
                    <a:pt x="11" y="81"/>
                    <a:pt x="12" y="82"/>
                  </a:cubicBezTo>
                  <a:cubicBezTo>
                    <a:pt x="13" y="84"/>
                    <a:pt x="13" y="85"/>
                    <a:pt x="15" y="86"/>
                  </a:cubicBezTo>
                  <a:cubicBezTo>
                    <a:pt x="16" y="87"/>
                    <a:pt x="18" y="87"/>
                    <a:pt x="19" y="87"/>
                  </a:cubicBezTo>
                  <a:cubicBezTo>
                    <a:pt x="20" y="87"/>
                    <a:pt x="21" y="87"/>
                    <a:pt x="22" y="87"/>
                  </a:cubicBezTo>
                  <a:cubicBezTo>
                    <a:pt x="23" y="87"/>
                    <a:pt x="23" y="88"/>
                    <a:pt x="24" y="89"/>
                  </a:cubicBezTo>
                  <a:cubicBezTo>
                    <a:pt x="25" y="90"/>
                    <a:pt x="27" y="90"/>
                    <a:pt x="27" y="91"/>
                  </a:cubicBezTo>
                  <a:cubicBezTo>
                    <a:pt x="28" y="92"/>
                    <a:pt x="27" y="92"/>
                    <a:pt x="28" y="92"/>
                  </a:cubicBezTo>
                  <a:cubicBezTo>
                    <a:pt x="28" y="94"/>
                    <a:pt x="28" y="94"/>
                    <a:pt x="28" y="95"/>
                  </a:cubicBezTo>
                  <a:cubicBezTo>
                    <a:pt x="28" y="98"/>
                    <a:pt x="28" y="99"/>
                    <a:pt x="27" y="101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5" y="103"/>
                    <a:pt x="25" y="103"/>
                    <a:pt x="24" y="104"/>
                  </a:cubicBezTo>
                  <a:cubicBezTo>
                    <a:pt x="23" y="105"/>
                    <a:pt x="22" y="106"/>
                    <a:pt x="20" y="107"/>
                  </a:cubicBezTo>
                  <a:cubicBezTo>
                    <a:pt x="19" y="107"/>
                    <a:pt x="16" y="107"/>
                    <a:pt x="14" y="107"/>
                  </a:cubicBezTo>
                  <a:cubicBezTo>
                    <a:pt x="14" y="108"/>
                    <a:pt x="13" y="108"/>
                    <a:pt x="12" y="108"/>
                  </a:cubicBezTo>
                  <a:cubicBezTo>
                    <a:pt x="12" y="109"/>
                    <a:pt x="11" y="108"/>
                    <a:pt x="10" y="109"/>
                  </a:cubicBezTo>
                  <a:cubicBezTo>
                    <a:pt x="9" y="109"/>
                    <a:pt x="8" y="110"/>
                    <a:pt x="7" y="110"/>
                  </a:cubicBezTo>
                  <a:cubicBezTo>
                    <a:pt x="8" y="110"/>
                    <a:pt x="8" y="111"/>
                    <a:pt x="8" y="112"/>
                  </a:cubicBezTo>
                  <a:cubicBezTo>
                    <a:pt x="9" y="112"/>
                    <a:pt x="9" y="112"/>
                    <a:pt x="9" y="112"/>
                  </a:cubicBezTo>
                  <a:cubicBezTo>
                    <a:pt x="10" y="113"/>
                    <a:pt x="9" y="113"/>
                    <a:pt x="10" y="113"/>
                  </a:cubicBezTo>
                  <a:cubicBezTo>
                    <a:pt x="10" y="114"/>
                    <a:pt x="11" y="115"/>
                    <a:pt x="11" y="116"/>
                  </a:cubicBezTo>
                  <a:cubicBezTo>
                    <a:pt x="12" y="116"/>
                    <a:pt x="13" y="116"/>
                    <a:pt x="13" y="116"/>
                  </a:cubicBezTo>
                  <a:cubicBezTo>
                    <a:pt x="14" y="117"/>
                    <a:pt x="15" y="117"/>
                    <a:pt x="15" y="117"/>
                  </a:cubicBezTo>
                  <a:cubicBezTo>
                    <a:pt x="16" y="117"/>
                    <a:pt x="17" y="117"/>
                    <a:pt x="18" y="117"/>
                  </a:cubicBezTo>
                  <a:cubicBezTo>
                    <a:pt x="19" y="117"/>
                    <a:pt x="20" y="117"/>
                    <a:pt x="21" y="118"/>
                  </a:cubicBezTo>
                  <a:cubicBezTo>
                    <a:pt x="21" y="118"/>
                    <a:pt x="22" y="119"/>
                    <a:pt x="22" y="119"/>
                  </a:cubicBezTo>
                  <a:cubicBezTo>
                    <a:pt x="24" y="119"/>
                    <a:pt x="25" y="117"/>
                    <a:pt x="26" y="116"/>
                  </a:cubicBezTo>
                  <a:cubicBezTo>
                    <a:pt x="26" y="116"/>
                    <a:pt x="26" y="116"/>
                    <a:pt x="26" y="116"/>
                  </a:cubicBezTo>
                  <a:cubicBezTo>
                    <a:pt x="26" y="115"/>
                    <a:pt x="26" y="115"/>
                    <a:pt x="27" y="115"/>
                  </a:cubicBezTo>
                  <a:cubicBezTo>
                    <a:pt x="27" y="114"/>
                    <a:pt x="29" y="112"/>
                    <a:pt x="30" y="112"/>
                  </a:cubicBezTo>
                  <a:cubicBezTo>
                    <a:pt x="30" y="112"/>
                    <a:pt x="31" y="111"/>
                    <a:pt x="31" y="112"/>
                  </a:cubicBezTo>
                  <a:cubicBezTo>
                    <a:pt x="32" y="112"/>
                    <a:pt x="32" y="112"/>
                    <a:pt x="33" y="113"/>
                  </a:cubicBezTo>
                  <a:cubicBezTo>
                    <a:pt x="34" y="113"/>
                    <a:pt x="34" y="113"/>
                    <a:pt x="35" y="113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37" y="114"/>
                    <a:pt x="39" y="113"/>
                    <a:pt x="41" y="114"/>
                  </a:cubicBezTo>
                  <a:cubicBezTo>
                    <a:pt x="42" y="115"/>
                    <a:pt x="42" y="116"/>
                    <a:pt x="43" y="116"/>
                  </a:cubicBezTo>
                  <a:cubicBezTo>
                    <a:pt x="44" y="117"/>
                    <a:pt x="45" y="117"/>
                    <a:pt x="46" y="118"/>
                  </a:cubicBezTo>
                  <a:cubicBezTo>
                    <a:pt x="47" y="118"/>
                    <a:pt x="48" y="119"/>
                    <a:pt x="49" y="119"/>
                  </a:cubicBezTo>
                  <a:cubicBezTo>
                    <a:pt x="49" y="120"/>
                    <a:pt x="50" y="120"/>
                    <a:pt x="50" y="120"/>
                  </a:cubicBezTo>
                  <a:cubicBezTo>
                    <a:pt x="50" y="120"/>
                    <a:pt x="51" y="120"/>
                    <a:pt x="51" y="120"/>
                  </a:cubicBezTo>
                  <a:cubicBezTo>
                    <a:pt x="52" y="120"/>
                    <a:pt x="52" y="120"/>
                    <a:pt x="52" y="120"/>
                  </a:cubicBezTo>
                  <a:cubicBezTo>
                    <a:pt x="53" y="119"/>
                    <a:pt x="53" y="119"/>
                    <a:pt x="53" y="118"/>
                  </a:cubicBezTo>
                  <a:cubicBezTo>
                    <a:pt x="54" y="118"/>
                    <a:pt x="55" y="119"/>
                    <a:pt x="56" y="119"/>
                  </a:cubicBezTo>
                  <a:cubicBezTo>
                    <a:pt x="57" y="119"/>
                    <a:pt x="60" y="117"/>
                    <a:pt x="61" y="116"/>
                  </a:cubicBezTo>
                  <a:cubicBezTo>
                    <a:pt x="61" y="115"/>
                    <a:pt x="61" y="114"/>
                    <a:pt x="60" y="114"/>
                  </a:cubicBezTo>
                  <a:cubicBezTo>
                    <a:pt x="59" y="113"/>
                    <a:pt x="59" y="112"/>
                    <a:pt x="58" y="112"/>
                  </a:cubicBezTo>
                  <a:cubicBezTo>
                    <a:pt x="58" y="111"/>
                    <a:pt x="57" y="110"/>
                    <a:pt x="57" y="109"/>
                  </a:cubicBezTo>
                  <a:cubicBezTo>
                    <a:pt x="57" y="108"/>
                    <a:pt x="57" y="108"/>
                    <a:pt x="56" y="108"/>
                  </a:cubicBezTo>
                  <a:cubicBezTo>
                    <a:pt x="56" y="108"/>
                    <a:pt x="56" y="107"/>
                    <a:pt x="56" y="107"/>
                  </a:cubicBezTo>
                  <a:cubicBezTo>
                    <a:pt x="55" y="106"/>
                    <a:pt x="56" y="105"/>
                    <a:pt x="56" y="104"/>
                  </a:cubicBezTo>
                  <a:cubicBezTo>
                    <a:pt x="57" y="103"/>
                    <a:pt x="57" y="103"/>
                    <a:pt x="58" y="102"/>
                  </a:cubicBezTo>
                  <a:cubicBezTo>
                    <a:pt x="58" y="102"/>
                    <a:pt x="58" y="101"/>
                    <a:pt x="58" y="101"/>
                  </a:cubicBezTo>
                  <a:cubicBezTo>
                    <a:pt x="59" y="101"/>
                    <a:pt x="58" y="102"/>
                    <a:pt x="59" y="103"/>
                  </a:cubicBezTo>
                  <a:cubicBezTo>
                    <a:pt x="60" y="104"/>
                    <a:pt x="61" y="104"/>
                    <a:pt x="62" y="105"/>
                  </a:cubicBezTo>
                  <a:cubicBezTo>
                    <a:pt x="63" y="105"/>
                    <a:pt x="64" y="106"/>
                    <a:pt x="64" y="107"/>
                  </a:cubicBezTo>
                  <a:cubicBezTo>
                    <a:pt x="65" y="107"/>
                    <a:pt x="66" y="108"/>
                    <a:pt x="66" y="108"/>
                  </a:cubicBezTo>
                  <a:cubicBezTo>
                    <a:pt x="67" y="108"/>
                    <a:pt x="67" y="108"/>
                    <a:pt x="68" y="109"/>
                  </a:cubicBezTo>
                  <a:cubicBezTo>
                    <a:pt x="68" y="110"/>
                    <a:pt x="69" y="111"/>
                    <a:pt x="69" y="112"/>
                  </a:cubicBezTo>
                  <a:cubicBezTo>
                    <a:pt x="69" y="112"/>
                    <a:pt x="70" y="113"/>
                    <a:pt x="70" y="114"/>
                  </a:cubicBezTo>
                  <a:cubicBezTo>
                    <a:pt x="71" y="114"/>
                    <a:pt x="73" y="114"/>
                    <a:pt x="74" y="114"/>
                  </a:cubicBezTo>
                  <a:cubicBezTo>
                    <a:pt x="75" y="114"/>
                    <a:pt x="75" y="114"/>
                    <a:pt x="75" y="113"/>
                  </a:cubicBezTo>
                  <a:cubicBezTo>
                    <a:pt x="76" y="112"/>
                    <a:pt x="77" y="112"/>
                    <a:pt x="77" y="111"/>
                  </a:cubicBezTo>
                  <a:cubicBezTo>
                    <a:pt x="77" y="110"/>
                    <a:pt x="77" y="109"/>
                    <a:pt x="78" y="110"/>
                  </a:cubicBezTo>
                  <a:cubicBezTo>
                    <a:pt x="79" y="111"/>
                    <a:pt x="79" y="112"/>
                    <a:pt x="80" y="112"/>
                  </a:cubicBezTo>
                  <a:cubicBezTo>
                    <a:pt x="80" y="113"/>
                    <a:pt x="80" y="113"/>
                    <a:pt x="81" y="113"/>
                  </a:cubicBezTo>
                  <a:cubicBezTo>
                    <a:pt x="81" y="113"/>
                    <a:pt x="81" y="113"/>
                    <a:pt x="82" y="113"/>
                  </a:cubicBezTo>
                  <a:cubicBezTo>
                    <a:pt x="82" y="114"/>
                    <a:pt x="83" y="115"/>
                    <a:pt x="83" y="115"/>
                  </a:cubicBezTo>
                  <a:cubicBezTo>
                    <a:pt x="85" y="117"/>
                    <a:pt x="87" y="119"/>
                    <a:pt x="90" y="119"/>
                  </a:cubicBezTo>
                  <a:cubicBezTo>
                    <a:pt x="91" y="119"/>
                    <a:pt x="91" y="119"/>
                    <a:pt x="92" y="119"/>
                  </a:cubicBezTo>
                  <a:cubicBezTo>
                    <a:pt x="92" y="119"/>
                    <a:pt x="92" y="118"/>
                    <a:pt x="93" y="118"/>
                  </a:cubicBezTo>
                  <a:cubicBezTo>
                    <a:pt x="93" y="118"/>
                    <a:pt x="93" y="117"/>
                    <a:pt x="93" y="117"/>
                  </a:cubicBezTo>
                  <a:cubicBezTo>
                    <a:pt x="94" y="116"/>
                    <a:pt x="94" y="117"/>
                    <a:pt x="95" y="117"/>
                  </a:cubicBezTo>
                  <a:cubicBezTo>
                    <a:pt x="97" y="117"/>
                    <a:pt x="99" y="115"/>
                    <a:pt x="100" y="114"/>
                  </a:cubicBezTo>
                  <a:cubicBezTo>
                    <a:pt x="101" y="113"/>
                    <a:pt x="101" y="113"/>
                    <a:pt x="100" y="112"/>
                  </a:cubicBezTo>
                  <a:cubicBezTo>
                    <a:pt x="99" y="111"/>
                    <a:pt x="99" y="111"/>
                    <a:pt x="99" y="111"/>
                  </a:cubicBezTo>
                  <a:cubicBezTo>
                    <a:pt x="99" y="110"/>
                    <a:pt x="99" y="110"/>
                    <a:pt x="99" y="109"/>
                  </a:cubicBezTo>
                  <a:cubicBezTo>
                    <a:pt x="99" y="108"/>
                    <a:pt x="99" y="107"/>
                    <a:pt x="99" y="106"/>
                  </a:cubicBezTo>
                  <a:cubicBezTo>
                    <a:pt x="99" y="105"/>
                    <a:pt x="99" y="104"/>
                    <a:pt x="99" y="103"/>
                  </a:cubicBezTo>
                  <a:cubicBezTo>
                    <a:pt x="99" y="103"/>
                    <a:pt x="99" y="103"/>
                    <a:pt x="99" y="102"/>
                  </a:cubicBezTo>
                  <a:cubicBezTo>
                    <a:pt x="99" y="100"/>
                    <a:pt x="100" y="100"/>
                    <a:pt x="102" y="99"/>
                  </a:cubicBezTo>
                  <a:cubicBezTo>
                    <a:pt x="102" y="98"/>
                    <a:pt x="102" y="98"/>
                    <a:pt x="102" y="98"/>
                  </a:cubicBezTo>
                  <a:cubicBezTo>
                    <a:pt x="102" y="96"/>
                    <a:pt x="100" y="96"/>
                    <a:pt x="100" y="94"/>
                  </a:cubicBezTo>
                  <a:cubicBezTo>
                    <a:pt x="100" y="94"/>
                    <a:pt x="101" y="93"/>
                    <a:pt x="102" y="93"/>
                  </a:cubicBezTo>
                  <a:cubicBezTo>
                    <a:pt x="102" y="92"/>
                    <a:pt x="103" y="91"/>
                    <a:pt x="104" y="90"/>
                  </a:cubicBezTo>
                  <a:cubicBezTo>
                    <a:pt x="105" y="90"/>
                    <a:pt x="105" y="89"/>
                    <a:pt x="106" y="89"/>
                  </a:cubicBezTo>
                  <a:cubicBezTo>
                    <a:pt x="107" y="88"/>
                    <a:pt x="108" y="88"/>
                    <a:pt x="109" y="88"/>
                  </a:cubicBezTo>
                  <a:cubicBezTo>
                    <a:pt x="110" y="87"/>
                    <a:pt x="110" y="87"/>
                    <a:pt x="111" y="87"/>
                  </a:cubicBezTo>
                  <a:cubicBezTo>
                    <a:pt x="112" y="87"/>
                    <a:pt x="112" y="87"/>
                    <a:pt x="113" y="88"/>
                  </a:cubicBezTo>
                  <a:cubicBezTo>
                    <a:pt x="114" y="88"/>
                    <a:pt x="113" y="88"/>
                    <a:pt x="114" y="88"/>
                  </a:cubicBezTo>
                  <a:cubicBezTo>
                    <a:pt x="116" y="87"/>
                    <a:pt x="117" y="89"/>
                    <a:pt x="119" y="89"/>
                  </a:cubicBezTo>
                  <a:cubicBezTo>
                    <a:pt x="119" y="88"/>
                    <a:pt x="119" y="87"/>
                    <a:pt x="119" y="87"/>
                  </a:cubicBezTo>
                  <a:cubicBezTo>
                    <a:pt x="119" y="87"/>
                    <a:pt x="120" y="87"/>
                    <a:pt x="120" y="87"/>
                  </a:cubicBezTo>
                  <a:cubicBezTo>
                    <a:pt x="120" y="86"/>
                    <a:pt x="123" y="87"/>
                    <a:pt x="123" y="88"/>
                  </a:cubicBezTo>
                  <a:cubicBezTo>
                    <a:pt x="124" y="88"/>
                    <a:pt x="125" y="89"/>
                    <a:pt x="126" y="89"/>
                  </a:cubicBezTo>
                  <a:cubicBezTo>
                    <a:pt x="127" y="90"/>
                    <a:pt x="129" y="91"/>
                    <a:pt x="131" y="91"/>
                  </a:cubicBezTo>
                  <a:cubicBezTo>
                    <a:pt x="132" y="91"/>
                    <a:pt x="133" y="91"/>
                    <a:pt x="133" y="91"/>
                  </a:cubicBezTo>
                  <a:cubicBezTo>
                    <a:pt x="135" y="91"/>
                    <a:pt x="137" y="91"/>
                    <a:pt x="137" y="89"/>
                  </a:cubicBezTo>
                  <a:cubicBezTo>
                    <a:pt x="138" y="88"/>
                    <a:pt x="136" y="86"/>
                    <a:pt x="135" y="84"/>
                  </a:cubicBezTo>
                  <a:cubicBezTo>
                    <a:pt x="135" y="84"/>
                    <a:pt x="135" y="82"/>
                    <a:pt x="135" y="82"/>
                  </a:cubicBezTo>
                  <a:cubicBezTo>
                    <a:pt x="134" y="82"/>
                    <a:pt x="133" y="82"/>
                    <a:pt x="132" y="82"/>
                  </a:cubicBezTo>
                  <a:cubicBezTo>
                    <a:pt x="132" y="81"/>
                    <a:pt x="132" y="82"/>
                    <a:pt x="132" y="81"/>
                  </a:cubicBezTo>
                  <a:cubicBezTo>
                    <a:pt x="131" y="81"/>
                    <a:pt x="131" y="80"/>
                    <a:pt x="131" y="79"/>
                  </a:cubicBezTo>
                  <a:cubicBezTo>
                    <a:pt x="130" y="78"/>
                    <a:pt x="130" y="76"/>
                    <a:pt x="128" y="75"/>
                  </a:cubicBezTo>
                  <a:cubicBezTo>
                    <a:pt x="128" y="75"/>
                    <a:pt x="127" y="76"/>
                    <a:pt x="126" y="75"/>
                  </a:cubicBezTo>
                  <a:cubicBezTo>
                    <a:pt x="125" y="75"/>
                    <a:pt x="125" y="73"/>
                    <a:pt x="124" y="73"/>
                  </a:cubicBezTo>
                  <a:cubicBezTo>
                    <a:pt x="123" y="72"/>
                    <a:pt x="123" y="71"/>
                    <a:pt x="122" y="71"/>
                  </a:cubicBezTo>
                  <a:cubicBezTo>
                    <a:pt x="122" y="71"/>
                    <a:pt x="122" y="71"/>
                    <a:pt x="121" y="70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0" y="70"/>
                    <a:pt x="119" y="70"/>
                    <a:pt x="119" y="69"/>
                  </a:cubicBezTo>
                  <a:cubicBezTo>
                    <a:pt x="119" y="69"/>
                    <a:pt x="118" y="68"/>
                    <a:pt x="118" y="68"/>
                  </a:cubicBezTo>
                  <a:cubicBezTo>
                    <a:pt x="118" y="68"/>
                    <a:pt x="118" y="68"/>
                    <a:pt x="118" y="68"/>
                  </a:cubicBezTo>
                  <a:cubicBezTo>
                    <a:pt x="117" y="67"/>
                    <a:pt x="117" y="66"/>
                    <a:pt x="116" y="65"/>
                  </a:cubicBezTo>
                  <a:cubicBezTo>
                    <a:pt x="116" y="65"/>
                    <a:pt x="115" y="64"/>
                    <a:pt x="115" y="64"/>
                  </a:cubicBezTo>
                  <a:cubicBezTo>
                    <a:pt x="115" y="62"/>
                    <a:pt x="116" y="61"/>
                    <a:pt x="117" y="60"/>
                  </a:cubicBezTo>
                  <a:cubicBezTo>
                    <a:pt x="118" y="59"/>
                    <a:pt x="118" y="58"/>
                    <a:pt x="119" y="58"/>
                  </a:cubicBezTo>
                  <a:cubicBezTo>
                    <a:pt x="120" y="57"/>
                    <a:pt x="121" y="58"/>
                    <a:pt x="121" y="58"/>
                  </a:cubicBezTo>
                  <a:cubicBezTo>
                    <a:pt x="122" y="58"/>
                    <a:pt x="123" y="58"/>
                    <a:pt x="123" y="58"/>
                  </a:cubicBezTo>
                  <a:cubicBezTo>
                    <a:pt x="124" y="57"/>
                    <a:pt x="124" y="55"/>
                    <a:pt x="125" y="55"/>
                  </a:cubicBezTo>
                  <a:cubicBezTo>
                    <a:pt x="126" y="54"/>
                    <a:pt x="125" y="54"/>
                    <a:pt x="126" y="54"/>
                  </a:cubicBezTo>
                  <a:cubicBezTo>
                    <a:pt x="127" y="54"/>
                    <a:pt x="128" y="54"/>
                    <a:pt x="128" y="53"/>
                  </a:cubicBezTo>
                  <a:cubicBezTo>
                    <a:pt x="129" y="53"/>
                    <a:pt x="129" y="53"/>
                    <a:pt x="130" y="52"/>
                  </a:cubicBezTo>
                  <a:cubicBezTo>
                    <a:pt x="130" y="51"/>
                    <a:pt x="132" y="50"/>
                    <a:pt x="133" y="50"/>
                  </a:cubicBezTo>
                  <a:cubicBezTo>
                    <a:pt x="134" y="50"/>
                    <a:pt x="135" y="50"/>
                    <a:pt x="136" y="50"/>
                  </a:cubicBezTo>
                  <a:cubicBezTo>
                    <a:pt x="137" y="49"/>
                    <a:pt x="136" y="47"/>
                    <a:pt x="137" y="47"/>
                  </a:cubicBezTo>
                  <a:cubicBezTo>
                    <a:pt x="138" y="46"/>
                    <a:pt x="140" y="47"/>
                    <a:pt x="141" y="47"/>
                  </a:cubicBezTo>
                  <a:cubicBezTo>
                    <a:pt x="142" y="47"/>
                    <a:pt x="142" y="47"/>
                    <a:pt x="142" y="46"/>
                  </a:cubicBezTo>
                  <a:cubicBezTo>
                    <a:pt x="142" y="46"/>
                    <a:pt x="142" y="45"/>
                    <a:pt x="142" y="45"/>
                  </a:cubicBezTo>
                  <a:cubicBezTo>
                    <a:pt x="142" y="44"/>
                    <a:pt x="143" y="44"/>
                    <a:pt x="144" y="43"/>
                  </a:cubicBezTo>
                  <a:cubicBezTo>
                    <a:pt x="146" y="43"/>
                    <a:pt x="148" y="42"/>
                    <a:pt x="150" y="43"/>
                  </a:cubicBezTo>
                  <a:cubicBezTo>
                    <a:pt x="151" y="43"/>
                    <a:pt x="152" y="43"/>
                    <a:pt x="152" y="43"/>
                  </a:cubicBezTo>
                  <a:cubicBezTo>
                    <a:pt x="153" y="43"/>
                    <a:pt x="153" y="42"/>
                    <a:pt x="153" y="42"/>
                  </a:cubicBezTo>
                  <a:cubicBezTo>
                    <a:pt x="153" y="41"/>
                    <a:pt x="152" y="41"/>
                    <a:pt x="152" y="40"/>
                  </a:cubicBezTo>
                  <a:cubicBezTo>
                    <a:pt x="151" y="39"/>
                    <a:pt x="151" y="38"/>
                    <a:pt x="150" y="37"/>
                  </a:cubicBezTo>
                  <a:cubicBezTo>
                    <a:pt x="150" y="37"/>
                    <a:pt x="149" y="36"/>
                    <a:pt x="148" y="35"/>
                  </a:cubicBezTo>
                  <a:cubicBezTo>
                    <a:pt x="148" y="35"/>
                    <a:pt x="148" y="34"/>
                    <a:pt x="149" y="34"/>
                  </a:cubicBezTo>
                  <a:cubicBezTo>
                    <a:pt x="149" y="33"/>
                    <a:pt x="150" y="33"/>
                    <a:pt x="151" y="33"/>
                  </a:cubicBezTo>
                  <a:cubicBezTo>
                    <a:pt x="152" y="33"/>
                    <a:pt x="152" y="33"/>
                    <a:pt x="153" y="33"/>
                  </a:cubicBezTo>
                  <a:cubicBezTo>
                    <a:pt x="153" y="32"/>
                    <a:pt x="154" y="31"/>
                    <a:pt x="155" y="31"/>
                  </a:cubicBezTo>
                  <a:cubicBezTo>
                    <a:pt x="156" y="30"/>
                    <a:pt x="159" y="32"/>
                    <a:pt x="160" y="33"/>
                  </a:cubicBezTo>
                  <a:cubicBezTo>
                    <a:pt x="162" y="33"/>
                    <a:pt x="163" y="33"/>
                    <a:pt x="165" y="33"/>
                  </a:cubicBezTo>
                  <a:cubicBezTo>
                    <a:pt x="165" y="33"/>
                    <a:pt x="166" y="33"/>
                    <a:pt x="167" y="33"/>
                  </a:cubicBezTo>
                  <a:cubicBezTo>
                    <a:pt x="167" y="32"/>
                    <a:pt x="167" y="32"/>
                    <a:pt x="167" y="32"/>
                  </a:cubicBezTo>
                  <a:cubicBezTo>
                    <a:pt x="166" y="32"/>
                    <a:pt x="165" y="32"/>
                    <a:pt x="165" y="32"/>
                  </a:cubicBezTo>
                  <a:cubicBezTo>
                    <a:pt x="161" y="29"/>
                    <a:pt x="164" y="26"/>
                    <a:pt x="163" y="2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6" name="Freeform 26"/>
            <p:cNvSpPr>
              <a:spLocks noEditPoints="1"/>
            </p:cNvSpPr>
            <p:nvPr/>
          </p:nvSpPr>
          <p:spPr bwMode="auto">
            <a:xfrm>
              <a:off x="4795838" y="5073650"/>
              <a:ext cx="584200" cy="542925"/>
            </a:xfrm>
            <a:custGeom>
              <a:avLst/>
              <a:gdLst/>
              <a:ahLst/>
              <a:cxnLst>
                <a:cxn ang="0">
                  <a:pos x="261" y="120"/>
                </a:cxn>
                <a:cxn ang="0">
                  <a:pos x="275" y="132"/>
                </a:cxn>
                <a:cxn ang="0">
                  <a:pos x="294" y="124"/>
                </a:cxn>
                <a:cxn ang="0">
                  <a:pos x="305" y="104"/>
                </a:cxn>
                <a:cxn ang="0">
                  <a:pos x="291" y="87"/>
                </a:cxn>
                <a:cxn ang="0">
                  <a:pos x="288" y="72"/>
                </a:cxn>
                <a:cxn ang="0">
                  <a:pos x="284" y="56"/>
                </a:cxn>
                <a:cxn ang="0">
                  <a:pos x="275" y="56"/>
                </a:cxn>
                <a:cxn ang="0">
                  <a:pos x="244" y="63"/>
                </a:cxn>
                <a:cxn ang="0">
                  <a:pos x="223" y="58"/>
                </a:cxn>
                <a:cxn ang="0">
                  <a:pos x="201" y="40"/>
                </a:cxn>
                <a:cxn ang="0">
                  <a:pos x="194" y="29"/>
                </a:cxn>
                <a:cxn ang="0">
                  <a:pos x="169" y="7"/>
                </a:cxn>
                <a:cxn ang="0">
                  <a:pos x="152" y="1"/>
                </a:cxn>
                <a:cxn ang="0">
                  <a:pos x="149" y="10"/>
                </a:cxn>
                <a:cxn ang="0">
                  <a:pos x="139" y="16"/>
                </a:cxn>
                <a:cxn ang="0">
                  <a:pos x="125" y="23"/>
                </a:cxn>
                <a:cxn ang="0">
                  <a:pos x="114" y="30"/>
                </a:cxn>
                <a:cxn ang="0">
                  <a:pos x="118" y="40"/>
                </a:cxn>
                <a:cxn ang="0">
                  <a:pos x="128" y="49"/>
                </a:cxn>
                <a:cxn ang="0">
                  <a:pos x="130" y="61"/>
                </a:cxn>
                <a:cxn ang="0">
                  <a:pos x="116" y="59"/>
                </a:cxn>
                <a:cxn ang="0">
                  <a:pos x="101" y="60"/>
                </a:cxn>
                <a:cxn ang="0">
                  <a:pos x="96" y="73"/>
                </a:cxn>
                <a:cxn ang="0">
                  <a:pos x="92" y="87"/>
                </a:cxn>
                <a:cxn ang="0">
                  <a:pos x="79" y="83"/>
                </a:cxn>
                <a:cxn ang="0">
                  <a:pos x="71" y="84"/>
                </a:cxn>
                <a:cxn ang="0">
                  <a:pos x="59" y="75"/>
                </a:cxn>
                <a:cxn ang="0">
                  <a:pos x="53" y="78"/>
                </a:cxn>
                <a:cxn ang="0">
                  <a:pos x="50" y="88"/>
                </a:cxn>
                <a:cxn ang="0">
                  <a:pos x="40" y="86"/>
                </a:cxn>
                <a:cxn ang="0">
                  <a:pos x="27" y="82"/>
                </a:cxn>
                <a:cxn ang="0">
                  <a:pos x="15" y="87"/>
                </a:cxn>
                <a:cxn ang="0">
                  <a:pos x="5" y="82"/>
                </a:cxn>
                <a:cxn ang="0">
                  <a:pos x="1" y="87"/>
                </a:cxn>
                <a:cxn ang="0">
                  <a:pos x="16" y="127"/>
                </a:cxn>
                <a:cxn ang="0">
                  <a:pos x="25" y="131"/>
                </a:cxn>
                <a:cxn ang="0">
                  <a:pos x="37" y="109"/>
                </a:cxn>
                <a:cxn ang="0">
                  <a:pos x="54" y="109"/>
                </a:cxn>
                <a:cxn ang="0">
                  <a:pos x="64" y="125"/>
                </a:cxn>
                <a:cxn ang="0">
                  <a:pos x="70" y="130"/>
                </a:cxn>
                <a:cxn ang="0">
                  <a:pos x="75" y="151"/>
                </a:cxn>
                <a:cxn ang="0">
                  <a:pos x="93" y="179"/>
                </a:cxn>
                <a:cxn ang="0">
                  <a:pos x="95" y="203"/>
                </a:cxn>
                <a:cxn ang="0">
                  <a:pos x="106" y="217"/>
                </a:cxn>
                <a:cxn ang="0">
                  <a:pos x="119" y="235"/>
                </a:cxn>
                <a:cxn ang="0">
                  <a:pos x="134" y="242"/>
                </a:cxn>
                <a:cxn ang="0">
                  <a:pos x="157" y="246"/>
                </a:cxn>
                <a:cxn ang="0">
                  <a:pos x="200" y="287"/>
                </a:cxn>
                <a:cxn ang="0">
                  <a:pos x="202" y="278"/>
                </a:cxn>
                <a:cxn ang="0">
                  <a:pos x="195" y="264"/>
                </a:cxn>
                <a:cxn ang="0">
                  <a:pos x="192" y="250"/>
                </a:cxn>
                <a:cxn ang="0">
                  <a:pos x="169" y="224"/>
                </a:cxn>
                <a:cxn ang="0">
                  <a:pos x="142" y="196"/>
                </a:cxn>
                <a:cxn ang="0">
                  <a:pos x="135" y="175"/>
                </a:cxn>
                <a:cxn ang="0">
                  <a:pos x="131" y="151"/>
                </a:cxn>
                <a:cxn ang="0">
                  <a:pos x="118" y="134"/>
                </a:cxn>
                <a:cxn ang="0">
                  <a:pos x="133" y="107"/>
                </a:cxn>
                <a:cxn ang="0">
                  <a:pos x="150" y="118"/>
                </a:cxn>
                <a:cxn ang="0">
                  <a:pos x="174" y="105"/>
                </a:cxn>
                <a:cxn ang="0">
                  <a:pos x="192" y="114"/>
                </a:cxn>
                <a:cxn ang="0">
                  <a:pos x="221" y="116"/>
                </a:cxn>
                <a:cxn ang="0">
                  <a:pos x="237" y="114"/>
                </a:cxn>
              </a:cxnLst>
              <a:rect l="0" t="0" r="r" b="b"/>
              <a:pathLst>
                <a:path w="312" h="291">
                  <a:moveTo>
                    <a:pt x="9" y="78"/>
                  </a:moveTo>
                  <a:cubicBezTo>
                    <a:pt x="9" y="78"/>
                    <a:pt x="9" y="78"/>
                    <a:pt x="9" y="78"/>
                  </a:cubicBezTo>
                  <a:cubicBezTo>
                    <a:pt x="9" y="78"/>
                    <a:pt x="9" y="78"/>
                    <a:pt x="9" y="78"/>
                  </a:cubicBezTo>
                  <a:moveTo>
                    <a:pt x="255" y="117"/>
                  </a:moveTo>
                  <a:cubicBezTo>
                    <a:pt x="256" y="117"/>
                    <a:pt x="257" y="118"/>
                    <a:pt x="259" y="118"/>
                  </a:cubicBezTo>
                  <a:cubicBezTo>
                    <a:pt x="259" y="119"/>
                    <a:pt x="260" y="120"/>
                    <a:pt x="261" y="120"/>
                  </a:cubicBezTo>
                  <a:cubicBezTo>
                    <a:pt x="263" y="121"/>
                    <a:pt x="266" y="121"/>
                    <a:pt x="267" y="121"/>
                  </a:cubicBezTo>
                  <a:cubicBezTo>
                    <a:pt x="268" y="118"/>
                    <a:pt x="272" y="120"/>
                    <a:pt x="273" y="122"/>
                  </a:cubicBezTo>
                  <a:cubicBezTo>
                    <a:pt x="273" y="122"/>
                    <a:pt x="273" y="123"/>
                    <a:pt x="273" y="124"/>
                  </a:cubicBezTo>
                  <a:cubicBezTo>
                    <a:pt x="273" y="124"/>
                    <a:pt x="274" y="125"/>
                    <a:pt x="274" y="125"/>
                  </a:cubicBezTo>
                  <a:cubicBezTo>
                    <a:pt x="275" y="126"/>
                    <a:pt x="277" y="127"/>
                    <a:pt x="277" y="128"/>
                  </a:cubicBezTo>
                  <a:cubicBezTo>
                    <a:pt x="276" y="130"/>
                    <a:pt x="275" y="130"/>
                    <a:pt x="275" y="132"/>
                  </a:cubicBezTo>
                  <a:cubicBezTo>
                    <a:pt x="275" y="134"/>
                    <a:pt x="276" y="136"/>
                    <a:pt x="278" y="137"/>
                  </a:cubicBezTo>
                  <a:cubicBezTo>
                    <a:pt x="279" y="137"/>
                    <a:pt x="278" y="137"/>
                    <a:pt x="280" y="138"/>
                  </a:cubicBezTo>
                  <a:cubicBezTo>
                    <a:pt x="281" y="138"/>
                    <a:pt x="282" y="138"/>
                    <a:pt x="282" y="138"/>
                  </a:cubicBezTo>
                  <a:cubicBezTo>
                    <a:pt x="284" y="137"/>
                    <a:pt x="286" y="137"/>
                    <a:pt x="288" y="136"/>
                  </a:cubicBezTo>
                  <a:cubicBezTo>
                    <a:pt x="290" y="135"/>
                    <a:pt x="297" y="134"/>
                    <a:pt x="295" y="131"/>
                  </a:cubicBezTo>
                  <a:cubicBezTo>
                    <a:pt x="294" y="128"/>
                    <a:pt x="291" y="126"/>
                    <a:pt x="294" y="124"/>
                  </a:cubicBezTo>
                  <a:cubicBezTo>
                    <a:pt x="294" y="123"/>
                    <a:pt x="296" y="122"/>
                    <a:pt x="296" y="121"/>
                  </a:cubicBezTo>
                  <a:cubicBezTo>
                    <a:pt x="296" y="120"/>
                    <a:pt x="295" y="119"/>
                    <a:pt x="296" y="118"/>
                  </a:cubicBezTo>
                  <a:cubicBezTo>
                    <a:pt x="297" y="116"/>
                    <a:pt x="301" y="115"/>
                    <a:pt x="303" y="114"/>
                  </a:cubicBezTo>
                  <a:cubicBezTo>
                    <a:pt x="305" y="114"/>
                    <a:pt x="312" y="114"/>
                    <a:pt x="310" y="110"/>
                  </a:cubicBezTo>
                  <a:cubicBezTo>
                    <a:pt x="310" y="109"/>
                    <a:pt x="309" y="109"/>
                    <a:pt x="308" y="108"/>
                  </a:cubicBezTo>
                  <a:cubicBezTo>
                    <a:pt x="307" y="107"/>
                    <a:pt x="306" y="105"/>
                    <a:pt x="305" y="104"/>
                  </a:cubicBezTo>
                  <a:cubicBezTo>
                    <a:pt x="303" y="102"/>
                    <a:pt x="303" y="102"/>
                    <a:pt x="301" y="102"/>
                  </a:cubicBezTo>
                  <a:cubicBezTo>
                    <a:pt x="297" y="101"/>
                    <a:pt x="294" y="99"/>
                    <a:pt x="292" y="98"/>
                  </a:cubicBezTo>
                  <a:cubicBezTo>
                    <a:pt x="291" y="98"/>
                    <a:pt x="290" y="97"/>
                    <a:pt x="290" y="96"/>
                  </a:cubicBezTo>
                  <a:cubicBezTo>
                    <a:pt x="288" y="94"/>
                    <a:pt x="292" y="93"/>
                    <a:pt x="292" y="90"/>
                  </a:cubicBezTo>
                  <a:cubicBezTo>
                    <a:pt x="291" y="89"/>
                    <a:pt x="290" y="89"/>
                    <a:pt x="290" y="88"/>
                  </a:cubicBezTo>
                  <a:cubicBezTo>
                    <a:pt x="290" y="87"/>
                    <a:pt x="291" y="87"/>
                    <a:pt x="291" y="87"/>
                  </a:cubicBezTo>
                  <a:cubicBezTo>
                    <a:pt x="292" y="85"/>
                    <a:pt x="291" y="84"/>
                    <a:pt x="290" y="83"/>
                  </a:cubicBezTo>
                  <a:cubicBezTo>
                    <a:pt x="290" y="82"/>
                    <a:pt x="290" y="82"/>
                    <a:pt x="289" y="82"/>
                  </a:cubicBezTo>
                  <a:cubicBezTo>
                    <a:pt x="288" y="80"/>
                    <a:pt x="288" y="81"/>
                    <a:pt x="286" y="80"/>
                  </a:cubicBezTo>
                  <a:cubicBezTo>
                    <a:pt x="286" y="79"/>
                    <a:pt x="286" y="78"/>
                    <a:pt x="286" y="76"/>
                  </a:cubicBezTo>
                  <a:cubicBezTo>
                    <a:pt x="286" y="75"/>
                    <a:pt x="287" y="75"/>
                    <a:pt x="287" y="74"/>
                  </a:cubicBezTo>
                  <a:cubicBezTo>
                    <a:pt x="287" y="73"/>
                    <a:pt x="288" y="73"/>
                    <a:pt x="288" y="72"/>
                  </a:cubicBezTo>
                  <a:cubicBezTo>
                    <a:pt x="288" y="70"/>
                    <a:pt x="286" y="70"/>
                    <a:pt x="286" y="68"/>
                  </a:cubicBezTo>
                  <a:cubicBezTo>
                    <a:pt x="286" y="67"/>
                    <a:pt x="286" y="65"/>
                    <a:pt x="286" y="64"/>
                  </a:cubicBezTo>
                  <a:cubicBezTo>
                    <a:pt x="286" y="64"/>
                    <a:pt x="286" y="63"/>
                    <a:pt x="286" y="63"/>
                  </a:cubicBezTo>
                  <a:cubicBezTo>
                    <a:pt x="286" y="62"/>
                    <a:pt x="285" y="62"/>
                    <a:pt x="285" y="62"/>
                  </a:cubicBezTo>
                  <a:cubicBezTo>
                    <a:pt x="285" y="62"/>
                    <a:pt x="285" y="61"/>
                    <a:pt x="284" y="60"/>
                  </a:cubicBezTo>
                  <a:cubicBezTo>
                    <a:pt x="284" y="59"/>
                    <a:pt x="284" y="58"/>
                    <a:pt x="284" y="56"/>
                  </a:cubicBezTo>
                  <a:cubicBezTo>
                    <a:pt x="284" y="54"/>
                    <a:pt x="284" y="52"/>
                    <a:pt x="284" y="50"/>
                  </a:cubicBezTo>
                  <a:cubicBezTo>
                    <a:pt x="284" y="50"/>
                    <a:pt x="284" y="50"/>
                    <a:pt x="284" y="51"/>
                  </a:cubicBezTo>
                  <a:cubicBezTo>
                    <a:pt x="283" y="51"/>
                    <a:pt x="283" y="52"/>
                    <a:pt x="282" y="52"/>
                  </a:cubicBezTo>
                  <a:cubicBezTo>
                    <a:pt x="282" y="52"/>
                    <a:pt x="281" y="52"/>
                    <a:pt x="281" y="51"/>
                  </a:cubicBezTo>
                  <a:cubicBezTo>
                    <a:pt x="279" y="50"/>
                    <a:pt x="278" y="54"/>
                    <a:pt x="277" y="55"/>
                  </a:cubicBezTo>
                  <a:cubicBezTo>
                    <a:pt x="277" y="55"/>
                    <a:pt x="275" y="56"/>
                    <a:pt x="275" y="56"/>
                  </a:cubicBezTo>
                  <a:cubicBezTo>
                    <a:pt x="274" y="56"/>
                    <a:pt x="272" y="57"/>
                    <a:pt x="271" y="57"/>
                  </a:cubicBezTo>
                  <a:cubicBezTo>
                    <a:pt x="270" y="58"/>
                    <a:pt x="269" y="58"/>
                    <a:pt x="269" y="59"/>
                  </a:cubicBezTo>
                  <a:cubicBezTo>
                    <a:pt x="268" y="60"/>
                    <a:pt x="268" y="62"/>
                    <a:pt x="268" y="63"/>
                  </a:cubicBezTo>
                  <a:cubicBezTo>
                    <a:pt x="265" y="65"/>
                    <a:pt x="259" y="62"/>
                    <a:pt x="256" y="63"/>
                  </a:cubicBezTo>
                  <a:cubicBezTo>
                    <a:pt x="253" y="63"/>
                    <a:pt x="251" y="63"/>
                    <a:pt x="249" y="63"/>
                  </a:cubicBezTo>
                  <a:cubicBezTo>
                    <a:pt x="247" y="63"/>
                    <a:pt x="246" y="63"/>
                    <a:pt x="244" y="63"/>
                  </a:cubicBezTo>
                  <a:cubicBezTo>
                    <a:pt x="244" y="63"/>
                    <a:pt x="243" y="63"/>
                    <a:pt x="242" y="63"/>
                  </a:cubicBezTo>
                  <a:cubicBezTo>
                    <a:pt x="241" y="62"/>
                    <a:pt x="241" y="62"/>
                    <a:pt x="240" y="62"/>
                  </a:cubicBezTo>
                  <a:cubicBezTo>
                    <a:pt x="239" y="61"/>
                    <a:pt x="237" y="62"/>
                    <a:pt x="236" y="61"/>
                  </a:cubicBezTo>
                  <a:cubicBezTo>
                    <a:pt x="234" y="61"/>
                    <a:pt x="232" y="60"/>
                    <a:pt x="230" y="60"/>
                  </a:cubicBezTo>
                  <a:cubicBezTo>
                    <a:pt x="229" y="60"/>
                    <a:pt x="227" y="60"/>
                    <a:pt x="225" y="60"/>
                  </a:cubicBezTo>
                  <a:cubicBezTo>
                    <a:pt x="224" y="59"/>
                    <a:pt x="224" y="59"/>
                    <a:pt x="223" y="58"/>
                  </a:cubicBezTo>
                  <a:cubicBezTo>
                    <a:pt x="222" y="56"/>
                    <a:pt x="220" y="55"/>
                    <a:pt x="218" y="54"/>
                  </a:cubicBezTo>
                  <a:cubicBezTo>
                    <a:pt x="218" y="53"/>
                    <a:pt x="218" y="53"/>
                    <a:pt x="217" y="52"/>
                  </a:cubicBezTo>
                  <a:cubicBezTo>
                    <a:pt x="216" y="52"/>
                    <a:pt x="216" y="52"/>
                    <a:pt x="215" y="52"/>
                  </a:cubicBezTo>
                  <a:cubicBezTo>
                    <a:pt x="212" y="52"/>
                    <a:pt x="212" y="51"/>
                    <a:pt x="210" y="50"/>
                  </a:cubicBezTo>
                  <a:cubicBezTo>
                    <a:pt x="208" y="49"/>
                    <a:pt x="205" y="49"/>
                    <a:pt x="203" y="47"/>
                  </a:cubicBezTo>
                  <a:cubicBezTo>
                    <a:pt x="202" y="45"/>
                    <a:pt x="202" y="42"/>
                    <a:pt x="201" y="40"/>
                  </a:cubicBezTo>
                  <a:cubicBezTo>
                    <a:pt x="200" y="38"/>
                    <a:pt x="199" y="38"/>
                    <a:pt x="198" y="36"/>
                  </a:cubicBezTo>
                  <a:cubicBezTo>
                    <a:pt x="197" y="36"/>
                    <a:pt x="197" y="35"/>
                    <a:pt x="196" y="35"/>
                  </a:cubicBezTo>
                  <a:cubicBezTo>
                    <a:pt x="196" y="34"/>
                    <a:pt x="196" y="34"/>
                    <a:pt x="195" y="34"/>
                  </a:cubicBezTo>
                  <a:cubicBezTo>
                    <a:pt x="196" y="33"/>
                    <a:pt x="196" y="33"/>
                    <a:pt x="195" y="33"/>
                  </a:cubicBezTo>
                  <a:cubicBezTo>
                    <a:pt x="195" y="32"/>
                    <a:pt x="194" y="31"/>
                    <a:pt x="193" y="30"/>
                  </a:cubicBezTo>
                  <a:cubicBezTo>
                    <a:pt x="193" y="30"/>
                    <a:pt x="193" y="29"/>
                    <a:pt x="194" y="29"/>
                  </a:cubicBezTo>
                  <a:cubicBezTo>
                    <a:pt x="192" y="30"/>
                    <a:pt x="191" y="28"/>
                    <a:pt x="190" y="28"/>
                  </a:cubicBezTo>
                  <a:cubicBezTo>
                    <a:pt x="189" y="27"/>
                    <a:pt x="187" y="27"/>
                    <a:pt x="186" y="26"/>
                  </a:cubicBezTo>
                  <a:cubicBezTo>
                    <a:pt x="183" y="24"/>
                    <a:pt x="183" y="23"/>
                    <a:pt x="184" y="20"/>
                  </a:cubicBezTo>
                  <a:cubicBezTo>
                    <a:pt x="182" y="20"/>
                    <a:pt x="180" y="19"/>
                    <a:pt x="179" y="18"/>
                  </a:cubicBezTo>
                  <a:cubicBezTo>
                    <a:pt x="178" y="17"/>
                    <a:pt x="178" y="15"/>
                    <a:pt x="177" y="14"/>
                  </a:cubicBezTo>
                  <a:cubicBezTo>
                    <a:pt x="175" y="11"/>
                    <a:pt x="172" y="9"/>
                    <a:pt x="169" y="7"/>
                  </a:cubicBezTo>
                  <a:cubicBezTo>
                    <a:pt x="167" y="6"/>
                    <a:pt x="166" y="5"/>
                    <a:pt x="165" y="4"/>
                  </a:cubicBezTo>
                  <a:cubicBezTo>
                    <a:pt x="165" y="4"/>
                    <a:pt x="164" y="2"/>
                    <a:pt x="164" y="2"/>
                  </a:cubicBezTo>
                  <a:cubicBezTo>
                    <a:pt x="164" y="2"/>
                    <a:pt x="164" y="2"/>
                    <a:pt x="164" y="3"/>
                  </a:cubicBezTo>
                  <a:cubicBezTo>
                    <a:pt x="163" y="3"/>
                    <a:pt x="162" y="3"/>
                    <a:pt x="162" y="3"/>
                  </a:cubicBezTo>
                  <a:cubicBezTo>
                    <a:pt x="160" y="3"/>
                    <a:pt x="159" y="3"/>
                    <a:pt x="157" y="3"/>
                  </a:cubicBezTo>
                  <a:cubicBezTo>
                    <a:pt x="156" y="2"/>
                    <a:pt x="153" y="0"/>
                    <a:pt x="152" y="1"/>
                  </a:cubicBezTo>
                  <a:cubicBezTo>
                    <a:pt x="151" y="1"/>
                    <a:pt x="150" y="2"/>
                    <a:pt x="150" y="3"/>
                  </a:cubicBezTo>
                  <a:cubicBezTo>
                    <a:pt x="149" y="3"/>
                    <a:pt x="149" y="3"/>
                    <a:pt x="148" y="3"/>
                  </a:cubicBezTo>
                  <a:cubicBezTo>
                    <a:pt x="147" y="3"/>
                    <a:pt x="146" y="3"/>
                    <a:pt x="146" y="4"/>
                  </a:cubicBezTo>
                  <a:cubicBezTo>
                    <a:pt x="145" y="4"/>
                    <a:pt x="145" y="5"/>
                    <a:pt x="145" y="5"/>
                  </a:cubicBezTo>
                  <a:cubicBezTo>
                    <a:pt x="146" y="6"/>
                    <a:pt x="147" y="7"/>
                    <a:pt x="147" y="7"/>
                  </a:cubicBezTo>
                  <a:cubicBezTo>
                    <a:pt x="148" y="8"/>
                    <a:pt x="148" y="9"/>
                    <a:pt x="149" y="10"/>
                  </a:cubicBezTo>
                  <a:cubicBezTo>
                    <a:pt x="149" y="11"/>
                    <a:pt x="150" y="11"/>
                    <a:pt x="150" y="12"/>
                  </a:cubicBezTo>
                  <a:cubicBezTo>
                    <a:pt x="150" y="12"/>
                    <a:pt x="150" y="13"/>
                    <a:pt x="149" y="13"/>
                  </a:cubicBezTo>
                  <a:cubicBezTo>
                    <a:pt x="149" y="13"/>
                    <a:pt x="148" y="13"/>
                    <a:pt x="147" y="13"/>
                  </a:cubicBezTo>
                  <a:cubicBezTo>
                    <a:pt x="145" y="12"/>
                    <a:pt x="143" y="13"/>
                    <a:pt x="141" y="13"/>
                  </a:cubicBezTo>
                  <a:cubicBezTo>
                    <a:pt x="140" y="14"/>
                    <a:pt x="139" y="14"/>
                    <a:pt x="139" y="15"/>
                  </a:cubicBezTo>
                  <a:cubicBezTo>
                    <a:pt x="139" y="15"/>
                    <a:pt x="139" y="16"/>
                    <a:pt x="139" y="16"/>
                  </a:cubicBezTo>
                  <a:cubicBezTo>
                    <a:pt x="139" y="17"/>
                    <a:pt x="139" y="17"/>
                    <a:pt x="138" y="17"/>
                  </a:cubicBezTo>
                  <a:cubicBezTo>
                    <a:pt x="137" y="17"/>
                    <a:pt x="135" y="16"/>
                    <a:pt x="134" y="17"/>
                  </a:cubicBezTo>
                  <a:cubicBezTo>
                    <a:pt x="133" y="17"/>
                    <a:pt x="134" y="19"/>
                    <a:pt x="133" y="20"/>
                  </a:cubicBezTo>
                  <a:cubicBezTo>
                    <a:pt x="132" y="20"/>
                    <a:pt x="131" y="20"/>
                    <a:pt x="130" y="20"/>
                  </a:cubicBezTo>
                  <a:cubicBezTo>
                    <a:pt x="129" y="20"/>
                    <a:pt x="127" y="21"/>
                    <a:pt x="127" y="22"/>
                  </a:cubicBezTo>
                  <a:cubicBezTo>
                    <a:pt x="126" y="23"/>
                    <a:pt x="126" y="23"/>
                    <a:pt x="125" y="23"/>
                  </a:cubicBezTo>
                  <a:cubicBezTo>
                    <a:pt x="125" y="24"/>
                    <a:pt x="124" y="24"/>
                    <a:pt x="123" y="24"/>
                  </a:cubicBezTo>
                  <a:cubicBezTo>
                    <a:pt x="122" y="24"/>
                    <a:pt x="123" y="24"/>
                    <a:pt x="122" y="25"/>
                  </a:cubicBezTo>
                  <a:cubicBezTo>
                    <a:pt x="121" y="25"/>
                    <a:pt x="121" y="27"/>
                    <a:pt x="120" y="28"/>
                  </a:cubicBezTo>
                  <a:cubicBezTo>
                    <a:pt x="120" y="28"/>
                    <a:pt x="119" y="28"/>
                    <a:pt x="118" y="28"/>
                  </a:cubicBezTo>
                  <a:cubicBezTo>
                    <a:pt x="118" y="28"/>
                    <a:pt x="117" y="27"/>
                    <a:pt x="116" y="28"/>
                  </a:cubicBezTo>
                  <a:cubicBezTo>
                    <a:pt x="115" y="28"/>
                    <a:pt x="115" y="29"/>
                    <a:pt x="114" y="30"/>
                  </a:cubicBezTo>
                  <a:cubicBezTo>
                    <a:pt x="113" y="31"/>
                    <a:pt x="112" y="32"/>
                    <a:pt x="112" y="34"/>
                  </a:cubicBezTo>
                  <a:cubicBezTo>
                    <a:pt x="112" y="34"/>
                    <a:pt x="113" y="35"/>
                    <a:pt x="113" y="35"/>
                  </a:cubicBezTo>
                  <a:cubicBezTo>
                    <a:pt x="114" y="36"/>
                    <a:pt x="114" y="37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5" y="38"/>
                    <a:pt x="116" y="39"/>
                    <a:pt x="116" y="39"/>
                  </a:cubicBezTo>
                  <a:cubicBezTo>
                    <a:pt x="116" y="40"/>
                    <a:pt x="117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20" y="41"/>
                    <a:pt x="120" y="42"/>
                    <a:pt x="121" y="43"/>
                  </a:cubicBezTo>
                  <a:cubicBezTo>
                    <a:pt x="122" y="43"/>
                    <a:pt x="122" y="45"/>
                    <a:pt x="123" y="45"/>
                  </a:cubicBezTo>
                  <a:cubicBezTo>
                    <a:pt x="124" y="46"/>
                    <a:pt x="125" y="45"/>
                    <a:pt x="125" y="45"/>
                  </a:cubicBezTo>
                  <a:cubicBezTo>
                    <a:pt x="127" y="46"/>
                    <a:pt x="127" y="48"/>
                    <a:pt x="128" y="49"/>
                  </a:cubicBezTo>
                  <a:cubicBezTo>
                    <a:pt x="128" y="50"/>
                    <a:pt x="128" y="51"/>
                    <a:pt x="129" y="51"/>
                  </a:cubicBezTo>
                  <a:cubicBezTo>
                    <a:pt x="129" y="52"/>
                    <a:pt x="129" y="51"/>
                    <a:pt x="129" y="52"/>
                  </a:cubicBezTo>
                  <a:cubicBezTo>
                    <a:pt x="130" y="52"/>
                    <a:pt x="131" y="52"/>
                    <a:pt x="132" y="52"/>
                  </a:cubicBezTo>
                  <a:cubicBezTo>
                    <a:pt x="132" y="52"/>
                    <a:pt x="132" y="54"/>
                    <a:pt x="132" y="54"/>
                  </a:cubicBezTo>
                  <a:cubicBezTo>
                    <a:pt x="133" y="56"/>
                    <a:pt x="135" y="58"/>
                    <a:pt x="134" y="59"/>
                  </a:cubicBezTo>
                  <a:cubicBezTo>
                    <a:pt x="134" y="61"/>
                    <a:pt x="132" y="61"/>
                    <a:pt x="130" y="61"/>
                  </a:cubicBezTo>
                  <a:cubicBezTo>
                    <a:pt x="130" y="61"/>
                    <a:pt x="129" y="61"/>
                    <a:pt x="128" y="61"/>
                  </a:cubicBezTo>
                  <a:cubicBezTo>
                    <a:pt x="126" y="61"/>
                    <a:pt x="124" y="60"/>
                    <a:pt x="123" y="59"/>
                  </a:cubicBezTo>
                  <a:cubicBezTo>
                    <a:pt x="122" y="59"/>
                    <a:pt x="121" y="58"/>
                    <a:pt x="120" y="58"/>
                  </a:cubicBezTo>
                  <a:cubicBezTo>
                    <a:pt x="120" y="57"/>
                    <a:pt x="117" y="56"/>
                    <a:pt x="117" y="57"/>
                  </a:cubicBezTo>
                  <a:cubicBezTo>
                    <a:pt x="117" y="57"/>
                    <a:pt x="116" y="57"/>
                    <a:pt x="116" y="57"/>
                  </a:cubicBezTo>
                  <a:cubicBezTo>
                    <a:pt x="116" y="57"/>
                    <a:pt x="116" y="58"/>
                    <a:pt x="116" y="59"/>
                  </a:cubicBezTo>
                  <a:cubicBezTo>
                    <a:pt x="114" y="59"/>
                    <a:pt x="113" y="57"/>
                    <a:pt x="111" y="58"/>
                  </a:cubicBezTo>
                  <a:cubicBezTo>
                    <a:pt x="110" y="58"/>
                    <a:pt x="111" y="58"/>
                    <a:pt x="110" y="58"/>
                  </a:cubicBezTo>
                  <a:cubicBezTo>
                    <a:pt x="109" y="57"/>
                    <a:pt x="109" y="57"/>
                    <a:pt x="108" y="57"/>
                  </a:cubicBezTo>
                  <a:cubicBezTo>
                    <a:pt x="107" y="57"/>
                    <a:pt x="107" y="57"/>
                    <a:pt x="106" y="58"/>
                  </a:cubicBezTo>
                  <a:cubicBezTo>
                    <a:pt x="105" y="58"/>
                    <a:pt x="104" y="58"/>
                    <a:pt x="103" y="59"/>
                  </a:cubicBezTo>
                  <a:cubicBezTo>
                    <a:pt x="102" y="59"/>
                    <a:pt x="102" y="60"/>
                    <a:pt x="101" y="60"/>
                  </a:cubicBezTo>
                  <a:cubicBezTo>
                    <a:pt x="100" y="61"/>
                    <a:pt x="99" y="62"/>
                    <a:pt x="99" y="63"/>
                  </a:cubicBezTo>
                  <a:cubicBezTo>
                    <a:pt x="98" y="63"/>
                    <a:pt x="97" y="64"/>
                    <a:pt x="97" y="64"/>
                  </a:cubicBezTo>
                  <a:cubicBezTo>
                    <a:pt x="97" y="66"/>
                    <a:pt x="99" y="66"/>
                    <a:pt x="99" y="68"/>
                  </a:cubicBezTo>
                  <a:cubicBezTo>
                    <a:pt x="99" y="68"/>
                    <a:pt x="99" y="68"/>
                    <a:pt x="99" y="69"/>
                  </a:cubicBezTo>
                  <a:cubicBezTo>
                    <a:pt x="97" y="70"/>
                    <a:pt x="96" y="70"/>
                    <a:pt x="96" y="72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96" y="74"/>
                    <a:pt x="96" y="75"/>
                    <a:pt x="96" y="76"/>
                  </a:cubicBezTo>
                  <a:cubicBezTo>
                    <a:pt x="96" y="77"/>
                    <a:pt x="96" y="78"/>
                    <a:pt x="96" y="79"/>
                  </a:cubicBezTo>
                  <a:cubicBezTo>
                    <a:pt x="96" y="80"/>
                    <a:pt x="96" y="80"/>
                    <a:pt x="96" y="81"/>
                  </a:cubicBezTo>
                  <a:cubicBezTo>
                    <a:pt x="96" y="81"/>
                    <a:pt x="96" y="81"/>
                    <a:pt x="97" y="82"/>
                  </a:cubicBezTo>
                  <a:cubicBezTo>
                    <a:pt x="98" y="83"/>
                    <a:pt x="98" y="83"/>
                    <a:pt x="97" y="84"/>
                  </a:cubicBezTo>
                  <a:cubicBezTo>
                    <a:pt x="96" y="85"/>
                    <a:pt x="94" y="87"/>
                    <a:pt x="92" y="87"/>
                  </a:cubicBezTo>
                  <a:cubicBezTo>
                    <a:pt x="91" y="87"/>
                    <a:pt x="91" y="86"/>
                    <a:pt x="90" y="87"/>
                  </a:cubicBezTo>
                  <a:cubicBezTo>
                    <a:pt x="90" y="87"/>
                    <a:pt x="90" y="88"/>
                    <a:pt x="90" y="88"/>
                  </a:cubicBezTo>
                  <a:cubicBezTo>
                    <a:pt x="89" y="88"/>
                    <a:pt x="89" y="89"/>
                    <a:pt x="89" y="89"/>
                  </a:cubicBezTo>
                  <a:cubicBezTo>
                    <a:pt x="88" y="89"/>
                    <a:pt x="88" y="89"/>
                    <a:pt x="87" y="89"/>
                  </a:cubicBezTo>
                  <a:cubicBezTo>
                    <a:pt x="84" y="89"/>
                    <a:pt x="82" y="87"/>
                    <a:pt x="80" y="85"/>
                  </a:cubicBezTo>
                  <a:cubicBezTo>
                    <a:pt x="80" y="85"/>
                    <a:pt x="79" y="84"/>
                    <a:pt x="79" y="83"/>
                  </a:cubicBezTo>
                  <a:cubicBezTo>
                    <a:pt x="78" y="83"/>
                    <a:pt x="78" y="83"/>
                    <a:pt x="78" y="83"/>
                  </a:cubicBezTo>
                  <a:cubicBezTo>
                    <a:pt x="77" y="83"/>
                    <a:pt x="77" y="83"/>
                    <a:pt x="77" y="82"/>
                  </a:cubicBezTo>
                  <a:cubicBezTo>
                    <a:pt x="76" y="82"/>
                    <a:pt x="76" y="81"/>
                    <a:pt x="75" y="80"/>
                  </a:cubicBezTo>
                  <a:cubicBezTo>
                    <a:pt x="74" y="79"/>
                    <a:pt x="74" y="80"/>
                    <a:pt x="74" y="81"/>
                  </a:cubicBezTo>
                  <a:cubicBezTo>
                    <a:pt x="74" y="82"/>
                    <a:pt x="73" y="82"/>
                    <a:pt x="72" y="83"/>
                  </a:cubicBezTo>
                  <a:cubicBezTo>
                    <a:pt x="72" y="84"/>
                    <a:pt x="72" y="84"/>
                    <a:pt x="71" y="84"/>
                  </a:cubicBezTo>
                  <a:cubicBezTo>
                    <a:pt x="70" y="84"/>
                    <a:pt x="68" y="84"/>
                    <a:pt x="67" y="84"/>
                  </a:cubicBezTo>
                  <a:cubicBezTo>
                    <a:pt x="67" y="83"/>
                    <a:pt x="66" y="82"/>
                    <a:pt x="66" y="82"/>
                  </a:cubicBezTo>
                  <a:cubicBezTo>
                    <a:pt x="66" y="81"/>
                    <a:pt x="65" y="80"/>
                    <a:pt x="65" y="79"/>
                  </a:cubicBezTo>
                  <a:cubicBezTo>
                    <a:pt x="64" y="78"/>
                    <a:pt x="64" y="78"/>
                    <a:pt x="63" y="78"/>
                  </a:cubicBezTo>
                  <a:cubicBezTo>
                    <a:pt x="63" y="78"/>
                    <a:pt x="62" y="77"/>
                    <a:pt x="61" y="77"/>
                  </a:cubicBezTo>
                  <a:cubicBezTo>
                    <a:pt x="61" y="76"/>
                    <a:pt x="60" y="75"/>
                    <a:pt x="59" y="75"/>
                  </a:cubicBezTo>
                  <a:cubicBezTo>
                    <a:pt x="58" y="74"/>
                    <a:pt x="57" y="74"/>
                    <a:pt x="56" y="73"/>
                  </a:cubicBezTo>
                  <a:cubicBezTo>
                    <a:pt x="55" y="72"/>
                    <a:pt x="56" y="71"/>
                    <a:pt x="55" y="71"/>
                  </a:cubicBezTo>
                  <a:cubicBezTo>
                    <a:pt x="55" y="71"/>
                    <a:pt x="55" y="72"/>
                    <a:pt x="55" y="72"/>
                  </a:cubicBezTo>
                  <a:cubicBezTo>
                    <a:pt x="54" y="73"/>
                    <a:pt x="54" y="73"/>
                    <a:pt x="53" y="74"/>
                  </a:cubicBezTo>
                  <a:cubicBezTo>
                    <a:pt x="53" y="75"/>
                    <a:pt x="52" y="76"/>
                    <a:pt x="53" y="77"/>
                  </a:cubicBezTo>
                  <a:cubicBezTo>
                    <a:pt x="53" y="77"/>
                    <a:pt x="53" y="78"/>
                    <a:pt x="53" y="78"/>
                  </a:cubicBezTo>
                  <a:cubicBezTo>
                    <a:pt x="54" y="78"/>
                    <a:pt x="54" y="78"/>
                    <a:pt x="54" y="79"/>
                  </a:cubicBezTo>
                  <a:cubicBezTo>
                    <a:pt x="54" y="80"/>
                    <a:pt x="55" y="81"/>
                    <a:pt x="55" y="82"/>
                  </a:cubicBezTo>
                  <a:cubicBezTo>
                    <a:pt x="56" y="82"/>
                    <a:pt x="56" y="83"/>
                    <a:pt x="57" y="84"/>
                  </a:cubicBezTo>
                  <a:cubicBezTo>
                    <a:pt x="58" y="84"/>
                    <a:pt x="58" y="85"/>
                    <a:pt x="58" y="86"/>
                  </a:cubicBezTo>
                  <a:cubicBezTo>
                    <a:pt x="57" y="87"/>
                    <a:pt x="54" y="89"/>
                    <a:pt x="53" y="89"/>
                  </a:cubicBezTo>
                  <a:cubicBezTo>
                    <a:pt x="52" y="89"/>
                    <a:pt x="51" y="88"/>
                    <a:pt x="50" y="88"/>
                  </a:cubicBezTo>
                  <a:cubicBezTo>
                    <a:pt x="50" y="89"/>
                    <a:pt x="50" y="89"/>
                    <a:pt x="49" y="90"/>
                  </a:cubicBezTo>
                  <a:cubicBezTo>
                    <a:pt x="49" y="90"/>
                    <a:pt x="49" y="90"/>
                    <a:pt x="48" y="90"/>
                  </a:cubicBezTo>
                  <a:cubicBezTo>
                    <a:pt x="48" y="90"/>
                    <a:pt x="47" y="90"/>
                    <a:pt x="47" y="90"/>
                  </a:cubicBezTo>
                  <a:cubicBezTo>
                    <a:pt x="47" y="90"/>
                    <a:pt x="46" y="90"/>
                    <a:pt x="46" y="89"/>
                  </a:cubicBezTo>
                  <a:cubicBezTo>
                    <a:pt x="45" y="89"/>
                    <a:pt x="44" y="88"/>
                    <a:pt x="43" y="88"/>
                  </a:cubicBezTo>
                  <a:cubicBezTo>
                    <a:pt x="42" y="87"/>
                    <a:pt x="41" y="87"/>
                    <a:pt x="40" y="86"/>
                  </a:cubicBezTo>
                  <a:cubicBezTo>
                    <a:pt x="39" y="86"/>
                    <a:pt x="39" y="85"/>
                    <a:pt x="38" y="84"/>
                  </a:cubicBezTo>
                  <a:cubicBezTo>
                    <a:pt x="36" y="83"/>
                    <a:pt x="34" y="84"/>
                    <a:pt x="32" y="83"/>
                  </a:cubicBezTo>
                  <a:cubicBezTo>
                    <a:pt x="32" y="83"/>
                    <a:pt x="32" y="83"/>
                    <a:pt x="32" y="83"/>
                  </a:cubicBezTo>
                  <a:cubicBezTo>
                    <a:pt x="31" y="83"/>
                    <a:pt x="31" y="83"/>
                    <a:pt x="30" y="83"/>
                  </a:cubicBezTo>
                  <a:cubicBezTo>
                    <a:pt x="29" y="82"/>
                    <a:pt x="29" y="82"/>
                    <a:pt x="28" y="82"/>
                  </a:cubicBezTo>
                  <a:cubicBezTo>
                    <a:pt x="28" y="81"/>
                    <a:pt x="27" y="82"/>
                    <a:pt x="27" y="82"/>
                  </a:cubicBezTo>
                  <a:cubicBezTo>
                    <a:pt x="26" y="82"/>
                    <a:pt x="24" y="84"/>
                    <a:pt x="24" y="85"/>
                  </a:cubicBezTo>
                  <a:cubicBezTo>
                    <a:pt x="23" y="85"/>
                    <a:pt x="23" y="85"/>
                    <a:pt x="23" y="86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2" y="87"/>
                    <a:pt x="21" y="89"/>
                    <a:pt x="19" y="89"/>
                  </a:cubicBezTo>
                  <a:cubicBezTo>
                    <a:pt x="19" y="89"/>
                    <a:pt x="18" y="88"/>
                    <a:pt x="18" y="88"/>
                  </a:cubicBezTo>
                  <a:cubicBezTo>
                    <a:pt x="17" y="87"/>
                    <a:pt x="16" y="87"/>
                    <a:pt x="15" y="87"/>
                  </a:cubicBezTo>
                  <a:cubicBezTo>
                    <a:pt x="14" y="87"/>
                    <a:pt x="13" y="87"/>
                    <a:pt x="12" y="87"/>
                  </a:cubicBezTo>
                  <a:cubicBezTo>
                    <a:pt x="12" y="87"/>
                    <a:pt x="11" y="87"/>
                    <a:pt x="10" y="86"/>
                  </a:cubicBezTo>
                  <a:cubicBezTo>
                    <a:pt x="10" y="86"/>
                    <a:pt x="9" y="86"/>
                    <a:pt x="8" y="86"/>
                  </a:cubicBezTo>
                  <a:cubicBezTo>
                    <a:pt x="8" y="85"/>
                    <a:pt x="7" y="84"/>
                    <a:pt x="7" y="83"/>
                  </a:cubicBezTo>
                  <a:cubicBezTo>
                    <a:pt x="6" y="83"/>
                    <a:pt x="7" y="83"/>
                    <a:pt x="6" y="82"/>
                  </a:cubicBezTo>
                  <a:cubicBezTo>
                    <a:pt x="6" y="82"/>
                    <a:pt x="6" y="82"/>
                    <a:pt x="5" y="82"/>
                  </a:cubicBezTo>
                  <a:cubicBezTo>
                    <a:pt x="5" y="81"/>
                    <a:pt x="5" y="80"/>
                    <a:pt x="4" y="80"/>
                  </a:cubicBezTo>
                  <a:cubicBezTo>
                    <a:pt x="5" y="80"/>
                    <a:pt x="6" y="79"/>
                    <a:pt x="6" y="79"/>
                  </a:cubicBezTo>
                  <a:cubicBezTo>
                    <a:pt x="5" y="79"/>
                    <a:pt x="4" y="79"/>
                    <a:pt x="4" y="80"/>
                  </a:cubicBezTo>
                  <a:cubicBezTo>
                    <a:pt x="3" y="80"/>
                    <a:pt x="3" y="81"/>
                    <a:pt x="2" y="81"/>
                  </a:cubicBezTo>
                  <a:cubicBezTo>
                    <a:pt x="2" y="82"/>
                    <a:pt x="2" y="82"/>
                    <a:pt x="2" y="83"/>
                  </a:cubicBezTo>
                  <a:cubicBezTo>
                    <a:pt x="2" y="85"/>
                    <a:pt x="1" y="85"/>
                    <a:pt x="1" y="87"/>
                  </a:cubicBezTo>
                  <a:cubicBezTo>
                    <a:pt x="0" y="89"/>
                    <a:pt x="0" y="93"/>
                    <a:pt x="2" y="93"/>
                  </a:cubicBezTo>
                  <a:cubicBezTo>
                    <a:pt x="3" y="94"/>
                    <a:pt x="2" y="96"/>
                    <a:pt x="3" y="98"/>
                  </a:cubicBezTo>
                  <a:cubicBezTo>
                    <a:pt x="3" y="99"/>
                    <a:pt x="4" y="100"/>
                    <a:pt x="4" y="101"/>
                  </a:cubicBezTo>
                  <a:cubicBezTo>
                    <a:pt x="4" y="105"/>
                    <a:pt x="3" y="107"/>
                    <a:pt x="1" y="110"/>
                  </a:cubicBezTo>
                  <a:cubicBezTo>
                    <a:pt x="0" y="112"/>
                    <a:pt x="2" y="113"/>
                    <a:pt x="4" y="114"/>
                  </a:cubicBezTo>
                  <a:cubicBezTo>
                    <a:pt x="8" y="119"/>
                    <a:pt x="13" y="121"/>
                    <a:pt x="16" y="127"/>
                  </a:cubicBezTo>
                  <a:cubicBezTo>
                    <a:pt x="18" y="129"/>
                    <a:pt x="19" y="131"/>
                    <a:pt x="19" y="133"/>
                  </a:cubicBezTo>
                  <a:cubicBezTo>
                    <a:pt x="20" y="134"/>
                    <a:pt x="20" y="137"/>
                    <a:pt x="20" y="137"/>
                  </a:cubicBezTo>
                  <a:cubicBezTo>
                    <a:pt x="21" y="137"/>
                    <a:pt x="23" y="137"/>
                    <a:pt x="24" y="137"/>
                  </a:cubicBezTo>
                  <a:cubicBezTo>
                    <a:pt x="24" y="136"/>
                    <a:pt x="23" y="136"/>
                    <a:pt x="23" y="136"/>
                  </a:cubicBezTo>
                  <a:cubicBezTo>
                    <a:pt x="23" y="135"/>
                    <a:pt x="23" y="135"/>
                    <a:pt x="23" y="134"/>
                  </a:cubicBezTo>
                  <a:cubicBezTo>
                    <a:pt x="22" y="132"/>
                    <a:pt x="23" y="132"/>
                    <a:pt x="25" y="131"/>
                  </a:cubicBezTo>
                  <a:cubicBezTo>
                    <a:pt x="26" y="129"/>
                    <a:pt x="27" y="128"/>
                    <a:pt x="27" y="126"/>
                  </a:cubicBezTo>
                  <a:cubicBezTo>
                    <a:pt x="28" y="125"/>
                    <a:pt x="28" y="123"/>
                    <a:pt x="30" y="124"/>
                  </a:cubicBezTo>
                  <a:cubicBezTo>
                    <a:pt x="30" y="125"/>
                    <a:pt x="30" y="128"/>
                    <a:pt x="32" y="128"/>
                  </a:cubicBezTo>
                  <a:cubicBezTo>
                    <a:pt x="33" y="127"/>
                    <a:pt x="32" y="126"/>
                    <a:pt x="32" y="125"/>
                  </a:cubicBezTo>
                  <a:cubicBezTo>
                    <a:pt x="31" y="122"/>
                    <a:pt x="33" y="118"/>
                    <a:pt x="34" y="115"/>
                  </a:cubicBezTo>
                  <a:cubicBezTo>
                    <a:pt x="35" y="113"/>
                    <a:pt x="36" y="111"/>
                    <a:pt x="37" y="109"/>
                  </a:cubicBezTo>
                  <a:cubicBezTo>
                    <a:pt x="39" y="106"/>
                    <a:pt x="41" y="104"/>
                    <a:pt x="42" y="101"/>
                  </a:cubicBezTo>
                  <a:cubicBezTo>
                    <a:pt x="44" y="98"/>
                    <a:pt x="45" y="96"/>
                    <a:pt x="48" y="96"/>
                  </a:cubicBezTo>
                  <a:cubicBezTo>
                    <a:pt x="48" y="97"/>
                    <a:pt x="47" y="98"/>
                    <a:pt x="47" y="99"/>
                  </a:cubicBezTo>
                  <a:cubicBezTo>
                    <a:pt x="47" y="101"/>
                    <a:pt x="49" y="101"/>
                    <a:pt x="50" y="102"/>
                  </a:cubicBezTo>
                  <a:cubicBezTo>
                    <a:pt x="52" y="103"/>
                    <a:pt x="54" y="104"/>
                    <a:pt x="54" y="106"/>
                  </a:cubicBezTo>
                  <a:cubicBezTo>
                    <a:pt x="54" y="107"/>
                    <a:pt x="54" y="108"/>
                    <a:pt x="54" y="109"/>
                  </a:cubicBezTo>
                  <a:cubicBezTo>
                    <a:pt x="54" y="109"/>
                    <a:pt x="52" y="111"/>
                    <a:pt x="52" y="112"/>
                  </a:cubicBezTo>
                  <a:cubicBezTo>
                    <a:pt x="52" y="112"/>
                    <a:pt x="51" y="113"/>
                    <a:pt x="51" y="114"/>
                  </a:cubicBezTo>
                  <a:cubicBezTo>
                    <a:pt x="50" y="115"/>
                    <a:pt x="50" y="115"/>
                    <a:pt x="49" y="116"/>
                  </a:cubicBezTo>
                  <a:cubicBezTo>
                    <a:pt x="48" y="119"/>
                    <a:pt x="50" y="119"/>
                    <a:pt x="53" y="121"/>
                  </a:cubicBezTo>
                  <a:cubicBezTo>
                    <a:pt x="55" y="122"/>
                    <a:pt x="57" y="123"/>
                    <a:pt x="59" y="123"/>
                  </a:cubicBezTo>
                  <a:cubicBezTo>
                    <a:pt x="61" y="124"/>
                    <a:pt x="63" y="125"/>
                    <a:pt x="64" y="125"/>
                  </a:cubicBezTo>
                  <a:cubicBezTo>
                    <a:pt x="65" y="124"/>
                    <a:pt x="65" y="123"/>
                    <a:pt x="67" y="122"/>
                  </a:cubicBezTo>
                  <a:cubicBezTo>
                    <a:pt x="68" y="122"/>
                    <a:pt x="70" y="122"/>
                    <a:pt x="71" y="123"/>
                  </a:cubicBezTo>
                  <a:cubicBezTo>
                    <a:pt x="72" y="123"/>
                    <a:pt x="72" y="123"/>
                    <a:pt x="72" y="124"/>
                  </a:cubicBezTo>
                  <a:cubicBezTo>
                    <a:pt x="72" y="124"/>
                    <a:pt x="72" y="124"/>
                    <a:pt x="73" y="124"/>
                  </a:cubicBezTo>
                  <a:cubicBezTo>
                    <a:pt x="73" y="125"/>
                    <a:pt x="73" y="124"/>
                    <a:pt x="73" y="125"/>
                  </a:cubicBezTo>
                  <a:cubicBezTo>
                    <a:pt x="74" y="128"/>
                    <a:pt x="70" y="129"/>
                    <a:pt x="70" y="130"/>
                  </a:cubicBezTo>
                  <a:cubicBezTo>
                    <a:pt x="70" y="131"/>
                    <a:pt x="71" y="132"/>
                    <a:pt x="71" y="133"/>
                  </a:cubicBezTo>
                  <a:cubicBezTo>
                    <a:pt x="71" y="134"/>
                    <a:pt x="71" y="136"/>
                    <a:pt x="71" y="137"/>
                  </a:cubicBezTo>
                  <a:cubicBezTo>
                    <a:pt x="71" y="138"/>
                    <a:pt x="70" y="139"/>
                    <a:pt x="70" y="140"/>
                  </a:cubicBezTo>
                  <a:cubicBezTo>
                    <a:pt x="70" y="141"/>
                    <a:pt x="71" y="143"/>
                    <a:pt x="72" y="144"/>
                  </a:cubicBezTo>
                  <a:cubicBezTo>
                    <a:pt x="72" y="146"/>
                    <a:pt x="73" y="148"/>
                    <a:pt x="74" y="150"/>
                  </a:cubicBezTo>
                  <a:cubicBezTo>
                    <a:pt x="74" y="150"/>
                    <a:pt x="75" y="150"/>
                    <a:pt x="75" y="151"/>
                  </a:cubicBezTo>
                  <a:cubicBezTo>
                    <a:pt x="75" y="151"/>
                    <a:pt x="75" y="152"/>
                    <a:pt x="76" y="153"/>
                  </a:cubicBezTo>
                  <a:cubicBezTo>
                    <a:pt x="77" y="157"/>
                    <a:pt x="80" y="160"/>
                    <a:pt x="82" y="163"/>
                  </a:cubicBezTo>
                  <a:cubicBezTo>
                    <a:pt x="83" y="165"/>
                    <a:pt x="84" y="166"/>
                    <a:pt x="85" y="167"/>
                  </a:cubicBezTo>
                  <a:cubicBezTo>
                    <a:pt x="86" y="168"/>
                    <a:pt x="89" y="169"/>
                    <a:pt x="90" y="172"/>
                  </a:cubicBezTo>
                  <a:cubicBezTo>
                    <a:pt x="90" y="173"/>
                    <a:pt x="89" y="174"/>
                    <a:pt x="90" y="175"/>
                  </a:cubicBezTo>
                  <a:cubicBezTo>
                    <a:pt x="90" y="176"/>
                    <a:pt x="94" y="177"/>
                    <a:pt x="93" y="179"/>
                  </a:cubicBezTo>
                  <a:cubicBezTo>
                    <a:pt x="93" y="180"/>
                    <a:pt x="92" y="180"/>
                    <a:pt x="92" y="181"/>
                  </a:cubicBezTo>
                  <a:cubicBezTo>
                    <a:pt x="91" y="181"/>
                    <a:pt x="92" y="182"/>
                    <a:pt x="91" y="182"/>
                  </a:cubicBezTo>
                  <a:cubicBezTo>
                    <a:pt x="90" y="184"/>
                    <a:pt x="87" y="183"/>
                    <a:pt x="85" y="184"/>
                  </a:cubicBezTo>
                  <a:cubicBezTo>
                    <a:pt x="82" y="186"/>
                    <a:pt x="85" y="189"/>
                    <a:pt x="86" y="190"/>
                  </a:cubicBezTo>
                  <a:cubicBezTo>
                    <a:pt x="88" y="193"/>
                    <a:pt x="90" y="197"/>
                    <a:pt x="92" y="200"/>
                  </a:cubicBezTo>
                  <a:cubicBezTo>
                    <a:pt x="93" y="201"/>
                    <a:pt x="94" y="202"/>
                    <a:pt x="95" y="203"/>
                  </a:cubicBezTo>
                  <a:cubicBezTo>
                    <a:pt x="96" y="203"/>
                    <a:pt x="96" y="204"/>
                    <a:pt x="97" y="205"/>
                  </a:cubicBezTo>
                  <a:cubicBezTo>
                    <a:pt x="98" y="206"/>
                    <a:pt x="98" y="207"/>
                    <a:pt x="99" y="208"/>
                  </a:cubicBezTo>
                  <a:cubicBezTo>
                    <a:pt x="99" y="209"/>
                    <a:pt x="99" y="211"/>
                    <a:pt x="100" y="212"/>
                  </a:cubicBezTo>
                  <a:cubicBezTo>
                    <a:pt x="101" y="212"/>
                    <a:pt x="103" y="212"/>
                    <a:pt x="103" y="212"/>
                  </a:cubicBezTo>
                  <a:cubicBezTo>
                    <a:pt x="104" y="213"/>
                    <a:pt x="103" y="214"/>
                    <a:pt x="104" y="215"/>
                  </a:cubicBezTo>
                  <a:cubicBezTo>
                    <a:pt x="104" y="215"/>
                    <a:pt x="105" y="216"/>
                    <a:pt x="106" y="217"/>
                  </a:cubicBezTo>
                  <a:cubicBezTo>
                    <a:pt x="107" y="219"/>
                    <a:pt x="111" y="220"/>
                    <a:pt x="111" y="222"/>
                  </a:cubicBezTo>
                  <a:cubicBezTo>
                    <a:pt x="112" y="223"/>
                    <a:pt x="111" y="224"/>
                    <a:pt x="112" y="225"/>
                  </a:cubicBezTo>
                  <a:cubicBezTo>
                    <a:pt x="113" y="226"/>
                    <a:pt x="114" y="226"/>
                    <a:pt x="115" y="227"/>
                  </a:cubicBezTo>
                  <a:cubicBezTo>
                    <a:pt x="116" y="228"/>
                    <a:pt x="116" y="228"/>
                    <a:pt x="117" y="228"/>
                  </a:cubicBezTo>
                  <a:cubicBezTo>
                    <a:pt x="117" y="229"/>
                    <a:pt x="118" y="229"/>
                    <a:pt x="118" y="230"/>
                  </a:cubicBezTo>
                  <a:cubicBezTo>
                    <a:pt x="119" y="232"/>
                    <a:pt x="119" y="233"/>
                    <a:pt x="119" y="235"/>
                  </a:cubicBezTo>
                  <a:cubicBezTo>
                    <a:pt x="119" y="236"/>
                    <a:pt x="119" y="237"/>
                    <a:pt x="120" y="238"/>
                  </a:cubicBezTo>
                  <a:cubicBezTo>
                    <a:pt x="120" y="240"/>
                    <a:pt x="122" y="240"/>
                    <a:pt x="123" y="240"/>
                  </a:cubicBezTo>
                  <a:cubicBezTo>
                    <a:pt x="125" y="240"/>
                    <a:pt x="126" y="240"/>
                    <a:pt x="127" y="241"/>
                  </a:cubicBezTo>
                  <a:cubicBezTo>
                    <a:pt x="128" y="241"/>
                    <a:pt x="128" y="242"/>
                    <a:pt x="128" y="242"/>
                  </a:cubicBezTo>
                  <a:cubicBezTo>
                    <a:pt x="129" y="242"/>
                    <a:pt x="131" y="242"/>
                    <a:pt x="133" y="242"/>
                  </a:cubicBezTo>
                  <a:cubicBezTo>
                    <a:pt x="133" y="242"/>
                    <a:pt x="134" y="242"/>
                    <a:pt x="134" y="242"/>
                  </a:cubicBezTo>
                  <a:cubicBezTo>
                    <a:pt x="135" y="242"/>
                    <a:pt x="135" y="241"/>
                    <a:pt x="136" y="241"/>
                  </a:cubicBezTo>
                  <a:cubicBezTo>
                    <a:pt x="137" y="241"/>
                    <a:pt x="138" y="241"/>
                    <a:pt x="139" y="241"/>
                  </a:cubicBezTo>
                  <a:cubicBezTo>
                    <a:pt x="142" y="241"/>
                    <a:pt x="144" y="239"/>
                    <a:pt x="146" y="240"/>
                  </a:cubicBezTo>
                  <a:cubicBezTo>
                    <a:pt x="148" y="241"/>
                    <a:pt x="149" y="241"/>
                    <a:pt x="150" y="242"/>
                  </a:cubicBezTo>
                  <a:cubicBezTo>
                    <a:pt x="152" y="243"/>
                    <a:pt x="153" y="243"/>
                    <a:pt x="155" y="244"/>
                  </a:cubicBezTo>
                  <a:cubicBezTo>
                    <a:pt x="156" y="245"/>
                    <a:pt x="156" y="245"/>
                    <a:pt x="157" y="246"/>
                  </a:cubicBezTo>
                  <a:cubicBezTo>
                    <a:pt x="159" y="248"/>
                    <a:pt x="160" y="249"/>
                    <a:pt x="163" y="251"/>
                  </a:cubicBezTo>
                  <a:cubicBezTo>
                    <a:pt x="166" y="253"/>
                    <a:pt x="169" y="253"/>
                    <a:pt x="171" y="254"/>
                  </a:cubicBezTo>
                  <a:cubicBezTo>
                    <a:pt x="173" y="255"/>
                    <a:pt x="174" y="257"/>
                    <a:pt x="176" y="259"/>
                  </a:cubicBezTo>
                  <a:cubicBezTo>
                    <a:pt x="178" y="263"/>
                    <a:pt x="182" y="265"/>
                    <a:pt x="185" y="269"/>
                  </a:cubicBezTo>
                  <a:cubicBezTo>
                    <a:pt x="187" y="271"/>
                    <a:pt x="188" y="273"/>
                    <a:pt x="190" y="275"/>
                  </a:cubicBezTo>
                  <a:cubicBezTo>
                    <a:pt x="194" y="278"/>
                    <a:pt x="198" y="282"/>
                    <a:pt x="200" y="287"/>
                  </a:cubicBezTo>
                  <a:cubicBezTo>
                    <a:pt x="201" y="288"/>
                    <a:pt x="202" y="291"/>
                    <a:pt x="204" y="291"/>
                  </a:cubicBezTo>
                  <a:cubicBezTo>
                    <a:pt x="205" y="291"/>
                    <a:pt x="209" y="291"/>
                    <a:pt x="210" y="290"/>
                  </a:cubicBezTo>
                  <a:cubicBezTo>
                    <a:pt x="209" y="290"/>
                    <a:pt x="209" y="289"/>
                    <a:pt x="209" y="289"/>
                  </a:cubicBezTo>
                  <a:cubicBezTo>
                    <a:pt x="209" y="289"/>
                    <a:pt x="208" y="288"/>
                    <a:pt x="208" y="288"/>
                  </a:cubicBezTo>
                  <a:cubicBezTo>
                    <a:pt x="207" y="287"/>
                    <a:pt x="208" y="286"/>
                    <a:pt x="207" y="285"/>
                  </a:cubicBezTo>
                  <a:cubicBezTo>
                    <a:pt x="207" y="283"/>
                    <a:pt x="204" y="281"/>
                    <a:pt x="202" y="278"/>
                  </a:cubicBezTo>
                  <a:cubicBezTo>
                    <a:pt x="202" y="277"/>
                    <a:pt x="202" y="276"/>
                    <a:pt x="201" y="276"/>
                  </a:cubicBezTo>
                  <a:cubicBezTo>
                    <a:pt x="200" y="275"/>
                    <a:pt x="196" y="275"/>
                    <a:pt x="195" y="274"/>
                  </a:cubicBezTo>
                  <a:cubicBezTo>
                    <a:pt x="195" y="273"/>
                    <a:pt x="196" y="272"/>
                    <a:pt x="197" y="271"/>
                  </a:cubicBezTo>
                  <a:cubicBezTo>
                    <a:pt x="197" y="270"/>
                    <a:pt x="197" y="269"/>
                    <a:pt x="197" y="268"/>
                  </a:cubicBezTo>
                  <a:cubicBezTo>
                    <a:pt x="197" y="267"/>
                    <a:pt x="197" y="266"/>
                    <a:pt x="197" y="265"/>
                  </a:cubicBezTo>
                  <a:cubicBezTo>
                    <a:pt x="197" y="265"/>
                    <a:pt x="196" y="265"/>
                    <a:pt x="195" y="264"/>
                  </a:cubicBezTo>
                  <a:cubicBezTo>
                    <a:pt x="195" y="264"/>
                    <a:pt x="195" y="264"/>
                    <a:pt x="195" y="263"/>
                  </a:cubicBezTo>
                  <a:cubicBezTo>
                    <a:pt x="195" y="263"/>
                    <a:pt x="195" y="262"/>
                    <a:pt x="194" y="261"/>
                  </a:cubicBezTo>
                  <a:cubicBezTo>
                    <a:pt x="194" y="261"/>
                    <a:pt x="193" y="260"/>
                    <a:pt x="193" y="260"/>
                  </a:cubicBezTo>
                  <a:cubicBezTo>
                    <a:pt x="193" y="259"/>
                    <a:pt x="193" y="258"/>
                    <a:pt x="193" y="258"/>
                  </a:cubicBezTo>
                  <a:cubicBezTo>
                    <a:pt x="192" y="256"/>
                    <a:pt x="192" y="255"/>
                    <a:pt x="192" y="253"/>
                  </a:cubicBezTo>
                  <a:cubicBezTo>
                    <a:pt x="192" y="252"/>
                    <a:pt x="192" y="251"/>
                    <a:pt x="192" y="250"/>
                  </a:cubicBezTo>
                  <a:cubicBezTo>
                    <a:pt x="192" y="249"/>
                    <a:pt x="192" y="248"/>
                    <a:pt x="191" y="247"/>
                  </a:cubicBezTo>
                  <a:cubicBezTo>
                    <a:pt x="191" y="246"/>
                    <a:pt x="189" y="246"/>
                    <a:pt x="188" y="245"/>
                  </a:cubicBezTo>
                  <a:cubicBezTo>
                    <a:pt x="185" y="242"/>
                    <a:pt x="182" y="239"/>
                    <a:pt x="179" y="237"/>
                  </a:cubicBezTo>
                  <a:cubicBezTo>
                    <a:pt x="179" y="236"/>
                    <a:pt x="178" y="235"/>
                    <a:pt x="178" y="234"/>
                  </a:cubicBezTo>
                  <a:cubicBezTo>
                    <a:pt x="177" y="233"/>
                    <a:pt x="176" y="232"/>
                    <a:pt x="174" y="231"/>
                  </a:cubicBezTo>
                  <a:cubicBezTo>
                    <a:pt x="172" y="229"/>
                    <a:pt x="171" y="226"/>
                    <a:pt x="169" y="224"/>
                  </a:cubicBezTo>
                  <a:cubicBezTo>
                    <a:pt x="169" y="223"/>
                    <a:pt x="168" y="222"/>
                    <a:pt x="167" y="221"/>
                  </a:cubicBezTo>
                  <a:cubicBezTo>
                    <a:pt x="166" y="220"/>
                    <a:pt x="165" y="219"/>
                    <a:pt x="165" y="219"/>
                  </a:cubicBezTo>
                  <a:cubicBezTo>
                    <a:pt x="164" y="218"/>
                    <a:pt x="163" y="215"/>
                    <a:pt x="163" y="214"/>
                  </a:cubicBezTo>
                  <a:cubicBezTo>
                    <a:pt x="161" y="210"/>
                    <a:pt x="159" y="207"/>
                    <a:pt x="155" y="206"/>
                  </a:cubicBezTo>
                  <a:cubicBezTo>
                    <a:pt x="151" y="205"/>
                    <a:pt x="147" y="202"/>
                    <a:pt x="144" y="199"/>
                  </a:cubicBezTo>
                  <a:cubicBezTo>
                    <a:pt x="143" y="198"/>
                    <a:pt x="142" y="197"/>
                    <a:pt x="142" y="196"/>
                  </a:cubicBezTo>
                  <a:cubicBezTo>
                    <a:pt x="142" y="195"/>
                    <a:pt x="142" y="194"/>
                    <a:pt x="142" y="193"/>
                  </a:cubicBezTo>
                  <a:cubicBezTo>
                    <a:pt x="141" y="191"/>
                    <a:pt x="141" y="189"/>
                    <a:pt x="140" y="188"/>
                  </a:cubicBezTo>
                  <a:cubicBezTo>
                    <a:pt x="139" y="186"/>
                    <a:pt x="137" y="184"/>
                    <a:pt x="137" y="182"/>
                  </a:cubicBezTo>
                  <a:cubicBezTo>
                    <a:pt x="137" y="181"/>
                    <a:pt x="137" y="180"/>
                    <a:pt x="137" y="179"/>
                  </a:cubicBezTo>
                  <a:cubicBezTo>
                    <a:pt x="136" y="178"/>
                    <a:pt x="135" y="178"/>
                    <a:pt x="135" y="177"/>
                  </a:cubicBezTo>
                  <a:cubicBezTo>
                    <a:pt x="135" y="177"/>
                    <a:pt x="135" y="176"/>
                    <a:pt x="135" y="175"/>
                  </a:cubicBezTo>
                  <a:cubicBezTo>
                    <a:pt x="135" y="172"/>
                    <a:pt x="135" y="169"/>
                    <a:pt x="135" y="165"/>
                  </a:cubicBezTo>
                  <a:cubicBezTo>
                    <a:pt x="135" y="165"/>
                    <a:pt x="135" y="164"/>
                    <a:pt x="135" y="163"/>
                  </a:cubicBezTo>
                  <a:cubicBezTo>
                    <a:pt x="135" y="163"/>
                    <a:pt x="134" y="162"/>
                    <a:pt x="134" y="162"/>
                  </a:cubicBezTo>
                  <a:cubicBezTo>
                    <a:pt x="134" y="161"/>
                    <a:pt x="134" y="160"/>
                    <a:pt x="134" y="160"/>
                  </a:cubicBezTo>
                  <a:cubicBezTo>
                    <a:pt x="134" y="157"/>
                    <a:pt x="134" y="155"/>
                    <a:pt x="133" y="153"/>
                  </a:cubicBezTo>
                  <a:cubicBezTo>
                    <a:pt x="132" y="152"/>
                    <a:pt x="132" y="151"/>
                    <a:pt x="131" y="151"/>
                  </a:cubicBezTo>
                  <a:cubicBezTo>
                    <a:pt x="131" y="151"/>
                    <a:pt x="130" y="151"/>
                    <a:pt x="130" y="151"/>
                  </a:cubicBezTo>
                  <a:cubicBezTo>
                    <a:pt x="127" y="151"/>
                    <a:pt x="125" y="147"/>
                    <a:pt x="123" y="145"/>
                  </a:cubicBezTo>
                  <a:cubicBezTo>
                    <a:pt x="123" y="145"/>
                    <a:pt x="122" y="144"/>
                    <a:pt x="122" y="144"/>
                  </a:cubicBezTo>
                  <a:cubicBezTo>
                    <a:pt x="122" y="143"/>
                    <a:pt x="121" y="143"/>
                    <a:pt x="121" y="142"/>
                  </a:cubicBezTo>
                  <a:cubicBezTo>
                    <a:pt x="120" y="141"/>
                    <a:pt x="119" y="140"/>
                    <a:pt x="119" y="139"/>
                  </a:cubicBezTo>
                  <a:cubicBezTo>
                    <a:pt x="118" y="137"/>
                    <a:pt x="118" y="136"/>
                    <a:pt x="118" y="134"/>
                  </a:cubicBezTo>
                  <a:cubicBezTo>
                    <a:pt x="118" y="133"/>
                    <a:pt x="117" y="133"/>
                    <a:pt x="117" y="132"/>
                  </a:cubicBezTo>
                  <a:cubicBezTo>
                    <a:pt x="116" y="129"/>
                    <a:pt x="117" y="126"/>
                    <a:pt x="118" y="124"/>
                  </a:cubicBezTo>
                  <a:cubicBezTo>
                    <a:pt x="119" y="120"/>
                    <a:pt x="118" y="116"/>
                    <a:pt x="118" y="112"/>
                  </a:cubicBezTo>
                  <a:cubicBezTo>
                    <a:pt x="118" y="109"/>
                    <a:pt x="121" y="106"/>
                    <a:pt x="125" y="105"/>
                  </a:cubicBezTo>
                  <a:cubicBezTo>
                    <a:pt x="126" y="105"/>
                    <a:pt x="128" y="106"/>
                    <a:pt x="129" y="106"/>
                  </a:cubicBezTo>
                  <a:cubicBezTo>
                    <a:pt x="131" y="106"/>
                    <a:pt x="132" y="106"/>
                    <a:pt x="133" y="107"/>
                  </a:cubicBezTo>
                  <a:cubicBezTo>
                    <a:pt x="134" y="108"/>
                    <a:pt x="134" y="109"/>
                    <a:pt x="135" y="110"/>
                  </a:cubicBezTo>
                  <a:cubicBezTo>
                    <a:pt x="136" y="112"/>
                    <a:pt x="136" y="113"/>
                    <a:pt x="137" y="114"/>
                  </a:cubicBezTo>
                  <a:cubicBezTo>
                    <a:pt x="138" y="116"/>
                    <a:pt x="140" y="117"/>
                    <a:pt x="141" y="119"/>
                  </a:cubicBezTo>
                  <a:cubicBezTo>
                    <a:pt x="142" y="122"/>
                    <a:pt x="143" y="124"/>
                    <a:pt x="146" y="124"/>
                  </a:cubicBezTo>
                  <a:cubicBezTo>
                    <a:pt x="147" y="123"/>
                    <a:pt x="148" y="122"/>
                    <a:pt x="149" y="121"/>
                  </a:cubicBezTo>
                  <a:cubicBezTo>
                    <a:pt x="150" y="120"/>
                    <a:pt x="150" y="119"/>
                    <a:pt x="150" y="118"/>
                  </a:cubicBezTo>
                  <a:cubicBezTo>
                    <a:pt x="151" y="116"/>
                    <a:pt x="152" y="115"/>
                    <a:pt x="152" y="114"/>
                  </a:cubicBezTo>
                  <a:cubicBezTo>
                    <a:pt x="153" y="112"/>
                    <a:pt x="154" y="111"/>
                    <a:pt x="154" y="110"/>
                  </a:cubicBezTo>
                  <a:cubicBezTo>
                    <a:pt x="155" y="109"/>
                    <a:pt x="156" y="108"/>
                    <a:pt x="158" y="107"/>
                  </a:cubicBezTo>
                  <a:cubicBezTo>
                    <a:pt x="160" y="107"/>
                    <a:pt x="162" y="107"/>
                    <a:pt x="164" y="107"/>
                  </a:cubicBezTo>
                  <a:cubicBezTo>
                    <a:pt x="167" y="107"/>
                    <a:pt x="171" y="109"/>
                    <a:pt x="174" y="109"/>
                  </a:cubicBezTo>
                  <a:cubicBezTo>
                    <a:pt x="174" y="108"/>
                    <a:pt x="174" y="106"/>
                    <a:pt x="174" y="105"/>
                  </a:cubicBezTo>
                  <a:cubicBezTo>
                    <a:pt x="175" y="103"/>
                    <a:pt x="178" y="105"/>
                    <a:pt x="179" y="106"/>
                  </a:cubicBezTo>
                  <a:cubicBezTo>
                    <a:pt x="180" y="107"/>
                    <a:pt x="180" y="107"/>
                    <a:pt x="182" y="107"/>
                  </a:cubicBezTo>
                  <a:cubicBezTo>
                    <a:pt x="183" y="107"/>
                    <a:pt x="185" y="107"/>
                    <a:pt x="186" y="107"/>
                  </a:cubicBezTo>
                  <a:cubicBezTo>
                    <a:pt x="186" y="108"/>
                    <a:pt x="186" y="108"/>
                    <a:pt x="186" y="109"/>
                  </a:cubicBezTo>
                  <a:cubicBezTo>
                    <a:pt x="187" y="110"/>
                    <a:pt x="188" y="110"/>
                    <a:pt x="189" y="112"/>
                  </a:cubicBezTo>
                  <a:cubicBezTo>
                    <a:pt x="191" y="113"/>
                    <a:pt x="190" y="114"/>
                    <a:pt x="192" y="114"/>
                  </a:cubicBezTo>
                  <a:cubicBezTo>
                    <a:pt x="196" y="115"/>
                    <a:pt x="195" y="111"/>
                    <a:pt x="197" y="109"/>
                  </a:cubicBezTo>
                  <a:cubicBezTo>
                    <a:pt x="199" y="109"/>
                    <a:pt x="198" y="111"/>
                    <a:pt x="199" y="112"/>
                  </a:cubicBezTo>
                  <a:cubicBezTo>
                    <a:pt x="200" y="113"/>
                    <a:pt x="200" y="113"/>
                    <a:pt x="201" y="113"/>
                  </a:cubicBezTo>
                  <a:cubicBezTo>
                    <a:pt x="203" y="113"/>
                    <a:pt x="204" y="113"/>
                    <a:pt x="205" y="115"/>
                  </a:cubicBezTo>
                  <a:cubicBezTo>
                    <a:pt x="205" y="115"/>
                    <a:pt x="205" y="116"/>
                    <a:pt x="205" y="117"/>
                  </a:cubicBezTo>
                  <a:cubicBezTo>
                    <a:pt x="210" y="117"/>
                    <a:pt x="215" y="115"/>
                    <a:pt x="221" y="116"/>
                  </a:cubicBezTo>
                  <a:cubicBezTo>
                    <a:pt x="223" y="116"/>
                    <a:pt x="224" y="118"/>
                    <a:pt x="225" y="120"/>
                  </a:cubicBezTo>
                  <a:cubicBezTo>
                    <a:pt x="227" y="120"/>
                    <a:pt x="228" y="119"/>
                    <a:pt x="229" y="119"/>
                  </a:cubicBezTo>
                  <a:cubicBezTo>
                    <a:pt x="231" y="119"/>
                    <a:pt x="232" y="119"/>
                    <a:pt x="233" y="118"/>
                  </a:cubicBezTo>
                  <a:cubicBezTo>
                    <a:pt x="233" y="118"/>
                    <a:pt x="233" y="117"/>
                    <a:pt x="233" y="116"/>
                  </a:cubicBezTo>
                  <a:cubicBezTo>
                    <a:pt x="233" y="116"/>
                    <a:pt x="234" y="116"/>
                    <a:pt x="234" y="115"/>
                  </a:cubicBezTo>
                  <a:cubicBezTo>
                    <a:pt x="235" y="114"/>
                    <a:pt x="236" y="113"/>
                    <a:pt x="237" y="114"/>
                  </a:cubicBezTo>
                  <a:cubicBezTo>
                    <a:pt x="239" y="114"/>
                    <a:pt x="239" y="116"/>
                    <a:pt x="240" y="117"/>
                  </a:cubicBezTo>
                  <a:cubicBezTo>
                    <a:pt x="241" y="119"/>
                    <a:pt x="244" y="120"/>
                    <a:pt x="246" y="120"/>
                  </a:cubicBezTo>
                  <a:cubicBezTo>
                    <a:pt x="246" y="118"/>
                    <a:pt x="245" y="116"/>
                    <a:pt x="246" y="115"/>
                  </a:cubicBezTo>
                  <a:cubicBezTo>
                    <a:pt x="249" y="114"/>
                    <a:pt x="252" y="116"/>
                    <a:pt x="255" y="117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7" name="Freeform 27"/>
            <p:cNvSpPr>
              <a:spLocks/>
            </p:cNvSpPr>
            <p:nvPr/>
          </p:nvSpPr>
          <p:spPr bwMode="auto">
            <a:xfrm>
              <a:off x="5013325" y="5265738"/>
              <a:ext cx="381000" cy="420688"/>
            </a:xfrm>
            <a:custGeom>
              <a:avLst/>
              <a:gdLst/>
              <a:ahLst/>
              <a:cxnLst>
                <a:cxn ang="0">
                  <a:pos x="193" y="94"/>
                </a:cxn>
                <a:cxn ang="0">
                  <a:pos x="188" y="87"/>
                </a:cxn>
                <a:cxn ang="0">
                  <a:pos x="192" y="80"/>
                </a:cxn>
                <a:cxn ang="0">
                  <a:pos x="181" y="74"/>
                </a:cxn>
                <a:cxn ang="0">
                  <a:pos x="179" y="68"/>
                </a:cxn>
                <a:cxn ang="0">
                  <a:pos x="191" y="41"/>
                </a:cxn>
                <a:cxn ang="0">
                  <a:pos x="164" y="35"/>
                </a:cxn>
                <a:cxn ang="0">
                  <a:pos x="158" y="22"/>
                </a:cxn>
                <a:cxn ang="0">
                  <a:pos x="145" y="17"/>
                </a:cxn>
                <a:cxn ang="0">
                  <a:pos x="130" y="17"/>
                </a:cxn>
                <a:cxn ang="0">
                  <a:pos x="117" y="13"/>
                </a:cxn>
                <a:cxn ang="0">
                  <a:pos x="105" y="13"/>
                </a:cxn>
                <a:cxn ang="0">
                  <a:pos x="83" y="9"/>
                </a:cxn>
                <a:cxn ang="0">
                  <a:pos x="70" y="6"/>
                </a:cxn>
                <a:cxn ang="0">
                  <a:pos x="58" y="2"/>
                </a:cxn>
                <a:cxn ang="0">
                  <a:pos x="38" y="7"/>
                </a:cxn>
                <a:cxn ang="0">
                  <a:pos x="30" y="21"/>
                </a:cxn>
                <a:cxn ang="0">
                  <a:pos x="17" y="4"/>
                </a:cxn>
                <a:cxn ang="0">
                  <a:pos x="2" y="21"/>
                </a:cxn>
                <a:cxn ang="0">
                  <a:pos x="5" y="39"/>
                </a:cxn>
                <a:cxn ang="0">
                  <a:pos x="15" y="48"/>
                </a:cxn>
                <a:cxn ang="0">
                  <a:pos x="19" y="60"/>
                </a:cxn>
                <a:cxn ang="0">
                  <a:pos x="21" y="76"/>
                </a:cxn>
                <a:cxn ang="0">
                  <a:pos x="26" y="93"/>
                </a:cxn>
                <a:cxn ang="0">
                  <a:pos x="49" y="116"/>
                </a:cxn>
                <a:cxn ang="0">
                  <a:pos x="62" y="131"/>
                </a:cxn>
                <a:cxn ang="0">
                  <a:pos x="76" y="147"/>
                </a:cxn>
                <a:cxn ang="0">
                  <a:pos x="78" y="158"/>
                </a:cxn>
                <a:cxn ang="0">
                  <a:pos x="81" y="165"/>
                </a:cxn>
                <a:cxn ang="0">
                  <a:pos x="86" y="175"/>
                </a:cxn>
                <a:cxn ang="0">
                  <a:pos x="94" y="187"/>
                </a:cxn>
                <a:cxn ang="0">
                  <a:pos x="98" y="191"/>
                </a:cxn>
                <a:cxn ang="0">
                  <a:pos x="104" y="192"/>
                </a:cxn>
                <a:cxn ang="0">
                  <a:pos x="112" y="203"/>
                </a:cxn>
                <a:cxn ang="0">
                  <a:pos x="131" y="214"/>
                </a:cxn>
                <a:cxn ang="0">
                  <a:pos x="140" y="223"/>
                </a:cxn>
                <a:cxn ang="0">
                  <a:pos x="143" y="209"/>
                </a:cxn>
                <a:cxn ang="0">
                  <a:pos x="140" y="200"/>
                </a:cxn>
                <a:cxn ang="0">
                  <a:pos x="143" y="189"/>
                </a:cxn>
                <a:cxn ang="0">
                  <a:pos x="147" y="180"/>
                </a:cxn>
                <a:cxn ang="0">
                  <a:pos x="150" y="167"/>
                </a:cxn>
                <a:cxn ang="0">
                  <a:pos x="163" y="158"/>
                </a:cxn>
                <a:cxn ang="0">
                  <a:pos x="171" y="164"/>
                </a:cxn>
                <a:cxn ang="0">
                  <a:pos x="168" y="151"/>
                </a:cxn>
                <a:cxn ang="0">
                  <a:pos x="166" y="142"/>
                </a:cxn>
                <a:cxn ang="0">
                  <a:pos x="178" y="144"/>
                </a:cxn>
                <a:cxn ang="0">
                  <a:pos x="184" y="138"/>
                </a:cxn>
                <a:cxn ang="0">
                  <a:pos x="193" y="143"/>
                </a:cxn>
                <a:cxn ang="0">
                  <a:pos x="197" y="133"/>
                </a:cxn>
                <a:cxn ang="0">
                  <a:pos x="189" y="117"/>
                </a:cxn>
                <a:cxn ang="0">
                  <a:pos x="183" y="105"/>
                </a:cxn>
                <a:cxn ang="0">
                  <a:pos x="203" y="106"/>
                </a:cxn>
              </a:cxnLst>
              <a:rect l="0" t="0" r="r" b="b"/>
              <a:pathLst>
                <a:path w="204" h="225">
                  <a:moveTo>
                    <a:pt x="204" y="100"/>
                  </a:moveTo>
                  <a:cubicBezTo>
                    <a:pt x="204" y="99"/>
                    <a:pt x="201" y="98"/>
                    <a:pt x="200" y="98"/>
                  </a:cubicBezTo>
                  <a:cubicBezTo>
                    <a:pt x="199" y="98"/>
                    <a:pt x="197" y="97"/>
                    <a:pt x="196" y="96"/>
                  </a:cubicBezTo>
                  <a:cubicBezTo>
                    <a:pt x="195" y="96"/>
                    <a:pt x="194" y="95"/>
                    <a:pt x="193" y="94"/>
                  </a:cubicBezTo>
                  <a:cubicBezTo>
                    <a:pt x="193" y="94"/>
                    <a:pt x="192" y="93"/>
                    <a:pt x="192" y="94"/>
                  </a:cubicBezTo>
                  <a:cubicBezTo>
                    <a:pt x="192" y="93"/>
                    <a:pt x="192" y="93"/>
                    <a:pt x="192" y="93"/>
                  </a:cubicBezTo>
                  <a:cubicBezTo>
                    <a:pt x="191" y="92"/>
                    <a:pt x="191" y="91"/>
                    <a:pt x="190" y="90"/>
                  </a:cubicBezTo>
                  <a:cubicBezTo>
                    <a:pt x="189" y="89"/>
                    <a:pt x="188" y="88"/>
                    <a:pt x="188" y="87"/>
                  </a:cubicBezTo>
                  <a:cubicBezTo>
                    <a:pt x="188" y="86"/>
                    <a:pt x="188" y="84"/>
                    <a:pt x="189" y="83"/>
                  </a:cubicBezTo>
                  <a:cubicBezTo>
                    <a:pt x="190" y="83"/>
                    <a:pt x="191" y="83"/>
                    <a:pt x="191" y="83"/>
                  </a:cubicBezTo>
                  <a:cubicBezTo>
                    <a:pt x="191" y="82"/>
                    <a:pt x="191" y="82"/>
                    <a:pt x="192" y="82"/>
                  </a:cubicBezTo>
                  <a:cubicBezTo>
                    <a:pt x="192" y="81"/>
                    <a:pt x="192" y="81"/>
                    <a:pt x="192" y="80"/>
                  </a:cubicBezTo>
                  <a:cubicBezTo>
                    <a:pt x="192" y="79"/>
                    <a:pt x="193" y="78"/>
                    <a:pt x="193" y="77"/>
                  </a:cubicBezTo>
                  <a:cubicBezTo>
                    <a:pt x="192" y="75"/>
                    <a:pt x="189" y="76"/>
                    <a:pt x="187" y="76"/>
                  </a:cubicBezTo>
                  <a:cubicBezTo>
                    <a:pt x="186" y="76"/>
                    <a:pt x="184" y="75"/>
                    <a:pt x="183" y="75"/>
                  </a:cubicBezTo>
                  <a:cubicBezTo>
                    <a:pt x="182" y="75"/>
                    <a:pt x="182" y="74"/>
                    <a:pt x="181" y="74"/>
                  </a:cubicBezTo>
                  <a:cubicBezTo>
                    <a:pt x="180" y="74"/>
                    <a:pt x="181" y="73"/>
                    <a:pt x="181" y="73"/>
                  </a:cubicBezTo>
                  <a:cubicBezTo>
                    <a:pt x="180" y="72"/>
                    <a:pt x="179" y="72"/>
                    <a:pt x="179" y="71"/>
                  </a:cubicBezTo>
                  <a:cubicBezTo>
                    <a:pt x="179" y="71"/>
                    <a:pt x="179" y="70"/>
                    <a:pt x="179" y="70"/>
                  </a:cubicBezTo>
                  <a:cubicBezTo>
                    <a:pt x="179" y="69"/>
                    <a:pt x="179" y="68"/>
                    <a:pt x="179" y="68"/>
                  </a:cubicBezTo>
                  <a:cubicBezTo>
                    <a:pt x="179" y="67"/>
                    <a:pt x="179" y="67"/>
                    <a:pt x="180" y="66"/>
                  </a:cubicBezTo>
                  <a:cubicBezTo>
                    <a:pt x="180" y="65"/>
                    <a:pt x="180" y="65"/>
                    <a:pt x="181" y="64"/>
                  </a:cubicBezTo>
                  <a:cubicBezTo>
                    <a:pt x="182" y="58"/>
                    <a:pt x="185" y="53"/>
                    <a:pt x="189" y="49"/>
                  </a:cubicBezTo>
                  <a:cubicBezTo>
                    <a:pt x="191" y="41"/>
                    <a:pt x="191" y="41"/>
                    <a:pt x="191" y="41"/>
                  </a:cubicBezTo>
                  <a:cubicBezTo>
                    <a:pt x="190" y="38"/>
                    <a:pt x="186" y="33"/>
                    <a:pt x="179" y="28"/>
                  </a:cubicBezTo>
                  <a:cubicBezTo>
                    <a:pt x="180" y="31"/>
                    <a:pt x="174" y="32"/>
                    <a:pt x="172" y="33"/>
                  </a:cubicBezTo>
                  <a:cubicBezTo>
                    <a:pt x="170" y="34"/>
                    <a:pt x="168" y="34"/>
                    <a:pt x="166" y="35"/>
                  </a:cubicBezTo>
                  <a:cubicBezTo>
                    <a:pt x="166" y="35"/>
                    <a:pt x="165" y="35"/>
                    <a:pt x="164" y="35"/>
                  </a:cubicBezTo>
                  <a:cubicBezTo>
                    <a:pt x="162" y="34"/>
                    <a:pt x="163" y="34"/>
                    <a:pt x="162" y="34"/>
                  </a:cubicBezTo>
                  <a:cubicBezTo>
                    <a:pt x="160" y="33"/>
                    <a:pt x="159" y="31"/>
                    <a:pt x="159" y="29"/>
                  </a:cubicBezTo>
                  <a:cubicBezTo>
                    <a:pt x="159" y="27"/>
                    <a:pt x="160" y="27"/>
                    <a:pt x="161" y="25"/>
                  </a:cubicBezTo>
                  <a:cubicBezTo>
                    <a:pt x="161" y="24"/>
                    <a:pt x="159" y="23"/>
                    <a:pt x="158" y="22"/>
                  </a:cubicBezTo>
                  <a:cubicBezTo>
                    <a:pt x="158" y="22"/>
                    <a:pt x="157" y="21"/>
                    <a:pt x="157" y="21"/>
                  </a:cubicBezTo>
                  <a:cubicBezTo>
                    <a:pt x="157" y="20"/>
                    <a:pt x="157" y="19"/>
                    <a:pt x="157" y="19"/>
                  </a:cubicBezTo>
                  <a:cubicBezTo>
                    <a:pt x="156" y="17"/>
                    <a:pt x="152" y="15"/>
                    <a:pt x="151" y="18"/>
                  </a:cubicBezTo>
                  <a:cubicBezTo>
                    <a:pt x="150" y="18"/>
                    <a:pt x="147" y="18"/>
                    <a:pt x="145" y="17"/>
                  </a:cubicBezTo>
                  <a:cubicBezTo>
                    <a:pt x="144" y="17"/>
                    <a:pt x="143" y="16"/>
                    <a:pt x="143" y="15"/>
                  </a:cubicBezTo>
                  <a:cubicBezTo>
                    <a:pt x="141" y="15"/>
                    <a:pt x="140" y="14"/>
                    <a:pt x="139" y="14"/>
                  </a:cubicBezTo>
                  <a:cubicBezTo>
                    <a:pt x="136" y="13"/>
                    <a:pt x="133" y="11"/>
                    <a:pt x="130" y="12"/>
                  </a:cubicBezTo>
                  <a:cubicBezTo>
                    <a:pt x="129" y="13"/>
                    <a:pt x="130" y="15"/>
                    <a:pt x="130" y="17"/>
                  </a:cubicBezTo>
                  <a:cubicBezTo>
                    <a:pt x="128" y="17"/>
                    <a:pt x="125" y="16"/>
                    <a:pt x="124" y="14"/>
                  </a:cubicBezTo>
                  <a:cubicBezTo>
                    <a:pt x="123" y="13"/>
                    <a:pt x="123" y="11"/>
                    <a:pt x="121" y="11"/>
                  </a:cubicBezTo>
                  <a:cubicBezTo>
                    <a:pt x="120" y="10"/>
                    <a:pt x="119" y="11"/>
                    <a:pt x="118" y="12"/>
                  </a:cubicBezTo>
                  <a:cubicBezTo>
                    <a:pt x="118" y="13"/>
                    <a:pt x="117" y="13"/>
                    <a:pt x="117" y="13"/>
                  </a:cubicBezTo>
                  <a:cubicBezTo>
                    <a:pt x="117" y="14"/>
                    <a:pt x="117" y="15"/>
                    <a:pt x="117" y="15"/>
                  </a:cubicBezTo>
                  <a:cubicBezTo>
                    <a:pt x="116" y="16"/>
                    <a:pt x="115" y="16"/>
                    <a:pt x="113" y="16"/>
                  </a:cubicBezTo>
                  <a:cubicBezTo>
                    <a:pt x="112" y="16"/>
                    <a:pt x="111" y="17"/>
                    <a:pt x="109" y="17"/>
                  </a:cubicBezTo>
                  <a:cubicBezTo>
                    <a:pt x="108" y="15"/>
                    <a:pt x="107" y="13"/>
                    <a:pt x="105" y="13"/>
                  </a:cubicBezTo>
                  <a:cubicBezTo>
                    <a:pt x="99" y="12"/>
                    <a:pt x="94" y="14"/>
                    <a:pt x="89" y="14"/>
                  </a:cubicBezTo>
                  <a:cubicBezTo>
                    <a:pt x="89" y="13"/>
                    <a:pt x="89" y="12"/>
                    <a:pt x="89" y="12"/>
                  </a:cubicBezTo>
                  <a:cubicBezTo>
                    <a:pt x="88" y="10"/>
                    <a:pt x="87" y="10"/>
                    <a:pt x="85" y="10"/>
                  </a:cubicBezTo>
                  <a:cubicBezTo>
                    <a:pt x="84" y="10"/>
                    <a:pt x="84" y="10"/>
                    <a:pt x="83" y="9"/>
                  </a:cubicBezTo>
                  <a:cubicBezTo>
                    <a:pt x="82" y="8"/>
                    <a:pt x="83" y="6"/>
                    <a:pt x="81" y="6"/>
                  </a:cubicBezTo>
                  <a:cubicBezTo>
                    <a:pt x="79" y="8"/>
                    <a:pt x="80" y="12"/>
                    <a:pt x="76" y="11"/>
                  </a:cubicBezTo>
                  <a:cubicBezTo>
                    <a:pt x="74" y="11"/>
                    <a:pt x="75" y="10"/>
                    <a:pt x="73" y="9"/>
                  </a:cubicBezTo>
                  <a:cubicBezTo>
                    <a:pt x="72" y="7"/>
                    <a:pt x="71" y="7"/>
                    <a:pt x="70" y="6"/>
                  </a:cubicBezTo>
                  <a:cubicBezTo>
                    <a:pt x="70" y="5"/>
                    <a:pt x="70" y="5"/>
                    <a:pt x="70" y="4"/>
                  </a:cubicBezTo>
                  <a:cubicBezTo>
                    <a:pt x="69" y="4"/>
                    <a:pt x="67" y="4"/>
                    <a:pt x="66" y="4"/>
                  </a:cubicBezTo>
                  <a:cubicBezTo>
                    <a:pt x="64" y="4"/>
                    <a:pt x="64" y="4"/>
                    <a:pt x="63" y="3"/>
                  </a:cubicBezTo>
                  <a:cubicBezTo>
                    <a:pt x="62" y="2"/>
                    <a:pt x="59" y="0"/>
                    <a:pt x="58" y="2"/>
                  </a:cubicBezTo>
                  <a:cubicBezTo>
                    <a:pt x="58" y="3"/>
                    <a:pt x="58" y="5"/>
                    <a:pt x="58" y="6"/>
                  </a:cubicBezTo>
                  <a:cubicBezTo>
                    <a:pt x="55" y="6"/>
                    <a:pt x="51" y="4"/>
                    <a:pt x="48" y="4"/>
                  </a:cubicBezTo>
                  <a:cubicBezTo>
                    <a:pt x="46" y="4"/>
                    <a:pt x="44" y="4"/>
                    <a:pt x="42" y="4"/>
                  </a:cubicBezTo>
                  <a:cubicBezTo>
                    <a:pt x="40" y="5"/>
                    <a:pt x="39" y="6"/>
                    <a:pt x="38" y="7"/>
                  </a:cubicBezTo>
                  <a:cubicBezTo>
                    <a:pt x="38" y="8"/>
                    <a:pt x="37" y="9"/>
                    <a:pt x="36" y="11"/>
                  </a:cubicBezTo>
                  <a:cubicBezTo>
                    <a:pt x="36" y="12"/>
                    <a:pt x="35" y="13"/>
                    <a:pt x="34" y="15"/>
                  </a:cubicBezTo>
                  <a:cubicBezTo>
                    <a:pt x="34" y="16"/>
                    <a:pt x="34" y="17"/>
                    <a:pt x="33" y="18"/>
                  </a:cubicBezTo>
                  <a:cubicBezTo>
                    <a:pt x="32" y="19"/>
                    <a:pt x="31" y="20"/>
                    <a:pt x="30" y="21"/>
                  </a:cubicBezTo>
                  <a:cubicBezTo>
                    <a:pt x="27" y="21"/>
                    <a:pt x="26" y="19"/>
                    <a:pt x="25" y="16"/>
                  </a:cubicBezTo>
                  <a:cubicBezTo>
                    <a:pt x="24" y="14"/>
                    <a:pt x="22" y="13"/>
                    <a:pt x="21" y="11"/>
                  </a:cubicBezTo>
                  <a:cubicBezTo>
                    <a:pt x="20" y="10"/>
                    <a:pt x="20" y="9"/>
                    <a:pt x="19" y="7"/>
                  </a:cubicBezTo>
                  <a:cubicBezTo>
                    <a:pt x="18" y="6"/>
                    <a:pt x="18" y="5"/>
                    <a:pt x="17" y="4"/>
                  </a:cubicBezTo>
                  <a:cubicBezTo>
                    <a:pt x="16" y="3"/>
                    <a:pt x="15" y="3"/>
                    <a:pt x="13" y="3"/>
                  </a:cubicBezTo>
                  <a:cubicBezTo>
                    <a:pt x="12" y="3"/>
                    <a:pt x="10" y="2"/>
                    <a:pt x="9" y="2"/>
                  </a:cubicBezTo>
                  <a:cubicBezTo>
                    <a:pt x="5" y="3"/>
                    <a:pt x="2" y="6"/>
                    <a:pt x="2" y="9"/>
                  </a:cubicBezTo>
                  <a:cubicBezTo>
                    <a:pt x="2" y="13"/>
                    <a:pt x="3" y="17"/>
                    <a:pt x="2" y="21"/>
                  </a:cubicBezTo>
                  <a:cubicBezTo>
                    <a:pt x="1" y="23"/>
                    <a:pt x="0" y="26"/>
                    <a:pt x="1" y="29"/>
                  </a:cubicBezTo>
                  <a:cubicBezTo>
                    <a:pt x="1" y="30"/>
                    <a:pt x="2" y="30"/>
                    <a:pt x="2" y="31"/>
                  </a:cubicBezTo>
                  <a:cubicBezTo>
                    <a:pt x="2" y="33"/>
                    <a:pt x="2" y="34"/>
                    <a:pt x="3" y="36"/>
                  </a:cubicBezTo>
                  <a:cubicBezTo>
                    <a:pt x="3" y="37"/>
                    <a:pt x="4" y="38"/>
                    <a:pt x="5" y="39"/>
                  </a:cubicBezTo>
                  <a:cubicBezTo>
                    <a:pt x="5" y="40"/>
                    <a:pt x="6" y="40"/>
                    <a:pt x="6" y="41"/>
                  </a:cubicBezTo>
                  <a:cubicBezTo>
                    <a:pt x="6" y="41"/>
                    <a:pt x="7" y="42"/>
                    <a:pt x="7" y="42"/>
                  </a:cubicBezTo>
                  <a:cubicBezTo>
                    <a:pt x="9" y="44"/>
                    <a:pt x="11" y="48"/>
                    <a:pt x="14" y="48"/>
                  </a:cubicBezTo>
                  <a:cubicBezTo>
                    <a:pt x="14" y="48"/>
                    <a:pt x="14" y="48"/>
                    <a:pt x="15" y="48"/>
                  </a:cubicBezTo>
                  <a:cubicBezTo>
                    <a:pt x="16" y="48"/>
                    <a:pt x="16" y="49"/>
                    <a:pt x="17" y="50"/>
                  </a:cubicBezTo>
                  <a:cubicBezTo>
                    <a:pt x="18" y="52"/>
                    <a:pt x="18" y="54"/>
                    <a:pt x="18" y="57"/>
                  </a:cubicBezTo>
                  <a:cubicBezTo>
                    <a:pt x="18" y="57"/>
                    <a:pt x="18" y="58"/>
                    <a:pt x="18" y="59"/>
                  </a:cubicBezTo>
                  <a:cubicBezTo>
                    <a:pt x="18" y="59"/>
                    <a:pt x="19" y="60"/>
                    <a:pt x="19" y="60"/>
                  </a:cubicBezTo>
                  <a:cubicBezTo>
                    <a:pt x="19" y="61"/>
                    <a:pt x="19" y="62"/>
                    <a:pt x="19" y="62"/>
                  </a:cubicBezTo>
                  <a:cubicBezTo>
                    <a:pt x="19" y="66"/>
                    <a:pt x="19" y="69"/>
                    <a:pt x="19" y="72"/>
                  </a:cubicBezTo>
                  <a:cubicBezTo>
                    <a:pt x="19" y="73"/>
                    <a:pt x="19" y="74"/>
                    <a:pt x="19" y="74"/>
                  </a:cubicBezTo>
                  <a:cubicBezTo>
                    <a:pt x="19" y="75"/>
                    <a:pt x="20" y="75"/>
                    <a:pt x="21" y="76"/>
                  </a:cubicBezTo>
                  <a:cubicBezTo>
                    <a:pt x="21" y="77"/>
                    <a:pt x="21" y="78"/>
                    <a:pt x="21" y="79"/>
                  </a:cubicBezTo>
                  <a:cubicBezTo>
                    <a:pt x="21" y="81"/>
                    <a:pt x="23" y="83"/>
                    <a:pt x="24" y="85"/>
                  </a:cubicBezTo>
                  <a:cubicBezTo>
                    <a:pt x="25" y="86"/>
                    <a:pt x="25" y="88"/>
                    <a:pt x="26" y="90"/>
                  </a:cubicBezTo>
                  <a:cubicBezTo>
                    <a:pt x="26" y="91"/>
                    <a:pt x="26" y="92"/>
                    <a:pt x="26" y="93"/>
                  </a:cubicBezTo>
                  <a:cubicBezTo>
                    <a:pt x="26" y="94"/>
                    <a:pt x="27" y="95"/>
                    <a:pt x="28" y="96"/>
                  </a:cubicBezTo>
                  <a:cubicBezTo>
                    <a:pt x="31" y="99"/>
                    <a:pt x="35" y="102"/>
                    <a:pt x="39" y="103"/>
                  </a:cubicBezTo>
                  <a:cubicBezTo>
                    <a:pt x="43" y="104"/>
                    <a:pt x="45" y="107"/>
                    <a:pt x="47" y="111"/>
                  </a:cubicBezTo>
                  <a:cubicBezTo>
                    <a:pt x="47" y="112"/>
                    <a:pt x="48" y="115"/>
                    <a:pt x="49" y="116"/>
                  </a:cubicBezTo>
                  <a:cubicBezTo>
                    <a:pt x="49" y="116"/>
                    <a:pt x="50" y="117"/>
                    <a:pt x="51" y="118"/>
                  </a:cubicBezTo>
                  <a:cubicBezTo>
                    <a:pt x="52" y="119"/>
                    <a:pt x="53" y="120"/>
                    <a:pt x="53" y="121"/>
                  </a:cubicBezTo>
                  <a:cubicBezTo>
                    <a:pt x="55" y="123"/>
                    <a:pt x="56" y="126"/>
                    <a:pt x="58" y="128"/>
                  </a:cubicBezTo>
                  <a:cubicBezTo>
                    <a:pt x="60" y="129"/>
                    <a:pt x="61" y="130"/>
                    <a:pt x="62" y="131"/>
                  </a:cubicBezTo>
                  <a:cubicBezTo>
                    <a:pt x="62" y="132"/>
                    <a:pt x="63" y="133"/>
                    <a:pt x="63" y="134"/>
                  </a:cubicBezTo>
                  <a:cubicBezTo>
                    <a:pt x="66" y="136"/>
                    <a:pt x="69" y="139"/>
                    <a:pt x="72" y="142"/>
                  </a:cubicBezTo>
                  <a:cubicBezTo>
                    <a:pt x="73" y="143"/>
                    <a:pt x="75" y="143"/>
                    <a:pt x="75" y="144"/>
                  </a:cubicBezTo>
                  <a:cubicBezTo>
                    <a:pt x="76" y="145"/>
                    <a:pt x="76" y="146"/>
                    <a:pt x="76" y="147"/>
                  </a:cubicBezTo>
                  <a:cubicBezTo>
                    <a:pt x="76" y="148"/>
                    <a:pt x="76" y="149"/>
                    <a:pt x="76" y="150"/>
                  </a:cubicBezTo>
                  <a:cubicBezTo>
                    <a:pt x="76" y="152"/>
                    <a:pt x="76" y="153"/>
                    <a:pt x="77" y="155"/>
                  </a:cubicBezTo>
                  <a:cubicBezTo>
                    <a:pt x="77" y="155"/>
                    <a:pt x="77" y="156"/>
                    <a:pt x="77" y="157"/>
                  </a:cubicBezTo>
                  <a:cubicBezTo>
                    <a:pt x="77" y="157"/>
                    <a:pt x="78" y="158"/>
                    <a:pt x="78" y="158"/>
                  </a:cubicBezTo>
                  <a:cubicBezTo>
                    <a:pt x="79" y="159"/>
                    <a:pt x="79" y="160"/>
                    <a:pt x="79" y="160"/>
                  </a:cubicBezTo>
                  <a:cubicBezTo>
                    <a:pt x="79" y="161"/>
                    <a:pt x="79" y="161"/>
                    <a:pt x="79" y="161"/>
                  </a:cubicBezTo>
                  <a:cubicBezTo>
                    <a:pt x="80" y="162"/>
                    <a:pt x="81" y="162"/>
                    <a:pt x="81" y="162"/>
                  </a:cubicBezTo>
                  <a:cubicBezTo>
                    <a:pt x="81" y="163"/>
                    <a:pt x="81" y="164"/>
                    <a:pt x="81" y="165"/>
                  </a:cubicBezTo>
                  <a:cubicBezTo>
                    <a:pt x="81" y="166"/>
                    <a:pt x="81" y="167"/>
                    <a:pt x="81" y="168"/>
                  </a:cubicBezTo>
                  <a:cubicBezTo>
                    <a:pt x="80" y="169"/>
                    <a:pt x="79" y="170"/>
                    <a:pt x="79" y="171"/>
                  </a:cubicBezTo>
                  <a:cubicBezTo>
                    <a:pt x="80" y="172"/>
                    <a:pt x="84" y="172"/>
                    <a:pt x="85" y="173"/>
                  </a:cubicBezTo>
                  <a:cubicBezTo>
                    <a:pt x="86" y="173"/>
                    <a:pt x="86" y="174"/>
                    <a:pt x="86" y="175"/>
                  </a:cubicBezTo>
                  <a:cubicBezTo>
                    <a:pt x="88" y="178"/>
                    <a:pt x="91" y="180"/>
                    <a:pt x="91" y="182"/>
                  </a:cubicBezTo>
                  <a:cubicBezTo>
                    <a:pt x="92" y="183"/>
                    <a:pt x="91" y="184"/>
                    <a:pt x="92" y="185"/>
                  </a:cubicBezTo>
                  <a:cubicBezTo>
                    <a:pt x="92" y="185"/>
                    <a:pt x="93" y="186"/>
                    <a:pt x="93" y="186"/>
                  </a:cubicBezTo>
                  <a:cubicBezTo>
                    <a:pt x="93" y="186"/>
                    <a:pt x="93" y="187"/>
                    <a:pt x="94" y="187"/>
                  </a:cubicBezTo>
                  <a:cubicBezTo>
                    <a:pt x="93" y="188"/>
                    <a:pt x="89" y="188"/>
                    <a:pt x="88" y="188"/>
                  </a:cubicBezTo>
                  <a:cubicBezTo>
                    <a:pt x="88" y="189"/>
                    <a:pt x="89" y="190"/>
                    <a:pt x="90" y="191"/>
                  </a:cubicBezTo>
                  <a:cubicBezTo>
                    <a:pt x="90" y="192"/>
                    <a:pt x="91" y="194"/>
                    <a:pt x="92" y="194"/>
                  </a:cubicBezTo>
                  <a:cubicBezTo>
                    <a:pt x="93" y="192"/>
                    <a:pt x="97" y="191"/>
                    <a:pt x="98" y="191"/>
                  </a:cubicBezTo>
                  <a:cubicBezTo>
                    <a:pt x="99" y="191"/>
                    <a:pt x="100" y="190"/>
                    <a:pt x="100" y="190"/>
                  </a:cubicBezTo>
                  <a:cubicBezTo>
                    <a:pt x="101" y="190"/>
                    <a:pt x="102" y="189"/>
                    <a:pt x="103" y="190"/>
                  </a:cubicBezTo>
                  <a:cubicBezTo>
                    <a:pt x="103" y="190"/>
                    <a:pt x="103" y="191"/>
                    <a:pt x="103" y="191"/>
                  </a:cubicBezTo>
                  <a:cubicBezTo>
                    <a:pt x="103" y="191"/>
                    <a:pt x="104" y="191"/>
                    <a:pt x="104" y="192"/>
                  </a:cubicBezTo>
                  <a:cubicBezTo>
                    <a:pt x="104" y="192"/>
                    <a:pt x="104" y="192"/>
                    <a:pt x="104" y="193"/>
                  </a:cubicBezTo>
                  <a:cubicBezTo>
                    <a:pt x="105" y="194"/>
                    <a:pt x="106" y="195"/>
                    <a:pt x="107" y="196"/>
                  </a:cubicBezTo>
                  <a:cubicBezTo>
                    <a:pt x="108" y="197"/>
                    <a:pt x="108" y="198"/>
                    <a:pt x="108" y="199"/>
                  </a:cubicBezTo>
                  <a:cubicBezTo>
                    <a:pt x="109" y="200"/>
                    <a:pt x="110" y="202"/>
                    <a:pt x="112" y="203"/>
                  </a:cubicBezTo>
                  <a:cubicBezTo>
                    <a:pt x="113" y="204"/>
                    <a:pt x="115" y="206"/>
                    <a:pt x="117" y="207"/>
                  </a:cubicBezTo>
                  <a:cubicBezTo>
                    <a:pt x="119" y="209"/>
                    <a:pt x="121" y="210"/>
                    <a:pt x="122" y="211"/>
                  </a:cubicBezTo>
                  <a:cubicBezTo>
                    <a:pt x="123" y="211"/>
                    <a:pt x="124" y="212"/>
                    <a:pt x="125" y="213"/>
                  </a:cubicBezTo>
                  <a:cubicBezTo>
                    <a:pt x="125" y="215"/>
                    <a:pt x="130" y="214"/>
                    <a:pt x="131" y="214"/>
                  </a:cubicBezTo>
                  <a:cubicBezTo>
                    <a:pt x="132" y="214"/>
                    <a:pt x="133" y="216"/>
                    <a:pt x="134" y="217"/>
                  </a:cubicBezTo>
                  <a:cubicBezTo>
                    <a:pt x="135" y="218"/>
                    <a:pt x="135" y="219"/>
                    <a:pt x="135" y="220"/>
                  </a:cubicBezTo>
                  <a:cubicBezTo>
                    <a:pt x="136" y="221"/>
                    <a:pt x="137" y="223"/>
                    <a:pt x="138" y="224"/>
                  </a:cubicBezTo>
                  <a:cubicBezTo>
                    <a:pt x="139" y="225"/>
                    <a:pt x="139" y="224"/>
                    <a:pt x="140" y="223"/>
                  </a:cubicBezTo>
                  <a:cubicBezTo>
                    <a:pt x="140" y="223"/>
                    <a:pt x="140" y="222"/>
                    <a:pt x="140" y="222"/>
                  </a:cubicBezTo>
                  <a:cubicBezTo>
                    <a:pt x="141" y="222"/>
                    <a:pt x="141" y="221"/>
                    <a:pt x="141" y="221"/>
                  </a:cubicBezTo>
                  <a:cubicBezTo>
                    <a:pt x="143" y="219"/>
                    <a:pt x="143" y="214"/>
                    <a:pt x="143" y="211"/>
                  </a:cubicBezTo>
                  <a:cubicBezTo>
                    <a:pt x="143" y="210"/>
                    <a:pt x="143" y="209"/>
                    <a:pt x="143" y="209"/>
                  </a:cubicBezTo>
                  <a:cubicBezTo>
                    <a:pt x="143" y="208"/>
                    <a:pt x="142" y="207"/>
                    <a:pt x="142" y="207"/>
                  </a:cubicBezTo>
                  <a:cubicBezTo>
                    <a:pt x="142" y="206"/>
                    <a:pt x="142" y="206"/>
                    <a:pt x="141" y="206"/>
                  </a:cubicBezTo>
                  <a:cubicBezTo>
                    <a:pt x="141" y="206"/>
                    <a:pt x="141" y="204"/>
                    <a:pt x="140" y="204"/>
                  </a:cubicBezTo>
                  <a:cubicBezTo>
                    <a:pt x="140" y="202"/>
                    <a:pt x="140" y="201"/>
                    <a:pt x="140" y="200"/>
                  </a:cubicBezTo>
                  <a:cubicBezTo>
                    <a:pt x="140" y="198"/>
                    <a:pt x="139" y="198"/>
                    <a:pt x="139" y="197"/>
                  </a:cubicBezTo>
                  <a:cubicBezTo>
                    <a:pt x="139" y="196"/>
                    <a:pt x="140" y="195"/>
                    <a:pt x="140" y="195"/>
                  </a:cubicBezTo>
                  <a:cubicBezTo>
                    <a:pt x="141" y="193"/>
                    <a:pt x="142" y="192"/>
                    <a:pt x="143" y="190"/>
                  </a:cubicBezTo>
                  <a:cubicBezTo>
                    <a:pt x="143" y="190"/>
                    <a:pt x="143" y="189"/>
                    <a:pt x="143" y="189"/>
                  </a:cubicBezTo>
                  <a:cubicBezTo>
                    <a:pt x="143" y="188"/>
                    <a:pt x="143" y="188"/>
                    <a:pt x="143" y="188"/>
                  </a:cubicBezTo>
                  <a:cubicBezTo>
                    <a:pt x="144" y="187"/>
                    <a:pt x="144" y="185"/>
                    <a:pt x="144" y="184"/>
                  </a:cubicBezTo>
                  <a:cubicBezTo>
                    <a:pt x="145" y="183"/>
                    <a:pt x="147" y="183"/>
                    <a:pt x="147" y="182"/>
                  </a:cubicBezTo>
                  <a:cubicBezTo>
                    <a:pt x="148" y="181"/>
                    <a:pt x="147" y="181"/>
                    <a:pt x="147" y="180"/>
                  </a:cubicBezTo>
                  <a:cubicBezTo>
                    <a:pt x="148" y="179"/>
                    <a:pt x="148" y="178"/>
                    <a:pt x="148" y="177"/>
                  </a:cubicBezTo>
                  <a:cubicBezTo>
                    <a:pt x="149" y="176"/>
                    <a:pt x="149" y="175"/>
                    <a:pt x="149" y="173"/>
                  </a:cubicBezTo>
                  <a:cubicBezTo>
                    <a:pt x="149" y="172"/>
                    <a:pt x="148" y="171"/>
                    <a:pt x="148" y="170"/>
                  </a:cubicBezTo>
                  <a:cubicBezTo>
                    <a:pt x="148" y="169"/>
                    <a:pt x="149" y="168"/>
                    <a:pt x="150" y="167"/>
                  </a:cubicBezTo>
                  <a:cubicBezTo>
                    <a:pt x="152" y="166"/>
                    <a:pt x="154" y="164"/>
                    <a:pt x="155" y="163"/>
                  </a:cubicBezTo>
                  <a:cubicBezTo>
                    <a:pt x="155" y="162"/>
                    <a:pt x="155" y="162"/>
                    <a:pt x="156" y="162"/>
                  </a:cubicBezTo>
                  <a:cubicBezTo>
                    <a:pt x="156" y="161"/>
                    <a:pt x="157" y="161"/>
                    <a:pt x="157" y="161"/>
                  </a:cubicBezTo>
                  <a:cubicBezTo>
                    <a:pt x="159" y="160"/>
                    <a:pt x="161" y="158"/>
                    <a:pt x="163" y="158"/>
                  </a:cubicBezTo>
                  <a:cubicBezTo>
                    <a:pt x="165" y="158"/>
                    <a:pt x="166" y="159"/>
                    <a:pt x="167" y="161"/>
                  </a:cubicBezTo>
                  <a:cubicBezTo>
                    <a:pt x="167" y="162"/>
                    <a:pt x="167" y="163"/>
                    <a:pt x="168" y="164"/>
                  </a:cubicBezTo>
                  <a:cubicBezTo>
                    <a:pt x="168" y="164"/>
                    <a:pt x="169" y="165"/>
                    <a:pt x="170" y="165"/>
                  </a:cubicBezTo>
                  <a:cubicBezTo>
                    <a:pt x="170" y="164"/>
                    <a:pt x="171" y="165"/>
                    <a:pt x="171" y="164"/>
                  </a:cubicBezTo>
                  <a:cubicBezTo>
                    <a:pt x="172" y="164"/>
                    <a:pt x="172" y="163"/>
                    <a:pt x="172" y="163"/>
                  </a:cubicBezTo>
                  <a:cubicBezTo>
                    <a:pt x="174" y="161"/>
                    <a:pt x="173" y="160"/>
                    <a:pt x="172" y="158"/>
                  </a:cubicBezTo>
                  <a:cubicBezTo>
                    <a:pt x="172" y="157"/>
                    <a:pt x="172" y="156"/>
                    <a:pt x="171" y="155"/>
                  </a:cubicBezTo>
                  <a:cubicBezTo>
                    <a:pt x="170" y="154"/>
                    <a:pt x="169" y="152"/>
                    <a:pt x="168" y="151"/>
                  </a:cubicBezTo>
                  <a:cubicBezTo>
                    <a:pt x="167" y="150"/>
                    <a:pt x="166" y="150"/>
                    <a:pt x="166" y="148"/>
                  </a:cubicBezTo>
                  <a:cubicBezTo>
                    <a:pt x="166" y="147"/>
                    <a:pt x="165" y="145"/>
                    <a:pt x="166" y="144"/>
                  </a:cubicBezTo>
                  <a:cubicBezTo>
                    <a:pt x="166" y="144"/>
                    <a:pt x="166" y="144"/>
                    <a:pt x="167" y="143"/>
                  </a:cubicBezTo>
                  <a:cubicBezTo>
                    <a:pt x="167" y="143"/>
                    <a:pt x="166" y="142"/>
                    <a:pt x="166" y="142"/>
                  </a:cubicBezTo>
                  <a:cubicBezTo>
                    <a:pt x="167" y="141"/>
                    <a:pt x="167" y="141"/>
                    <a:pt x="168" y="141"/>
                  </a:cubicBezTo>
                  <a:cubicBezTo>
                    <a:pt x="170" y="140"/>
                    <a:pt x="172" y="143"/>
                    <a:pt x="173" y="144"/>
                  </a:cubicBezTo>
                  <a:cubicBezTo>
                    <a:pt x="174" y="145"/>
                    <a:pt x="175" y="145"/>
                    <a:pt x="176" y="145"/>
                  </a:cubicBezTo>
                  <a:cubicBezTo>
                    <a:pt x="177" y="144"/>
                    <a:pt x="178" y="144"/>
                    <a:pt x="178" y="144"/>
                  </a:cubicBezTo>
                  <a:cubicBezTo>
                    <a:pt x="179" y="144"/>
                    <a:pt x="180" y="144"/>
                    <a:pt x="180" y="143"/>
                  </a:cubicBezTo>
                  <a:cubicBezTo>
                    <a:pt x="181" y="143"/>
                    <a:pt x="181" y="142"/>
                    <a:pt x="181" y="141"/>
                  </a:cubicBezTo>
                  <a:cubicBezTo>
                    <a:pt x="181" y="140"/>
                    <a:pt x="182" y="140"/>
                    <a:pt x="183" y="139"/>
                  </a:cubicBezTo>
                  <a:cubicBezTo>
                    <a:pt x="184" y="139"/>
                    <a:pt x="184" y="138"/>
                    <a:pt x="184" y="138"/>
                  </a:cubicBezTo>
                  <a:cubicBezTo>
                    <a:pt x="185" y="137"/>
                    <a:pt x="187" y="135"/>
                    <a:pt x="188" y="136"/>
                  </a:cubicBezTo>
                  <a:cubicBezTo>
                    <a:pt x="188" y="136"/>
                    <a:pt x="188" y="138"/>
                    <a:pt x="189" y="139"/>
                  </a:cubicBezTo>
                  <a:cubicBezTo>
                    <a:pt x="190" y="140"/>
                    <a:pt x="191" y="141"/>
                    <a:pt x="191" y="143"/>
                  </a:cubicBezTo>
                  <a:cubicBezTo>
                    <a:pt x="192" y="143"/>
                    <a:pt x="192" y="144"/>
                    <a:pt x="193" y="143"/>
                  </a:cubicBezTo>
                  <a:cubicBezTo>
                    <a:pt x="194" y="143"/>
                    <a:pt x="193" y="143"/>
                    <a:pt x="194" y="142"/>
                  </a:cubicBezTo>
                  <a:cubicBezTo>
                    <a:pt x="194" y="141"/>
                    <a:pt x="195" y="141"/>
                    <a:pt x="196" y="140"/>
                  </a:cubicBezTo>
                  <a:cubicBezTo>
                    <a:pt x="196" y="139"/>
                    <a:pt x="196" y="138"/>
                    <a:pt x="196" y="137"/>
                  </a:cubicBezTo>
                  <a:cubicBezTo>
                    <a:pt x="196" y="135"/>
                    <a:pt x="197" y="134"/>
                    <a:pt x="197" y="133"/>
                  </a:cubicBezTo>
                  <a:cubicBezTo>
                    <a:pt x="197" y="132"/>
                    <a:pt x="196" y="132"/>
                    <a:pt x="196" y="131"/>
                  </a:cubicBezTo>
                  <a:cubicBezTo>
                    <a:pt x="196" y="131"/>
                    <a:pt x="196" y="130"/>
                    <a:pt x="196" y="130"/>
                  </a:cubicBezTo>
                  <a:cubicBezTo>
                    <a:pt x="196" y="128"/>
                    <a:pt x="195" y="127"/>
                    <a:pt x="194" y="125"/>
                  </a:cubicBezTo>
                  <a:cubicBezTo>
                    <a:pt x="192" y="122"/>
                    <a:pt x="190" y="120"/>
                    <a:pt x="189" y="117"/>
                  </a:cubicBezTo>
                  <a:cubicBezTo>
                    <a:pt x="188" y="116"/>
                    <a:pt x="188" y="115"/>
                    <a:pt x="187" y="114"/>
                  </a:cubicBezTo>
                  <a:cubicBezTo>
                    <a:pt x="186" y="112"/>
                    <a:pt x="186" y="113"/>
                    <a:pt x="184" y="112"/>
                  </a:cubicBezTo>
                  <a:cubicBezTo>
                    <a:pt x="183" y="112"/>
                    <a:pt x="182" y="111"/>
                    <a:pt x="182" y="110"/>
                  </a:cubicBezTo>
                  <a:cubicBezTo>
                    <a:pt x="181" y="109"/>
                    <a:pt x="182" y="106"/>
                    <a:pt x="183" y="105"/>
                  </a:cubicBezTo>
                  <a:cubicBezTo>
                    <a:pt x="184" y="106"/>
                    <a:pt x="185" y="107"/>
                    <a:pt x="186" y="107"/>
                  </a:cubicBezTo>
                  <a:cubicBezTo>
                    <a:pt x="188" y="109"/>
                    <a:pt x="192" y="109"/>
                    <a:pt x="195" y="109"/>
                  </a:cubicBezTo>
                  <a:cubicBezTo>
                    <a:pt x="197" y="109"/>
                    <a:pt x="200" y="109"/>
                    <a:pt x="201" y="108"/>
                  </a:cubicBezTo>
                  <a:cubicBezTo>
                    <a:pt x="202" y="107"/>
                    <a:pt x="202" y="107"/>
                    <a:pt x="203" y="106"/>
                  </a:cubicBezTo>
                  <a:cubicBezTo>
                    <a:pt x="204" y="105"/>
                    <a:pt x="204" y="105"/>
                    <a:pt x="204" y="104"/>
                  </a:cubicBezTo>
                  <a:cubicBezTo>
                    <a:pt x="204" y="104"/>
                    <a:pt x="204" y="103"/>
                    <a:pt x="204" y="102"/>
                  </a:cubicBezTo>
                  <a:cubicBezTo>
                    <a:pt x="204" y="102"/>
                    <a:pt x="204" y="100"/>
                    <a:pt x="204" y="10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8" name="Freeform 28"/>
            <p:cNvSpPr>
              <a:spLocks/>
            </p:cNvSpPr>
            <p:nvPr/>
          </p:nvSpPr>
          <p:spPr bwMode="auto">
            <a:xfrm>
              <a:off x="5184775" y="5527675"/>
              <a:ext cx="280988" cy="252413"/>
            </a:xfrm>
            <a:custGeom>
              <a:avLst/>
              <a:gdLst/>
              <a:ahLst/>
              <a:cxnLst>
                <a:cxn ang="0">
                  <a:pos x="145" y="47"/>
                </a:cxn>
                <a:cxn ang="0">
                  <a:pos x="135" y="45"/>
                </a:cxn>
                <a:cxn ang="0">
                  <a:pos x="132" y="40"/>
                </a:cxn>
                <a:cxn ang="0">
                  <a:pos x="121" y="36"/>
                </a:cxn>
                <a:cxn ang="0">
                  <a:pos x="116" y="31"/>
                </a:cxn>
                <a:cxn ang="0">
                  <a:pos x="110" y="28"/>
                </a:cxn>
                <a:cxn ang="0">
                  <a:pos x="105" y="20"/>
                </a:cxn>
                <a:cxn ang="0">
                  <a:pos x="94" y="10"/>
                </a:cxn>
                <a:cxn ang="0">
                  <a:pos x="88" y="3"/>
                </a:cxn>
                <a:cxn ang="0">
                  <a:pos x="84" y="5"/>
                </a:cxn>
                <a:cxn ang="0">
                  <a:pos x="74" y="2"/>
                </a:cxn>
                <a:cxn ang="0">
                  <a:pos x="74" y="8"/>
                </a:cxn>
                <a:cxn ang="0">
                  <a:pos x="80" y="18"/>
                </a:cxn>
                <a:cxn ang="0">
                  <a:pos x="78" y="25"/>
                </a:cxn>
                <a:cxn ang="0">
                  <a:pos x="71" y="18"/>
                </a:cxn>
                <a:cxn ang="0">
                  <a:pos x="63" y="23"/>
                </a:cxn>
                <a:cxn ang="0">
                  <a:pos x="57" y="33"/>
                </a:cxn>
                <a:cxn ang="0">
                  <a:pos x="55" y="42"/>
                </a:cxn>
                <a:cxn ang="0">
                  <a:pos x="51" y="49"/>
                </a:cxn>
                <a:cxn ang="0">
                  <a:pos x="47" y="57"/>
                </a:cxn>
                <a:cxn ang="0">
                  <a:pos x="49" y="66"/>
                </a:cxn>
                <a:cxn ang="0">
                  <a:pos x="51" y="71"/>
                </a:cxn>
                <a:cxn ang="0">
                  <a:pos x="48" y="83"/>
                </a:cxn>
                <a:cxn ang="0">
                  <a:pos x="42" y="77"/>
                </a:cxn>
                <a:cxn ang="0">
                  <a:pos x="30" y="71"/>
                </a:cxn>
                <a:cxn ang="0">
                  <a:pos x="16" y="59"/>
                </a:cxn>
                <a:cxn ang="0">
                  <a:pos x="12" y="52"/>
                </a:cxn>
                <a:cxn ang="0">
                  <a:pos x="8" y="50"/>
                </a:cxn>
                <a:cxn ang="0">
                  <a:pos x="0" y="54"/>
                </a:cxn>
                <a:cxn ang="0">
                  <a:pos x="5" y="59"/>
                </a:cxn>
                <a:cxn ang="0">
                  <a:pos x="12" y="62"/>
                </a:cxn>
                <a:cxn ang="0">
                  <a:pos x="17" y="66"/>
                </a:cxn>
                <a:cxn ang="0">
                  <a:pos x="26" y="75"/>
                </a:cxn>
                <a:cxn ang="0">
                  <a:pos x="34" y="82"/>
                </a:cxn>
                <a:cxn ang="0">
                  <a:pos x="53" y="94"/>
                </a:cxn>
                <a:cxn ang="0">
                  <a:pos x="62" y="104"/>
                </a:cxn>
                <a:cxn ang="0">
                  <a:pos x="68" y="106"/>
                </a:cxn>
                <a:cxn ang="0">
                  <a:pos x="76" y="116"/>
                </a:cxn>
                <a:cxn ang="0">
                  <a:pos x="82" y="131"/>
                </a:cxn>
                <a:cxn ang="0">
                  <a:pos x="91" y="133"/>
                </a:cxn>
                <a:cxn ang="0">
                  <a:pos x="90" y="111"/>
                </a:cxn>
                <a:cxn ang="0">
                  <a:pos x="95" y="98"/>
                </a:cxn>
                <a:cxn ang="0">
                  <a:pos x="101" y="88"/>
                </a:cxn>
                <a:cxn ang="0">
                  <a:pos x="109" y="76"/>
                </a:cxn>
                <a:cxn ang="0">
                  <a:pos x="113" y="81"/>
                </a:cxn>
                <a:cxn ang="0">
                  <a:pos x="126" y="88"/>
                </a:cxn>
                <a:cxn ang="0">
                  <a:pos x="132" y="81"/>
                </a:cxn>
                <a:cxn ang="0">
                  <a:pos x="132" y="70"/>
                </a:cxn>
                <a:cxn ang="0">
                  <a:pos x="133" y="64"/>
                </a:cxn>
                <a:cxn ang="0">
                  <a:pos x="142" y="62"/>
                </a:cxn>
                <a:cxn ang="0">
                  <a:pos x="148" y="59"/>
                </a:cxn>
              </a:cxnLst>
              <a:rect l="0" t="0" r="r" b="b"/>
              <a:pathLst>
                <a:path w="150" h="135">
                  <a:moveTo>
                    <a:pt x="147" y="51"/>
                  </a:moveTo>
                  <a:cubicBezTo>
                    <a:pt x="146" y="51"/>
                    <a:pt x="146" y="50"/>
                    <a:pt x="146" y="49"/>
                  </a:cubicBezTo>
                  <a:cubicBezTo>
                    <a:pt x="145" y="49"/>
                    <a:pt x="146" y="47"/>
                    <a:pt x="145" y="47"/>
                  </a:cubicBezTo>
                  <a:cubicBezTo>
                    <a:pt x="144" y="46"/>
                    <a:pt x="142" y="47"/>
                    <a:pt x="141" y="47"/>
                  </a:cubicBezTo>
                  <a:cubicBezTo>
                    <a:pt x="140" y="47"/>
                    <a:pt x="136" y="48"/>
                    <a:pt x="136" y="47"/>
                  </a:cubicBezTo>
                  <a:cubicBezTo>
                    <a:pt x="135" y="46"/>
                    <a:pt x="135" y="46"/>
                    <a:pt x="135" y="45"/>
                  </a:cubicBezTo>
                  <a:cubicBezTo>
                    <a:pt x="135" y="44"/>
                    <a:pt x="135" y="44"/>
                    <a:pt x="135" y="43"/>
                  </a:cubicBezTo>
                  <a:cubicBezTo>
                    <a:pt x="134" y="43"/>
                    <a:pt x="134" y="42"/>
                    <a:pt x="133" y="42"/>
                  </a:cubicBezTo>
                  <a:cubicBezTo>
                    <a:pt x="133" y="41"/>
                    <a:pt x="132" y="41"/>
                    <a:pt x="132" y="40"/>
                  </a:cubicBezTo>
                  <a:cubicBezTo>
                    <a:pt x="130" y="40"/>
                    <a:pt x="130" y="39"/>
                    <a:pt x="130" y="38"/>
                  </a:cubicBezTo>
                  <a:cubicBezTo>
                    <a:pt x="129" y="36"/>
                    <a:pt x="128" y="36"/>
                    <a:pt x="127" y="36"/>
                  </a:cubicBezTo>
                  <a:cubicBezTo>
                    <a:pt x="125" y="36"/>
                    <a:pt x="123" y="37"/>
                    <a:pt x="121" y="36"/>
                  </a:cubicBezTo>
                  <a:cubicBezTo>
                    <a:pt x="120" y="36"/>
                    <a:pt x="119" y="35"/>
                    <a:pt x="118" y="34"/>
                  </a:cubicBezTo>
                  <a:cubicBezTo>
                    <a:pt x="117" y="34"/>
                    <a:pt x="117" y="33"/>
                    <a:pt x="116" y="33"/>
                  </a:cubicBezTo>
                  <a:cubicBezTo>
                    <a:pt x="116" y="32"/>
                    <a:pt x="116" y="32"/>
                    <a:pt x="116" y="31"/>
                  </a:cubicBezTo>
                  <a:cubicBezTo>
                    <a:pt x="115" y="31"/>
                    <a:pt x="115" y="31"/>
                    <a:pt x="114" y="31"/>
                  </a:cubicBezTo>
                  <a:cubicBezTo>
                    <a:pt x="113" y="31"/>
                    <a:pt x="113" y="30"/>
                    <a:pt x="112" y="30"/>
                  </a:cubicBezTo>
                  <a:cubicBezTo>
                    <a:pt x="112" y="29"/>
                    <a:pt x="111" y="29"/>
                    <a:pt x="110" y="28"/>
                  </a:cubicBezTo>
                  <a:cubicBezTo>
                    <a:pt x="108" y="27"/>
                    <a:pt x="106" y="25"/>
                    <a:pt x="106" y="23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07" y="22"/>
                    <a:pt x="106" y="21"/>
                    <a:pt x="105" y="20"/>
                  </a:cubicBezTo>
                  <a:cubicBezTo>
                    <a:pt x="103" y="18"/>
                    <a:pt x="101" y="17"/>
                    <a:pt x="100" y="14"/>
                  </a:cubicBezTo>
                  <a:cubicBezTo>
                    <a:pt x="99" y="13"/>
                    <a:pt x="99" y="12"/>
                    <a:pt x="98" y="12"/>
                  </a:cubicBezTo>
                  <a:cubicBezTo>
                    <a:pt x="96" y="11"/>
                    <a:pt x="95" y="11"/>
                    <a:pt x="94" y="10"/>
                  </a:cubicBezTo>
                  <a:cubicBezTo>
                    <a:pt x="93" y="9"/>
                    <a:pt x="93" y="9"/>
                    <a:pt x="92" y="8"/>
                  </a:cubicBezTo>
                  <a:cubicBezTo>
                    <a:pt x="90" y="8"/>
                    <a:pt x="90" y="7"/>
                    <a:pt x="90" y="6"/>
                  </a:cubicBezTo>
                  <a:cubicBezTo>
                    <a:pt x="89" y="5"/>
                    <a:pt x="88" y="4"/>
                    <a:pt x="88" y="3"/>
                  </a:cubicBezTo>
                  <a:cubicBezTo>
                    <a:pt x="88" y="3"/>
                    <a:pt x="88" y="3"/>
                    <a:pt x="88" y="3"/>
                  </a:cubicBezTo>
                  <a:cubicBezTo>
                    <a:pt x="88" y="4"/>
                    <a:pt x="87" y="4"/>
                    <a:pt x="86" y="4"/>
                  </a:cubicBezTo>
                  <a:cubicBezTo>
                    <a:pt x="86" y="4"/>
                    <a:pt x="85" y="4"/>
                    <a:pt x="84" y="5"/>
                  </a:cubicBezTo>
                  <a:cubicBezTo>
                    <a:pt x="83" y="5"/>
                    <a:pt x="82" y="5"/>
                    <a:pt x="81" y="4"/>
                  </a:cubicBezTo>
                  <a:cubicBezTo>
                    <a:pt x="80" y="3"/>
                    <a:pt x="78" y="0"/>
                    <a:pt x="76" y="1"/>
                  </a:cubicBezTo>
                  <a:cubicBezTo>
                    <a:pt x="75" y="1"/>
                    <a:pt x="75" y="1"/>
                    <a:pt x="74" y="2"/>
                  </a:cubicBezTo>
                  <a:cubicBezTo>
                    <a:pt x="74" y="2"/>
                    <a:pt x="75" y="3"/>
                    <a:pt x="75" y="3"/>
                  </a:cubicBezTo>
                  <a:cubicBezTo>
                    <a:pt x="74" y="4"/>
                    <a:pt x="74" y="4"/>
                    <a:pt x="74" y="4"/>
                  </a:cubicBezTo>
                  <a:cubicBezTo>
                    <a:pt x="73" y="5"/>
                    <a:pt x="74" y="7"/>
                    <a:pt x="74" y="8"/>
                  </a:cubicBezTo>
                  <a:cubicBezTo>
                    <a:pt x="74" y="10"/>
                    <a:pt x="75" y="10"/>
                    <a:pt x="76" y="11"/>
                  </a:cubicBezTo>
                  <a:cubicBezTo>
                    <a:pt x="77" y="12"/>
                    <a:pt x="78" y="14"/>
                    <a:pt x="79" y="15"/>
                  </a:cubicBezTo>
                  <a:cubicBezTo>
                    <a:pt x="80" y="16"/>
                    <a:pt x="80" y="17"/>
                    <a:pt x="80" y="18"/>
                  </a:cubicBezTo>
                  <a:cubicBezTo>
                    <a:pt x="81" y="20"/>
                    <a:pt x="82" y="21"/>
                    <a:pt x="80" y="23"/>
                  </a:cubicBezTo>
                  <a:cubicBezTo>
                    <a:pt x="80" y="23"/>
                    <a:pt x="80" y="24"/>
                    <a:pt x="79" y="24"/>
                  </a:cubicBezTo>
                  <a:cubicBezTo>
                    <a:pt x="79" y="25"/>
                    <a:pt x="78" y="24"/>
                    <a:pt x="78" y="25"/>
                  </a:cubicBezTo>
                  <a:cubicBezTo>
                    <a:pt x="77" y="25"/>
                    <a:pt x="76" y="24"/>
                    <a:pt x="76" y="24"/>
                  </a:cubicBezTo>
                  <a:cubicBezTo>
                    <a:pt x="75" y="23"/>
                    <a:pt x="75" y="22"/>
                    <a:pt x="75" y="21"/>
                  </a:cubicBezTo>
                  <a:cubicBezTo>
                    <a:pt x="74" y="19"/>
                    <a:pt x="73" y="18"/>
                    <a:pt x="71" y="18"/>
                  </a:cubicBezTo>
                  <a:cubicBezTo>
                    <a:pt x="69" y="18"/>
                    <a:pt x="67" y="20"/>
                    <a:pt x="65" y="21"/>
                  </a:cubicBezTo>
                  <a:cubicBezTo>
                    <a:pt x="65" y="21"/>
                    <a:pt x="64" y="21"/>
                    <a:pt x="64" y="22"/>
                  </a:cubicBezTo>
                  <a:cubicBezTo>
                    <a:pt x="63" y="22"/>
                    <a:pt x="63" y="22"/>
                    <a:pt x="63" y="23"/>
                  </a:cubicBezTo>
                  <a:cubicBezTo>
                    <a:pt x="62" y="24"/>
                    <a:pt x="60" y="26"/>
                    <a:pt x="58" y="27"/>
                  </a:cubicBezTo>
                  <a:cubicBezTo>
                    <a:pt x="57" y="28"/>
                    <a:pt x="56" y="29"/>
                    <a:pt x="56" y="30"/>
                  </a:cubicBezTo>
                  <a:cubicBezTo>
                    <a:pt x="56" y="31"/>
                    <a:pt x="57" y="32"/>
                    <a:pt x="57" y="33"/>
                  </a:cubicBezTo>
                  <a:cubicBezTo>
                    <a:pt x="57" y="35"/>
                    <a:pt x="57" y="36"/>
                    <a:pt x="56" y="37"/>
                  </a:cubicBezTo>
                  <a:cubicBezTo>
                    <a:pt x="56" y="38"/>
                    <a:pt x="56" y="39"/>
                    <a:pt x="55" y="40"/>
                  </a:cubicBezTo>
                  <a:cubicBezTo>
                    <a:pt x="55" y="41"/>
                    <a:pt x="56" y="41"/>
                    <a:pt x="55" y="42"/>
                  </a:cubicBezTo>
                  <a:cubicBezTo>
                    <a:pt x="55" y="43"/>
                    <a:pt x="53" y="43"/>
                    <a:pt x="52" y="44"/>
                  </a:cubicBezTo>
                  <a:cubicBezTo>
                    <a:pt x="52" y="45"/>
                    <a:pt x="52" y="47"/>
                    <a:pt x="51" y="48"/>
                  </a:cubicBezTo>
                  <a:cubicBezTo>
                    <a:pt x="51" y="48"/>
                    <a:pt x="51" y="48"/>
                    <a:pt x="51" y="49"/>
                  </a:cubicBezTo>
                  <a:cubicBezTo>
                    <a:pt x="51" y="49"/>
                    <a:pt x="51" y="50"/>
                    <a:pt x="51" y="50"/>
                  </a:cubicBezTo>
                  <a:cubicBezTo>
                    <a:pt x="50" y="52"/>
                    <a:pt x="49" y="53"/>
                    <a:pt x="48" y="55"/>
                  </a:cubicBezTo>
                  <a:cubicBezTo>
                    <a:pt x="48" y="55"/>
                    <a:pt x="47" y="56"/>
                    <a:pt x="47" y="57"/>
                  </a:cubicBezTo>
                  <a:cubicBezTo>
                    <a:pt x="47" y="58"/>
                    <a:pt x="48" y="58"/>
                    <a:pt x="48" y="60"/>
                  </a:cubicBezTo>
                  <a:cubicBezTo>
                    <a:pt x="48" y="61"/>
                    <a:pt x="48" y="62"/>
                    <a:pt x="48" y="64"/>
                  </a:cubicBezTo>
                  <a:cubicBezTo>
                    <a:pt x="49" y="64"/>
                    <a:pt x="49" y="66"/>
                    <a:pt x="49" y="66"/>
                  </a:cubicBezTo>
                  <a:cubicBezTo>
                    <a:pt x="50" y="66"/>
                    <a:pt x="50" y="66"/>
                    <a:pt x="50" y="67"/>
                  </a:cubicBezTo>
                  <a:cubicBezTo>
                    <a:pt x="50" y="67"/>
                    <a:pt x="51" y="68"/>
                    <a:pt x="51" y="69"/>
                  </a:cubicBezTo>
                  <a:cubicBezTo>
                    <a:pt x="51" y="69"/>
                    <a:pt x="51" y="70"/>
                    <a:pt x="51" y="71"/>
                  </a:cubicBezTo>
                  <a:cubicBezTo>
                    <a:pt x="51" y="74"/>
                    <a:pt x="51" y="79"/>
                    <a:pt x="49" y="81"/>
                  </a:cubicBezTo>
                  <a:cubicBezTo>
                    <a:pt x="49" y="81"/>
                    <a:pt x="49" y="82"/>
                    <a:pt x="48" y="82"/>
                  </a:cubicBezTo>
                  <a:cubicBezTo>
                    <a:pt x="48" y="82"/>
                    <a:pt x="48" y="83"/>
                    <a:pt x="48" y="83"/>
                  </a:cubicBezTo>
                  <a:cubicBezTo>
                    <a:pt x="47" y="84"/>
                    <a:pt x="47" y="85"/>
                    <a:pt x="46" y="84"/>
                  </a:cubicBezTo>
                  <a:cubicBezTo>
                    <a:pt x="45" y="83"/>
                    <a:pt x="44" y="81"/>
                    <a:pt x="43" y="80"/>
                  </a:cubicBezTo>
                  <a:cubicBezTo>
                    <a:pt x="43" y="79"/>
                    <a:pt x="43" y="78"/>
                    <a:pt x="42" y="77"/>
                  </a:cubicBezTo>
                  <a:cubicBezTo>
                    <a:pt x="41" y="76"/>
                    <a:pt x="40" y="74"/>
                    <a:pt x="39" y="74"/>
                  </a:cubicBezTo>
                  <a:cubicBezTo>
                    <a:pt x="38" y="74"/>
                    <a:pt x="33" y="75"/>
                    <a:pt x="33" y="73"/>
                  </a:cubicBezTo>
                  <a:cubicBezTo>
                    <a:pt x="32" y="72"/>
                    <a:pt x="31" y="71"/>
                    <a:pt x="30" y="71"/>
                  </a:cubicBezTo>
                  <a:cubicBezTo>
                    <a:pt x="29" y="70"/>
                    <a:pt x="27" y="69"/>
                    <a:pt x="25" y="67"/>
                  </a:cubicBezTo>
                  <a:cubicBezTo>
                    <a:pt x="23" y="66"/>
                    <a:pt x="21" y="64"/>
                    <a:pt x="20" y="63"/>
                  </a:cubicBezTo>
                  <a:cubicBezTo>
                    <a:pt x="18" y="62"/>
                    <a:pt x="17" y="60"/>
                    <a:pt x="16" y="59"/>
                  </a:cubicBezTo>
                  <a:cubicBezTo>
                    <a:pt x="16" y="58"/>
                    <a:pt x="16" y="57"/>
                    <a:pt x="15" y="56"/>
                  </a:cubicBezTo>
                  <a:cubicBezTo>
                    <a:pt x="14" y="55"/>
                    <a:pt x="13" y="54"/>
                    <a:pt x="12" y="53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2" y="51"/>
                    <a:pt x="11" y="51"/>
                    <a:pt x="11" y="51"/>
                  </a:cubicBezTo>
                  <a:cubicBezTo>
                    <a:pt x="11" y="51"/>
                    <a:pt x="11" y="50"/>
                    <a:pt x="11" y="50"/>
                  </a:cubicBezTo>
                  <a:cubicBezTo>
                    <a:pt x="10" y="49"/>
                    <a:pt x="9" y="50"/>
                    <a:pt x="8" y="50"/>
                  </a:cubicBezTo>
                  <a:cubicBezTo>
                    <a:pt x="8" y="50"/>
                    <a:pt x="7" y="51"/>
                    <a:pt x="6" y="51"/>
                  </a:cubicBezTo>
                  <a:cubicBezTo>
                    <a:pt x="5" y="51"/>
                    <a:pt x="1" y="52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5"/>
                    <a:pt x="0" y="56"/>
                    <a:pt x="0" y="57"/>
                  </a:cubicBezTo>
                  <a:cubicBezTo>
                    <a:pt x="1" y="57"/>
                    <a:pt x="2" y="57"/>
                    <a:pt x="3" y="58"/>
                  </a:cubicBezTo>
                  <a:cubicBezTo>
                    <a:pt x="4" y="58"/>
                    <a:pt x="5" y="58"/>
                    <a:pt x="5" y="59"/>
                  </a:cubicBezTo>
                  <a:cubicBezTo>
                    <a:pt x="5" y="59"/>
                    <a:pt x="6" y="59"/>
                    <a:pt x="6" y="59"/>
                  </a:cubicBezTo>
                  <a:cubicBezTo>
                    <a:pt x="7" y="59"/>
                    <a:pt x="9" y="60"/>
                    <a:pt x="10" y="61"/>
                  </a:cubicBezTo>
                  <a:cubicBezTo>
                    <a:pt x="11" y="62"/>
                    <a:pt x="12" y="62"/>
                    <a:pt x="12" y="62"/>
                  </a:cubicBezTo>
                  <a:cubicBezTo>
                    <a:pt x="13" y="62"/>
                    <a:pt x="13" y="63"/>
                    <a:pt x="14" y="63"/>
                  </a:cubicBezTo>
                  <a:cubicBezTo>
                    <a:pt x="14" y="64"/>
                    <a:pt x="15" y="64"/>
                    <a:pt x="15" y="65"/>
                  </a:cubicBezTo>
                  <a:cubicBezTo>
                    <a:pt x="16" y="65"/>
                    <a:pt x="17" y="65"/>
                    <a:pt x="17" y="66"/>
                  </a:cubicBezTo>
                  <a:cubicBezTo>
                    <a:pt x="19" y="67"/>
                    <a:pt x="20" y="69"/>
                    <a:pt x="22" y="71"/>
                  </a:cubicBezTo>
                  <a:cubicBezTo>
                    <a:pt x="23" y="71"/>
                    <a:pt x="24" y="72"/>
                    <a:pt x="24" y="73"/>
                  </a:cubicBezTo>
                  <a:cubicBezTo>
                    <a:pt x="25" y="73"/>
                    <a:pt x="25" y="74"/>
                    <a:pt x="26" y="75"/>
                  </a:cubicBezTo>
                  <a:cubicBezTo>
                    <a:pt x="27" y="76"/>
                    <a:pt x="29" y="77"/>
                    <a:pt x="30" y="78"/>
                  </a:cubicBezTo>
                  <a:cubicBezTo>
                    <a:pt x="31" y="79"/>
                    <a:pt x="32" y="80"/>
                    <a:pt x="33" y="81"/>
                  </a:cubicBezTo>
                  <a:cubicBezTo>
                    <a:pt x="34" y="81"/>
                    <a:pt x="34" y="82"/>
                    <a:pt x="34" y="82"/>
                  </a:cubicBezTo>
                  <a:cubicBezTo>
                    <a:pt x="35" y="83"/>
                    <a:pt x="35" y="83"/>
                    <a:pt x="36" y="83"/>
                  </a:cubicBezTo>
                  <a:cubicBezTo>
                    <a:pt x="40" y="85"/>
                    <a:pt x="43" y="88"/>
                    <a:pt x="47" y="90"/>
                  </a:cubicBezTo>
                  <a:cubicBezTo>
                    <a:pt x="49" y="91"/>
                    <a:pt x="51" y="93"/>
                    <a:pt x="53" y="94"/>
                  </a:cubicBezTo>
                  <a:cubicBezTo>
                    <a:pt x="55" y="95"/>
                    <a:pt x="57" y="97"/>
                    <a:pt x="58" y="99"/>
                  </a:cubicBezTo>
                  <a:cubicBezTo>
                    <a:pt x="59" y="100"/>
                    <a:pt x="59" y="102"/>
                    <a:pt x="60" y="102"/>
                  </a:cubicBezTo>
                  <a:cubicBezTo>
                    <a:pt x="61" y="103"/>
                    <a:pt x="62" y="103"/>
                    <a:pt x="62" y="104"/>
                  </a:cubicBezTo>
                  <a:cubicBezTo>
                    <a:pt x="63" y="104"/>
                    <a:pt x="64" y="105"/>
                    <a:pt x="65" y="105"/>
                  </a:cubicBezTo>
                  <a:cubicBezTo>
                    <a:pt x="67" y="105"/>
                    <a:pt x="66" y="105"/>
                    <a:pt x="67" y="106"/>
                  </a:cubicBezTo>
                  <a:cubicBezTo>
                    <a:pt x="68" y="106"/>
                    <a:pt x="68" y="106"/>
                    <a:pt x="68" y="106"/>
                  </a:cubicBezTo>
                  <a:cubicBezTo>
                    <a:pt x="68" y="106"/>
                    <a:pt x="69" y="107"/>
                    <a:pt x="69" y="107"/>
                  </a:cubicBezTo>
                  <a:cubicBezTo>
                    <a:pt x="71" y="109"/>
                    <a:pt x="72" y="113"/>
                    <a:pt x="74" y="115"/>
                  </a:cubicBezTo>
                  <a:cubicBezTo>
                    <a:pt x="75" y="116"/>
                    <a:pt x="75" y="116"/>
                    <a:pt x="76" y="116"/>
                  </a:cubicBezTo>
                  <a:cubicBezTo>
                    <a:pt x="77" y="117"/>
                    <a:pt x="77" y="118"/>
                    <a:pt x="78" y="119"/>
                  </a:cubicBezTo>
                  <a:cubicBezTo>
                    <a:pt x="79" y="121"/>
                    <a:pt x="79" y="124"/>
                    <a:pt x="80" y="126"/>
                  </a:cubicBezTo>
                  <a:cubicBezTo>
                    <a:pt x="81" y="128"/>
                    <a:pt x="81" y="129"/>
                    <a:pt x="82" y="131"/>
                  </a:cubicBezTo>
                  <a:cubicBezTo>
                    <a:pt x="83" y="132"/>
                    <a:pt x="85" y="132"/>
                    <a:pt x="86" y="133"/>
                  </a:cubicBezTo>
                  <a:cubicBezTo>
                    <a:pt x="87" y="133"/>
                    <a:pt x="88" y="135"/>
                    <a:pt x="90" y="135"/>
                  </a:cubicBezTo>
                  <a:cubicBezTo>
                    <a:pt x="91" y="134"/>
                    <a:pt x="90" y="134"/>
                    <a:pt x="91" y="133"/>
                  </a:cubicBezTo>
                  <a:cubicBezTo>
                    <a:pt x="91" y="132"/>
                    <a:pt x="91" y="132"/>
                    <a:pt x="91" y="131"/>
                  </a:cubicBezTo>
                  <a:cubicBezTo>
                    <a:pt x="93" y="129"/>
                    <a:pt x="96" y="127"/>
                    <a:pt x="95" y="124"/>
                  </a:cubicBezTo>
                  <a:cubicBezTo>
                    <a:pt x="95" y="120"/>
                    <a:pt x="92" y="115"/>
                    <a:pt x="90" y="111"/>
                  </a:cubicBezTo>
                  <a:cubicBezTo>
                    <a:pt x="88" y="110"/>
                    <a:pt x="86" y="108"/>
                    <a:pt x="86" y="105"/>
                  </a:cubicBezTo>
                  <a:cubicBezTo>
                    <a:pt x="87" y="103"/>
                    <a:pt x="91" y="103"/>
                    <a:pt x="93" y="102"/>
                  </a:cubicBezTo>
                  <a:cubicBezTo>
                    <a:pt x="94" y="101"/>
                    <a:pt x="95" y="100"/>
                    <a:pt x="95" y="98"/>
                  </a:cubicBezTo>
                  <a:cubicBezTo>
                    <a:pt x="96" y="97"/>
                    <a:pt x="97" y="95"/>
                    <a:pt x="97" y="94"/>
                  </a:cubicBezTo>
                  <a:cubicBezTo>
                    <a:pt x="98" y="93"/>
                    <a:pt x="98" y="92"/>
                    <a:pt x="99" y="91"/>
                  </a:cubicBezTo>
                  <a:cubicBezTo>
                    <a:pt x="100" y="90"/>
                    <a:pt x="100" y="89"/>
                    <a:pt x="101" y="88"/>
                  </a:cubicBezTo>
                  <a:cubicBezTo>
                    <a:pt x="103" y="87"/>
                    <a:pt x="104" y="85"/>
                    <a:pt x="105" y="83"/>
                  </a:cubicBezTo>
                  <a:cubicBezTo>
                    <a:pt x="107" y="81"/>
                    <a:pt x="108" y="80"/>
                    <a:pt x="109" y="78"/>
                  </a:cubicBezTo>
                  <a:cubicBezTo>
                    <a:pt x="109" y="77"/>
                    <a:pt x="109" y="77"/>
                    <a:pt x="109" y="76"/>
                  </a:cubicBezTo>
                  <a:cubicBezTo>
                    <a:pt x="109" y="76"/>
                    <a:pt x="111" y="74"/>
                    <a:pt x="111" y="74"/>
                  </a:cubicBezTo>
                  <a:cubicBezTo>
                    <a:pt x="112" y="74"/>
                    <a:pt x="112" y="74"/>
                    <a:pt x="112" y="75"/>
                  </a:cubicBezTo>
                  <a:cubicBezTo>
                    <a:pt x="113" y="77"/>
                    <a:pt x="113" y="79"/>
                    <a:pt x="113" y="81"/>
                  </a:cubicBezTo>
                  <a:cubicBezTo>
                    <a:pt x="113" y="83"/>
                    <a:pt x="113" y="86"/>
                    <a:pt x="113" y="87"/>
                  </a:cubicBezTo>
                  <a:cubicBezTo>
                    <a:pt x="114" y="90"/>
                    <a:pt x="116" y="89"/>
                    <a:pt x="118" y="89"/>
                  </a:cubicBezTo>
                  <a:cubicBezTo>
                    <a:pt x="121" y="89"/>
                    <a:pt x="123" y="89"/>
                    <a:pt x="126" y="88"/>
                  </a:cubicBezTo>
                  <a:cubicBezTo>
                    <a:pt x="127" y="87"/>
                    <a:pt x="129" y="87"/>
                    <a:pt x="130" y="85"/>
                  </a:cubicBezTo>
                  <a:cubicBezTo>
                    <a:pt x="131" y="85"/>
                    <a:pt x="131" y="84"/>
                    <a:pt x="131" y="83"/>
                  </a:cubicBezTo>
                  <a:cubicBezTo>
                    <a:pt x="131" y="82"/>
                    <a:pt x="132" y="82"/>
                    <a:pt x="132" y="81"/>
                  </a:cubicBezTo>
                  <a:cubicBezTo>
                    <a:pt x="133" y="80"/>
                    <a:pt x="133" y="79"/>
                    <a:pt x="133" y="78"/>
                  </a:cubicBezTo>
                  <a:cubicBezTo>
                    <a:pt x="134" y="76"/>
                    <a:pt x="135" y="73"/>
                    <a:pt x="134" y="71"/>
                  </a:cubicBezTo>
                  <a:cubicBezTo>
                    <a:pt x="134" y="71"/>
                    <a:pt x="133" y="70"/>
                    <a:pt x="132" y="70"/>
                  </a:cubicBezTo>
                  <a:cubicBezTo>
                    <a:pt x="132" y="69"/>
                    <a:pt x="131" y="69"/>
                    <a:pt x="130" y="69"/>
                  </a:cubicBezTo>
                  <a:cubicBezTo>
                    <a:pt x="129" y="69"/>
                    <a:pt x="129" y="68"/>
                    <a:pt x="129" y="68"/>
                  </a:cubicBezTo>
                  <a:cubicBezTo>
                    <a:pt x="128" y="66"/>
                    <a:pt x="131" y="64"/>
                    <a:pt x="133" y="64"/>
                  </a:cubicBezTo>
                  <a:cubicBezTo>
                    <a:pt x="134" y="65"/>
                    <a:pt x="135" y="65"/>
                    <a:pt x="136" y="66"/>
                  </a:cubicBezTo>
                  <a:cubicBezTo>
                    <a:pt x="138" y="67"/>
                    <a:pt x="139" y="67"/>
                    <a:pt x="141" y="67"/>
                  </a:cubicBezTo>
                  <a:cubicBezTo>
                    <a:pt x="141" y="65"/>
                    <a:pt x="140" y="62"/>
                    <a:pt x="142" y="62"/>
                  </a:cubicBezTo>
                  <a:cubicBezTo>
                    <a:pt x="143" y="62"/>
                    <a:pt x="145" y="63"/>
                    <a:pt x="146" y="62"/>
                  </a:cubicBezTo>
                  <a:cubicBezTo>
                    <a:pt x="146" y="61"/>
                    <a:pt x="145" y="60"/>
                    <a:pt x="146" y="60"/>
                  </a:cubicBezTo>
                  <a:cubicBezTo>
                    <a:pt x="147" y="59"/>
                    <a:pt x="148" y="59"/>
                    <a:pt x="148" y="59"/>
                  </a:cubicBezTo>
                  <a:cubicBezTo>
                    <a:pt x="149" y="58"/>
                    <a:pt x="149" y="58"/>
                    <a:pt x="149" y="57"/>
                  </a:cubicBezTo>
                  <a:cubicBezTo>
                    <a:pt x="150" y="55"/>
                    <a:pt x="148" y="52"/>
                    <a:pt x="147" y="5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9" name="Freeform 29"/>
            <p:cNvSpPr>
              <a:spLocks noEditPoints="1"/>
            </p:cNvSpPr>
            <p:nvPr/>
          </p:nvSpPr>
          <p:spPr bwMode="auto">
            <a:xfrm>
              <a:off x="5327650" y="5132388"/>
              <a:ext cx="406400" cy="601663"/>
            </a:xfrm>
            <a:custGeom>
              <a:avLst/>
              <a:gdLst/>
              <a:ahLst/>
              <a:cxnLst>
                <a:cxn ang="0">
                  <a:pos x="53" y="277"/>
                </a:cxn>
                <a:cxn ang="0">
                  <a:pos x="53" y="278"/>
                </a:cxn>
                <a:cxn ang="0">
                  <a:pos x="54" y="276"/>
                </a:cxn>
                <a:cxn ang="0">
                  <a:pos x="58" y="282"/>
                </a:cxn>
                <a:cxn ang="0">
                  <a:pos x="54" y="280"/>
                </a:cxn>
                <a:cxn ang="0">
                  <a:pos x="208" y="236"/>
                </a:cxn>
                <a:cxn ang="0">
                  <a:pos x="200" y="227"/>
                </a:cxn>
                <a:cxn ang="0">
                  <a:pos x="192" y="213"/>
                </a:cxn>
                <a:cxn ang="0">
                  <a:pos x="188" y="190"/>
                </a:cxn>
                <a:cxn ang="0">
                  <a:pos x="201" y="176"/>
                </a:cxn>
                <a:cxn ang="0">
                  <a:pos x="195" y="148"/>
                </a:cxn>
                <a:cxn ang="0">
                  <a:pos x="198" y="139"/>
                </a:cxn>
                <a:cxn ang="0">
                  <a:pos x="183" y="129"/>
                </a:cxn>
                <a:cxn ang="0">
                  <a:pos x="170" y="135"/>
                </a:cxn>
                <a:cxn ang="0">
                  <a:pos x="147" y="122"/>
                </a:cxn>
                <a:cxn ang="0">
                  <a:pos x="137" y="115"/>
                </a:cxn>
                <a:cxn ang="0">
                  <a:pos x="141" y="103"/>
                </a:cxn>
                <a:cxn ang="0">
                  <a:pos x="137" y="90"/>
                </a:cxn>
                <a:cxn ang="0">
                  <a:pos x="137" y="76"/>
                </a:cxn>
                <a:cxn ang="0">
                  <a:pos x="107" y="61"/>
                </a:cxn>
                <a:cxn ang="0">
                  <a:pos x="105" y="40"/>
                </a:cxn>
                <a:cxn ang="0">
                  <a:pos x="95" y="29"/>
                </a:cxn>
                <a:cxn ang="0">
                  <a:pos x="81" y="12"/>
                </a:cxn>
                <a:cxn ang="0">
                  <a:pos x="44" y="0"/>
                </a:cxn>
                <a:cxn ang="0">
                  <a:pos x="26" y="8"/>
                </a:cxn>
                <a:cxn ang="0">
                  <a:pos x="6" y="18"/>
                </a:cxn>
                <a:cxn ang="0">
                  <a:pos x="2" y="31"/>
                </a:cxn>
                <a:cxn ang="0">
                  <a:pos x="2" y="48"/>
                </a:cxn>
                <a:cxn ang="0">
                  <a:pos x="6" y="64"/>
                </a:cxn>
                <a:cxn ang="0">
                  <a:pos x="19" y="82"/>
                </a:cxn>
                <a:cxn ang="0">
                  <a:pos x="23" y="112"/>
                </a:cxn>
                <a:cxn ang="0">
                  <a:pos x="11" y="142"/>
                </a:cxn>
                <a:cxn ang="0">
                  <a:pos x="24" y="151"/>
                </a:cxn>
                <a:cxn ang="0">
                  <a:pos x="24" y="164"/>
                </a:cxn>
                <a:cxn ang="0">
                  <a:pos x="36" y="173"/>
                </a:cxn>
                <a:cxn ang="0">
                  <a:pos x="15" y="176"/>
                </a:cxn>
                <a:cxn ang="0">
                  <a:pos x="28" y="201"/>
                </a:cxn>
                <a:cxn ang="0">
                  <a:pos x="25" y="214"/>
                </a:cxn>
                <a:cxn ang="0">
                  <a:pos x="13" y="212"/>
                </a:cxn>
                <a:cxn ang="0">
                  <a:pos x="22" y="223"/>
                </a:cxn>
                <a:cxn ang="0">
                  <a:pos x="36" y="241"/>
                </a:cxn>
                <a:cxn ang="0">
                  <a:pos x="51" y="247"/>
                </a:cxn>
                <a:cxn ang="0">
                  <a:pos x="60" y="258"/>
                </a:cxn>
                <a:cxn ang="0">
                  <a:pos x="72" y="270"/>
                </a:cxn>
                <a:cxn ang="0">
                  <a:pos x="82" y="262"/>
                </a:cxn>
                <a:cxn ang="0">
                  <a:pos x="93" y="244"/>
                </a:cxn>
                <a:cxn ang="0">
                  <a:pos x="105" y="245"/>
                </a:cxn>
                <a:cxn ang="0">
                  <a:pos x="117" y="255"/>
                </a:cxn>
                <a:cxn ang="0">
                  <a:pos x="131" y="272"/>
                </a:cxn>
                <a:cxn ang="0">
                  <a:pos x="151" y="289"/>
                </a:cxn>
                <a:cxn ang="0">
                  <a:pos x="143" y="305"/>
                </a:cxn>
                <a:cxn ang="0">
                  <a:pos x="138" y="321"/>
                </a:cxn>
                <a:cxn ang="0">
                  <a:pos x="159" y="316"/>
                </a:cxn>
                <a:cxn ang="0">
                  <a:pos x="174" y="312"/>
                </a:cxn>
                <a:cxn ang="0">
                  <a:pos x="190" y="299"/>
                </a:cxn>
                <a:cxn ang="0">
                  <a:pos x="187" y="276"/>
                </a:cxn>
                <a:cxn ang="0">
                  <a:pos x="202" y="269"/>
                </a:cxn>
              </a:cxnLst>
              <a:rect l="0" t="0" r="r" b="b"/>
              <a:pathLst>
                <a:path w="218" h="322">
                  <a:moveTo>
                    <a:pt x="53" y="277"/>
                  </a:moveTo>
                  <a:cubicBezTo>
                    <a:pt x="53" y="276"/>
                    <a:pt x="53" y="276"/>
                    <a:pt x="53" y="276"/>
                  </a:cubicBezTo>
                  <a:cubicBezTo>
                    <a:pt x="53" y="276"/>
                    <a:pt x="53" y="276"/>
                    <a:pt x="53" y="276"/>
                  </a:cubicBezTo>
                  <a:cubicBezTo>
                    <a:pt x="53" y="276"/>
                    <a:pt x="53" y="276"/>
                    <a:pt x="53" y="277"/>
                  </a:cubicBezTo>
                  <a:moveTo>
                    <a:pt x="53" y="277"/>
                  </a:move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7"/>
                    <a:pt x="53" y="276"/>
                  </a:cubicBezTo>
                  <a:cubicBezTo>
                    <a:pt x="53" y="277"/>
                    <a:pt x="53" y="277"/>
                    <a:pt x="53" y="277"/>
                  </a:cubicBezTo>
                  <a:moveTo>
                    <a:pt x="53" y="277"/>
                  </a:move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8"/>
                    <a:pt x="53" y="278"/>
                  </a:cubicBezTo>
                  <a:cubicBezTo>
                    <a:pt x="53" y="278"/>
                    <a:pt x="53" y="278"/>
                    <a:pt x="53" y="278"/>
                  </a:cubicBezTo>
                  <a:cubicBezTo>
                    <a:pt x="53" y="278"/>
                    <a:pt x="53" y="277"/>
                    <a:pt x="53" y="277"/>
                  </a:cubicBezTo>
                  <a:moveTo>
                    <a:pt x="53" y="278"/>
                  </a:moveTo>
                  <a:cubicBezTo>
                    <a:pt x="53" y="278"/>
                    <a:pt x="53" y="277"/>
                    <a:pt x="53" y="277"/>
                  </a:cubicBezTo>
                  <a:cubicBezTo>
                    <a:pt x="53" y="277"/>
                    <a:pt x="53" y="278"/>
                    <a:pt x="53" y="278"/>
                  </a:cubicBezTo>
                  <a:moveTo>
                    <a:pt x="54" y="276"/>
                  </a:moveTo>
                  <a:cubicBezTo>
                    <a:pt x="54" y="276"/>
                    <a:pt x="54" y="276"/>
                    <a:pt x="54" y="276"/>
                  </a:cubicBezTo>
                  <a:cubicBezTo>
                    <a:pt x="55" y="275"/>
                    <a:pt x="56" y="275"/>
                    <a:pt x="56" y="275"/>
                  </a:cubicBezTo>
                  <a:cubicBezTo>
                    <a:pt x="55" y="275"/>
                    <a:pt x="54" y="276"/>
                    <a:pt x="54" y="276"/>
                  </a:cubicBezTo>
                  <a:moveTo>
                    <a:pt x="58" y="282"/>
                  </a:moveTo>
                  <a:cubicBezTo>
                    <a:pt x="58" y="283"/>
                    <a:pt x="59" y="284"/>
                    <a:pt x="59" y="285"/>
                  </a:cubicBezTo>
                  <a:cubicBezTo>
                    <a:pt x="59" y="284"/>
                    <a:pt x="58" y="283"/>
                    <a:pt x="58" y="282"/>
                  </a:cubicBezTo>
                  <a:moveTo>
                    <a:pt x="56" y="275"/>
                  </a:moveTo>
                  <a:cubicBezTo>
                    <a:pt x="57" y="275"/>
                    <a:pt x="57" y="275"/>
                    <a:pt x="57" y="275"/>
                  </a:cubicBezTo>
                  <a:cubicBezTo>
                    <a:pt x="57" y="275"/>
                    <a:pt x="57" y="275"/>
                    <a:pt x="56" y="275"/>
                  </a:cubicBezTo>
                  <a:moveTo>
                    <a:pt x="54" y="280"/>
                  </a:moveTo>
                  <a:cubicBezTo>
                    <a:pt x="54" y="280"/>
                    <a:pt x="54" y="280"/>
                    <a:pt x="54" y="280"/>
                  </a:cubicBezTo>
                  <a:cubicBezTo>
                    <a:pt x="54" y="280"/>
                    <a:pt x="54" y="280"/>
                    <a:pt x="54" y="280"/>
                  </a:cubicBezTo>
                  <a:moveTo>
                    <a:pt x="217" y="248"/>
                  </a:moveTo>
                  <a:cubicBezTo>
                    <a:pt x="217" y="248"/>
                    <a:pt x="216" y="248"/>
                    <a:pt x="216" y="247"/>
                  </a:cubicBezTo>
                  <a:cubicBezTo>
                    <a:pt x="216" y="247"/>
                    <a:pt x="215" y="246"/>
                    <a:pt x="215" y="246"/>
                  </a:cubicBezTo>
                  <a:cubicBezTo>
                    <a:pt x="215" y="245"/>
                    <a:pt x="214" y="244"/>
                    <a:pt x="213" y="243"/>
                  </a:cubicBezTo>
                  <a:cubicBezTo>
                    <a:pt x="212" y="242"/>
                    <a:pt x="210" y="240"/>
                    <a:pt x="210" y="238"/>
                  </a:cubicBezTo>
                  <a:cubicBezTo>
                    <a:pt x="210" y="237"/>
                    <a:pt x="209" y="237"/>
                    <a:pt x="208" y="236"/>
                  </a:cubicBezTo>
                  <a:cubicBezTo>
                    <a:pt x="207" y="235"/>
                    <a:pt x="207" y="234"/>
                    <a:pt x="206" y="233"/>
                  </a:cubicBezTo>
                  <a:cubicBezTo>
                    <a:pt x="205" y="232"/>
                    <a:pt x="205" y="231"/>
                    <a:pt x="203" y="231"/>
                  </a:cubicBezTo>
                  <a:cubicBezTo>
                    <a:pt x="202" y="230"/>
                    <a:pt x="200" y="231"/>
                    <a:pt x="198" y="230"/>
                  </a:cubicBezTo>
                  <a:cubicBezTo>
                    <a:pt x="197" y="230"/>
                    <a:pt x="195" y="230"/>
                    <a:pt x="194" y="230"/>
                  </a:cubicBezTo>
                  <a:cubicBezTo>
                    <a:pt x="193" y="229"/>
                    <a:pt x="193" y="226"/>
                    <a:pt x="194" y="226"/>
                  </a:cubicBezTo>
                  <a:cubicBezTo>
                    <a:pt x="196" y="226"/>
                    <a:pt x="198" y="228"/>
                    <a:pt x="200" y="227"/>
                  </a:cubicBezTo>
                  <a:cubicBezTo>
                    <a:pt x="199" y="225"/>
                    <a:pt x="198" y="224"/>
                    <a:pt x="197" y="222"/>
                  </a:cubicBezTo>
                  <a:cubicBezTo>
                    <a:pt x="196" y="221"/>
                    <a:pt x="196" y="221"/>
                    <a:pt x="195" y="220"/>
                  </a:cubicBezTo>
                  <a:cubicBezTo>
                    <a:pt x="195" y="220"/>
                    <a:pt x="194" y="219"/>
                    <a:pt x="194" y="218"/>
                  </a:cubicBezTo>
                  <a:cubicBezTo>
                    <a:pt x="194" y="218"/>
                    <a:pt x="193" y="217"/>
                    <a:pt x="193" y="216"/>
                  </a:cubicBezTo>
                  <a:cubicBezTo>
                    <a:pt x="193" y="215"/>
                    <a:pt x="193" y="214"/>
                    <a:pt x="193" y="214"/>
                  </a:cubicBezTo>
                  <a:cubicBezTo>
                    <a:pt x="192" y="213"/>
                    <a:pt x="192" y="214"/>
                    <a:pt x="192" y="213"/>
                  </a:cubicBezTo>
                  <a:cubicBezTo>
                    <a:pt x="191" y="212"/>
                    <a:pt x="192" y="210"/>
                    <a:pt x="191" y="210"/>
                  </a:cubicBezTo>
                  <a:cubicBezTo>
                    <a:pt x="191" y="209"/>
                    <a:pt x="191" y="209"/>
                    <a:pt x="190" y="209"/>
                  </a:cubicBezTo>
                  <a:cubicBezTo>
                    <a:pt x="190" y="209"/>
                    <a:pt x="190" y="208"/>
                    <a:pt x="190" y="208"/>
                  </a:cubicBezTo>
                  <a:cubicBezTo>
                    <a:pt x="189" y="207"/>
                    <a:pt x="188" y="205"/>
                    <a:pt x="187" y="203"/>
                  </a:cubicBezTo>
                  <a:cubicBezTo>
                    <a:pt x="187" y="201"/>
                    <a:pt x="187" y="196"/>
                    <a:pt x="187" y="194"/>
                  </a:cubicBezTo>
                  <a:cubicBezTo>
                    <a:pt x="187" y="192"/>
                    <a:pt x="188" y="191"/>
                    <a:pt x="188" y="190"/>
                  </a:cubicBezTo>
                  <a:cubicBezTo>
                    <a:pt x="189" y="189"/>
                    <a:pt x="190" y="189"/>
                    <a:pt x="191" y="187"/>
                  </a:cubicBezTo>
                  <a:cubicBezTo>
                    <a:pt x="191" y="186"/>
                    <a:pt x="191" y="186"/>
                    <a:pt x="191" y="185"/>
                  </a:cubicBezTo>
                  <a:cubicBezTo>
                    <a:pt x="191" y="184"/>
                    <a:pt x="192" y="184"/>
                    <a:pt x="192" y="183"/>
                  </a:cubicBezTo>
                  <a:cubicBezTo>
                    <a:pt x="194" y="181"/>
                    <a:pt x="194" y="178"/>
                    <a:pt x="196" y="177"/>
                  </a:cubicBezTo>
                  <a:cubicBezTo>
                    <a:pt x="196" y="176"/>
                    <a:pt x="198" y="176"/>
                    <a:pt x="198" y="176"/>
                  </a:cubicBezTo>
                  <a:cubicBezTo>
                    <a:pt x="199" y="176"/>
                    <a:pt x="201" y="176"/>
                    <a:pt x="201" y="176"/>
                  </a:cubicBezTo>
                  <a:cubicBezTo>
                    <a:pt x="202" y="175"/>
                    <a:pt x="202" y="174"/>
                    <a:pt x="202" y="173"/>
                  </a:cubicBezTo>
                  <a:cubicBezTo>
                    <a:pt x="202" y="169"/>
                    <a:pt x="202" y="165"/>
                    <a:pt x="202" y="161"/>
                  </a:cubicBezTo>
                  <a:cubicBezTo>
                    <a:pt x="202" y="159"/>
                    <a:pt x="201" y="157"/>
                    <a:pt x="199" y="156"/>
                  </a:cubicBezTo>
                  <a:cubicBezTo>
                    <a:pt x="199" y="155"/>
                    <a:pt x="198" y="154"/>
                    <a:pt x="198" y="154"/>
                  </a:cubicBezTo>
                  <a:cubicBezTo>
                    <a:pt x="197" y="153"/>
                    <a:pt x="196" y="153"/>
                    <a:pt x="195" y="152"/>
                  </a:cubicBezTo>
                  <a:cubicBezTo>
                    <a:pt x="194" y="151"/>
                    <a:pt x="195" y="149"/>
                    <a:pt x="195" y="148"/>
                  </a:cubicBezTo>
                  <a:cubicBezTo>
                    <a:pt x="194" y="148"/>
                    <a:pt x="193" y="147"/>
                    <a:pt x="193" y="146"/>
                  </a:cubicBezTo>
                  <a:cubicBezTo>
                    <a:pt x="193" y="145"/>
                    <a:pt x="192" y="145"/>
                    <a:pt x="192" y="144"/>
                  </a:cubicBezTo>
                  <a:cubicBezTo>
                    <a:pt x="193" y="143"/>
                    <a:pt x="193" y="143"/>
                    <a:pt x="194" y="143"/>
                  </a:cubicBezTo>
                  <a:cubicBezTo>
                    <a:pt x="194" y="142"/>
                    <a:pt x="194" y="142"/>
                    <a:pt x="194" y="141"/>
                  </a:cubicBezTo>
                  <a:cubicBezTo>
                    <a:pt x="194" y="140"/>
                    <a:pt x="196" y="140"/>
                    <a:pt x="196" y="140"/>
                  </a:cubicBezTo>
                  <a:cubicBezTo>
                    <a:pt x="197" y="139"/>
                    <a:pt x="197" y="139"/>
                    <a:pt x="198" y="139"/>
                  </a:cubicBezTo>
                  <a:cubicBezTo>
                    <a:pt x="199" y="138"/>
                    <a:pt x="200" y="138"/>
                    <a:pt x="201" y="137"/>
                  </a:cubicBezTo>
                  <a:cubicBezTo>
                    <a:pt x="204" y="137"/>
                    <a:pt x="207" y="137"/>
                    <a:pt x="208" y="135"/>
                  </a:cubicBezTo>
                  <a:cubicBezTo>
                    <a:pt x="209" y="132"/>
                    <a:pt x="206" y="131"/>
                    <a:pt x="204" y="130"/>
                  </a:cubicBezTo>
                  <a:cubicBezTo>
                    <a:pt x="201" y="128"/>
                    <a:pt x="199" y="128"/>
                    <a:pt x="196" y="126"/>
                  </a:cubicBezTo>
                  <a:cubicBezTo>
                    <a:pt x="193" y="125"/>
                    <a:pt x="191" y="122"/>
                    <a:pt x="188" y="123"/>
                  </a:cubicBezTo>
                  <a:cubicBezTo>
                    <a:pt x="185" y="124"/>
                    <a:pt x="185" y="127"/>
                    <a:pt x="183" y="129"/>
                  </a:cubicBezTo>
                  <a:cubicBezTo>
                    <a:pt x="182" y="129"/>
                    <a:pt x="182" y="130"/>
                    <a:pt x="181" y="131"/>
                  </a:cubicBezTo>
                  <a:cubicBezTo>
                    <a:pt x="181" y="131"/>
                    <a:pt x="181" y="132"/>
                    <a:pt x="180" y="133"/>
                  </a:cubicBezTo>
                  <a:cubicBezTo>
                    <a:pt x="180" y="133"/>
                    <a:pt x="180" y="134"/>
                    <a:pt x="180" y="134"/>
                  </a:cubicBezTo>
                  <a:cubicBezTo>
                    <a:pt x="179" y="136"/>
                    <a:pt x="179" y="135"/>
                    <a:pt x="178" y="136"/>
                  </a:cubicBezTo>
                  <a:cubicBezTo>
                    <a:pt x="176" y="138"/>
                    <a:pt x="175" y="138"/>
                    <a:pt x="172" y="137"/>
                  </a:cubicBezTo>
                  <a:cubicBezTo>
                    <a:pt x="170" y="137"/>
                    <a:pt x="170" y="137"/>
                    <a:pt x="170" y="135"/>
                  </a:cubicBezTo>
                  <a:cubicBezTo>
                    <a:pt x="169" y="135"/>
                    <a:pt x="169" y="133"/>
                    <a:pt x="169" y="133"/>
                  </a:cubicBezTo>
                  <a:cubicBezTo>
                    <a:pt x="168" y="132"/>
                    <a:pt x="167" y="132"/>
                    <a:pt x="166" y="131"/>
                  </a:cubicBezTo>
                  <a:cubicBezTo>
                    <a:pt x="165" y="131"/>
                    <a:pt x="164" y="130"/>
                    <a:pt x="163" y="130"/>
                  </a:cubicBezTo>
                  <a:cubicBezTo>
                    <a:pt x="161" y="128"/>
                    <a:pt x="159" y="126"/>
                    <a:pt x="156" y="125"/>
                  </a:cubicBezTo>
                  <a:cubicBezTo>
                    <a:pt x="153" y="124"/>
                    <a:pt x="150" y="123"/>
                    <a:pt x="147" y="122"/>
                  </a:cubicBezTo>
                  <a:cubicBezTo>
                    <a:pt x="147" y="122"/>
                    <a:pt x="147" y="122"/>
                    <a:pt x="147" y="122"/>
                  </a:cubicBezTo>
                  <a:cubicBezTo>
                    <a:pt x="147" y="122"/>
                    <a:pt x="146" y="122"/>
                    <a:pt x="146" y="122"/>
                  </a:cubicBezTo>
                  <a:cubicBezTo>
                    <a:pt x="145" y="121"/>
                    <a:pt x="144" y="121"/>
                    <a:pt x="143" y="120"/>
                  </a:cubicBezTo>
                  <a:cubicBezTo>
                    <a:pt x="143" y="119"/>
                    <a:pt x="143" y="119"/>
                    <a:pt x="143" y="118"/>
                  </a:cubicBezTo>
                  <a:cubicBezTo>
                    <a:pt x="143" y="118"/>
                    <a:pt x="142" y="117"/>
                    <a:pt x="142" y="117"/>
                  </a:cubicBezTo>
                  <a:cubicBezTo>
                    <a:pt x="142" y="116"/>
                    <a:pt x="142" y="116"/>
                    <a:pt x="141" y="115"/>
                  </a:cubicBezTo>
                  <a:cubicBezTo>
                    <a:pt x="141" y="115"/>
                    <a:pt x="138" y="115"/>
                    <a:pt x="137" y="115"/>
                  </a:cubicBezTo>
                  <a:cubicBezTo>
                    <a:pt x="136" y="115"/>
                    <a:pt x="135" y="115"/>
                    <a:pt x="134" y="115"/>
                  </a:cubicBezTo>
                  <a:cubicBezTo>
                    <a:pt x="133" y="114"/>
                    <a:pt x="133" y="113"/>
                    <a:pt x="133" y="112"/>
                  </a:cubicBezTo>
                  <a:cubicBezTo>
                    <a:pt x="132" y="111"/>
                    <a:pt x="133" y="111"/>
                    <a:pt x="134" y="110"/>
                  </a:cubicBezTo>
                  <a:cubicBezTo>
                    <a:pt x="135" y="109"/>
                    <a:pt x="135" y="108"/>
                    <a:pt x="136" y="108"/>
                  </a:cubicBezTo>
                  <a:cubicBezTo>
                    <a:pt x="138" y="107"/>
                    <a:pt x="140" y="108"/>
                    <a:pt x="141" y="108"/>
                  </a:cubicBezTo>
                  <a:cubicBezTo>
                    <a:pt x="143" y="107"/>
                    <a:pt x="142" y="104"/>
                    <a:pt x="141" y="103"/>
                  </a:cubicBezTo>
                  <a:cubicBezTo>
                    <a:pt x="140" y="102"/>
                    <a:pt x="139" y="101"/>
                    <a:pt x="139" y="101"/>
                  </a:cubicBezTo>
                  <a:cubicBezTo>
                    <a:pt x="138" y="100"/>
                    <a:pt x="136" y="100"/>
                    <a:pt x="135" y="99"/>
                  </a:cubicBezTo>
                  <a:cubicBezTo>
                    <a:pt x="134" y="98"/>
                    <a:pt x="133" y="95"/>
                    <a:pt x="134" y="94"/>
                  </a:cubicBezTo>
                  <a:cubicBezTo>
                    <a:pt x="134" y="93"/>
                    <a:pt x="135" y="93"/>
                    <a:pt x="136" y="92"/>
                  </a:cubicBezTo>
                  <a:cubicBezTo>
                    <a:pt x="136" y="92"/>
                    <a:pt x="136" y="92"/>
                    <a:pt x="136" y="91"/>
                  </a:cubicBezTo>
                  <a:cubicBezTo>
                    <a:pt x="137" y="91"/>
                    <a:pt x="137" y="90"/>
                    <a:pt x="137" y="90"/>
                  </a:cubicBezTo>
                  <a:cubicBezTo>
                    <a:pt x="137" y="88"/>
                    <a:pt x="138" y="88"/>
                    <a:pt x="139" y="87"/>
                  </a:cubicBezTo>
                  <a:cubicBezTo>
                    <a:pt x="140" y="86"/>
                    <a:pt x="141" y="85"/>
                    <a:pt x="141" y="84"/>
                  </a:cubicBezTo>
                  <a:cubicBezTo>
                    <a:pt x="141" y="83"/>
                    <a:pt x="140" y="83"/>
                    <a:pt x="139" y="82"/>
                  </a:cubicBezTo>
                  <a:cubicBezTo>
                    <a:pt x="138" y="81"/>
                    <a:pt x="138" y="80"/>
                    <a:pt x="138" y="79"/>
                  </a:cubicBezTo>
                  <a:cubicBezTo>
                    <a:pt x="139" y="78"/>
                    <a:pt x="140" y="78"/>
                    <a:pt x="139" y="77"/>
                  </a:cubicBezTo>
                  <a:cubicBezTo>
                    <a:pt x="139" y="76"/>
                    <a:pt x="138" y="76"/>
                    <a:pt x="137" y="76"/>
                  </a:cubicBezTo>
                  <a:cubicBezTo>
                    <a:pt x="137" y="75"/>
                    <a:pt x="137" y="75"/>
                    <a:pt x="136" y="74"/>
                  </a:cubicBezTo>
                  <a:cubicBezTo>
                    <a:pt x="135" y="73"/>
                    <a:pt x="134" y="73"/>
                    <a:pt x="133" y="73"/>
                  </a:cubicBezTo>
                  <a:cubicBezTo>
                    <a:pt x="126" y="73"/>
                    <a:pt x="120" y="73"/>
                    <a:pt x="114" y="71"/>
                  </a:cubicBezTo>
                  <a:cubicBezTo>
                    <a:pt x="112" y="70"/>
                    <a:pt x="111" y="69"/>
                    <a:pt x="110" y="68"/>
                  </a:cubicBezTo>
                  <a:cubicBezTo>
                    <a:pt x="110" y="67"/>
                    <a:pt x="110" y="66"/>
                    <a:pt x="110" y="65"/>
                  </a:cubicBezTo>
                  <a:cubicBezTo>
                    <a:pt x="110" y="62"/>
                    <a:pt x="110" y="62"/>
                    <a:pt x="107" y="61"/>
                  </a:cubicBezTo>
                  <a:cubicBezTo>
                    <a:pt x="105" y="61"/>
                    <a:pt x="104" y="61"/>
                    <a:pt x="104" y="59"/>
                  </a:cubicBezTo>
                  <a:cubicBezTo>
                    <a:pt x="103" y="58"/>
                    <a:pt x="103" y="57"/>
                    <a:pt x="103" y="56"/>
                  </a:cubicBezTo>
                  <a:cubicBezTo>
                    <a:pt x="104" y="55"/>
                    <a:pt x="107" y="53"/>
                    <a:pt x="106" y="52"/>
                  </a:cubicBezTo>
                  <a:cubicBezTo>
                    <a:pt x="104" y="52"/>
                    <a:pt x="103" y="48"/>
                    <a:pt x="104" y="46"/>
                  </a:cubicBezTo>
                  <a:cubicBezTo>
                    <a:pt x="104" y="45"/>
                    <a:pt x="105" y="45"/>
                    <a:pt x="105" y="44"/>
                  </a:cubicBezTo>
                  <a:cubicBezTo>
                    <a:pt x="105" y="43"/>
                    <a:pt x="105" y="41"/>
                    <a:pt x="105" y="40"/>
                  </a:cubicBezTo>
                  <a:cubicBezTo>
                    <a:pt x="105" y="38"/>
                    <a:pt x="106" y="35"/>
                    <a:pt x="105" y="33"/>
                  </a:cubicBezTo>
                  <a:cubicBezTo>
                    <a:pt x="104" y="32"/>
                    <a:pt x="103" y="32"/>
                    <a:pt x="102" y="32"/>
                  </a:cubicBezTo>
                  <a:cubicBezTo>
                    <a:pt x="101" y="32"/>
                    <a:pt x="100" y="31"/>
                    <a:pt x="100" y="32"/>
                  </a:cubicBezTo>
                  <a:cubicBezTo>
                    <a:pt x="99" y="32"/>
                    <a:pt x="99" y="33"/>
                    <a:pt x="98" y="33"/>
                  </a:cubicBezTo>
                  <a:cubicBezTo>
                    <a:pt x="97" y="33"/>
                    <a:pt x="96" y="31"/>
                    <a:pt x="96" y="30"/>
                  </a:cubicBezTo>
                  <a:cubicBezTo>
                    <a:pt x="96" y="30"/>
                    <a:pt x="95" y="29"/>
                    <a:pt x="95" y="29"/>
                  </a:cubicBezTo>
                  <a:cubicBezTo>
                    <a:pt x="94" y="28"/>
                    <a:pt x="95" y="28"/>
                    <a:pt x="94" y="27"/>
                  </a:cubicBezTo>
                  <a:cubicBezTo>
                    <a:pt x="94" y="26"/>
                    <a:pt x="93" y="25"/>
                    <a:pt x="92" y="25"/>
                  </a:cubicBezTo>
                  <a:cubicBezTo>
                    <a:pt x="90" y="24"/>
                    <a:pt x="90" y="25"/>
                    <a:pt x="90" y="23"/>
                  </a:cubicBezTo>
                  <a:cubicBezTo>
                    <a:pt x="89" y="20"/>
                    <a:pt x="86" y="20"/>
                    <a:pt x="84" y="19"/>
                  </a:cubicBezTo>
                  <a:cubicBezTo>
                    <a:pt x="83" y="19"/>
                    <a:pt x="82" y="19"/>
                    <a:pt x="82" y="18"/>
                  </a:cubicBezTo>
                  <a:cubicBezTo>
                    <a:pt x="80" y="16"/>
                    <a:pt x="81" y="14"/>
                    <a:pt x="81" y="12"/>
                  </a:cubicBezTo>
                  <a:cubicBezTo>
                    <a:pt x="76" y="3"/>
                    <a:pt x="76" y="3"/>
                    <a:pt x="76" y="3"/>
                  </a:cubicBezTo>
                  <a:cubicBezTo>
                    <a:pt x="75" y="3"/>
                    <a:pt x="75" y="3"/>
                    <a:pt x="74" y="3"/>
                  </a:cubicBezTo>
                  <a:cubicBezTo>
                    <a:pt x="71" y="3"/>
                    <a:pt x="68" y="1"/>
                    <a:pt x="65" y="1"/>
                  </a:cubicBezTo>
                  <a:cubicBezTo>
                    <a:pt x="61" y="1"/>
                    <a:pt x="59" y="2"/>
                    <a:pt x="56" y="3"/>
                  </a:cubicBezTo>
                  <a:cubicBezTo>
                    <a:pt x="53" y="3"/>
                    <a:pt x="50" y="3"/>
                    <a:pt x="46" y="2"/>
                  </a:cubicBezTo>
                  <a:cubicBezTo>
                    <a:pt x="45" y="2"/>
                    <a:pt x="45" y="1"/>
                    <a:pt x="44" y="0"/>
                  </a:cubicBezTo>
                  <a:cubicBezTo>
                    <a:pt x="43" y="0"/>
                    <a:pt x="41" y="1"/>
                    <a:pt x="40" y="1"/>
                  </a:cubicBezTo>
                  <a:cubicBezTo>
                    <a:pt x="38" y="1"/>
                    <a:pt x="37" y="1"/>
                    <a:pt x="36" y="2"/>
                  </a:cubicBezTo>
                  <a:cubicBezTo>
                    <a:pt x="35" y="2"/>
                    <a:pt x="35" y="3"/>
                    <a:pt x="34" y="3"/>
                  </a:cubicBezTo>
                  <a:cubicBezTo>
                    <a:pt x="34" y="4"/>
                    <a:pt x="34" y="4"/>
                    <a:pt x="33" y="4"/>
                  </a:cubicBezTo>
                  <a:cubicBezTo>
                    <a:pt x="33" y="4"/>
                    <a:pt x="33" y="5"/>
                    <a:pt x="33" y="5"/>
                  </a:cubicBezTo>
                  <a:cubicBezTo>
                    <a:pt x="31" y="7"/>
                    <a:pt x="28" y="7"/>
                    <a:pt x="26" y="8"/>
                  </a:cubicBezTo>
                  <a:cubicBezTo>
                    <a:pt x="25" y="9"/>
                    <a:pt x="24" y="10"/>
                    <a:pt x="23" y="11"/>
                  </a:cubicBezTo>
                  <a:cubicBezTo>
                    <a:pt x="23" y="13"/>
                    <a:pt x="23" y="13"/>
                    <a:pt x="23" y="14"/>
                  </a:cubicBezTo>
                  <a:cubicBezTo>
                    <a:pt x="22" y="16"/>
                    <a:pt x="20" y="17"/>
                    <a:pt x="18" y="16"/>
                  </a:cubicBezTo>
                  <a:cubicBezTo>
                    <a:pt x="16" y="15"/>
                    <a:pt x="15" y="13"/>
                    <a:pt x="14" y="11"/>
                  </a:cubicBezTo>
                  <a:cubicBezTo>
                    <a:pt x="13" y="11"/>
                    <a:pt x="12" y="10"/>
                    <a:pt x="12" y="9"/>
                  </a:cubicBezTo>
                  <a:cubicBezTo>
                    <a:pt x="9" y="11"/>
                    <a:pt x="7" y="15"/>
                    <a:pt x="6" y="18"/>
                  </a:cubicBezTo>
                  <a:cubicBezTo>
                    <a:pt x="4" y="19"/>
                    <a:pt x="1" y="18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0"/>
                    <a:pt x="0" y="22"/>
                    <a:pt x="0" y="24"/>
                  </a:cubicBezTo>
                  <a:cubicBezTo>
                    <a:pt x="0" y="26"/>
                    <a:pt x="0" y="27"/>
                    <a:pt x="0" y="28"/>
                  </a:cubicBezTo>
                  <a:cubicBezTo>
                    <a:pt x="1" y="29"/>
                    <a:pt x="1" y="30"/>
                    <a:pt x="1" y="30"/>
                  </a:cubicBezTo>
                  <a:cubicBezTo>
                    <a:pt x="1" y="30"/>
                    <a:pt x="2" y="30"/>
                    <a:pt x="2" y="31"/>
                  </a:cubicBezTo>
                  <a:cubicBezTo>
                    <a:pt x="2" y="31"/>
                    <a:pt x="2" y="32"/>
                    <a:pt x="2" y="32"/>
                  </a:cubicBezTo>
                  <a:cubicBezTo>
                    <a:pt x="2" y="33"/>
                    <a:pt x="2" y="35"/>
                    <a:pt x="2" y="36"/>
                  </a:cubicBezTo>
                  <a:cubicBezTo>
                    <a:pt x="2" y="38"/>
                    <a:pt x="4" y="38"/>
                    <a:pt x="4" y="40"/>
                  </a:cubicBezTo>
                  <a:cubicBezTo>
                    <a:pt x="4" y="41"/>
                    <a:pt x="3" y="41"/>
                    <a:pt x="3" y="42"/>
                  </a:cubicBezTo>
                  <a:cubicBezTo>
                    <a:pt x="3" y="43"/>
                    <a:pt x="2" y="43"/>
                    <a:pt x="2" y="44"/>
                  </a:cubicBezTo>
                  <a:cubicBezTo>
                    <a:pt x="2" y="46"/>
                    <a:pt x="2" y="47"/>
                    <a:pt x="2" y="48"/>
                  </a:cubicBezTo>
                  <a:cubicBezTo>
                    <a:pt x="4" y="49"/>
                    <a:pt x="4" y="48"/>
                    <a:pt x="5" y="50"/>
                  </a:cubicBezTo>
                  <a:cubicBezTo>
                    <a:pt x="6" y="50"/>
                    <a:pt x="6" y="50"/>
                    <a:pt x="6" y="51"/>
                  </a:cubicBezTo>
                  <a:cubicBezTo>
                    <a:pt x="7" y="52"/>
                    <a:pt x="8" y="53"/>
                    <a:pt x="7" y="55"/>
                  </a:cubicBezTo>
                  <a:cubicBezTo>
                    <a:pt x="7" y="55"/>
                    <a:pt x="6" y="55"/>
                    <a:pt x="6" y="56"/>
                  </a:cubicBezTo>
                  <a:cubicBezTo>
                    <a:pt x="6" y="57"/>
                    <a:pt x="7" y="57"/>
                    <a:pt x="8" y="58"/>
                  </a:cubicBezTo>
                  <a:cubicBezTo>
                    <a:pt x="8" y="61"/>
                    <a:pt x="4" y="62"/>
                    <a:pt x="6" y="64"/>
                  </a:cubicBezTo>
                  <a:cubicBezTo>
                    <a:pt x="6" y="65"/>
                    <a:pt x="7" y="66"/>
                    <a:pt x="8" y="66"/>
                  </a:cubicBezTo>
                  <a:cubicBezTo>
                    <a:pt x="10" y="67"/>
                    <a:pt x="13" y="69"/>
                    <a:pt x="17" y="70"/>
                  </a:cubicBezTo>
                  <a:cubicBezTo>
                    <a:pt x="19" y="70"/>
                    <a:pt x="19" y="70"/>
                    <a:pt x="21" y="72"/>
                  </a:cubicBezTo>
                  <a:cubicBezTo>
                    <a:pt x="22" y="73"/>
                    <a:pt x="23" y="75"/>
                    <a:pt x="24" y="76"/>
                  </a:cubicBezTo>
                  <a:cubicBezTo>
                    <a:pt x="25" y="77"/>
                    <a:pt x="26" y="77"/>
                    <a:pt x="26" y="78"/>
                  </a:cubicBezTo>
                  <a:cubicBezTo>
                    <a:pt x="28" y="82"/>
                    <a:pt x="21" y="82"/>
                    <a:pt x="19" y="82"/>
                  </a:cubicBezTo>
                  <a:cubicBezTo>
                    <a:pt x="17" y="83"/>
                    <a:pt x="13" y="84"/>
                    <a:pt x="12" y="86"/>
                  </a:cubicBezTo>
                  <a:cubicBezTo>
                    <a:pt x="11" y="87"/>
                    <a:pt x="12" y="88"/>
                    <a:pt x="12" y="89"/>
                  </a:cubicBezTo>
                  <a:cubicBezTo>
                    <a:pt x="12" y="90"/>
                    <a:pt x="10" y="91"/>
                    <a:pt x="10" y="92"/>
                  </a:cubicBezTo>
                  <a:cubicBezTo>
                    <a:pt x="7" y="94"/>
                    <a:pt x="10" y="96"/>
                    <a:pt x="11" y="99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8" y="104"/>
                    <a:pt x="22" y="109"/>
                    <a:pt x="23" y="112"/>
                  </a:cubicBezTo>
                  <a:cubicBezTo>
                    <a:pt x="21" y="120"/>
                    <a:pt x="21" y="120"/>
                    <a:pt x="21" y="120"/>
                  </a:cubicBezTo>
                  <a:cubicBezTo>
                    <a:pt x="17" y="124"/>
                    <a:pt x="14" y="129"/>
                    <a:pt x="13" y="135"/>
                  </a:cubicBezTo>
                  <a:cubicBezTo>
                    <a:pt x="12" y="136"/>
                    <a:pt x="12" y="136"/>
                    <a:pt x="12" y="137"/>
                  </a:cubicBezTo>
                  <a:cubicBezTo>
                    <a:pt x="11" y="138"/>
                    <a:pt x="11" y="138"/>
                    <a:pt x="11" y="139"/>
                  </a:cubicBezTo>
                  <a:cubicBezTo>
                    <a:pt x="11" y="139"/>
                    <a:pt x="11" y="140"/>
                    <a:pt x="11" y="141"/>
                  </a:cubicBezTo>
                  <a:cubicBezTo>
                    <a:pt x="11" y="141"/>
                    <a:pt x="11" y="142"/>
                    <a:pt x="11" y="142"/>
                  </a:cubicBezTo>
                  <a:cubicBezTo>
                    <a:pt x="11" y="143"/>
                    <a:pt x="12" y="143"/>
                    <a:pt x="13" y="144"/>
                  </a:cubicBezTo>
                  <a:cubicBezTo>
                    <a:pt x="13" y="144"/>
                    <a:pt x="12" y="145"/>
                    <a:pt x="13" y="145"/>
                  </a:cubicBezTo>
                  <a:cubicBezTo>
                    <a:pt x="14" y="145"/>
                    <a:pt x="14" y="146"/>
                    <a:pt x="15" y="146"/>
                  </a:cubicBezTo>
                  <a:cubicBezTo>
                    <a:pt x="16" y="146"/>
                    <a:pt x="18" y="147"/>
                    <a:pt x="19" y="147"/>
                  </a:cubicBezTo>
                  <a:cubicBezTo>
                    <a:pt x="21" y="147"/>
                    <a:pt x="24" y="146"/>
                    <a:pt x="25" y="148"/>
                  </a:cubicBezTo>
                  <a:cubicBezTo>
                    <a:pt x="25" y="149"/>
                    <a:pt x="24" y="150"/>
                    <a:pt x="24" y="151"/>
                  </a:cubicBezTo>
                  <a:cubicBezTo>
                    <a:pt x="24" y="152"/>
                    <a:pt x="24" y="152"/>
                    <a:pt x="24" y="153"/>
                  </a:cubicBezTo>
                  <a:cubicBezTo>
                    <a:pt x="23" y="153"/>
                    <a:pt x="23" y="153"/>
                    <a:pt x="23" y="154"/>
                  </a:cubicBezTo>
                  <a:cubicBezTo>
                    <a:pt x="23" y="154"/>
                    <a:pt x="22" y="154"/>
                    <a:pt x="21" y="154"/>
                  </a:cubicBezTo>
                  <a:cubicBezTo>
                    <a:pt x="20" y="155"/>
                    <a:pt x="20" y="157"/>
                    <a:pt x="20" y="158"/>
                  </a:cubicBezTo>
                  <a:cubicBezTo>
                    <a:pt x="20" y="159"/>
                    <a:pt x="21" y="160"/>
                    <a:pt x="22" y="161"/>
                  </a:cubicBezTo>
                  <a:cubicBezTo>
                    <a:pt x="23" y="162"/>
                    <a:pt x="23" y="163"/>
                    <a:pt x="24" y="164"/>
                  </a:cubicBezTo>
                  <a:cubicBezTo>
                    <a:pt x="24" y="164"/>
                    <a:pt x="24" y="164"/>
                    <a:pt x="24" y="165"/>
                  </a:cubicBezTo>
                  <a:cubicBezTo>
                    <a:pt x="24" y="164"/>
                    <a:pt x="25" y="165"/>
                    <a:pt x="25" y="165"/>
                  </a:cubicBezTo>
                  <a:cubicBezTo>
                    <a:pt x="26" y="166"/>
                    <a:pt x="27" y="167"/>
                    <a:pt x="28" y="167"/>
                  </a:cubicBezTo>
                  <a:cubicBezTo>
                    <a:pt x="29" y="168"/>
                    <a:pt x="31" y="169"/>
                    <a:pt x="32" y="169"/>
                  </a:cubicBezTo>
                  <a:cubicBezTo>
                    <a:pt x="33" y="169"/>
                    <a:pt x="36" y="170"/>
                    <a:pt x="36" y="171"/>
                  </a:cubicBezTo>
                  <a:cubicBezTo>
                    <a:pt x="36" y="171"/>
                    <a:pt x="36" y="173"/>
                    <a:pt x="36" y="173"/>
                  </a:cubicBezTo>
                  <a:cubicBezTo>
                    <a:pt x="36" y="174"/>
                    <a:pt x="36" y="175"/>
                    <a:pt x="36" y="175"/>
                  </a:cubicBezTo>
                  <a:cubicBezTo>
                    <a:pt x="36" y="176"/>
                    <a:pt x="36" y="176"/>
                    <a:pt x="35" y="177"/>
                  </a:cubicBezTo>
                  <a:cubicBezTo>
                    <a:pt x="34" y="178"/>
                    <a:pt x="34" y="178"/>
                    <a:pt x="33" y="179"/>
                  </a:cubicBezTo>
                  <a:cubicBezTo>
                    <a:pt x="32" y="180"/>
                    <a:pt x="29" y="180"/>
                    <a:pt x="27" y="180"/>
                  </a:cubicBezTo>
                  <a:cubicBezTo>
                    <a:pt x="24" y="180"/>
                    <a:pt x="20" y="180"/>
                    <a:pt x="18" y="178"/>
                  </a:cubicBezTo>
                  <a:cubicBezTo>
                    <a:pt x="17" y="178"/>
                    <a:pt x="16" y="177"/>
                    <a:pt x="15" y="176"/>
                  </a:cubicBezTo>
                  <a:cubicBezTo>
                    <a:pt x="14" y="177"/>
                    <a:pt x="13" y="180"/>
                    <a:pt x="14" y="181"/>
                  </a:cubicBezTo>
                  <a:cubicBezTo>
                    <a:pt x="14" y="182"/>
                    <a:pt x="15" y="183"/>
                    <a:pt x="16" y="183"/>
                  </a:cubicBezTo>
                  <a:cubicBezTo>
                    <a:pt x="18" y="184"/>
                    <a:pt x="18" y="183"/>
                    <a:pt x="19" y="185"/>
                  </a:cubicBezTo>
                  <a:cubicBezTo>
                    <a:pt x="20" y="186"/>
                    <a:pt x="20" y="187"/>
                    <a:pt x="21" y="188"/>
                  </a:cubicBezTo>
                  <a:cubicBezTo>
                    <a:pt x="22" y="191"/>
                    <a:pt x="24" y="193"/>
                    <a:pt x="26" y="196"/>
                  </a:cubicBezTo>
                  <a:cubicBezTo>
                    <a:pt x="27" y="198"/>
                    <a:pt x="28" y="199"/>
                    <a:pt x="28" y="201"/>
                  </a:cubicBezTo>
                  <a:cubicBezTo>
                    <a:pt x="28" y="201"/>
                    <a:pt x="28" y="202"/>
                    <a:pt x="28" y="202"/>
                  </a:cubicBezTo>
                  <a:cubicBezTo>
                    <a:pt x="28" y="203"/>
                    <a:pt x="29" y="203"/>
                    <a:pt x="29" y="204"/>
                  </a:cubicBezTo>
                  <a:cubicBezTo>
                    <a:pt x="29" y="205"/>
                    <a:pt x="28" y="206"/>
                    <a:pt x="28" y="208"/>
                  </a:cubicBezTo>
                  <a:cubicBezTo>
                    <a:pt x="28" y="209"/>
                    <a:pt x="28" y="210"/>
                    <a:pt x="28" y="211"/>
                  </a:cubicBezTo>
                  <a:cubicBezTo>
                    <a:pt x="27" y="212"/>
                    <a:pt x="26" y="212"/>
                    <a:pt x="26" y="213"/>
                  </a:cubicBezTo>
                  <a:cubicBezTo>
                    <a:pt x="25" y="214"/>
                    <a:pt x="26" y="214"/>
                    <a:pt x="25" y="214"/>
                  </a:cubicBezTo>
                  <a:cubicBezTo>
                    <a:pt x="24" y="215"/>
                    <a:pt x="24" y="214"/>
                    <a:pt x="23" y="214"/>
                  </a:cubicBezTo>
                  <a:cubicBezTo>
                    <a:pt x="23" y="212"/>
                    <a:pt x="22" y="211"/>
                    <a:pt x="21" y="210"/>
                  </a:cubicBezTo>
                  <a:cubicBezTo>
                    <a:pt x="20" y="209"/>
                    <a:pt x="20" y="207"/>
                    <a:pt x="20" y="207"/>
                  </a:cubicBezTo>
                  <a:cubicBezTo>
                    <a:pt x="19" y="206"/>
                    <a:pt x="17" y="208"/>
                    <a:pt x="16" y="209"/>
                  </a:cubicBezTo>
                  <a:cubicBezTo>
                    <a:pt x="16" y="209"/>
                    <a:pt x="16" y="210"/>
                    <a:pt x="15" y="210"/>
                  </a:cubicBezTo>
                  <a:cubicBezTo>
                    <a:pt x="14" y="211"/>
                    <a:pt x="13" y="211"/>
                    <a:pt x="13" y="212"/>
                  </a:cubicBezTo>
                  <a:cubicBezTo>
                    <a:pt x="13" y="213"/>
                    <a:pt x="13" y="214"/>
                    <a:pt x="12" y="214"/>
                  </a:cubicBezTo>
                  <a:cubicBezTo>
                    <a:pt x="12" y="214"/>
                    <a:pt x="12" y="214"/>
                    <a:pt x="12" y="214"/>
                  </a:cubicBezTo>
                  <a:cubicBezTo>
                    <a:pt x="12" y="215"/>
                    <a:pt x="13" y="216"/>
                    <a:pt x="14" y="217"/>
                  </a:cubicBezTo>
                  <a:cubicBezTo>
                    <a:pt x="14" y="218"/>
                    <a:pt x="14" y="219"/>
                    <a:pt x="16" y="219"/>
                  </a:cubicBezTo>
                  <a:cubicBezTo>
                    <a:pt x="17" y="220"/>
                    <a:pt x="17" y="220"/>
                    <a:pt x="18" y="221"/>
                  </a:cubicBezTo>
                  <a:cubicBezTo>
                    <a:pt x="19" y="222"/>
                    <a:pt x="20" y="222"/>
                    <a:pt x="22" y="223"/>
                  </a:cubicBezTo>
                  <a:cubicBezTo>
                    <a:pt x="23" y="223"/>
                    <a:pt x="23" y="224"/>
                    <a:pt x="24" y="225"/>
                  </a:cubicBezTo>
                  <a:cubicBezTo>
                    <a:pt x="25" y="228"/>
                    <a:pt x="27" y="229"/>
                    <a:pt x="29" y="231"/>
                  </a:cubicBezTo>
                  <a:cubicBezTo>
                    <a:pt x="30" y="232"/>
                    <a:pt x="31" y="233"/>
                    <a:pt x="32" y="234"/>
                  </a:cubicBezTo>
                  <a:cubicBezTo>
                    <a:pt x="30" y="234"/>
                    <a:pt x="30" y="234"/>
                    <a:pt x="30" y="234"/>
                  </a:cubicBezTo>
                  <a:cubicBezTo>
                    <a:pt x="30" y="236"/>
                    <a:pt x="32" y="238"/>
                    <a:pt x="34" y="239"/>
                  </a:cubicBezTo>
                  <a:cubicBezTo>
                    <a:pt x="35" y="240"/>
                    <a:pt x="36" y="240"/>
                    <a:pt x="36" y="241"/>
                  </a:cubicBezTo>
                  <a:cubicBezTo>
                    <a:pt x="37" y="241"/>
                    <a:pt x="37" y="242"/>
                    <a:pt x="38" y="242"/>
                  </a:cubicBezTo>
                  <a:cubicBezTo>
                    <a:pt x="39" y="242"/>
                    <a:pt x="39" y="242"/>
                    <a:pt x="40" y="242"/>
                  </a:cubicBezTo>
                  <a:cubicBezTo>
                    <a:pt x="40" y="243"/>
                    <a:pt x="40" y="243"/>
                    <a:pt x="40" y="244"/>
                  </a:cubicBezTo>
                  <a:cubicBezTo>
                    <a:pt x="41" y="244"/>
                    <a:pt x="41" y="245"/>
                    <a:pt x="42" y="245"/>
                  </a:cubicBezTo>
                  <a:cubicBezTo>
                    <a:pt x="43" y="246"/>
                    <a:pt x="44" y="247"/>
                    <a:pt x="45" y="247"/>
                  </a:cubicBezTo>
                  <a:cubicBezTo>
                    <a:pt x="47" y="248"/>
                    <a:pt x="49" y="247"/>
                    <a:pt x="51" y="247"/>
                  </a:cubicBezTo>
                  <a:cubicBezTo>
                    <a:pt x="52" y="247"/>
                    <a:pt x="53" y="247"/>
                    <a:pt x="54" y="249"/>
                  </a:cubicBezTo>
                  <a:cubicBezTo>
                    <a:pt x="54" y="250"/>
                    <a:pt x="54" y="251"/>
                    <a:pt x="56" y="251"/>
                  </a:cubicBezTo>
                  <a:cubicBezTo>
                    <a:pt x="56" y="252"/>
                    <a:pt x="57" y="252"/>
                    <a:pt x="57" y="253"/>
                  </a:cubicBezTo>
                  <a:cubicBezTo>
                    <a:pt x="58" y="253"/>
                    <a:pt x="58" y="254"/>
                    <a:pt x="59" y="254"/>
                  </a:cubicBezTo>
                  <a:cubicBezTo>
                    <a:pt x="59" y="255"/>
                    <a:pt x="59" y="255"/>
                    <a:pt x="59" y="256"/>
                  </a:cubicBezTo>
                  <a:cubicBezTo>
                    <a:pt x="59" y="257"/>
                    <a:pt x="59" y="257"/>
                    <a:pt x="60" y="258"/>
                  </a:cubicBezTo>
                  <a:cubicBezTo>
                    <a:pt x="60" y="259"/>
                    <a:pt x="64" y="258"/>
                    <a:pt x="65" y="258"/>
                  </a:cubicBezTo>
                  <a:cubicBezTo>
                    <a:pt x="66" y="258"/>
                    <a:pt x="68" y="257"/>
                    <a:pt x="69" y="258"/>
                  </a:cubicBezTo>
                  <a:cubicBezTo>
                    <a:pt x="70" y="258"/>
                    <a:pt x="69" y="260"/>
                    <a:pt x="70" y="260"/>
                  </a:cubicBezTo>
                  <a:cubicBezTo>
                    <a:pt x="70" y="261"/>
                    <a:pt x="70" y="262"/>
                    <a:pt x="71" y="262"/>
                  </a:cubicBezTo>
                  <a:cubicBezTo>
                    <a:pt x="72" y="263"/>
                    <a:pt x="74" y="266"/>
                    <a:pt x="73" y="268"/>
                  </a:cubicBezTo>
                  <a:cubicBezTo>
                    <a:pt x="73" y="269"/>
                    <a:pt x="73" y="269"/>
                    <a:pt x="72" y="270"/>
                  </a:cubicBezTo>
                  <a:cubicBezTo>
                    <a:pt x="72" y="270"/>
                    <a:pt x="72" y="270"/>
                    <a:pt x="72" y="270"/>
                  </a:cubicBezTo>
                  <a:cubicBezTo>
                    <a:pt x="73" y="270"/>
                    <a:pt x="75" y="271"/>
                    <a:pt x="75" y="270"/>
                  </a:cubicBezTo>
                  <a:cubicBezTo>
                    <a:pt x="76" y="270"/>
                    <a:pt x="77" y="269"/>
                    <a:pt x="77" y="268"/>
                  </a:cubicBezTo>
                  <a:cubicBezTo>
                    <a:pt x="78" y="268"/>
                    <a:pt x="78" y="267"/>
                    <a:pt x="79" y="266"/>
                  </a:cubicBezTo>
                  <a:cubicBezTo>
                    <a:pt x="80" y="265"/>
                    <a:pt x="81" y="266"/>
                    <a:pt x="82" y="264"/>
                  </a:cubicBezTo>
                  <a:cubicBezTo>
                    <a:pt x="82" y="263"/>
                    <a:pt x="82" y="262"/>
                    <a:pt x="82" y="262"/>
                  </a:cubicBezTo>
                  <a:cubicBezTo>
                    <a:pt x="82" y="259"/>
                    <a:pt x="84" y="258"/>
                    <a:pt x="86" y="257"/>
                  </a:cubicBezTo>
                  <a:cubicBezTo>
                    <a:pt x="86" y="256"/>
                    <a:pt x="87" y="256"/>
                    <a:pt x="88" y="256"/>
                  </a:cubicBezTo>
                  <a:cubicBezTo>
                    <a:pt x="88" y="256"/>
                    <a:pt x="88" y="255"/>
                    <a:pt x="88" y="255"/>
                  </a:cubicBezTo>
                  <a:cubicBezTo>
                    <a:pt x="88" y="254"/>
                    <a:pt x="89" y="253"/>
                    <a:pt x="90" y="252"/>
                  </a:cubicBezTo>
                  <a:cubicBezTo>
                    <a:pt x="91" y="251"/>
                    <a:pt x="92" y="251"/>
                    <a:pt x="93" y="249"/>
                  </a:cubicBezTo>
                  <a:cubicBezTo>
                    <a:pt x="93" y="248"/>
                    <a:pt x="93" y="246"/>
                    <a:pt x="93" y="244"/>
                  </a:cubicBezTo>
                  <a:cubicBezTo>
                    <a:pt x="93" y="241"/>
                    <a:pt x="93" y="239"/>
                    <a:pt x="95" y="236"/>
                  </a:cubicBezTo>
                  <a:cubicBezTo>
                    <a:pt x="96" y="235"/>
                    <a:pt x="97" y="232"/>
                    <a:pt x="98" y="234"/>
                  </a:cubicBezTo>
                  <a:cubicBezTo>
                    <a:pt x="99" y="236"/>
                    <a:pt x="98" y="236"/>
                    <a:pt x="97" y="236"/>
                  </a:cubicBezTo>
                  <a:cubicBezTo>
                    <a:pt x="96" y="237"/>
                    <a:pt x="96" y="236"/>
                    <a:pt x="96" y="238"/>
                  </a:cubicBezTo>
                  <a:cubicBezTo>
                    <a:pt x="96" y="241"/>
                    <a:pt x="99" y="244"/>
                    <a:pt x="100" y="247"/>
                  </a:cubicBezTo>
                  <a:cubicBezTo>
                    <a:pt x="102" y="247"/>
                    <a:pt x="103" y="245"/>
                    <a:pt x="105" y="245"/>
                  </a:cubicBezTo>
                  <a:cubicBezTo>
                    <a:pt x="106" y="244"/>
                    <a:pt x="107" y="244"/>
                    <a:pt x="107" y="243"/>
                  </a:cubicBezTo>
                  <a:cubicBezTo>
                    <a:pt x="108" y="242"/>
                    <a:pt x="107" y="241"/>
                    <a:pt x="108" y="241"/>
                  </a:cubicBezTo>
                  <a:cubicBezTo>
                    <a:pt x="108" y="240"/>
                    <a:pt x="110" y="240"/>
                    <a:pt x="111" y="240"/>
                  </a:cubicBezTo>
                  <a:cubicBezTo>
                    <a:pt x="113" y="242"/>
                    <a:pt x="112" y="243"/>
                    <a:pt x="112" y="245"/>
                  </a:cubicBezTo>
                  <a:cubicBezTo>
                    <a:pt x="115" y="250"/>
                    <a:pt x="115" y="250"/>
                    <a:pt x="115" y="250"/>
                  </a:cubicBezTo>
                  <a:cubicBezTo>
                    <a:pt x="115" y="252"/>
                    <a:pt x="116" y="253"/>
                    <a:pt x="117" y="255"/>
                  </a:cubicBezTo>
                  <a:cubicBezTo>
                    <a:pt x="117" y="257"/>
                    <a:pt x="116" y="258"/>
                    <a:pt x="118" y="260"/>
                  </a:cubicBezTo>
                  <a:cubicBezTo>
                    <a:pt x="119" y="261"/>
                    <a:pt x="122" y="261"/>
                    <a:pt x="124" y="263"/>
                  </a:cubicBezTo>
                  <a:cubicBezTo>
                    <a:pt x="124" y="265"/>
                    <a:pt x="124" y="265"/>
                    <a:pt x="125" y="266"/>
                  </a:cubicBezTo>
                  <a:cubicBezTo>
                    <a:pt x="126" y="267"/>
                    <a:pt x="126" y="267"/>
                    <a:pt x="127" y="268"/>
                  </a:cubicBezTo>
                  <a:cubicBezTo>
                    <a:pt x="128" y="267"/>
                    <a:pt x="130" y="267"/>
                    <a:pt x="132" y="267"/>
                  </a:cubicBezTo>
                  <a:cubicBezTo>
                    <a:pt x="132" y="269"/>
                    <a:pt x="131" y="271"/>
                    <a:pt x="131" y="272"/>
                  </a:cubicBezTo>
                  <a:cubicBezTo>
                    <a:pt x="131" y="274"/>
                    <a:pt x="131" y="276"/>
                    <a:pt x="131" y="278"/>
                  </a:cubicBezTo>
                  <a:cubicBezTo>
                    <a:pt x="134" y="278"/>
                    <a:pt x="134" y="282"/>
                    <a:pt x="136" y="282"/>
                  </a:cubicBezTo>
                  <a:cubicBezTo>
                    <a:pt x="140" y="274"/>
                    <a:pt x="143" y="288"/>
                    <a:pt x="147" y="287"/>
                  </a:cubicBezTo>
                  <a:cubicBezTo>
                    <a:pt x="148" y="287"/>
                    <a:pt x="149" y="285"/>
                    <a:pt x="150" y="286"/>
                  </a:cubicBezTo>
                  <a:cubicBezTo>
                    <a:pt x="151" y="286"/>
                    <a:pt x="152" y="287"/>
                    <a:pt x="152" y="287"/>
                  </a:cubicBezTo>
                  <a:cubicBezTo>
                    <a:pt x="153" y="288"/>
                    <a:pt x="152" y="288"/>
                    <a:pt x="151" y="289"/>
                  </a:cubicBezTo>
                  <a:cubicBezTo>
                    <a:pt x="150" y="290"/>
                    <a:pt x="150" y="291"/>
                    <a:pt x="149" y="292"/>
                  </a:cubicBezTo>
                  <a:cubicBezTo>
                    <a:pt x="148" y="293"/>
                    <a:pt x="146" y="294"/>
                    <a:pt x="146" y="296"/>
                  </a:cubicBezTo>
                  <a:cubicBezTo>
                    <a:pt x="146" y="297"/>
                    <a:pt x="147" y="300"/>
                    <a:pt x="146" y="302"/>
                  </a:cubicBezTo>
                  <a:cubicBezTo>
                    <a:pt x="146" y="302"/>
                    <a:pt x="146" y="302"/>
                    <a:pt x="146" y="302"/>
                  </a:cubicBezTo>
                  <a:cubicBezTo>
                    <a:pt x="146" y="302"/>
                    <a:pt x="145" y="304"/>
                    <a:pt x="145" y="304"/>
                  </a:cubicBezTo>
                  <a:cubicBezTo>
                    <a:pt x="144" y="304"/>
                    <a:pt x="143" y="304"/>
                    <a:pt x="143" y="305"/>
                  </a:cubicBezTo>
                  <a:cubicBezTo>
                    <a:pt x="142" y="306"/>
                    <a:pt x="142" y="307"/>
                    <a:pt x="142" y="308"/>
                  </a:cubicBezTo>
                  <a:cubicBezTo>
                    <a:pt x="142" y="308"/>
                    <a:pt x="141" y="309"/>
                    <a:pt x="140" y="309"/>
                  </a:cubicBezTo>
                  <a:cubicBezTo>
                    <a:pt x="139" y="311"/>
                    <a:pt x="135" y="313"/>
                    <a:pt x="135" y="316"/>
                  </a:cubicBezTo>
                  <a:cubicBezTo>
                    <a:pt x="136" y="317"/>
                    <a:pt x="137" y="318"/>
                    <a:pt x="137" y="319"/>
                  </a:cubicBezTo>
                  <a:cubicBezTo>
                    <a:pt x="138" y="319"/>
                    <a:pt x="138" y="319"/>
                    <a:pt x="138" y="320"/>
                  </a:cubicBezTo>
                  <a:cubicBezTo>
                    <a:pt x="138" y="320"/>
                    <a:pt x="138" y="321"/>
                    <a:pt x="138" y="321"/>
                  </a:cubicBezTo>
                  <a:cubicBezTo>
                    <a:pt x="138" y="321"/>
                    <a:pt x="138" y="321"/>
                    <a:pt x="138" y="321"/>
                  </a:cubicBezTo>
                  <a:cubicBezTo>
                    <a:pt x="140" y="322"/>
                    <a:pt x="144" y="322"/>
                    <a:pt x="146" y="321"/>
                  </a:cubicBezTo>
                  <a:cubicBezTo>
                    <a:pt x="148" y="320"/>
                    <a:pt x="148" y="320"/>
                    <a:pt x="149" y="318"/>
                  </a:cubicBezTo>
                  <a:cubicBezTo>
                    <a:pt x="149" y="318"/>
                    <a:pt x="149" y="317"/>
                    <a:pt x="150" y="316"/>
                  </a:cubicBezTo>
                  <a:cubicBezTo>
                    <a:pt x="151" y="315"/>
                    <a:pt x="153" y="315"/>
                    <a:pt x="155" y="314"/>
                  </a:cubicBezTo>
                  <a:cubicBezTo>
                    <a:pt x="157" y="313"/>
                    <a:pt x="158" y="314"/>
                    <a:pt x="159" y="316"/>
                  </a:cubicBezTo>
                  <a:cubicBezTo>
                    <a:pt x="160" y="317"/>
                    <a:pt x="159" y="317"/>
                    <a:pt x="160" y="317"/>
                  </a:cubicBezTo>
                  <a:cubicBezTo>
                    <a:pt x="161" y="318"/>
                    <a:pt x="162" y="318"/>
                    <a:pt x="163" y="319"/>
                  </a:cubicBezTo>
                  <a:cubicBezTo>
                    <a:pt x="164" y="319"/>
                    <a:pt x="163" y="320"/>
                    <a:pt x="165" y="319"/>
                  </a:cubicBezTo>
                  <a:cubicBezTo>
                    <a:pt x="165" y="319"/>
                    <a:pt x="166" y="319"/>
                    <a:pt x="167" y="318"/>
                  </a:cubicBezTo>
                  <a:cubicBezTo>
                    <a:pt x="168" y="317"/>
                    <a:pt x="168" y="315"/>
                    <a:pt x="170" y="314"/>
                  </a:cubicBezTo>
                  <a:cubicBezTo>
                    <a:pt x="171" y="313"/>
                    <a:pt x="172" y="313"/>
                    <a:pt x="174" y="312"/>
                  </a:cubicBezTo>
                  <a:cubicBezTo>
                    <a:pt x="178" y="310"/>
                    <a:pt x="181" y="314"/>
                    <a:pt x="184" y="316"/>
                  </a:cubicBezTo>
                  <a:cubicBezTo>
                    <a:pt x="186" y="317"/>
                    <a:pt x="190" y="317"/>
                    <a:pt x="193" y="315"/>
                  </a:cubicBezTo>
                  <a:cubicBezTo>
                    <a:pt x="194" y="314"/>
                    <a:pt x="195" y="312"/>
                    <a:pt x="195" y="311"/>
                  </a:cubicBezTo>
                  <a:cubicBezTo>
                    <a:pt x="195" y="309"/>
                    <a:pt x="195" y="309"/>
                    <a:pt x="194" y="307"/>
                  </a:cubicBezTo>
                  <a:cubicBezTo>
                    <a:pt x="193" y="306"/>
                    <a:pt x="193" y="304"/>
                    <a:pt x="193" y="303"/>
                  </a:cubicBezTo>
                  <a:cubicBezTo>
                    <a:pt x="192" y="301"/>
                    <a:pt x="191" y="301"/>
                    <a:pt x="190" y="299"/>
                  </a:cubicBezTo>
                  <a:cubicBezTo>
                    <a:pt x="190" y="297"/>
                    <a:pt x="190" y="298"/>
                    <a:pt x="189" y="297"/>
                  </a:cubicBezTo>
                  <a:cubicBezTo>
                    <a:pt x="188" y="296"/>
                    <a:pt x="188" y="296"/>
                    <a:pt x="187" y="295"/>
                  </a:cubicBezTo>
                  <a:cubicBezTo>
                    <a:pt x="186" y="293"/>
                    <a:pt x="186" y="293"/>
                    <a:pt x="186" y="290"/>
                  </a:cubicBezTo>
                  <a:cubicBezTo>
                    <a:pt x="186" y="288"/>
                    <a:pt x="187" y="287"/>
                    <a:pt x="187" y="285"/>
                  </a:cubicBezTo>
                  <a:cubicBezTo>
                    <a:pt x="188" y="283"/>
                    <a:pt x="189" y="281"/>
                    <a:pt x="188" y="279"/>
                  </a:cubicBezTo>
                  <a:cubicBezTo>
                    <a:pt x="188" y="278"/>
                    <a:pt x="187" y="277"/>
                    <a:pt x="187" y="276"/>
                  </a:cubicBezTo>
                  <a:cubicBezTo>
                    <a:pt x="187" y="275"/>
                    <a:pt x="187" y="273"/>
                    <a:pt x="187" y="272"/>
                  </a:cubicBezTo>
                  <a:cubicBezTo>
                    <a:pt x="188" y="271"/>
                    <a:pt x="192" y="270"/>
                    <a:pt x="193" y="270"/>
                  </a:cubicBezTo>
                  <a:cubicBezTo>
                    <a:pt x="194" y="270"/>
                    <a:pt x="195" y="270"/>
                    <a:pt x="196" y="270"/>
                  </a:cubicBezTo>
                  <a:cubicBezTo>
                    <a:pt x="197" y="270"/>
                    <a:pt x="197" y="271"/>
                    <a:pt x="198" y="271"/>
                  </a:cubicBezTo>
                  <a:cubicBezTo>
                    <a:pt x="199" y="270"/>
                    <a:pt x="199" y="270"/>
                    <a:pt x="200" y="270"/>
                  </a:cubicBezTo>
                  <a:cubicBezTo>
                    <a:pt x="201" y="269"/>
                    <a:pt x="201" y="270"/>
                    <a:pt x="202" y="269"/>
                  </a:cubicBezTo>
                  <a:cubicBezTo>
                    <a:pt x="202" y="269"/>
                    <a:pt x="204" y="268"/>
                    <a:pt x="205" y="267"/>
                  </a:cubicBezTo>
                  <a:cubicBezTo>
                    <a:pt x="205" y="267"/>
                    <a:pt x="205" y="265"/>
                    <a:pt x="205" y="264"/>
                  </a:cubicBezTo>
                  <a:cubicBezTo>
                    <a:pt x="206" y="262"/>
                    <a:pt x="206" y="260"/>
                    <a:pt x="208" y="258"/>
                  </a:cubicBezTo>
                  <a:cubicBezTo>
                    <a:pt x="210" y="256"/>
                    <a:pt x="213" y="256"/>
                    <a:pt x="214" y="254"/>
                  </a:cubicBezTo>
                  <a:cubicBezTo>
                    <a:pt x="215" y="253"/>
                    <a:pt x="218" y="251"/>
                    <a:pt x="217" y="24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0" name="Freeform 30"/>
            <p:cNvSpPr>
              <a:spLocks noEditPoints="1"/>
            </p:cNvSpPr>
            <p:nvPr/>
          </p:nvSpPr>
          <p:spPr bwMode="auto">
            <a:xfrm>
              <a:off x="5426075" y="5565775"/>
              <a:ext cx="187325" cy="219075"/>
            </a:xfrm>
            <a:custGeom>
              <a:avLst/>
              <a:gdLst/>
              <a:ahLst/>
              <a:cxnLst>
                <a:cxn ang="0">
                  <a:pos x="1" y="48"/>
                </a:cxn>
                <a:cxn ang="0">
                  <a:pos x="1" y="48"/>
                </a:cxn>
                <a:cxn ang="0">
                  <a:pos x="1" y="48"/>
                </a:cxn>
                <a:cxn ang="0">
                  <a:pos x="78" y="46"/>
                </a:cxn>
                <a:cxn ang="0">
                  <a:pos x="79" y="35"/>
                </a:cxn>
                <a:cxn ang="0">
                  <a:pos x="72" y="34"/>
                </a:cxn>
                <a:cxn ang="0">
                  <a:pos x="65" y="28"/>
                </a:cxn>
                <a:cxn ang="0">
                  <a:pos x="62" y="18"/>
                </a:cxn>
                <a:cxn ang="0">
                  <a:pos x="58" y="8"/>
                </a:cxn>
                <a:cxn ang="0">
                  <a:pos x="54" y="11"/>
                </a:cxn>
                <a:cxn ang="0">
                  <a:pos x="47" y="15"/>
                </a:cxn>
                <a:cxn ang="0">
                  <a:pos x="44" y="4"/>
                </a:cxn>
                <a:cxn ang="0">
                  <a:pos x="42" y="4"/>
                </a:cxn>
                <a:cxn ang="0">
                  <a:pos x="40" y="17"/>
                </a:cxn>
                <a:cxn ang="0">
                  <a:pos x="35" y="23"/>
                </a:cxn>
                <a:cxn ang="0">
                  <a:pos x="33" y="25"/>
                </a:cxn>
                <a:cxn ang="0">
                  <a:pos x="29" y="32"/>
                </a:cxn>
                <a:cxn ang="0">
                  <a:pos x="24" y="36"/>
                </a:cxn>
                <a:cxn ang="0">
                  <a:pos x="19" y="38"/>
                </a:cxn>
                <a:cxn ang="0">
                  <a:pos x="17" y="39"/>
                </a:cxn>
                <a:cxn ang="0">
                  <a:pos x="13" y="41"/>
                </a:cxn>
                <a:cxn ang="0">
                  <a:pos x="7" y="45"/>
                </a:cxn>
                <a:cxn ang="0">
                  <a:pos x="1" y="44"/>
                </a:cxn>
                <a:cxn ang="0">
                  <a:pos x="0" y="44"/>
                </a:cxn>
                <a:cxn ang="0">
                  <a:pos x="0" y="46"/>
                </a:cxn>
                <a:cxn ang="0">
                  <a:pos x="0" y="45"/>
                </a:cxn>
                <a:cxn ang="0">
                  <a:pos x="0" y="47"/>
                </a:cxn>
                <a:cxn ang="0">
                  <a:pos x="1" y="48"/>
                </a:cxn>
                <a:cxn ang="0">
                  <a:pos x="2" y="48"/>
                </a:cxn>
                <a:cxn ang="0">
                  <a:pos x="3" y="49"/>
                </a:cxn>
                <a:cxn ang="0">
                  <a:pos x="5" y="55"/>
                </a:cxn>
                <a:cxn ang="0">
                  <a:pos x="8" y="62"/>
                </a:cxn>
                <a:cxn ang="0">
                  <a:pos x="17" y="67"/>
                </a:cxn>
                <a:cxn ang="0">
                  <a:pos x="22" y="74"/>
                </a:cxn>
                <a:cxn ang="0">
                  <a:pos x="25" y="82"/>
                </a:cxn>
                <a:cxn ang="0">
                  <a:pos x="27" y="88"/>
                </a:cxn>
                <a:cxn ang="0">
                  <a:pos x="30" y="99"/>
                </a:cxn>
                <a:cxn ang="0">
                  <a:pos x="30" y="114"/>
                </a:cxn>
                <a:cxn ang="0">
                  <a:pos x="34" y="115"/>
                </a:cxn>
                <a:cxn ang="0">
                  <a:pos x="40" y="111"/>
                </a:cxn>
                <a:cxn ang="0">
                  <a:pos x="40" y="106"/>
                </a:cxn>
                <a:cxn ang="0">
                  <a:pos x="45" y="98"/>
                </a:cxn>
                <a:cxn ang="0">
                  <a:pos x="61" y="93"/>
                </a:cxn>
                <a:cxn ang="0">
                  <a:pos x="64" y="98"/>
                </a:cxn>
                <a:cxn ang="0">
                  <a:pos x="69" y="96"/>
                </a:cxn>
                <a:cxn ang="0">
                  <a:pos x="75" y="87"/>
                </a:cxn>
                <a:cxn ang="0">
                  <a:pos x="85" y="89"/>
                </a:cxn>
                <a:cxn ang="0">
                  <a:pos x="84" y="87"/>
                </a:cxn>
                <a:cxn ang="0">
                  <a:pos x="87" y="77"/>
                </a:cxn>
                <a:cxn ang="0">
                  <a:pos x="90" y="73"/>
                </a:cxn>
                <a:cxn ang="0">
                  <a:pos x="93" y="70"/>
                </a:cxn>
                <a:cxn ang="0">
                  <a:pos x="93" y="64"/>
                </a:cxn>
                <a:cxn ang="0">
                  <a:pos x="98" y="57"/>
                </a:cxn>
                <a:cxn ang="0">
                  <a:pos x="97" y="54"/>
                </a:cxn>
                <a:cxn ang="0">
                  <a:pos x="83" y="50"/>
                </a:cxn>
                <a:cxn ang="0">
                  <a:pos x="0" y="47"/>
                </a:cxn>
                <a:cxn ang="0">
                  <a:pos x="1" y="44"/>
                </a:cxn>
                <a:cxn ang="0">
                  <a:pos x="1" y="44"/>
                </a:cxn>
                <a:cxn ang="0">
                  <a:pos x="2" y="62"/>
                </a:cxn>
              </a:cxnLst>
              <a:rect l="0" t="0" r="r" b="b"/>
              <a:pathLst>
                <a:path w="100" h="117">
                  <a:moveTo>
                    <a:pt x="1" y="48"/>
                  </a:move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moveTo>
                    <a:pt x="83" y="50"/>
                  </a:moveTo>
                  <a:cubicBezTo>
                    <a:pt x="81" y="50"/>
                    <a:pt x="81" y="46"/>
                    <a:pt x="78" y="46"/>
                  </a:cubicBezTo>
                  <a:cubicBezTo>
                    <a:pt x="78" y="44"/>
                    <a:pt x="78" y="42"/>
                    <a:pt x="78" y="40"/>
                  </a:cubicBezTo>
                  <a:cubicBezTo>
                    <a:pt x="78" y="39"/>
                    <a:pt x="79" y="37"/>
                    <a:pt x="79" y="35"/>
                  </a:cubicBezTo>
                  <a:cubicBezTo>
                    <a:pt x="77" y="35"/>
                    <a:pt x="75" y="35"/>
                    <a:pt x="74" y="36"/>
                  </a:cubicBezTo>
                  <a:cubicBezTo>
                    <a:pt x="73" y="35"/>
                    <a:pt x="73" y="35"/>
                    <a:pt x="72" y="34"/>
                  </a:cubicBezTo>
                  <a:cubicBezTo>
                    <a:pt x="71" y="33"/>
                    <a:pt x="71" y="33"/>
                    <a:pt x="71" y="31"/>
                  </a:cubicBezTo>
                  <a:cubicBezTo>
                    <a:pt x="69" y="29"/>
                    <a:pt x="66" y="29"/>
                    <a:pt x="65" y="28"/>
                  </a:cubicBezTo>
                  <a:cubicBezTo>
                    <a:pt x="63" y="26"/>
                    <a:pt x="64" y="25"/>
                    <a:pt x="64" y="23"/>
                  </a:cubicBezTo>
                  <a:cubicBezTo>
                    <a:pt x="63" y="21"/>
                    <a:pt x="62" y="20"/>
                    <a:pt x="62" y="18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9" y="11"/>
                    <a:pt x="60" y="10"/>
                    <a:pt x="58" y="8"/>
                  </a:cubicBezTo>
                  <a:cubicBezTo>
                    <a:pt x="57" y="8"/>
                    <a:pt x="55" y="8"/>
                    <a:pt x="55" y="9"/>
                  </a:cubicBezTo>
                  <a:cubicBezTo>
                    <a:pt x="54" y="9"/>
                    <a:pt x="55" y="10"/>
                    <a:pt x="54" y="11"/>
                  </a:cubicBezTo>
                  <a:cubicBezTo>
                    <a:pt x="54" y="12"/>
                    <a:pt x="53" y="12"/>
                    <a:pt x="52" y="13"/>
                  </a:cubicBezTo>
                  <a:cubicBezTo>
                    <a:pt x="50" y="13"/>
                    <a:pt x="49" y="15"/>
                    <a:pt x="47" y="15"/>
                  </a:cubicBezTo>
                  <a:cubicBezTo>
                    <a:pt x="46" y="12"/>
                    <a:pt x="43" y="9"/>
                    <a:pt x="43" y="6"/>
                  </a:cubicBezTo>
                  <a:cubicBezTo>
                    <a:pt x="43" y="4"/>
                    <a:pt x="43" y="5"/>
                    <a:pt x="44" y="4"/>
                  </a:cubicBezTo>
                  <a:cubicBezTo>
                    <a:pt x="45" y="4"/>
                    <a:pt x="46" y="4"/>
                    <a:pt x="45" y="2"/>
                  </a:cubicBezTo>
                  <a:cubicBezTo>
                    <a:pt x="44" y="0"/>
                    <a:pt x="43" y="3"/>
                    <a:pt x="42" y="4"/>
                  </a:cubicBezTo>
                  <a:cubicBezTo>
                    <a:pt x="40" y="7"/>
                    <a:pt x="40" y="9"/>
                    <a:pt x="40" y="12"/>
                  </a:cubicBezTo>
                  <a:cubicBezTo>
                    <a:pt x="40" y="14"/>
                    <a:pt x="40" y="16"/>
                    <a:pt x="40" y="17"/>
                  </a:cubicBezTo>
                  <a:cubicBezTo>
                    <a:pt x="39" y="19"/>
                    <a:pt x="38" y="19"/>
                    <a:pt x="37" y="20"/>
                  </a:cubicBezTo>
                  <a:cubicBezTo>
                    <a:pt x="36" y="21"/>
                    <a:pt x="35" y="22"/>
                    <a:pt x="35" y="23"/>
                  </a:cubicBezTo>
                  <a:cubicBezTo>
                    <a:pt x="35" y="23"/>
                    <a:pt x="35" y="24"/>
                    <a:pt x="35" y="24"/>
                  </a:cubicBezTo>
                  <a:cubicBezTo>
                    <a:pt x="34" y="24"/>
                    <a:pt x="33" y="24"/>
                    <a:pt x="33" y="25"/>
                  </a:cubicBezTo>
                  <a:cubicBezTo>
                    <a:pt x="31" y="26"/>
                    <a:pt x="29" y="27"/>
                    <a:pt x="29" y="30"/>
                  </a:cubicBezTo>
                  <a:cubicBezTo>
                    <a:pt x="29" y="30"/>
                    <a:pt x="29" y="31"/>
                    <a:pt x="29" y="32"/>
                  </a:cubicBezTo>
                  <a:cubicBezTo>
                    <a:pt x="28" y="34"/>
                    <a:pt x="27" y="33"/>
                    <a:pt x="26" y="34"/>
                  </a:cubicBezTo>
                  <a:cubicBezTo>
                    <a:pt x="25" y="35"/>
                    <a:pt x="25" y="36"/>
                    <a:pt x="24" y="36"/>
                  </a:cubicBezTo>
                  <a:cubicBezTo>
                    <a:pt x="24" y="37"/>
                    <a:pt x="23" y="38"/>
                    <a:pt x="22" y="38"/>
                  </a:cubicBezTo>
                  <a:cubicBezTo>
                    <a:pt x="22" y="39"/>
                    <a:pt x="20" y="38"/>
                    <a:pt x="19" y="38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8" y="38"/>
                    <a:pt x="17" y="39"/>
                  </a:cubicBezTo>
                  <a:cubicBezTo>
                    <a:pt x="16" y="39"/>
                    <a:pt x="17" y="40"/>
                    <a:pt x="17" y="41"/>
                  </a:cubicBezTo>
                  <a:cubicBezTo>
                    <a:pt x="16" y="42"/>
                    <a:pt x="14" y="41"/>
                    <a:pt x="13" y="41"/>
                  </a:cubicBezTo>
                  <a:cubicBezTo>
                    <a:pt x="11" y="41"/>
                    <a:pt x="12" y="44"/>
                    <a:pt x="12" y="46"/>
                  </a:cubicBezTo>
                  <a:cubicBezTo>
                    <a:pt x="10" y="46"/>
                    <a:pt x="9" y="46"/>
                    <a:pt x="7" y="45"/>
                  </a:cubicBezTo>
                  <a:cubicBezTo>
                    <a:pt x="6" y="44"/>
                    <a:pt x="5" y="44"/>
                    <a:pt x="4" y="43"/>
                  </a:cubicBezTo>
                  <a:cubicBezTo>
                    <a:pt x="3" y="43"/>
                    <a:pt x="2" y="43"/>
                    <a:pt x="1" y="44"/>
                  </a:cubicBezTo>
                  <a:cubicBezTo>
                    <a:pt x="1" y="44"/>
                    <a:pt x="0" y="45"/>
                    <a:pt x="0" y="45"/>
                  </a:cubicBezTo>
                  <a:cubicBezTo>
                    <a:pt x="0" y="45"/>
                    <a:pt x="0" y="45"/>
                    <a:pt x="0" y="44"/>
                  </a:cubicBezTo>
                  <a:cubicBezTo>
                    <a:pt x="0" y="45"/>
                    <a:pt x="0" y="45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5"/>
                    <a:pt x="0" y="45"/>
                  </a:cubicBezTo>
                  <a:cubicBezTo>
                    <a:pt x="0" y="45"/>
                    <a:pt x="0" y="46"/>
                    <a:pt x="0" y="46"/>
                  </a:cubicBezTo>
                  <a:cubicBezTo>
                    <a:pt x="0" y="46"/>
                    <a:pt x="0" y="46"/>
                    <a:pt x="0" y="47"/>
                  </a:cubicBezTo>
                  <a:cubicBezTo>
                    <a:pt x="0" y="47"/>
                    <a:pt x="1" y="47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9"/>
                    <a:pt x="3" y="49"/>
                    <a:pt x="3" y="49"/>
                  </a:cubicBezTo>
                  <a:cubicBezTo>
                    <a:pt x="4" y="49"/>
                    <a:pt x="5" y="50"/>
                    <a:pt x="5" y="50"/>
                  </a:cubicBezTo>
                  <a:cubicBezTo>
                    <a:pt x="6" y="52"/>
                    <a:pt x="6" y="54"/>
                    <a:pt x="5" y="55"/>
                  </a:cubicBezTo>
                  <a:cubicBezTo>
                    <a:pt x="6" y="56"/>
                    <a:pt x="6" y="57"/>
                    <a:pt x="6" y="58"/>
                  </a:cubicBezTo>
                  <a:cubicBezTo>
                    <a:pt x="7" y="59"/>
                    <a:pt x="7" y="61"/>
                    <a:pt x="8" y="62"/>
                  </a:cubicBezTo>
                  <a:cubicBezTo>
                    <a:pt x="10" y="64"/>
                    <a:pt x="13" y="62"/>
                    <a:pt x="15" y="64"/>
                  </a:cubicBezTo>
                  <a:cubicBezTo>
                    <a:pt x="16" y="65"/>
                    <a:pt x="16" y="66"/>
                    <a:pt x="17" y="67"/>
                  </a:cubicBezTo>
                  <a:cubicBezTo>
                    <a:pt x="18" y="68"/>
                    <a:pt x="19" y="69"/>
                    <a:pt x="20" y="70"/>
                  </a:cubicBezTo>
                  <a:cubicBezTo>
                    <a:pt x="21" y="71"/>
                    <a:pt x="21" y="72"/>
                    <a:pt x="22" y="74"/>
                  </a:cubicBezTo>
                  <a:cubicBezTo>
                    <a:pt x="22" y="75"/>
                    <a:pt x="24" y="77"/>
                    <a:pt x="25" y="79"/>
                  </a:cubicBezTo>
                  <a:cubicBezTo>
                    <a:pt x="26" y="80"/>
                    <a:pt x="25" y="81"/>
                    <a:pt x="25" y="82"/>
                  </a:cubicBezTo>
                  <a:cubicBezTo>
                    <a:pt x="25" y="83"/>
                    <a:pt x="26" y="83"/>
                    <a:pt x="26" y="84"/>
                  </a:cubicBezTo>
                  <a:cubicBezTo>
                    <a:pt x="27" y="86"/>
                    <a:pt x="27" y="87"/>
                    <a:pt x="27" y="88"/>
                  </a:cubicBezTo>
                  <a:cubicBezTo>
                    <a:pt x="27" y="90"/>
                    <a:pt x="28" y="92"/>
                    <a:pt x="28" y="94"/>
                  </a:cubicBezTo>
                  <a:cubicBezTo>
                    <a:pt x="28" y="96"/>
                    <a:pt x="29" y="97"/>
                    <a:pt x="30" y="99"/>
                  </a:cubicBezTo>
                  <a:cubicBezTo>
                    <a:pt x="31" y="101"/>
                    <a:pt x="31" y="104"/>
                    <a:pt x="31" y="106"/>
                  </a:cubicBezTo>
                  <a:cubicBezTo>
                    <a:pt x="31" y="109"/>
                    <a:pt x="31" y="112"/>
                    <a:pt x="30" y="114"/>
                  </a:cubicBezTo>
                  <a:cubicBezTo>
                    <a:pt x="30" y="115"/>
                    <a:pt x="30" y="117"/>
                    <a:pt x="31" y="117"/>
                  </a:cubicBezTo>
                  <a:cubicBezTo>
                    <a:pt x="32" y="117"/>
                    <a:pt x="33" y="116"/>
                    <a:pt x="34" y="115"/>
                  </a:cubicBezTo>
                  <a:cubicBezTo>
                    <a:pt x="35" y="114"/>
                    <a:pt x="36" y="114"/>
                    <a:pt x="37" y="113"/>
                  </a:cubicBezTo>
                  <a:cubicBezTo>
                    <a:pt x="38" y="112"/>
                    <a:pt x="39" y="112"/>
                    <a:pt x="40" y="111"/>
                  </a:cubicBezTo>
                  <a:cubicBezTo>
                    <a:pt x="40" y="110"/>
                    <a:pt x="40" y="109"/>
                    <a:pt x="40" y="108"/>
                  </a:cubicBezTo>
                  <a:cubicBezTo>
                    <a:pt x="40" y="107"/>
                    <a:pt x="40" y="106"/>
                    <a:pt x="40" y="106"/>
                  </a:cubicBezTo>
                  <a:cubicBezTo>
                    <a:pt x="40" y="105"/>
                    <a:pt x="41" y="104"/>
                    <a:pt x="41" y="103"/>
                  </a:cubicBezTo>
                  <a:cubicBezTo>
                    <a:pt x="43" y="101"/>
                    <a:pt x="44" y="99"/>
                    <a:pt x="45" y="98"/>
                  </a:cubicBezTo>
                  <a:cubicBezTo>
                    <a:pt x="47" y="96"/>
                    <a:pt x="49" y="96"/>
                    <a:pt x="51" y="95"/>
                  </a:cubicBezTo>
                  <a:cubicBezTo>
                    <a:pt x="54" y="94"/>
                    <a:pt x="58" y="91"/>
                    <a:pt x="61" y="93"/>
                  </a:cubicBezTo>
                  <a:cubicBezTo>
                    <a:pt x="63" y="94"/>
                    <a:pt x="62" y="94"/>
                    <a:pt x="63" y="95"/>
                  </a:cubicBezTo>
                  <a:cubicBezTo>
                    <a:pt x="63" y="96"/>
                    <a:pt x="64" y="97"/>
                    <a:pt x="64" y="98"/>
                  </a:cubicBezTo>
                  <a:cubicBezTo>
                    <a:pt x="65" y="98"/>
                    <a:pt x="67" y="101"/>
                    <a:pt x="68" y="100"/>
                  </a:cubicBezTo>
                  <a:cubicBezTo>
                    <a:pt x="68" y="99"/>
                    <a:pt x="69" y="97"/>
                    <a:pt x="69" y="96"/>
                  </a:cubicBezTo>
                  <a:cubicBezTo>
                    <a:pt x="70" y="94"/>
                    <a:pt x="70" y="93"/>
                    <a:pt x="72" y="92"/>
                  </a:cubicBezTo>
                  <a:cubicBezTo>
                    <a:pt x="71" y="90"/>
                    <a:pt x="75" y="89"/>
                    <a:pt x="75" y="87"/>
                  </a:cubicBezTo>
                  <a:cubicBezTo>
                    <a:pt x="77" y="86"/>
                    <a:pt x="86" y="86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8"/>
                    <a:pt x="85" y="88"/>
                  </a:cubicBezTo>
                  <a:cubicBezTo>
                    <a:pt x="85" y="87"/>
                    <a:pt x="85" y="87"/>
                    <a:pt x="84" y="87"/>
                  </a:cubicBezTo>
                  <a:cubicBezTo>
                    <a:pt x="84" y="86"/>
                    <a:pt x="83" y="85"/>
                    <a:pt x="82" y="84"/>
                  </a:cubicBezTo>
                  <a:cubicBezTo>
                    <a:pt x="82" y="81"/>
                    <a:pt x="86" y="79"/>
                    <a:pt x="87" y="77"/>
                  </a:cubicBezTo>
                  <a:cubicBezTo>
                    <a:pt x="88" y="77"/>
                    <a:pt x="89" y="76"/>
                    <a:pt x="89" y="76"/>
                  </a:cubicBezTo>
                  <a:cubicBezTo>
                    <a:pt x="89" y="75"/>
                    <a:pt x="89" y="74"/>
                    <a:pt x="90" y="73"/>
                  </a:cubicBezTo>
                  <a:cubicBezTo>
                    <a:pt x="90" y="72"/>
                    <a:pt x="91" y="72"/>
                    <a:pt x="92" y="72"/>
                  </a:cubicBezTo>
                  <a:cubicBezTo>
                    <a:pt x="92" y="72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4" y="68"/>
                    <a:pt x="93" y="65"/>
                    <a:pt x="93" y="64"/>
                  </a:cubicBezTo>
                  <a:cubicBezTo>
                    <a:pt x="93" y="62"/>
                    <a:pt x="95" y="61"/>
                    <a:pt x="96" y="60"/>
                  </a:cubicBezTo>
                  <a:cubicBezTo>
                    <a:pt x="97" y="59"/>
                    <a:pt x="97" y="58"/>
                    <a:pt x="98" y="57"/>
                  </a:cubicBezTo>
                  <a:cubicBezTo>
                    <a:pt x="99" y="56"/>
                    <a:pt x="100" y="56"/>
                    <a:pt x="99" y="55"/>
                  </a:cubicBezTo>
                  <a:cubicBezTo>
                    <a:pt x="99" y="55"/>
                    <a:pt x="98" y="54"/>
                    <a:pt x="97" y="54"/>
                  </a:cubicBezTo>
                  <a:cubicBezTo>
                    <a:pt x="96" y="53"/>
                    <a:pt x="95" y="55"/>
                    <a:pt x="94" y="55"/>
                  </a:cubicBezTo>
                  <a:cubicBezTo>
                    <a:pt x="90" y="56"/>
                    <a:pt x="87" y="42"/>
                    <a:pt x="83" y="50"/>
                  </a:cubicBezTo>
                  <a:moveTo>
                    <a:pt x="0" y="46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0" y="47"/>
                    <a:pt x="0" y="47"/>
                    <a:pt x="0" y="46"/>
                  </a:cubicBezTo>
                  <a:moveTo>
                    <a:pt x="1" y="44"/>
                  </a:moveTo>
                  <a:cubicBezTo>
                    <a:pt x="1" y="44"/>
                    <a:pt x="1" y="44"/>
                    <a:pt x="0" y="44"/>
                  </a:cubicBezTo>
                  <a:cubicBezTo>
                    <a:pt x="1" y="44"/>
                    <a:pt x="1" y="44"/>
                    <a:pt x="1" y="44"/>
                  </a:cubicBezTo>
                  <a:moveTo>
                    <a:pt x="2" y="62"/>
                  </a:moveTo>
                  <a:cubicBezTo>
                    <a:pt x="2" y="62"/>
                    <a:pt x="2" y="62"/>
                    <a:pt x="2" y="62"/>
                  </a:cubicBezTo>
                  <a:cubicBezTo>
                    <a:pt x="2" y="62"/>
                    <a:pt x="2" y="62"/>
                    <a:pt x="2" y="6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1" name="Freeform 31"/>
            <p:cNvSpPr>
              <a:spLocks noEditPoints="1"/>
            </p:cNvSpPr>
            <p:nvPr/>
          </p:nvSpPr>
          <p:spPr bwMode="auto">
            <a:xfrm>
              <a:off x="5343525" y="5646738"/>
              <a:ext cx="185738" cy="463550"/>
            </a:xfrm>
            <a:custGeom>
              <a:avLst/>
              <a:gdLst/>
              <a:ahLst/>
              <a:cxnLst>
                <a:cxn ang="0">
                  <a:pos x="44" y="3"/>
                </a:cxn>
                <a:cxn ang="0">
                  <a:pos x="44" y="3"/>
                </a:cxn>
                <a:cxn ang="0">
                  <a:pos x="44" y="3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6" y="5"/>
                </a:cxn>
                <a:cxn ang="0">
                  <a:pos x="45" y="5"/>
                </a:cxn>
                <a:cxn ang="0">
                  <a:pos x="45" y="5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5"/>
                </a:cxn>
                <a:cxn ang="0">
                  <a:pos x="44" y="2"/>
                </a:cxn>
                <a:cxn ang="0">
                  <a:pos x="45" y="1"/>
                </a:cxn>
                <a:cxn ang="0">
                  <a:pos x="45" y="1"/>
                </a:cxn>
                <a:cxn ang="0">
                  <a:pos x="44" y="1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11" y="187"/>
                </a:cxn>
                <a:cxn ang="0">
                  <a:pos x="9" y="201"/>
                </a:cxn>
                <a:cxn ang="0">
                  <a:pos x="15" y="208"/>
                </a:cxn>
                <a:cxn ang="0">
                  <a:pos x="20" y="215"/>
                </a:cxn>
                <a:cxn ang="0">
                  <a:pos x="28" y="221"/>
                </a:cxn>
                <a:cxn ang="0">
                  <a:pos x="34" y="229"/>
                </a:cxn>
                <a:cxn ang="0">
                  <a:pos x="37" y="242"/>
                </a:cxn>
                <a:cxn ang="0">
                  <a:pos x="50" y="244"/>
                </a:cxn>
                <a:cxn ang="0">
                  <a:pos x="56" y="236"/>
                </a:cxn>
                <a:cxn ang="0">
                  <a:pos x="56" y="228"/>
                </a:cxn>
                <a:cxn ang="0">
                  <a:pos x="59" y="219"/>
                </a:cxn>
                <a:cxn ang="0">
                  <a:pos x="73" y="213"/>
                </a:cxn>
                <a:cxn ang="0">
                  <a:pos x="77" y="202"/>
                </a:cxn>
                <a:cxn ang="0">
                  <a:pos x="83" y="185"/>
                </a:cxn>
                <a:cxn ang="0">
                  <a:pos x="92" y="184"/>
                </a:cxn>
                <a:cxn ang="0">
                  <a:pos x="96" y="167"/>
                </a:cxn>
                <a:cxn ang="0">
                  <a:pos x="94" y="155"/>
                </a:cxn>
                <a:cxn ang="0">
                  <a:pos x="81" y="147"/>
                </a:cxn>
                <a:cxn ang="0">
                  <a:pos x="75" y="134"/>
                </a:cxn>
                <a:cxn ang="0">
                  <a:pos x="69" y="125"/>
                </a:cxn>
                <a:cxn ang="0">
                  <a:pos x="68" y="112"/>
                </a:cxn>
                <a:cxn ang="0">
                  <a:pos x="67" y="104"/>
                </a:cxn>
                <a:cxn ang="0">
                  <a:pos x="71" y="95"/>
                </a:cxn>
                <a:cxn ang="0">
                  <a:pos x="72" y="79"/>
                </a:cxn>
                <a:cxn ang="0">
                  <a:pos x="74" y="56"/>
                </a:cxn>
                <a:cxn ang="0">
                  <a:pos x="69" y="39"/>
                </a:cxn>
                <a:cxn ang="0">
                  <a:pos x="61" y="24"/>
                </a:cxn>
                <a:cxn ang="0">
                  <a:pos x="49" y="12"/>
                </a:cxn>
                <a:cxn ang="0">
                  <a:pos x="45" y="21"/>
                </a:cxn>
                <a:cxn ang="0">
                  <a:pos x="28" y="17"/>
                </a:cxn>
                <a:cxn ang="0">
                  <a:pos x="24" y="14"/>
                </a:cxn>
                <a:cxn ang="0">
                  <a:pos x="12" y="30"/>
                </a:cxn>
                <a:cxn ang="0">
                  <a:pos x="5" y="47"/>
                </a:cxn>
                <a:cxn ang="0">
                  <a:pos x="10" y="69"/>
                </a:cxn>
                <a:cxn ang="0">
                  <a:pos x="18" y="82"/>
                </a:cxn>
                <a:cxn ang="0">
                  <a:pos x="19" y="103"/>
                </a:cxn>
                <a:cxn ang="0">
                  <a:pos x="7" y="112"/>
                </a:cxn>
                <a:cxn ang="0">
                  <a:pos x="12" y="121"/>
                </a:cxn>
                <a:cxn ang="0">
                  <a:pos x="11" y="135"/>
                </a:cxn>
                <a:cxn ang="0">
                  <a:pos x="13" y="146"/>
                </a:cxn>
                <a:cxn ang="0">
                  <a:pos x="8" y="143"/>
                </a:cxn>
                <a:cxn ang="0">
                  <a:pos x="2" y="167"/>
                </a:cxn>
              </a:cxnLst>
              <a:rect l="0" t="0" r="r" b="b"/>
              <a:pathLst>
                <a:path w="99" h="248">
                  <a:moveTo>
                    <a:pt x="46" y="5"/>
                  </a:move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close/>
                  <a:moveTo>
                    <a:pt x="44" y="3"/>
                  </a:move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2"/>
                    <a:pt x="44" y="2"/>
                  </a:cubicBezTo>
                  <a:cubicBezTo>
                    <a:pt x="44" y="2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6" y="5"/>
                    <a:pt x="46" y="5"/>
                  </a:cubicBezTo>
                  <a:cubicBezTo>
                    <a:pt x="46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moveTo>
                    <a:pt x="46" y="5"/>
                  </a:move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5" y="1"/>
                  </a:move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6" y="1"/>
                    <a:pt x="46" y="0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2" y="174"/>
                  </a:moveTo>
                  <a:cubicBezTo>
                    <a:pt x="3" y="176"/>
                    <a:pt x="8" y="176"/>
                    <a:pt x="9" y="178"/>
                  </a:cubicBezTo>
                  <a:cubicBezTo>
                    <a:pt x="9" y="179"/>
                    <a:pt x="8" y="181"/>
                    <a:pt x="9" y="182"/>
                  </a:cubicBezTo>
                  <a:cubicBezTo>
                    <a:pt x="9" y="184"/>
                    <a:pt x="11" y="185"/>
                    <a:pt x="11" y="187"/>
                  </a:cubicBezTo>
                  <a:cubicBezTo>
                    <a:pt x="12" y="188"/>
                    <a:pt x="11" y="189"/>
                    <a:pt x="10" y="190"/>
                  </a:cubicBezTo>
                  <a:cubicBezTo>
                    <a:pt x="9" y="191"/>
                    <a:pt x="8" y="191"/>
                    <a:pt x="7" y="193"/>
                  </a:cubicBezTo>
                  <a:cubicBezTo>
                    <a:pt x="7" y="194"/>
                    <a:pt x="7" y="196"/>
                    <a:pt x="8" y="197"/>
                  </a:cubicBezTo>
                  <a:cubicBezTo>
                    <a:pt x="8" y="199"/>
                    <a:pt x="8" y="200"/>
                    <a:pt x="9" y="201"/>
                  </a:cubicBezTo>
                  <a:cubicBezTo>
                    <a:pt x="10" y="202"/>
                    <a:pt x="10" y="202"/>
                    <a:pt x="11" y="203"/>
                  </a:cubicBezTo>
                  <a:cubicBezTo>
                    <a:pt x="11" y="204"/>
                    <a:pt x="11" y="204"/>
                    <a:pt x="11" y="205"/>
                  </a:cubicBezTo>
                  <a:cubicBezTo>
                    <a:pt x="11" y="205"/>
                    <a:pt x="12" y="206"/>
                    <a:pt x="13" y="206"/>
                  </a:cubicBezTo>
                  <a:cubicBezTo>
                    <a:pt x="13" y="207"/>
                    <a:pt x="14" y="207"/>
                    <a:pt x="15" y="208"/>
                  </a:cubicBezTo>
                  <a:cubicBezTo>
                    <a:pt x="15" y="209"/>
                    <a:pt x="15" y="209"/>
                    <a:pt x="16" y="209"/>
                  </a:cubicBezTo>
                  <a:cubicBezTo>
                    <a:pt x="16" y="210"/>
                    <a:pt x="18" y="210"/>
                    <a:pt x="19" y="211"/>
                  </a:cubicBezTo>
                  <a:cubicBezTo>
                    <a:pt x="20" y="211"/>
                    <a:pt x="20" y="212"/>
                    <a:pt x="20" y="213"/>
                  </a:cubicBezTo>
                  <a:cubicBezTo>
                    <a:pt x="20" y="213"/>
                    <a:pt x="20" y="214"/>
                    <a:pt x="20" y="215"/>
                  </a:cubicBezTo>
                  <a:cubicBezTo>
                    <a:pt x="21" y="215"/>
                    <a:pt x="21" y="215"/>
                    <a:pt x="21" y="216"/>
                  </a:cubicBezTo>
                  <a:cubicBezTo>
                    <a:pt x="22" y="217"/>
                    <a:pt x="22" y="218"/>
                    <a:pt x="24" y="218"/>
                  </a:cubicBezTo>
                  <a:cubicBezTo>
                    <a:pt x="24" y="219"/>
                    <a:pt x="25" y="219"/>
                    <a:pt x="26" y="220"/>
                  </a:cubicBezTo>
                  <a:cubicBezTo>
                    <a:pt x="27" y="220"/>
                    <a:pt x="27" y="221"/>
                    <a:pt x="28" y="221"/>
                  </a:cubicBezTo>
                  <a:cubicBezTo>
                    <a:pt x="29" y="222"/>
                    <a:pt x="30" y="222"/>
                    <a:pt x="31" y="222"/>
                  </a:cubicBezTo>
                  <a:cubicBezTo>
                    <a:pt x="33" y="222"/>
                    <a:pt x="32" y="225"/>
                    <a:pt x="32" y="226"/>
                  </a:cubicBezTo>
                  <a:cubicBezTo>
                    <a:pt x="32" y="228"/>
                    <a:pt x="32" y="228"/>
                    <a:pt x="33" y="229"/>
                  </a:cubicBezTo>
                  <a:cubicBezTo>
                    <a:pt x="34" y="229"/>
                    <a:pt x="34" y="229"/>
                    <a:pt x="34" y="229"/>
                  </a:cubicBezTo>
                  <a:cubicBezTo>
                    <a:pt x="35" y="229"/>
                    <a:pt x="36" y="230"/>
                    <a:pt x="37" y="231"/>
                  </a:cubicBezTo>
                  <a:cubicBezTo>
                    <a:pt x="38" y="232"/>
                    <a:pt x="39" y="233"/>
                    <a:pt x="37" y="234"/>
                  </a:cubicBezTo>
                  <a:cubicBezTo>
                    <a:pt x="36" y="235"/>
                    <a:pt x="36" y="235"/>
                    <a:pt x="36" y="236"/>
                  </a:cubicBezTo>
                  <a:cubicBezTo>
                    <a:pt x="35" y="238"/>
                    <a:pt x="36" y="240"/>
                    <a:pt x="37" y="242"/>
                  </a:cubicBezTo>
                  <a:cubicBezTo>
                    <a:pt x="38" y="245"/>
                    <a:pt x="40" y="244"/>
                    <a:pt x="42" y="245"/>
                  </a:cubicBezTo>
                  <a:cubicBezTo>
                    <a:pt x="43" y="245"/>
                    <a:pt x="46" y="248"/>
                    <a:pt x="48" y="247"/>
                  </a:cubicBezTo>
                  <a:cubicBezTo>
                    <a:pt x="48" y="246"/>
                    <a:pt x="48" y="246"/>
                    <a:pt x="49" y="245"/>
                  </a:cubicBezTo>
                  <a:cubicBezTo>
                    <a:pt x="49" y="245"/>
                    <a:pt x="50" y="245"/>
                    <a:pt x="50" y="244"/>
                  </a:cubicBezTo>
                  <a:cubicBezTo>
                    <a:pt x="51" y="244"/>
                    <a:pt x="52" y="242"/>
                    <a:pt x="53" y="241"/>
                  </a:cubicBezTo>
                  <a:cubicBezTo>
                    <a:pt x="53" y="239"/>
                    <a:pt x="53" y="238"/>
                    <a:pt x="54" y="237"/>
                  </a:cubicBezTo>
                  <a:cubicBezTo>
                    <a:pt x="54" y="237"/>
                    <a:pt x="54" y="237"/>
                    <a:pt x="55" y="237"/>
                  </a:cubicBezTo>
                  <a:cubicBezTo>
                    <a:pt x="55" y="237"/>
                    <a:pt x="55" y="237"/>
                    <a:pt x="56" y="236"/>
                  </a:cubicBezTo>
                  <a:cubicBezTo>
                    <a:pt x="56" y="236"/>
                    <a:pt x="56" y="236"/>
                    <a:pt x="57" y="236"/>
                  </a:cubicBezTo>
                  <a:cubicBezTo>
                    <a:pt x="57" y="235"/>
                    <a:pt x="58" y="235"/>
                    <a:pt x="58" y="234"/>
                  </a:cubicBezTo>
                  <a:cubicBezTo>
                    <a:pt x="59" y="233"/>
                    <a:pt x="58" y="232"/>
                    <a:pt x="57" y="231"/>
                  </a:cubicBezTo>
                  <a:cubicBezTo>
                    <a:pt x="57" y="230"/>
                    <a:pt x="57" y="229"/>
                    <a:pt x="56" y="228"/>
                  </a:cubicBezTo>
                  <a:cubicBezTo>
                    <a:pt x="56" y="227"/>
                    <a:pt x="55" y="227"/>
                    <a:pt x="55" y="226"/>
                  </a:cubicBezTo>
                  <a:cubicBezTo>
                    <a:pt x="55" y="225"/>
                    <a:pt x="56" y="223"/>
                    <a:pt x="56" y="223"/>
                  </a:cubicBezTo>
                  <a:cubicBezTo>
                    <a:pt x="57" y="222"/>
                    <a:pt x="57" y="222"/>
                    <a:pt x="57" y="221"/>
                  </a:cubicBezTo>
                  <a:cubicBezTo>
                    <a:pt x="58" y="220"/>
                    <a:pt x="58" y="220"/>
                    <a:pt x="59" y="219"/>
                  </a:cubicBezTo>
                  <a:cubicBezTo>
                    <a:pt x="60" y="217"/>
                    <a:pt x="62" y="216"/>
                    <a:pt x="64" y="215"/>
                  </a:cubicBezTo>
                  <a:cubicBezTo>
                    <a:pt x="65" y="214"/>
                    <a:pt x="66" y="214"/>
                    <a:pt x="68" y="214"/>
                  </a:cubicBezTo>
                  <a:cubicBezTo>
                    <a:pt x="69" y="214"/>
                    <a:pt x="71" y="215"/>
                    <a:pt x="72" y="215"/>
                  </a:cubicBezTo>
                  <a:cubicBezTo>
                    <a:pt x="72" y="215"/>
                    <a:pt x="73" y="213"/>
                    <a:pt x="73" y="213"/>
                  </a:cubicBezTo>
                  <a:cubicBezTo>
                    <a:pt x="73" y="212"/>
                    <a:pt x="73" y="211"/>
                    <a:pt x="74" y="210"/>
                  </a:cubicBezTo>
                  <a:cubicBezTo>
                    <a:pt x="74" y="209"/>
                    <a:pt x="75" y="209"/>
                    <a:pt x="75" y="207"/>
                  </a:cubicBezTo>
                  <a:cubicBezTo>
                    <a:pt x="75" y="207"/>
                    <a:pt x="74" y="206"/>
                    <a:pt x="75" y="206"/>
                  </a:cubicBezTo>
                  <a:cubicBezTo>
                    <a:pt x="75" y="204"/>
                    <a:pt x="76" y="203"/>
                    <a:pt x="77" y="202"/>
                  </a:cubicBezTo>
                  <a:cubicBezTo>
                    <a:pt x="77" y="201"/>
                    <a:pt x="77" y="200"/>
                    <a:pt x="78" y="199"/>
                  </a:cubicBezTo>
                  <a:cubicBezTo>
                    <a:pt x="79" y="197"/>
                    <a:pt x="79" y="196"/>
                    <a:pt x="79" y="194"/>
                  </a:cubicBezTo>
                  <a:cubicBezTo>
                    <a:pt x="79" y="192"/>
                    <a:pt x="80" y="190"/>
                    <a:pt x="81" y="188"/>
                  </a:cubicBezTo>
                  <a:cubicBezTo>
                    <a:pt x="82" y="187"/>
                    <a:pt x="82" y="186"/>
                    <a:pt x="83" y="185"/>
                  </a:cubicBezTo>
                  <a:cubicBezTo>
                    <a:pt x="84" y="185"/>
                    <a:pt x="85" y="186"/>
                    <a:pt x="86" y="185"/>
                  </a:cubicBezTo>
                  <a:cubicBezTo>
                    <a:pt x="86" y="185"/>
                    <a:pt x="87" y="185"/>
                    <a:pt x="87" y="184"/>
                  </a:cubicBezTo>
                  <a:cubicBezTo>
                    <a:pt x="87" y="184"/>
                    <a:pt x="88" y="184"/>
                    <a:pt x="88" y="184"/>
                  </a:cubicBezTo>
                  <a:cubicBezTo>
                    <a:pt x="89" y="184"/>
                    <a:pt x="91" y="184"/>
                    <a:pt x="92" y="184"/>
                  </a:cubicBezTo>
                  <a:cubicBezTo>
                    <a:pt x="94" y="183"/>
                    <a:pt x="93" y="181"/>
                    <a:pt x="94" y="179"/>
                  </a:cubicBezTo>
                  <a:cubicBezTo>
                    <a:pt x="94" y="177"/>
                    <a:pt x="94" y="177"/>
                    <a:pt x="96" y="176"/>
                  </a:cubicBezTo>
                  <a:cubicBezTo>
                    <a:pt x="96" y="176"/>
                    <a:pt x="97" y="175"/>
                    <a:pt x="98" y="175"/>
                  </a:cubicBezTo>
                  <a:cubicBezTo>
                    <a:pt x="99" y="173"/>
                    <a:pt x="97" y="168"/>
                    <a:pt x="96" y="167"/>
                  </a:cubicBezTo>
                  <a:cubicBezTo>
                    <a:pt x="95" y="165"/>
                    <a:pt x="90" y="162"/>
                    <a:pt x="92" y="160"/>
                  </a:cubicBezTo>
                  <a:cubicBezTo>
                    <a:pt x="92" y="159"/>
                    <a:pt x="93" y="159"/>
                    <a:pt x="93" y="158"/>
                  </a:cubicBezTo>
                  <a:cubicBezTo>
                    <a:pt x="93" y="158"/>
                    <a:pt x="93" y="157"/>
                    <a:pt x="93" y="157"/>
                  </a:cubicBezTo>
                  <a:cubicBezTo>
                    <a:pt x="93" y="156"/>
                    <a:pt x="93" y="156"/>
                    <a:pt x="94" y="155"/>
                  </a:cubicBezTo>
                  <a:cubicBezTo>
                    <a:pt x="94" y="153"/>
                    <a:pt x="93" y="151"/>
                    <a:pt x="92" y="150"/>
                  </a:cubicBezTo>
                  <a:cubicBezTo>
                    <a:pt x="91" y="149"/>
                    <a:pt x="89" y="147"/>
                    <a:pt x="87" y="148"/>
                  </a:cubicBezTo>
                  <a:cubicBezTo>
                    <a:pt x="86" y="148"/>
                    <a:pt x="85" y="150"/>
                    <a:pt x="84" y="149"/>
                  </a:cubicBezTo>
                  <a:cubicBezTo>
                    <a:pt x="82" y="149"/>
                    <a:pt x="82" y="147"/>
                    <a:pt x="81" y="147"/>
                  </a:cubicBezTo>
                  <a:cubicBezTo>
                    <a:pt x="80" y="147"/>
                    <a:pt x="79" y="147"/>
                    <a:pt x="79" y="147"/>
                  </a:cubicBezTo>
                  <a:cubicBezTo>
                    <a:pt x="78" y="147"/>
                    <a:pt x="78" y="146"/>
                    <a:pt x="78" y="146"/>
                  </a:cubicBezTo>
                  <a:cubicBezTo>
                    <a:pt x="77" y="143"/>
                    <a:pt x="78" y="140"/>
                    <a:pt x="78" y="137"/>
                  </a:cubicBezTo>
                  <a:cubicBezTo>
                    <a:pt x="77" y="136"/>
                    <a:pt x="76" y="135"/>
                    <a:pt x="75" y="134"/>
                  </a:cubicBezTo>
                  <a:cubicBezTo>
                    <a:pt x="74" y="133"/>
                    <a:pt x="74" y="131"/>
                    <a:pt x="72" y="131"/>
                  </a:cubicBezTo>
                  <a:cubicBezTo>
                    <a:pt x="71" y="131"/>
                    <a:pt x="70" y="132"/>
                    <a:pt x="69" y="131"/>
                  </a:cubicBezTo>
                  <a:cubicBezTo>
                    <a:pt x="69" y="130"/>
                    <a:pt x="69" y="129"/>
                    <a:pt x="69" y="129"/>
                  </a:cubicBezTo>
                  <a:cubicBezTo>
                    <a:pt x="69" y="127"/>
                    <a:pt x="69" y="126"/>
                    <a:pt x="69" y="125"/>
                  </a:cubicBezTo>
                  <a:cubicBezTo>
                    <a:pt x="68" y="123"/>
                    <a:pt x="68" y="122"/>
                    <a:pt x="67" y="120"/>
                  </a:cubicBezTo>
                  <a:cubicBezTo>
                    <a:pt x="67" y="119"/>
                    <a:pt x="66" y="118"/>
                    <a:pt x="67" y="116"/>
                  </a:cubicBezTo>
                  <a:cubicBezTo>
                    <a:pt x="67" y="116"/>
                    <a:pt x="67" y="115"/>
                    <a:pt x="68" y="114"/>
                  </a:cubicBezTo>
                  <a:cubicBezTo>
                    <a:pt x="68" y="113"/>
                    <a:pt x="68" y="113"/>
                    <a:pt x="68" y="112"/>
                  </a:cubicBezTo>
                  <a:cubicBezTo>
                    <a:pt x="69" y="111"/>
                    <a:pt x="70" y="111"/>
                    <a:pt x="70" y="110"/>
                  </a:cubicBezTo>
                  <a:cubicBezTo>
                    <a:pt x="70" y="109"/>
                    <a:pt x="69" y="108"/>
                    <a:pt x="69" y="108"/>
                  </a:cubicBezTo>
                  <a:cubicBezTo>
                    <a:pt x="69" y="107"/>
                    <a:pt x="69" y="107"/>
                    <a:pt x="68" y="106"/>
                  </a:cubicBezTo>
                  <a:cubicBezTo>
                    <a:pt x="68" y="105"/>
                    <a:pt x="67" y="105"/>
                    <a:pt x="67" y="104"/>
                  </a:cubicBezTo>
                  <a:cubicBezTo>
                    <a:pt x="67" y="103"/>
                    <a:pt x="66" y="102"/>
                    <a:pt x="66" y="101"/>
                  </a:cubicBezTo>
                  <a:cubicBezTo>
                    <a:pt x="66" y="101"/>
                    <a:pt x="66" y="100"/>
                    <a:pt x="66" y="100"/>
                  </a:cubicBezTo>
                  <a:cubicBezTo>
                    <a:pt x="67" y="99"/>
                    <a:pt x="66" y="97"/>
                    <a:pt x="68" y="97"/>
                  </a:cubicBezTo>
                  <a:cubicBezTo>
                    <a:pt x="69" y="96"/>
                    <a:pt x="70" y="96"/>
                    <a:pt x="71" y="95"/>
                  </a:cubicBezTo>
                  <a:cubicBezTo>
                    <a:pt x="71" y="95"/>
                    <a:pt x="71" y="94"/>
                    <a:pt x="71" y="94"/>
                  </a:cubicBezTo>
                  <a:cubicBezTo>
                    <a:pt x="71" y="92"/>
                    <a:pt x="71" y="91"/>
                    <a:pt x="71" y="89"/>
                  </a:cubicBezTo>
                  <a:cubicBezTo>
                    <a:pt x="71" y="88"/>
                    <a:pt x="71" y="86"/>
                    <a:pt x="71" y="85"/>
                  </a:cubicBezTo>
                  <a:cubicBezTo>
                    <a:pt x="71" y="83"/>
                    <a:pt x="72" y="81"/>
                    <a:pt x="72" y="79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2"/>
                    <a:pt x="74" y="72"/>
                    <a:pt x="74" y="71"/>
                  </a:cubicBezTo>
                  <a:cubicBezTo>
                    <a:pt x="75" y="69"/>
                    <a:pt x="75" y="66"/>
                    <a:pt x="75" y="63"/>
                  </a:cubicBezTo>
                  <a:cubicBezTo>
                    <a:pt x="75" y="61"/>
                    <a:pt x="75" y="58"/>
                    <a:pt x="74" y="56"/>
                  </a:cubicBezTo>
                  <a:cubicBezTo>
                    <a:pt x="73" y="54"/>
                    <a:pt x="72" y="53"/>
                    <a:pt x="72" y="51"/>
                  </a:cubicBezTo>
                  <a:cubicBezTo>
                    <a:pt x="72" y="49"/>
                    <a:pt x="71" y="47"/>
                    <a:pt x="71" y="45"/>
                  </a:cubicBezTo>
                  <a:cubicBezTo>
                    <a:pt x="71" y="44"/>
                    <a:pt x="71" y="43"/>
                    <a:pt x="70" y="41"/>
                  </a:cubicBezTo>
                  <a:cubicBezTo>
                    <a:pt x="70" y="40"/>
                    <a:pt x="69" y="40"/>
                    <a:pt x="69" y="39"/>
                  </a:cubicBezTo>
                  <a:cubicBezTo>
                    <a:pt x="69" y="38"/>
                    <a:pt x="70" y="37"/>
                    <a:pt x="69" y="36"/>
                  </a:cubicBezTo>
                  <a:cubicBezTo>
                    <a:pt x="68" y="34"/>
                    <a:pt x="66" y="32"/>
                    <a:pt x="66" y="31"/>
                  </a:cubicBezTo>
                  <a:cubicBezTo>
                    <a:pt x="65" y="29"/>
                    <a:pt x="65" y="28"/>
                    <a:pt x="64" y="27"/>
                  </a:cubicBezTo>
                  <a:cubicBezTo>
                    <a:pt x="63" y="26"/>
                    <a:pt x="62" y="25"/>
                    <a:pt x="61" y="24"/>
                  </a:cubicBezTo>
                  <a:cubicBezTo>
                    <a:pt x="60" y="23"/>
                    <a:pt x="60" y="22"/>
                    <a:pt x="59" y="21"/>
                  </a:cubicBezTo>
                  <a:cubicBezTo>
                    <a:pt x="57" y="19"/>
                    <a:pt x="54" y="21"/>
                    <a:pt x="52" y="19"/>
                  </a:cubicBezTo>
                  <a:cubicBezTo>
                    <a:pt x="51" y="18"/>
                    <a:pt x="51" y="16"/>
                    <a:pt x="50" y="15"/>
                  </a:cubicBezTo>
                  <a:cubicBezTo>
                    <a:pt x="50" y="14"/>
                    <a:pt x="50" y="13"/>
                    <a:pt x="49" y="12"/>
                  </a:cubicBezTo>
                  <a:cubicBezTo>
                    <a:pt x="49" y="13"/>
                    <a:pt x="49" y="13"/>
                    <a:pt x="48" y="14"/>
                  </a:cubicBezTo>
                  <a:cubicBezTo>
                    <a:pt x="48" y="15"/>
                    <a:pt x="48" y="16"/>
                    <a:pt x="47" y="17"/>
                  </a:cubicBezTo>
                  <a:cubicBezTo>
                    <a:pt x="47" y="18"/>
                    <a:pt x="46" y="18"/>
                    <a:pt x="46" y="19"/>
                  </a:cubicBezTo>
                  <a:cubicBezTo>
                    <a:pt x="46" y="20"/>
                    <a:pt x="46" y="21"/>
                    <a:pt x="45" y="21"/>
                  </a:cubicBezTo>
                  <a:cubicBezTo>
                    <a:pt x="44" y="23"/>
                    <a:pt x="42" y="23"/>
                    <a:pt x="41" y="24"/>
                  </a:cubicBezTo>
                  <a:cubicBezTo>
                    <a:pt x="38" y="25"/>
                    <a:pt x="36" y="25"/>
                    <a:pt x="33" y="25"/>
                  </a:cubicBezTo>
                  <a:cubicBezTo>
                    <a:pt x="31" y="25"/>
                    <a:pt x="29" y="26"/>
                    <a:pt x="28" y="23"/>
                  </a:cubicBezTo>
                  <a:cubicBezTo>
                    <a:pt x="28" y="22"/>
                    <a:pt x="28" y="19"/>
                    <a:pt x="28" y="17"/>
                  </a:cubicBezTo>
                  <a:cubicBezTo>
                    <a:pt x="28" y="15"/>
                    <a:pt x="28" y="13"/>
                    <a:pt x="27" y="11"/>
                  </a:cubicBezTo>
                  <a:cubicBezTo>
                    <a:pt x="27" y="10"/>
                    <a:pt x="27" y="10"/>
                    <a:pt x="26" y="10"/>
                  </a:cubicBezTo>
                  <a:cubicBezTo>
                    <a:pt x="26" y="10"/>
                    <a:pt x="24" y="12"/>
                    <a:pt x="24" y="12"/>
                  </a:cubicBezTo>
                  <a:cubicBezTo>
                    <a:pt x="24" y="13"/>
                    <a:pt x="24" y="13"/>
                    <a:pt x="24" y="14"/>
                  </a:cubicBezTo>
                  <a:cubicBezTo>
                    <a:pt x="23" y="16"/>
                    <a:pt x="22" y="17"/>
                    <a:pt x="20" y="19"/>
                  </a:cubicBezTo>
                  <a:cubicBezTo>
                    <a:pt x="19" y="21"/>
                    <a:pt x="18" y="23"/>
                    <a:pt x="16" y="24"/>
                  </a:cubicBezTo>
                  <a:cubicBezTo>
                    <a:pt x="15" y="25"/>
                    <a:pt x="15" y="26"/>
                    <a:pt x="14" y="27"/>
                  </a:cubicBezTo>
                  <a:cubicBezTo>
                    <a:pt x="13" y="28"/>
                    <a:pt x="13" y="29"/>
                    <a:pt x="12" y="30"/>
                  </a:cubicBezTo>
                  <a:cubicBezTo>
                    <a:pt x="12" y="31"/>
                    <a:pt x="11" y="33"/>
                    <a:pt x="10" y="34"/>
                  </a:cubicBezTo>
                  <a:cubicBezTo>
                    <a:pt x="10" y="36"/>
                    <a:pt x="9" y="37"/>
                    <a:pt x="8" y="38"/>
                  </a:cubicBezTo>
                  <a:cubicBezTo>
                    <a:pt x="6" y="39"/>
                    <a:pt x="2" y="39"/>
                    <a:pt x="1" y="41"/>
                  </a:cubicBezTo>
                  <a:cubicBezTo>
                    <a:pt x="1" y="44"/>
                    <a:pt x="3" y="46"/>
                    <a:pt x="5" y="47"/>
                  </a:cubicBezTo>
                  <a:cubicBezTo>
                    <a:pt x="7" y="51"/>
                    <a:pt x="10" y="56"/>
                    <a:pt x="10" y="60"/>
                  </a:cubicBezTo>
                  <a:cubicBezTo>
                    <a:pt x="11" y="63"/>
                    <a:pt x="8" y="65"/>
                    <a:pt x="7" y="67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8" y="68"/>
                    <a:pt x="9" y="68"/>
                    <a:pt x="10" y="69"/>
                  </a:cubicBezTo>
                  <a:cubicBezTo>
                    <a:pt x="13" y="70"/>
                    <a:pt x="16" y="68"/>
                    <a:pt x="19" y="70"/>
                  </a:cubicBezTo>
                  <a:cubicBezTo>
                    <a:pt x="20" y="72"/>
                    <a:pt x="20" y="76"/>
                    <a:pt x="19" y="77"/>
                  </a:cubicBezTo>
                  <a:cubicBezTo>
                    <a:pt x="18" y="78"/>
                    <a:pt x="18" y="78"/>
                    <a:pt x="18" y="79"/>
                  </a:cubicBezTo>
                  <a:cubicBezTo>
                    <a:pt x="18" y="80"/>
                    <a:pt x="18" y="81"/>
                    <a:pt x="18" y="82"/>
                  </a:cubicBezTo>
                  <a:cubicBezTo>
                    <a:pt x="18" y="86"/>
                    <a:pt x="19" y="90"/>
                    <a:pt x="18" y="93"/>
                  </a:cubicBezTo>
                  <a:cubicBezTo>
                    <a:pt x="18" y="95"/>
                    <a:pt x="18" y="97"/>
                    <a:pt x="18" y="99"/>
                  </a:cubicBezTo>
                  <a:cubicBezTo>
                    <a:pt x="18" y="100"/>
                    <a:pt x="18" y="100"/>
                    <a:pt x="18" y="101"/>
                  </a:cubicBezTo>
                  <a:cubicBezTo>
                    <a:pt x="18" y="101"/>
                    <a:pt x="19" y="102"/>
                    <a:pt x="19" y="103"/>
                  </a:cubicBezTo>
                  <a:cubicBezTo>
                    <a:pt x="19" y="104"/>
                    <a:pt x="19" y="105"/>
                    <a:pt x="18" y="103"/>
                  </a:cubicBezTo>
                  <a:cubicBezTo>
                    <a:pt x="16" y="104"/>
                    <a:pt x="13" y="103"/>
                    <a:pt x="10" y="104"/>
                  </a:cubicBezTo>
                  <a:cubicBezTo>
                    <a:pt x="8" y="104"/>
                    <a:pt x="8" y="107"/>
                    <a:pt x="8" y="108"/>
                  </a:cubicBezTo>
                  <a:cubicBezTo>
                    <a:pt x="8" y="110"/>
                    <a:pt x="7" y="111"/>
                    <a:pt x="7" y="112"/>
                  </a:cubicBezTo>
                  <a:cubicBezTo>
                    <a:pt x="8" y="113"/>
                    <a:pt x="9" y="114"/>
                    <a:pt x="10" y="115"/>
                  </a:cubicBezTo>
                  <a:cubicBezTo>
                    <a:pt x="11" y="116"/>
                    <a:pt x="11" y="117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20"/>
                    <a:pt x="12" y="120"/>
                    <a:pt x="12" y="121"/>
                  </a:cubicBezTo>
                  <a:cubicBezTo>
                    <a:pt x="12" y="121"/>
                    <a:pt x="12" y="123"/>
                    <a:pt x="13" y="123"/>
                  </a:cubicBezTo>
                  <a:cubicBezTo>
                    <a:pt x="13" y="124"/>
                    <a:pt x="15" y="124"/>
                    <a:pt x="15" y="125"/>
                  </a:cubicBezTo>
                  <a:cubicBezTo>
                    <a:pt x="15" y="126"/>
                    <a:pt x="15" y="127"/>
                    <a:pt x="14" y="128"/>
                  </a:cubicBezTo>
                  <a:cubicBezTo>
                    <a:pt x="13" y="131"/>
                    <a:pt x="11" y="133"/>
                    <a:pt x="11" y="135"/>
                  </a:cubicBezTo>
                  <a:cubicBezTo>
                    <a:pt x="11" y="136"/>
                    <a:pt x="11" y="138"/>
                    <a:pt x="12" y="139"/>
                  </a:cubicBezTo>
                  <a:cubicBezTo>
                    <a:pt x="12" y="139"/>
                    <a:pt x="13" y="140"/>
                    <a:pt x="13" y="140"/>
                  </a:cubicBezTo>
                  <a:cubicBezTo>
                    <a:pt x="14" y="141"/>
                    <a:pt x="13" y="142"/>
                    <a:pt x="13" y="143"/>
                  </a:cubicBezTo>
                  <a:cubicBezTo>
                    <a:pt x="13" y="144"/>
                    <a:pt x="13" y="145"/>
                    <a:pt x="13" y="146"/>
                  </a:cubicBezTo>
                  <a:cubicBezTo>
                    <a:pt x="13" y="146"/>
                    <a:pt x="12" y="148"/>
                    <a:pt x="12" y="148"/>
                  </a:cubicBezTo>
                  <a:cubicBezTo>
                    <a:pt x="11" y="147"/>
                    <a:pt x="11" y="146"/>
                    <a:pt x="11" y="145"/>
                  </a:cubicBezTo>
                  <a:cubicBezTo>
                    <a:pt x="11" y="144"/>
                    <a:pt x="11" y="143"/>
                    <a:pt x="11" y="142"/>
                  </a:cubicBezTo>
                  <a:cubicBezTo>
                    <a:pt x="10" y="142"/>
                    <a:pt x="8" y="142"/>
                    <a:pt x="8" y="143"/>
                  </a:cubicBezTo>
                  <a:cubicBezTo>
                    <a:pt x="7" y="143"/>
                    <a:pt x="6" y="144"/>
                    <a:pt x="5" y="144"/>
                  </a:cubicBezTo>
                  <a:cubicBezTo>
                    <a:pt x="2" y="148"/>
                    <a:pt x="3" y="152"/>
                    <a:pt x="3" y="156"/>
                  </a:cubicBezTo>
                  <a:cubicBezTo>
                    <a:pt x="3" y="159"/>
                    <a:pt x="2" y="162"/>
                    <a:pt x="1" y="165"/>
                  </a:cubicBezTo>
                  <a:cubicBezTo>
                    <a:pt x="1" y="166"/>
                    <a:pt x="2" y="167"/>
                    <a:pt x="2" y="167"/>
                  </a:cubicBezTo>
                  <a:cubicBezTo>
                    <a:pt x="2" y="169"/>
                    <a:pt x="0" y="173"/>
                    <a:pt x="2" y="174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2" name="Freeform 32"/>
            <p:cNvSpPr>
              <a:spLocks/>
            </p:cNvSpPr>
            <p:nvPr/>
          </p:nvSpPr>
          <p:spPr bwMode="auto">
            <a:xfrm>
              <a:off x="5467350" y="5711825"/>
              <a:ext cx="266700" cy="236538"/>
            </a:xfrm>
            <a:custGeom>
              <a:avLst/>
              <a:gdLst/>
              <a:ahLst/>
              <a:cxnLst>
                <a:cxn ang="0">
                  <a:pos x="137" y="46"/>
                </a:cxn>
                <a:cxn ang="0">
                  <a:pos x="136" y="39"/>
                </a:cxn>
                <a:cxn ang="0">
                  <a:pos x="135" y="32"/>
                </a:cxn>
                <a:cxn ang="0">
                  <a:pos x="132" y="28"/>
                </a:cxn>
                <a:cxn ang="0">
                  <a:pos x="122" y="25"/>
                </a:cxn>
                <a:cxn ang="0">
                  <a:pos x="117" y="20"/>
                </a:cxn>
                <a:cxn ang="0">
                  <a:pos x="115" y="18"/>
                </a:cxn>
                <a:cxn ang="0">
                  <a:pos x="113" y="12"/>
                </a:cxn>
                <a:cxn ang="0">
                  <a:pos x="99" y="2"/>
                </a:cxn>
                <a:cxn ang="0">
                  <a:pos x="90" y="9"/>
                </a:cxn>
                <a:cxn ang="0">
                  <a:pos x="84" y="6"/>
                </a:cxn>
                <a:cxn ang="0">
                  <a:pos x="74" y="8"/>
                </a:cxn>
                <a:cxn ang="0">
                  <a:pos x="53" y="9"/>
                </a:cxn>
                <a:cxn ang="0">
                  <a:pos x="46" y="22"/>
                </a:cxn>
                <a:cxn ang="0">
                  <a:pos x="39" y="15"/>
                </a:cxn>
                <a:cxn ang="0">
                  <a:pos x="19" y="25"/>
                </a:cxn>
                <a:cxn ang="0">
                  <a:pos x="18" y="33"/>
                </a:cxn>
                <a:cxn ang="0">
                  <a:pos x="9" y="39"/>
                </a:cxn>
                <a:cxn ang="0">
                  <a:pos x="5" y="50"/>
                </a:cxn>
                <a:cxn ang="0">
                  <a:pos x="5" y="60"/>
                </a:cxn>
                <a:cxn ang="0">
                  <a:pos x="0" y="66"/>
                </a:cxn>
                <a:cxn ang="0">
                  <a:pos x="3" y="73"/>
                </a:cxn>
                <a:cxn ang="0">
                  <a:pos x="2" y="79"/>
                </a:cxn>
                <a:cxn ang="0">
                  <a:pos x="3" y="90"/>
                </a:cxn>
                <a:cxn ang="0">
                  <a:pos x="6" y="96"/>
                </a:cxn>
                <a:cxn ang="0">
                  <a:pos x="12" y="111"/>
                </a:cxn>
                <a:cxn ang="0">
                  <a:pos x="18" y="114"/>
                </a:cxn>
                <a:cxn ang="0">
                  <a:pos x="28" y="120"/>
                </a:cxn>
                <a:cxn ang="0">
                  <a:pos x="26" y="125"/>
                </a:cxn>
                <a:cxn ang="0">
                  <a:pos x="36" y="119"/>
                </a:cxn>
                <a:cxn ang="0">
                  <a:pos x="50" y="116"/>
                </a:cxn>
                <a:cxn ang="0">
                  <a:pos x="58" y="115"/>
                </a:cxn>
                <a:cxn ang="0">
                  <a:pos x="66" y="115"/>
                </a:cxn>
                <a:cxn ang="0">
                  <a:pos x="74" y="108"/>
                </a:cxn>
                <a:cxn ang="0">
                  <a:pos x="87" y="96"/>
                </a:cxn>
                <a:cxn ang="0">
                  <a:pos x="95" y="97"/>
                </a:cxn>
                <a:cxn ang="0">
                  <a:pos x="104" y="98"/>
                </a:cxn>
                <a:cxn ang="0">
                  <a:pos x="115" y="99"/>
                </a:cxn>
                <a:cxn ang="0">
                  <a:pos x="124" y="99"/>
                </a:cxn>
                <a:cxn ang="0">
                  <a:pos x="126" y="89"/>
                </a:cxn>
                <a:cxn ang="0">
                  <a:pos x="130" y="85"/>
                </a:cxn>
                <a:cxn ang="0">
                  <a:pos x="137" y="80"/>
                </a:cxn>
                <a:cxn ang="0">
                  <a:pos x="139" y="65"/>
                </a:cxn>
                <a:cxn ang="0">
                  <a:pos x="142" y="54"/>
                </a:cxn>
              </a:cxnLst>
              <a:rect l="0" t="0" r="r" b="b"/>
              <a:pathLst>
                <a:path w="143" h="126">
                  <a:moveTo>
                    <a:pt x="143" y="52"/>
                  </a:moveTo>
                  <a:cubicBezTo>
                    <a:pt x="143" y="50"/>
                    <a:pt x="140" y="50"/>
                    <a:pt x="139" y="49"/>
                  </a:cubicBezTo>
                  <a:cubicBezTo>
                    <a:pt x="138" y="48"/>
                    <a:pt x="138" y="47"/>
                    <a:pt x="137" y="46"/>
                  </a:cubicBezTo>
                  <a:cubicBezTo>
                    <a:pt x="137" y="45"/>
                    <a:pt x="137" y="44"/>
                    <a:pt x="137" y="44"/>
                  </a:cubicBezTo>
                  <a:cubicBezTo>
                    <a:pt x="137" y="43"/>
                    <a:pt x="137" y="42"/>
                    <a:pt x="137" y="41"/>
                  </a:cubicBezTo>
                  <a:cubicBezTo>
                    <a:pt x="137" y="40"/>
                    <a:pt x="136" y="40"/>
                    <a:pt x="136" y="39"/>
                  </a:cubicBezTo>
                  <a:cubicBezTo>
                    <a:pt x="136" y="38"/>
                    <a:pt x="136" y="37"/>
                    <a:pt x="136" y="37"/>
                  </a:cubicBezTo>
                  <a:cubicBezTo>
                    <a:pt x="136" y="36"/>
                    <a:pt x="135" y="36"/>
                    <a:pt x="135" y="35"/>
                  </a:cubicBezTo>
                  <a:cubicBezTo>
                    <a:pt x="135" y="34"/>
                    <a:pt x="135" y="33"/>
                    <a:pt x="135" y="32"/>
                  </a:cubicBezTo>
                  <a:cubicBezTo>
                    <a:pt x="135" y="31"/>
                    <a:pt x="134" y="30"/>
                    <a:pt x="134" y="30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3" y="28"/>
                    <a:pt x="133" y="28"/>
                    <a:pt x="132" y="28"/>
                  </a:cubicBezTo>
                  <a:cubicBezTo>
                    <a:pt x="131" y="28"/>
                    <a:pt x="130" y="27"/>
                    <a:pt x="129" y="27"/>
                  </a:cubicBezTo>
                  <a:cubicBezTo>
                    <a:pt x="128" y="26"/>
                    <a:pt x="127" y="25"/>
                    <a:pt x="126" y="25"/>
                  </a:cubicBezTo>
                  <a:cubicBezTo>
                    <a:pt x="124" y="24"/>
                    <a:pt x="123" y="25"/>
                    <a:pt x="122" y="25"/>
                  </a:cubicBezTo>
                  <a:cubicBezTo>
                    <a:pt x="121" y="24"/>
                    <a:pt x="120" y="24"/>
                    <a:pt x="119" y="24"/>
                  </a:cubicBezTo>
                  <a:cubicBezTo>
                    <a:pt x="118" y="23"/>
                    <a:pt x="118" y="22"/>
                    <a:pt x="118" y="21"/>
                  </a:cubicBezTo>
                  <a:cubicBezTo>
                    <a:pt x="117" y="21"/>
                    <a:pt x="117" y="20"/>
                    <a:pt x="117" y="20"/>
                  </a:cubicBezTo>
                  <a:cubicBezTo>
                    <a:pt x="116" y="20"/>
                    <a:pt x="115" y="20"/>
                    <a:pt x="115" y="20"/>
                  </a:cubicBezTo>
                  <a:cubicBezTo>
                    <a:pt x="115" y="19"/>
                    <a:pt x="115" y="19"/>
                    <a:pt x="115" y="19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15" y="18"/>
                    <a:pt x="115" y="17"/>
                    <a:pt x="115" y="17"/>
                  </a:cubicBezTo>
                  <a:cubicBezTo>
                    <a:pt x="114" y="16"/>
                    <a:pt x="114" y="16"/>
                    <a:pt x="114" y="15"/>
                  </a:cubicBezTo>
                  <a:cubicBezTo>
                    <a:pt x="113" y="14"/>
                    <a:pt x="113" y="13"/>
                    <a:pt x="113" y="12"/>
                  </a:cubicBezTo>
                  <a:cubicBezTo>
                    <a:pt x="112" y="7"/>
                    <a:pt x="112" y="7"/>
                    <a:pt x="112" y="7"/>
                  </a:cubicBezTo>
                  <a:cubicBezTo>
                    <a:pt x="111" y="7"/>
                    <a:pt x="110" y="6"/>
                    <a:pt x="109" y="6"/>
                  </a:cubicBezTo>
                  <a:cubicBezTo>
                    <a:pt x="106" y="4"/>
                    <a:pt x="103" y="0"/>
                    <a:pt x="99" y="2"/>
                  </a:cubicBezTo>
                  <a:cubicBezTo>
                    <a:pt x="97" y="3"/>
                    <a:pt x="96" y="3"/>
                    <a:pt x="95" y="4"/>
                  </a:cubicBezTo>
                  <a:cubicBezTo>
                    <a:pt x="93" y="5"/>
                    <a:pt x="93" y="7"/>
                    <a:pt x="92" y="8"/>
                  </a:cubicBezTo>
                  <a:cubicBezTo>
                    <a:pt x="91" y="9"/>
                    <a:pt x="90" y="9"/>
                    <a:pt x="90" y="9"/>
                  </a:cubicBezTo>
                  <a:cubicBezTo>
                    <a:pt x="88" y="10"/>
                    <a:pt x="89" y="9"/>
                    <a:pt x="88" y="9"/>
                  </a:cubicBezTo>
                  <a:cubicBezTo>
                    <a:pt x="87" y="8"/>
                    <a:pt x="86" y="8"/>
                    <a:pt x="85" y="7"/>
                  </a:cubicBezTo>
                  <a:cubicBezTo>
                    <a:pt x="84" y="7"/>
                    <a:pt x="85" y="7"/>
                    <a:pt x="84" y="6"/>
                  </a:cubicBezTo>
                  <a:cubicBezTo>
                    <a:pt x="83" y="4"/>
                    <a:pt x="82" y="3"/>
                    <a:pt x="80" y="4"/>
                  </a:cubicBezTo>
                  <a:cubicBezTo>
                    <a:pt x="78" y="5"/>
                    <a:pt x="76" y="5"/>
                    <a:pt x="75" y="6"/>
                  </a:cubicBezTo>
                  <a:cubicBezTo>
                    <a:pt x="74" y="7"/>
                    <a:pt x="74" y="8"/>
                    <a:pt x="74" y="8"/>
                  </a:cubicBezTo>
                  <a:cubicBezTo>
                    <a:pt x="73" y="10"/>
                    <a:pt x="73" y="10"/>
                    <a:pt x="71" y="11"/>
                  </a:cubicBezTo>
                  <a:cubicBezTo>
                    <a:pt x="69" y="12"/>
                    <a:pt x="65" y="12"/>
                    <a:pt x="63" y="11"/>
                  </a:cubicBezTo>
                  <a:cubicBezTo>
                    <a:pt x="64" y="8"/>
                    <a:pt x="55" y="8"/>
                    <a:pt x="53" y="9"/>
                  </a:cubicBezTo>
                  <a:cubicBezTo>
                    <a:pt x="53" y="11"/>
                    <a:pt x="49" y="12"/>
                    <a:pt x="50" y="14"/>
                  </a:cubicBezTo>
                  <a:cubicBezTo>
                    <a:pt x="48" y="15"/>
                    <a:pt x="48" y="16"/>
                    <a:pt x="47" y="18"/>
                  </a:cubicBezTo>
                  <a:cubicBezTo>
                    <a:pt x="47" y="19"/>
                    <a:pt x="46" y="21"/>
                    <a:pt x="46" y="22"/>
                  </a:cubicBezTo>
                  <a:cubicBezTo>
                    <a:pt x="45" y="23"/>
                    <a:pt x="43" y="20"/>
                    <a:pt x="42" y="20"/>
                  </a:cubicBezTo>
                  <a:cubicBezTo>
                    <a:pt x="42" y="19"/>
                    <a:pt x="41" y="18"/>
                    <a:pt x="41" y="17"/>
                  </a:cubicBezTo>
                  <a:cubicBezTo>
                    <a:pt x="40" y="16"/>
                    <a:pt x="41" y="16"/>
                    <a:pt x="39" y="15"/>
                  </a:cubicBezTo>
                  <a:cubicBezTo>
                    <a:pt x="36" y="13"/>
                    <a:pt x="32" y="16"/>
                    <a:pt x="29" y="17"/>
                  </a:cubicBezTo>
                  <a:cubicBezTo>
                    <a:pt x="27" y="18"/>
                    <a:pt x="25" y="18"/>
                    <a:pt x="23" y="20"/>
                  </a:cubicBezTo>
                  <a:cubicBezTo>
                    <a:pt x="22" y="21"/>
                    <a:pt x="21" y="23"/>
                    <a:pt x="19" y="25"/>
                  </a:cubicBezTo>
                  <a:cubicBezTo>
                    <a:pt x="19" y="26"/>
                    <a:pt x="18" y="27"/>
                    <a:pt x="18" y="28"/>
                  </a:cubicBezTo>
                  <a:cubicBezTo>
                    <a:pt x="18" y="28"/>
                    <a:pt x="18" y="29"/>
                    <a:pt x="18" y="30"/>
                  </a:cubicBezTo>
                  <a:cubicBezTo>
                    <a:pt x="18" y="31"/>
                    <a:pt x="18" y="32"/>
                    <a:pt x="18" y="33"/>
                  </a:cubicBezTo>
                  <a:cubicBezTo>
                    <a:pt x="17" y="34"/>
                    <a:pt x="16" y="34"/>
                    <a:pt x="15" y="35"/>
                  </a:cubicBezTo>
                  <a:cubicBezTo>
                    <a:pt x="14" y="36"/>
                    <a:pt x="13" y="36"/>
                    <a:pt x="12" y="37"/>
                  </a:cubicBezTo>
                  <a:cubicBezTo>
                    <a:pt x="11" y="38"/>
                    <a:pt x="10" y="39"/>
                    <a:pt x="9" y="39"/>
                  </a:cubicBezTo>
                  <a:cubicBezTo>
                    <a:pt x="9" y="39"/>
                    <a:pt x="8" y="38"/>
                    <a:pt x="8" y="38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46"/>
                    <a:pt x="5" y="48"/>
                    <a:pt x="5" y="50"/>
                  </a:cubicBezTo>
                  <a:cubicBezTo>
                    <a:pt x="5" y="51"/>
                    <a:pt x="5" y="53"/>
                    <a:pt x="5" y="54"/>
                  </a:cubicBezTo>
                  <a:cubicBezTo>
                    <a:pt x="5" y="56"/>
                    <a:pt x="5" y="57"/>
                    <a:pt x="5" y="59"/>
                  </a:cubicBezTo>
                  <a:cubicBezTo>
                    <a:pt x="5" y="59"/>
                    <a:pt x="5" y="60"/>
                    <a:pt x="5" y="60"/>
                  </a:cubicBezTo>
                  <a:cubicBezTo>
                    <a:pt x="4" y="61"/>
                    <a:pt x="3" y="61"/>
                    <a:pt x="2" y="62"/>
                  </a:cubicBezTo>
                  <a:cubicBezTo>
                    <a:pt x="0" y="62"/>
                    <a:pt x="1" y="64"/>
                    <a:pt x="0" y="65"/>
                  </a:cubicBezTo>
                  <a:cubicBezTo>
                    <a:pt x="0" y="65"/>
                    <a:pt x="0" y="66"/>
                    <a:pt x="0" y="66"/>
                  </a:cubicBezTo>
                  <a:cubicBezTo>
                    <a:pt x="0" y="67"/>
                    <a:pt x="1" y="68"/>
                    <a:pt x="1" y="69"/>
                  </a:cubicBezTo>
                  <a:cubicBezTo>
                    <a:pt x="1" y="70"/>
                    <a:pt x="2" y="70"/>
                    <a:pt x="2" y="71"/>
                  </a:cubicBezTo>
                  <a:cubicBezTo>
                    <a:pt x="3" y="72"/>
                    <a:pt x="3" y="72"/>
                    <a:pt x="3" y="73"/>
                  </a:cubicBezTo>
                  <a:cubicBezTo>
                    <a:pt x="3" y="73"/>
                    <a:pt x="4" y="74"/>
                    <a:pt x="4" y="75"/>
                  </a:cubicBezTo>
                  <a:cubicBezTo>
                    <a:pt x="4" y="76"/>
                    <a:pt x="3" y="76"/>
                    <a:pt x="2" y="77"/>
                  </a:cubicBezTo>
                  <a:cubicBezTo>
                    <a:pt x="2" y="78"/>
                    <a:pt x="2" y="78"/>
                    <a:pt x="2" y="79"/>
                  </a:cubicBezTo>
                  <a:cubicBezTo>
                    <a:pt x="1" y="80"/>
                    <a:pt x="1" y="81"/>
                    <a:pt x="1" y="81"/>
                  </a:cubicBezTo>
                  <a:cubicBezTo>
                    <a:pt x="0" y="83"/>
                    <a:pt x="1" y="84"/>
                    <a:pt x="1" y="85"/>
                  </a:cubicBezTo>
                  <a:cubicBezTo>
                    <a:pt x="2" y="87"/>
                    <a:pt x="2" y="88"/>
                    <a:pt x="3" y="90"/>
                  </a:cubicBezTo>
                  <a:cubicBezTo>
                    <a:pt x="3" y="91"/>
                    <a:pt x="3" y="92"/>
                    <a:pt x="3" y="94"/>
                  </a:cubicBezTo>
                  <a:cubicBezTo>
                    <a:pt x="3" y="94"/>
                    <a:pt x="3" y="95"/>
                    <a:pt x="3" y="96"/>
                  </a:cubicBezTo>
                  <a:cubicBezTo>
                    <a:pt x="4" y="97"/>
                    <a:pt x="5" y="96"/>
                    <a:pt x="6" y="96"/>
                  </a:cubicBezTo>
                  <a:cubicBezTo>
                    <a:pt x="8" y="96"/>
                    <a:pt x="8" y="98"/>
                    <a:pt x="9" y="99"/>
                  </a:cubicBezTo>
                  <a:cubicBezTo>
                    <a:pt x="10" y="100"/>
                    <a:pt x="11" y="101"/>
                    <a:pt x="12" y="102"/>
                  </a:cubicBezTo>
                  <a:cubicBezTo>
                    <a:pt x="12" y="105"/>
                    <a:pt x="11" y="108"/>
                    <a:pt x="12" y="111"/>
                  </a:cubicBezTo>
                  <a:cubicBezTo>
                    <a:pt x="12" y="111"/>
                    <a:pt x="12" y="112"/>
                    <a:pt x="13" y="112"/>
                  </a:cubicBezTo>
                  <a:cubicBezTo>
                    <a:pt x="13" y="112"/>
                    <a:pt x="14" y="112"/>
                    <a:pt x="15" y="112"/>
                  </a:cubicBezTo>
                  <a:cubicBezTo>
                    <a:pt x="16" y="112"/>
                    <a:pt x="16" y="114"/>
                    <a:pt x="18" y="114"/>
                  </a:cubicBezTo>
                  <a:cubicBezTo>
                    <a:pt x="19" y="115"/>
                    <a:pt x="20" y="113"/>
                    <a:pt x="21" y="113"/>
                  </a:cubicBezTo>
                  <a:cubicBezTo>
                    <a:pt x="23" y="112"/>
                    <a:pt x="25" y="114"/>
                    <a:pt x="26" y="115"/>
                  </a:cubicBezTo>
                  <a:cubicBezTo>
                    <a:pt x="27" y="116"/>
                    <a:pt x="28" y="118"/>
                    <a:pt x="28" y="120"/>
                  </a:cubicBezTo>
                  <a:cubicBezTo>
                    <a:pt x="27" y="121"/>
                    <a:pt x="27" y="121"/>
                    <a:pt x="27" y="122"/>
                  </a:cubicBezTo>
                  <a:cubicBezTo>
                    <a:pt x="27" y="122"/>
                    <a:pt x="27" y="123"/>
                    <a:pt x="27" y="123"/>
                  </a:cubicBezTo>
                  <a:cubicBezTo>
                    <a:pt x="27" y="124"/>
                    <a:pt x="26" y="124"/>
                    <a:pt x="26" y="125"/>
                  </a:cubicBezTo>
                  <a:cubicBezTo>
                    <a:pt x="25" y="125"/>
                    <a:pt x="25" y="126"/>
                    <a:pt x="25" y="126"/>
                  </a:cubicBezTo>
                  <a:cubicBezTo>
                    <a:pt x="27" y="125"/>
                    <a:pt x="29" y="123"/>
                    <a:pt x="31" y="121"/>
                  </a:cubicBezTo>
                  <a:cubicBezTo>
                    <a:pt x="32" y="120"/>
                    <a:pt x="34" y="119"/>
                    <a:pt x="36" y="119"/>
                  </a:cubicBezTo>
                  <a:cubicBezTo>
                    <a:pt x="37" y="118"/>
                    <a:pt x="39" y="117"/>
                    <a:pt x="40" y="116"/>
                  </a:cubicBezTo>
                  <a:cubicBezTo>
                    <a:pt x="42" y="116"/>
                    <a:pt x="44" y="116"/>
                    <a:pt x="45" y="116"/>
                  </a:cubicBezTo>
                  <a:cubicBezTo>
                    <a:pt x="47" y="116"/>
                    <a:pt x="48" y="116"/>
                    <a:pt x="50" y="116"/>
                  </a:cubicBezTo>
                  <a:cubicBezTo>
                    <a:pt x="52" y="116"/>
                    <a:pt x="53" y="117"/>
                    <a:pt x="55" y="117"/>
                  </a:cubicBezTo>
                  <a:cubicBezTo>
                    <a:pt x="56" y="117"/>
                    <a:pt x="57" y="117"/>
                    <a:pt x="57" y="117"/>
                  </a:cubicBezTo>
                  <a:cubicBezTo>
                    <a:pt x="58" y="116"/>
                    <a:pt x="57" y="116"/>
                    <a:pt x="58" y="115"/>
                  </a:cubicBezTo>
                  <a:cubicBezTo>
                    <a:pt x="58" y="115"/>
                    <a:pt x="59" y="115"/>
                    <a:pt x="59" y="115"/>
                  </a:cubicBezTo>
                  <a:cubicBezTo>
                    <a:pt x="60" y="115"/>
                    <a:pt x="61" y="116"/>
                    <a:pt x="62" y="115"/>
                  </a:cubicBezTo>
                  <a:cubicBezTo>
                    <a:pt x="63" y="115"/>
                    <a:pt x="65" y="115"/>
                    <a:pt x="66" y="115"/>
                  </a:cubicBezTo>
                  <a:cubicBezTo>
                    <a:pt x="67" y="115"/>
                    <a:pt x="69" y="114"/>
                    <a:pt x="70" y="113"/>
                  </a:cubicBezTo>
                  <a:cubicBezTo>
                    <a:pt x="71" y="113"/>
                    <a:pt x="72" y="111"/>
                    <a:pt x="73" y="111"/>
                  </a:cubicBezTo>
                  <a:cubicBezTo>
                    <a:pt x="73" y="110"/>
                    <a:pt x="73" y="109"/>
                    <a:pt x="74" y="108"/>
                  </a:cubicBezTo>
                  <a:cubicBezTo>
                    <a:pt x="75" y="106"/>
                    <a:pt x="78" y="105"/>
                    <a:pt x="79" y="103"/>
                  </a:cubicBezTo>
                  <a:cubicBezTo>
                    <a:pt x="80" y="102"/>
                    <a:pt x="81" y="101"/>
                    <a:pt x="82" y="100"/>
                  </a:cubicBezTo>
                  <a:cubicBezTo>
                    <a:pt x="83" y="98"/>
                    <a:pt x="85" y="96"/>
                    <a:pt x="87" y="96"/>
                  </a:cubicBezTo>
                  <a:cubicBezTo>
                    <a:pt x="87" y="96"/>
                    <a:pt x="88" y="96"/>
                    <a:pt x="89" y="97"/>
                  </a:cubicBezTo>
                  <a:cubicBezTo>
                    <a:pt x="90" y="97"/>
                    <a:pt x="92" y="98"/>
                    <a:pt x="93" y="98"/>
                  </a:cubicBezTo>
                  <a:cubicBezTo>
                    <a:pt x="94" y="98"/>
                    <a:pt x="95" y="97"/>
                    <a:pt x="95" y="97"/>
                  </a:cubicBezTo>
                  <a:cubicBezTo>
                    <a:pt x="96" y="96"/>
                    <a:pt x="97" y="96"/>
                    <a:pt x="98" y="96"/>
                  </a:cubicBezTo>
                  <a:cubicBezTo>
                    <a:pt x="99" y="97"/>
                    <a:pt x="101" y="97"/>
                    <a:pt x="102" y="98"/>
                  </a:cubicBezTo>
                  <a:cubicBezTo>
                    <a:pt x="103" y="98"/>
                    <a:pt x="103" y="98"/>
                    <a:pt x="104" y="98"/>
                  </a:cubicBezTo>
                  <a:cubicBezTo>
                    <a:pt x="104" y="98"/>
                    <a:pt x="105" y="98"/>
                    <a:pt x="105" y="98"/>
                  </a:cubicBezTo>
                  <a:cubicBezTo>
                    <a:pt x="107" y="98"/>
                    <a:pt x="109" y="98"/>
                    <a:pt x="111" y="98"/>
                  </a:cubicBezTo>
                  <a:cubicBezTo>
                    <a:pt x="112" y="98"/>
                    <a:pt x="113" y="99"/>
                    <a:pt x="115" y="99"/>
                  </a:cubicBezTo>
                  <a:cubicBezTo>
                    <a:pt x="116" y="99"/>
                    <a:pt x="117" y="99"/>
                    <a:pt x="118" y="99"/>
                  </a:cubicBezTo>
                  <a:cubicBezTo>
                    <a:pt x="118" y="98"/>
                    <a:pt x="121" y="96"/>
                    <a:pt x="122" y="96"/>
                  </a:cubicBezTo>
                  <a:cubicBezTo>
                    <a:pt x="123" y="97"/>
                    <a:pt x="123" y="99"/>
                    <a:pt x="124" y="99"/>
                  </a:cubicBezTo>
                  <a:cubicBezTo>
                    <a:pt x="125" y="98"/>
                    <a:pt x="125" y="97"/>
                    <a:pt x="125" y="96"/>
                  </a:cubicBezTo>
                  <a:cubicBezTo>
                    <a:pt x="125" y="94"/>
                    <a:pt x="125" y="93"/>
                    <a:pt x="126" y="91"/>
                  </a:cubicBezTo>
                  <a:cubicBezTo>
                    <a:pt x="126" y="90"/>
                    <a:pt x="126" y="90"/>
                    <a:pt x="126" y="89"/>
                  </a:cubicBezTo>
                  <a:cubicBezTo>
                    <a:pt x="126" y="89"/>
                    <a:pt x="126" y="89"/>
                    <a:pt x="127" y="88"/>
                  </a:cubicBezTo>
                  <a:cubicBezTo>
                    <a:pt x="127" y="88"/>
                    <a:pt x="126" y="86"/>
                    <a:pt x="127" y="86"/>
                  </a:cubicBezTo>
                  <a:cubicBezTo>
                    <a:pt x="127" y="84"/>
                    <a:pt x="129" y="85"/>
                    <a:pt x="130" y="85"/>
                  </a:cubicBezTo>
                  <a:cubicBezTo>
                    <a:pt x="131" y="85"/>
                    <a:pt x="132" y="83"/>
                    <a:pt x="133" y="83"/>
                  </a:cubicBezTo>
                  <a:cubicBezTo>
                    <a:pt x="134" y="82"/>
                    <a:pt x="134" y="82"/>
                    <a:pt x="135" y="81"/>
                  </a:cubicBezTo>
                  <a:cubicBezTo>
                    <a:pt x="136" y="81"/>
                    <a:pt x="137" y="81"/>
                    <a:pt x="137" y="80"/>
                  </a:cubicBezTo>
                  <a:cubicBezTo>
                    <a:pt x="138" y="80"/>
                    <a:pt x="138" y="79"/>
                    <a:pt x="138" y="78"/>
                  </a:cubicBezTo>
                  <a:cubicBezTo>
                    <a:pt x="138" y="74"/>
                    <a:pt x="139" y="71"/>
                    <a:pt x="139" y="67"/>
                  </a:cubicBezTo>
                  <a:cubicBezTo>
                    <a:pt x="139" y="66"/>
                    <a:pt x="139" y="65"/>
                    <a:pt x="139" y="65"/>
                  </a:cubicBezTo>
                  <a:cubicBezTo>
                    <a:pt x="138" y="63"/>
                    <a:pt x="137" y="61"/>
                    <a:pt x="137" y="60"/>
                  </a:cubicBezTo>
                  <a:cubicBezTo>
                    <a:pt x="137" y="58"/>
                    <a:pt x="139" y="57"/>
                    <a:pt x="140" y="56"/>
                  </a:cubicBezTo>
                  <a:cubicBezTo>
                    <a:pt x="141" y="55"/>
                    <a:pt x="142" y="55"/>
                    <a:pt x="142" y="54"/>
                  </a:cubicBezTo>
                  <a:cubicBezTo>
                    <a:pt x="142" y="54"/>
                    <a:pt x="142" y="54"/>
                    <a:pt x="142" y="54"/>
                  </a:cubicBezTo>
                  <a:cubicBezTo>
                    <a:pt x="142" y="53"/>
                    <a:pt x="143" y="53"/>
                    <a:pt x="143" y="5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3" name="Freeform 33"/>
            <p:cNvSpPr>
              <a:spLocks noEditPoints="1"/>
            </p:cNvSpPr>
            <p:nvPr/>
          </p:nvSpPr>
          <p:spPr bwMode="auto">
            <a:xfrm>
              <a:off x="5675313" y="5438775"/>
              <a:ext cx="666750" cy="452438"/>
            </a:xfrm>
            <a:custGeom>
              <a:avLst/>
              <a:gdLst/>
              <a:ahLst/>
              <a:cxnLst>
                <a:cxn ang="0">
                  <a:pos x="357" y="62"/>
                </a:cxn>
                <a:cxn ang="0">
                  <a:pos x="346" y="45"/>
                </a:cxn>
                <a:cxn ang="0">
                  <a:pos x="318" y="38"/>
                </a:cxn>
                <a:cxn ang="0">
                  <a:pos x="312" y="26"/>
                </a:cxn>
                <a:cxn ang="0">
                  <a:pos x="298" y="24"/>
                </a:cxn>
                <a:cxn ang="0">
                  <a:pos x="287" y="21"/>
                </a:cxn>
                <a:cxn ang="0">
                  <a:pos x="272" y="13"/>
                </a:cxn>
                <a:cxn ang="0">
                  <a:pos x="241" y="16"/>
                </a:cxn>
                <a:cxn ang="0">
                  <a:pos x="206" y="25"/>
                </a:cxn>
                <a:cxn ang="0">
                  <a:pos x="190" y="41"/>
                </a:cxn>
                <a:cxn ang="0">
                  <a:pos x="173" y="50"/>
                </a:cxn>
                <a:cxn ang="0">
                  <a:pos x="147" y="44"/>
                </a:cxn>
                <a:cxn ang="0">
                  <a:pos x="111" y="44"/>
                </a:cxn>
                <a:cxn ang="0">
                  <a:pos x="79" y="36"/>
                </a:cxn>
                <a:cxn ang="0">
                  <a:pos x="38" y="33"/>
                </a:cxn>
                <a:cxn ang="0">
                  <a:pos x="31" y="15"/>
                </a:cxn>
                <a:cxn ang="0">
                  <a:pos x="16" y="9"/>
                </a:cxn>
                <a:cxn ang="0">
                  <a:pos x="5" y="21"/>
                </a:cxn>
                <a:cxn ang="0">
                  <a:pos x="4" y="44"/>
                </a:cxn>
                <a:cxn ang="0">
                  <a:pos x="7" y="52"/>
                </a:cxn>
                <a:cxn ang="0">
                  <a:pos x="8" y="62"/>
                </a:cxn>
                <a:cxn ang="0">
                  <a:pos x="22" y="72"/>
                </a:cxn>
                <a:cxn ang="0">
                  <a:pos x="31" y="84"/>
                </a:cxn>
                <a:cxn ang="0">
                  <a:pos x="16" y="105"/>
                </a:cxn>
                <a:cxn ang="0">
                  <a:pos x="1" y="108"/>
                </a:cxn>
                <a:cxn ang="0">
                  <a:pos x="1" y="131"/>
                </a:cxn>
                <a:cxn ang="0">
                  <a:pos x="9" y="147"/>
                </a:cxn>
                <a:cxn ang="0">
                  <a:pos x="4" y="163"/>
                </a:cxn>
                <a:cxn ang="0">
                  <a:pos x="7" y="167"/>
                </a:cxn>
                <a:cxn ang="0">
                  <a:pos x="21" y="174"/>
                </a:cxn>
                <a:cxn ang="0">
                  <a:pos x="25" y="183"/>
                </a:cxn>
                <a:cxn ang="0">
                  <a:pos x="28" y="195"/>
                </a:cxn>
                <a:cxn ang="0">
                  <a:pos x="26" y="206"/>
                </a:cxn>
                <a:cxn ang="0">
                  <a:pos x="27" y="226"/>
                </a:cxn>
                <a:cxn ang="0">
                  <a:pos x="49" y="230"/>
                </a:cxn>
                <a:cxn ang="0">
                  <a:pos x="76" y="226"/>
                </a:cxn>
                <a:cxn ang="0">
                  <a:pos x="91" y="216"/>
                </a:cxn>
                <a:cxn ang="0">
                  <a:pos x="105" y="216"/>
                </a:cxn>
                <a:cxn ang="0">
                  <a:pos x="116" y="223"/>
                </a:cxn>
                <a:cxn ang="0">
                  <a:pos x="129" y="235"/>
                </a:cxn>
                <a:cxn ang="0">
                  <a:pos x="146" y="237"/>
                </a:cxn>
                <a:cxn ang="0">
                  <a:pos x="162" y="242"/>
                </a:cxn>
                <a:cxn ang="0">
                  <a:pos x="189" y="238"/>
                </a:cxn>
                <a:cxn ang="0">
                  <a:pos x="206" y="227"/>
                </a:cxn>
                <a:cxn ang="0">
                  <a:pos x="209" y="205"/>
                </a:cxn>
                <a:cxn ang="0">
                  <a:pos x="230" y="198"/>
                </a:cxn>
                <a:cxn ang="0">
                  <a:pos x="238" y="189"/>
                </a:cxn>
                <a:cxn ang="0">
                  <a:pos x="266" y="179"/>
                </a:cxn>
                <a:cxn ang="0">
                  <a:pos x="286" y="191"/>
                </a:cxn>
                <a:cxn ang="0">
                  <a:pos x="310" y="189"/>
                </a:cxn>
                <a:cxn ang="0">
                  <a:pos x="302" y="169"/>
                </a:cxn>
                <a:cxn ang="0">
                  <a:pos x="301" y="156"/>
                </a:cxn>
                <a:cxn ang="0">
                  <a:pos x="284" y="148"/>
                </a:cxn>
                <a:cxn ang="0">
                  <a:pos x="292" y="140"/>
                </a:cxn>
                <a:cxn ang="0">
                  <a:pos x="299" y="132"/>
                </a:cxn>
                <a:cxn ang="0">
                  <a:pos x="313" y="121"/>
                </a:cxn>
                <a:cxn ang="0">
                  <a:pos x="310" y="108"/>
                </a:cxn>
                <a:cxn ang="0">
                  <a:pos x="314" y="90"/>
                </a:cxn>
                <a:cxn ang="0">
                  <a:pos x="320" y="76"/>
                </a:cxn>
                <a:cxn ang="0">
                  <a:pos x="339" y="74"/>
                </a:cxn>
                <a:cxn ang="0">
                  <a:pos x="356" y="69"/>
                </a:cxn>
              </a:cxnLst>
              <a:rect l="0" t="0" r="r" b="b"/>
              <a:pathLst>
                <a:path w="357" h="242">
                  <a:moveTo>
                    <a:pt x="345" y="45"/>
                  </a:moveTo>
                  <a:cubicBezTo>
                    <a:pt x="345" y="45"/>
                    <a:pt x="346" y="45"/>
                    <a:pt x="346" y="45"/>
                  </a:cubicBezTo>
                  <a:cubicBezTo>
                    <a:pt x="346" y="45"/>
                    <a:pt x="347" y="45"/>
                    <a:pt x="347" y="45"/>
                  </a:cubicBezTo>
                  <a:lnTo>
                    <a:pt x="345" y="45"/>
                  </a:lnTo>
                  <a:close/>
                  <a:moveTo>
                    <a:pt x="357" y="62"/>
                  </a:moveTo>
                  <a:cubicBezTo>
                    <a:pt x="357" y="62"/>
                    <a:pt x="357" y="61"/>
                    <a:pt x="356" y="60"/>
                  </a:cubicBezTo>
                  <a:cubicBezTo>
                    <a:pt x="356" y="59"/>
                    <a:pt x="354" y="59"/>
                    <a:pt x="354" y="58"/>
                  </a:cubicBezTo>
                  <a:cubicBezTo>
                    <a:pt x="353" y="57"/>
                    <a:pt x="353" y="54"/>
                    <a:pt x="352" y="53"/>
                  </a:cubicBezTo>
                  <a:cubicBezTo>
                    <a:pt x="351" y="51"/>
                    <a:pt x="350" y="50"/>
                    <a:pt x="350" y="48"/>
                  </a:cubicBezTo>
                  <a:cubicBezTo>
                    <a:pt x="349" y="48"/>
                    <a:pt x="347" y="46"/>
                    <a:pt x="346" y="45"/>
                  </a:cubicBezTo>
                  <a:cubicBezTo>
                    <a:pt x="343" y="45"/>
                    <a:pt x="339" y="45"/>
                    <a:pt x="336" y="45"/>
                  </a:cubicBezTo>
                  <a:cubicBezTo>
                    <a:pt x="333" y="44"/>
                    <a:pt x="331" y="43"/>
                    <a:pt x="329" y="43"/>
                  </a:cubicBezTo>
                  <a:cubicBezTo>
                    <a:pt x="326" y="42"/>
                    <a:pt x="323" y="42"/>
                    <a:pt x="321" y="41"/>
                  </a:cubicBezTo>
                  <a:cubicBezTo>
                    <a:pt x="320" y="41"/>
                    <a:pt x="319" y="40"/>
                    <a:pt x="319" y="39"/>
                  </a:cubicBezTo>
                  <a:cubicBezTo>
                    <a:pt x="318" y="39"/>
                    <a:pt x="319" y="38"/>
                    <a:pt x="318" y="38"/>
                  </a:cubicBezTo>
                  <a:cubicBezTo>
                    <a:pt x="318" y="36"/>
                    <a:pt x="317" y="36"/>
                    <a:pt x="316" y="35"/>
                  </a:cubicBezTo>
                  <a:cubicBezTo>
                    <a:pt x="316" y="35"/>
                    <a:pt x="316" y="34"/>
                    <a:pt x="316" y="34"/>
                  </a:cubicBezTo>
                  <a:cubicBezTo>
                    <a:pt x="315" y="34"/>
                    <a:pt x="315" y="34"/>
                    <a:pt x="314" y="33"/>
                  </a:cubicBezTo>
                  <a:cubicBezTo>
                    <a:pt x="313" y="32"/>
                    <a:pt x="314" y="31"/>
                    <a:pt x="313" y="30"/>
                  </a:cubicBezTo>
                  <a:cubicBezTo>
                    <a:pt x="313" y="28"/>
                    <a:pt x="313" y="28"/>
                    <a:pt x="312" y="26"/>
                  </a:cubicBezTo>
                  <a:cubicBezTo>
                    <a:pt x="311" y="26"/>
                    <a:pt x="311" y="25"/>
                    <a:pt x="311" y="25"/>
                  </a:cubicBezTo>
                  <a:cubicBezTo>
                    <a:pt x="311" y="24"/>
                    <a:pt x="311" y="24"/>
                    <a:pt x="311" y="23"/>
                  </a:cubicBezTo>
                  <a:cubicBezTo>
                    <a:pt x="310" y="21"/>
                    <a:pt x="305" y="25"/>
                    <a:pt x="304" y="26"/>
                  </a:cubicBezTo>
                  <a:cubicBezTo>
                    <a:pt x="303" y="26"/>
                    <a:pt x="301" y="26"/>
                    <a:pt x="300" y="26"/>
                  </a:cubicBezTo>
                  <a:cubicBezTo>
                    <a:pt x="300" y="26"/>
                    <a:pt x="299" y="24"/>
                    <a:pt x="298" y="24"/>
                  </a:cubicBezTo>
                  <a:cubicBezTo>
                    <a:pt x="298" y="23"/>
                    <a:pt x="297" y="23"/>
                    <a:pt x="297" y="22"/>
                  </a:cubicBezTo>
                  <a:cubicBezTo>
                    <a:pt x="296" y="20"/>
                    <a:pt x="297" y="20"/>
                    <a:pt x="294" y="20"/>
                  </a:cubicBezTo>
                  <a:cubicBezTo>
                    <a:pt x="293" y="20"/>
                    <a:pt x="292" y="20"/>
                    <a:pt x="291" y="20"/>
                  </a:cubicBezTo>
                  <a:cubicBezTo>
                    <a:pt x="291" y="20"/>
                    <a:pt x="289" y="21"/>
                    <a:pt x="289" y="21"/>
                  </a:cubicBezTo>
                  <a:cubicBezTo>
                    <a:pt x="288" y="21"/>
                    <a:pt x="288" y="21"/>
                    <a:pt x="287" y="21"/>
                  </a:cubicBezTo>
                  <a:cubicBezTo>
                    <a:pt x="286" y="20"/>
                    <a:pt x="284" y="19"/>
                    <a:pt x="283" y="19"/>
                  </a:cubicBezTo>
                  <a:cubicBezTo>
                    <a:pt x="282" y="19"/>
                    <a:pt x="280" y="19"/>
                    <a:pt x="280" y="19"/>
                  </a:cubicBezTo>
                  <a:cubicBezTo>
                    <a:pt x="279" y="19"/>
                    <a:pt x="278" y="18"/>
                    <a:pt x="277" y="18"/>
                  </a:cubicBezTo>
                  <a:cubicBezTo>
                    <a:pt x="276" y="17"/>
                    <a:pt x="275" y="17"/>
                    <a:pt x="274" y="16"/>
                  </a:cubicBezTo>
                  <a:cubicBezTo>
                    <a:pt x="273" y="15"/>
                    <a:pt x="273" y="14"/>
                    <a:pt x="272" y="13"/>
                  </a:cubicBezTo>
                  <a:cubicBezTo>
                    <a:pt x="270" y="12"/>
                    <a:pt x="268" y="11"/>
                    <a:pt x="267" y="11"/>
                  </a:cubicBezTo>
                  <a:cubicBezTo>
                    <a:pt x="266" y="10"/>
                    <a:pt x="264" y="9"/>
                    <a:pt x="263" y="9"/>
                  </a:cubicBezTo>
                  <a:cubicBezTo>
                    <a:pt x="260" y="8"/>
                    <a:pt x="258" y="10"/>
                    <a:pt x="256" y="11"/>
                  </a:cubicBezTo>
                  <a:cubicBezTo>
                    <a:pt x="253" y="13"/>
                    <a:pt x="251" y="14"/>
                    <a:pt x="248" y="15"/>
                  </a:cubicBezTo>
                  <a:cubicBezTo>
                    <a:pt x="246" y="16"/>
                    <a:pt x="244" y="16"/>
                    <a:pt x="241" y="16"/>
                  </a:cubicBezTo>
                  <a:cubicBezTo>
                    <a:pt x="239" y="16"/>
                    <a:pt x="236" y="16"/>
                    <a:pt x="234" y="16"/>
                  </a:cubicBezTo>
                  <a:cubicBezTo>
                    <a:pt x="231" y="16"/>
                    <a:pt x="228" y="18"/>
                    <a:pt x="225" y="19"/>
                  </a:cubicBezTo>
                  <a:cubicBezTo>
                    <a:pt x="224" y="20"/>
                    <a:pt x="223" y="20"/>
                    <a:pt x="221" y="21"/>
                  </a:cubicBezTo>
                  <a:cubicBezTo>
                    <a:pt x="218" y="21"/>
                    <a:pt x="216" y="21"/>
                    <a:pt x="214" y="22"/>
                  </a:cubicBezTo>
                  <a:cubicBezTo>
                    <a:pt x="211" y="23"/>
                    <a:pt x="208" y="23"/>
                    <a:pt x="206" y="25"/>
                  </a:cubicBezTo>
                  <a:cubicBezTo>
                    <a:pt x="205" y="25"/>
                    <a:pt x="204" y="26"/>
                    <a:pt x="203" y="27"/>
                  </a:cubicBezTo>
                  <a:cubicBezTo>
                    <a:pt x="201" y="28"/>
                    <a:pt x="199" y="29"/>
                    <a:pt x="198" y="30"/>
                  </a:cubicBezTo>
                  <a:cubicBezTo>
                    <a:pt x="198" y="31"/>
                    <a:pt x="198" y="32"/>
                    <a:pt x="198" y="33"/>
                  </a:cubicBezTo>
                  <a:cubicBezTo>
                    <a:pt x="198" y="35"/>
                    <a:pt x="197" y="36"/>
                    <a:pt x="195" y="37"/>
                  </a:cubicBezTo>
                  <a:cubicBezTo>
                    <a:pt x="194" y="38"/>
                    <a:pt x="191" y="39"/>
                    <a:pt x="190" y="41"/>
                  </a:cubicBezTo>
                  <a:cubicBezTo>
                    <a:pt x="190" y="42"/>
                    <a:pt x="191" y="43"/>
                    <a:pt x="190" y="44"/>
                  </a:cubicBezTo>
                  <a:cubicBezTo>
                    <a:pt x="189" y="46"/>
                    <a:pt x="187" y="45"/>
                    <a:pt x="185" y="45"/>
                  </a:cubicBezTo>
                  <a:cubicBezTo>
                    <a:pt x="183" y="45"/>
                    <a:pt x="182" y="45"/>
                    <a:pt x="180" y="47"/>
                  </a:cubicBezTo>
                  <a:cubicBezTo>
                    <a:pt x="179" y="48"/>
                    <a:pt x="178" y="48"/>
                    <a:pt x="176" y="49"/>
                  </a:cubicBezTo>
                  <a:cubicBezTo>
                    <a:pt x="175" y="50"/>
                    <a:pt x="175" y="50"/>
                    <a:pt x="173" y="50"/>
                  </a:cubicBezTo>
                  <a:cubicBezTo>
                    <a:pt x="171" y="50"/>
                    <a:pt x="168" y="48"/>
                    <a:pt x="165" y="48"/>
                  </a:cubicBezTo>
                  <a:cubicBezTo>
                    <a:pt x="165" y="48"/>
                    <a:pt x="165" y="48"/>
                    <a:pt x="164" y="48"/>
                  </a:cubicBezTo>
                  <a:cubicBezTo>
                    <a:pt x="163" y="48"/>
                    <a:pt x="162" y="47"/>
                    <a:pt x="161" y="47"/>
                  </a:cubicBezTo>
                  <a:cubicBezTo>
                    <a:pt x="159" y="46"/>
                    <a:pt x="156" y="45"/>
                    <a:pt x="153" y="44"/>
                  </a:cubicBezTo>
                  <a:cubicBezTo>
                    <a:pt x="151" y="44"/>
                    <a:pt x="149" y="44"/>
                    <a:pt x="147" y="44"/>
                  </a:cubicBezTo>
                  <a:cubicBezTo>
                    <a:pt x="145" y="44"/>
                    <a:pt x="143" y="41"/>
                    <a:pt x="141" y="40"/>
                  </a:cubicBezTo>
                  <a:cubicBezTo>
                    <a:pt x="138" y="39"/>
                    <a:pt x="138" y="40"/>
                    <a:pt x="136" y="41"/>
                  </a:cubicBezTo>
                  <a:cubicBezTo>
                    <a:pt x="134" y="42"/>
                    <a:pt x="132" y="42"/>
                    <a:pt x="130" y="42"/>
                  </a:cubicBezTo>
                  <a:cubicBezTo>
                    <a:pt x="126" y="41"/>
                    <a:pt x="122" y="40"/>
                    <a:pt x="118" y="41"/>
                  </a:cubicBezTo>
                  <a:cubicBezTo>
                    <a:pt x="115" y="41"/>
                    <a:pt x="113" y="43"/>
                    <a:pt x="111" y="44"/>
                  </a:cubicBezTo>
                  <a:cubicBezTo>
                    <a:pt x="109" y="45"/>
                    <a:pt x="105" y="45"/>
                    <a:pt x="103" y="45"/>
                  </a:cubicBezTo>
                  <a:cubicBezTo>
                    <a:pt x="99" y="44"/>
                    <a:pt x="97" y="40"/>
                    <a:pt x="93" y="40"/>
                  </a:cubicBezTo>
                  <a:cubicBezTo>
                    <a:pt x="92" y="40"/>
                    <a:pt x="92" y="41"/>
                    <a:pt x="91" y="41"/>
                  </a:cubicBezTo>
                  <a:cubicBezTo>
                    <a:pt x="90" y="41"/>
                    <a:pt x="88" y="40"/>
                    <a:pt x="87" y="39"/>
                  </a:cubicBezTo>
                  <a:cubicBezTo>
                    <a:pt x="84" y="38"/>
                    <a:pt x="82" y="37"/>
                    <a:pt x="79" y="36"/>
                  </a:cubicBezTo>
                  <a:cubicBezTo>
                    <a:pt x="78" y="35"/>
                    <a:pt x="76" y="35"/>
                    <a:pt x="75" y="35"/>
                  </a:cubicBezTo>
                  <a:cubicBezTo>
                    <a:pt x="73" y="34"/>
                    <a:pt x="72" y="33"/>
                    <a:pt x="70" y="33"/>
                  </a:cubicBezTo>
                  <a:cubicBezTo>
                    <a:pt x="67" y="31"/>
                    <a:pt x="64" y="31"/>
                    <a:pt x="61" y="31"/>
                  </a:cubicBezTo>
                  <a:cubicBezTo>
                    <a:pt x="56" y="31"/>
                    <a:pt x="52" y="30"/>
                    <a:pt x="47" y="30"/>
                  </a:cubicBezTo>
                  <a:cubicBezTo>
                    <a:pt x="43" y="30"/>
                    <a:pt x="41" y="34"/>
                    <a:pt x="38" y="33"/>
                  </a:cubicBezTo>
                  <a:cubicBezTo>
                    <a:pt x="36" y="33"/>
                    <a:pt x="35" y="32"/>
                    <a:pt x="33" y="32"/>
                  </a:cubicBezTo>
                  <a:cubicBezTo>
                    <a:pt x="31" y="32"/>
                    <a:pt x="30" y="32"/>
                    <a:pt x="28" y="31"/>
                  </a:cubicBezTo>
                  <a:cubicBezTo>
                    <a:pt x="26" y="29"/>
                    <a:pt x="26" y="24"/>
                    <a:pt x="26" y="22"/>
                  </a:cubicBezTo>
                  <a:cubicBezTo>
                    <a:pt x="26" y="21"/>
                    <a:pt x="26" y="18"/>
                    <a:pt x="27" y="18"/>
                  </a:cubicBezTo>
                  <a:cubicBezTo>
                    <a:pt x="28" y="17"/>
                    <a:pt x="30" y="16"/>
                    <a:pt x="31" y="15"/>
                  </a:cubicBezTo>
                  <a:cubicBezTo>
                    <a:pt x="33" y="14"/>
                    <a:pt x="36" y="13"/>
                    <a:pt x="35" y="10"/>
                  </a:cubicBezTo>
                  <a:cubicBezTo>
                    <a:pt x="34" y="7"/>
                    <a:pt x="29" y="6"/>
                    <a:pt x="26" y="4"/>
                  </a:cubicBezTo>
                  <a:cubicBezTo>
                    <a:pt x="25" y="3"/>
                    <a:pt x="24" y="2"/>
                    <a:pt x="22" y="1"/>
                  </a:cubicBezTo>
                  <a:cubicBezTo>
                    <a:pt x="20" y="1"/>
                    <a:pt x="18" y="0"/>
                    <a:pt x="16" y="0"/>
                  </a:cubicBezTo>
                  <a:cubicBezTo>
                    <a:pt x="16" y="3"/>
                    <a:pt x="16" y="6"/>
                    <a:pt x="16" y="9"/>
                  </a:cubicBezTo>
                  <a:cubicBezTo>
                    <a:pt x="16" y="10"/>
                    <a:pt x="16" y="11"/>
                    <a:pt x="15" y="12"/>
                  </a:cubicBezTo>
                  <a:cubicBezTo>
                    <a:pt x="15" y="12"/>
                    <a:pt x="13" y="12"/>
                    <a:pt x="12" y="12"/>
                  </a:cubicBezTo>
                  <a:cubicBezTo>
                    <a:pt x="12" y="12"/>
                    <a:pt x="10" y="12"/>
                    <a:pt x="10" y="13"/>
                  </a:cubicBezTo>
                  <a:cubicBezTo>
                    <a:pt x="8" y="14"/>
                    <a:pt x="8" y="17"/>
                    <a:pt x="6" y="19"/>
                  </a:cubicBezTo>
                  <a:cubicBezTo>
                    <a:pt x="6" y="20"/>
                    <a:pt x="5" y="20"/>
                    <a:pt x="5" y="21"/>
                  </a:cubicBezTo>
                  <a:cubicBezTo>
                    <a:pt x="5" y="22"/>
                    <a:pt x="5" y="22"/>
                    <a:pt x="5" y="23"/>
                  </a:cubicBezTo>
                  <a:cubicBezTo>
                    <a:pt x="4" y="25"/>
                    <a:pt x="3" y="25"/>
                    <a:pt x="2" y="26"/>
                  </a:cubicBezTo>
                  <a:cubicBezTo>
                    <a:pt x="2" y="27"/>
                    <a:pt x="1" y="28"/>
                    <a:pt x="1" y="30"/>
                  </a:cubicBezTo>
                  <a:cubicBezTo>
                    <a:pt x="1" y="32"/>
                    <a:pt x="1" y="37"/>
                    <a:pt x="1" y="39"/>
                  </a:cubicBezTo>
                  <a:cubicBezTo>
                    <a:pt x="2" y="41"/>
                    <a:pt x="3" y="43"/>
                    <a:pt x="4" y="44"/>
                  </a:cubicBezTo>
                  <a:cubicBezTo>
                    <a:pt x="4" y="44"/>
                    <a:pt x="4" y="45"/>
                    <a:pt x="4" y="45"/>
                  </a:cubicBezTo>
                  <a:cubicBezTo>
                    <a:pt x="5" y="45"/>
                    <a:pt x="5" y="45"/>
                    <a:pt x="5" y="46"/>
                  </a:cubicBezTo>
                  <a:cubicBezTo>
                    <a:pt x="6" y="46"/>
                    <a:pt x="5" y="48"/>
                    <a:pt x="6" y="49"/>
                  </a:cubicBezTo>
                  <a:cubicBezTo>
                    <a:pt x="6" y="50"/>
                    <a:pt x="6" y="49"/>
                    <a:pt x="7" y="50"/>
                  </a:cubicBezTo>
                  <a:cubicBezTo>
                    <a:pt x="7" y="50"/>
                    <a:pt x="7" y="51"/>
                    <a:pt x="7" y="52"/>
                  </a:cubicBezTo>
                  <a:cubicBezTo>
                    <a:pt x="7" y="53"/>
                    <a:pt x="8" y="54"/>
                    <a:pt x="8" y="54"/>
                  </a:cubicBezTo>
                  <a:cubicBezTo>
                    <a:pt x="8" y="55"/>
                    <a:pt x="9" y="56"/>
                    <a:pt x="9" y="56"/>
                  </a:cubicBezTo>
                  <a:cubicBezTo>
                    <a:pt x="10" y="57"/>
                    <a:pt x="10" y="57"/>
                    <a:pt x="11" y="58"/>
                  </a:cubicBezTo>
                  <a:cubicBezTo>
                    <a:pt x="12" y="60"/>
                    <a:pt x="13" y="61"/>
                    <a:pt x="14" y="63"/>
                  </a:cubicBezTo>
                  <a:cubicBezTo>
                    <a:pt x="12" y="64"/>
                    <a:pt x="10" y="62"/>
                    <a:pt x="8" y="62"/>
                  </a:cubicBezTo>
                  <a:cubicBezTo>
                    <a:pt x="7" y="62"/>
                    <a:pt x="7" y="65"/>
                    <a:pt x="8" y="66"/>
                  </a:cubicBezTo>
                  <a:cubicBezTo>
                    <a:pt x="9" y="66"/>
                    <a:pt x="11" y="66"/>
                    <a:pt x="12" y="66"/>
                  </a:cubicBezTo>
                  <a:cubicBezTo>
                    <a:pt x="14" y="67"/>
                    <a:pt x="16" y="66"/>
                    <a:pt x="17" y="67"/>
                  </a:cubicBezTo>
                  <a:cubicBezTo>
                    <a:pt x="19" y="67"/>
                    <a:pt x="19" y="68"/>
                    <a:pt x="20" y="69"/>
                  </a:cubicBezTo>
                  <a:cubicBezTo>
                    <a:pt x="21" y="70"/>
                    <a:pt x="21" y="71"/>
                    <a:pt x="22" y="72"/>
                  </a:cubicBezTo>
                  <a:cubicBezTo>
                    <a:pt x="23" y="73"/>
                    <a:pt x="24" y="73"/>
                    <a:pt x="24" y="74"/>
                  </a:cubicBezTo>
                  <a:cubicBezTo>
                    <a:pt x="24" y="76"/>
                    <a:pt x="26" y="78"/>
                    <a:pt x="27" y="79"/>
                  </a:cubicBezTo>
                  <a:cubicBezTo>
                    <a:pt x="28" y="80"/>
                    <a:pt x="29" y="81"/>
                    <a:pt x="29" y="82"/>
                  </a:cubicBezTo>
                  <a:cubicBezTo>
                    <a:pt x="29" y="82"/>
                    <a:pt x="30" y="83"/>
                    <a:pt x="30" y="83"/>
                  </a:cubicBezTo>
                  <a:cubicBezTo>
                    <a:pt x="30" y="84"/>
                    <a:pt x="31" y="84"/>
                    <a:pt x="31" y="84"/>
                  </a:cubicBezTo>
                  <a:cubicBezTo>
                    <a:pt x="32" y="87"/>
                    <a:pt x="29" y="89"/>
                    <a:pt x="28" y="90"/>
                  </a:cubicBezTo>
                  <a:cubicBezTo>
                    <a:pt x="27" y="92"/>
                    <a:pt x="24" y="92"/>
                    <a:pt x="22" y="94"/>
                  </a:cubicBezTo>
                  <a:cubicBezTo>
                    <a:pt x="20" y="96"/>
                    <a:pt x="20" y="98"/>
                    <a:pt x="19" y="100"/>
                  </a:cubicBezTo>
                  <a:cubicBezTo>
                    <a:pt x="19" y="101"/>
                    <a:pt x="19" y="103"/>
                    <a:pt x="19" y="103"/>
                  </a:cubicBezTo>
                  <a:cubicBezTo>
                    <a:pt x="18" y="104"/>
                    <a:pt x="16" y="105"/>
                    <a:pt x="16" y="105"/>
                  </a:cubicBezTo>
                  <a:cubicBezTo>
                    <a:pt x="15" y="106"/>
                    <a:pt x="15" y="105"/>
                    <a:pt x="14" y="106"/>
                  </a:cubicBezTo>
                  <a:cubicBezTo>
                    <a:pt x="13" y="106"/>
                    <a:pt x="13" y="106"/>
                    <a:pt x="12" y="107"/>
                  </a:cubicBezTo>
                  <a:cubicBezTo>
                    <a:pt x="11" y="107"/>
                    <a:pt x="11" y="106"/>
                    <a:pt x="10" y="106"/>
                  </a:cubicBezTo>
                  <a:cubicBezTo>
                    <a:pt x="9" y="106"/>
                    <a:pt x="8" y="106"/>
                    <a:pt x="7" y="106"/>
                  </a:cubicBezTo>
                  <a:cubicBezTo>
                    <a:pt x="6" y="106"/>
                    <a:pt x="2" y="107"/>
                    <a:pt x="1" y="108"/>
                  </a:cubicBezTo>
                  <a:cubicBezTo>
                    <a:pt x="1" y="109"/>
                    <a:pt x="1" y="111"/>
                    <a:pt x="1" y="112"/>
                  </a:cubicBezTo>
                  <a:cubicBezTo>
                    <a:pt x="1" y="113"/>
                    <a:pt x="2" y="114"/>
                    <a:pt x="2" y="115"/>
                  </a:cubicBezTo>
                  <a:cubicBezTo>
                    <a:pt x="3" y="117"/>
                    <a:pt x="2" y="119"/>
                    <a:pt x="1" y="121"/>
                  </a:cubicBezTo>
                  <a:cubicBezTo>
                    <a:pt x="1" y="123"/>
                    <a:pt x="0" y="124"/>
                    <a:pt x="0" y="126"/>
                  </a:cubicBezTo>
                  <a:cubicBezTo>
                    <a:pt x="0" y="129"/>
                    <a:pt x="0" y="129"/>
                    <a:pt x="1" y="131"/>
                  </a:cubicBezTo>
                  <a:cubicBezTo>
                    <a:pt x="2" y="132"/>
                    <a:pt x="2" y="132"/>
                    <a:pt x="3" y="133"/>
                  </a:cubicBezTo>
                  <a:cubicBezTo>
                    <a:pt x="4" y="134"/>
                    <a:pt x="4" y="133"/>
                    <a:pt x="4" y="135"/>
                  </a:cubicBezTo>
                  <a:cubicBezTo>
                    <a:pt x="5" y="137"/>
                    <a:pt x="6" y="137"/>
                    <a:pt x="7" y="139"/>
                  </a:cubicBezTo>
                  <a:cubicBezTo>
                    <a:pt x="7" y="140"/>
                    <a:pt x="7" y="142"/>
                    <a:pt x="8" y="143"/>
                  </a:cubicBezTo>
                  <a:cubicBezTo>
                    <a:pt x="9" y="145"/>
                    <a:pt x="9" y="145"/>
                    <a:pt x="9" y="147"/>
                  </a:cubicBezTo>
                  <a:cubicBezTo>
                    <a:pt x="9" y="148"/>
                    <a:pt x="8" y="150"/>
                    <a:pt x="7" y="151"/>
                  </a:cubicBezTo>
                  <a:cubicBezTo>
                    <a:pt x="5" y="152"/>
                    <a:pt x="3" y="153"/>
                    <a:pt x="1" y="153"/>
                  </a:cubicBezTo>
                  <a:cubicBezTo>
                    <a:pt x="2" y="158"/>
                    <a:pt x="2" y="158"/>
                    <a:pt x="2" y="158"/>
                  </a:cubicBezTo>
                  <a:cubicBezTo>
                    <a:pt x="2" y="159"/>
                    <a:pt x="2" y="160"/>
                    <a:pt x="3" y="161"/>
                  </a:cubicBezTo>
                  <a:cubicBezTo>
                    <a:pt x="3" y="162"/>
                    <a:pt x="3" y="162"/>
                    <a:pt x="4" y="163"/>
                  </a:cubicBezTo>
                  <a:cubicBezTo>
                    <a:pt x="4" y="163"/>
                    <a:pt x="4" y="164"/>
                    <a:pt x="4" y="164"/>
                  </a:cubicBezTo>
                  <a:cubicBezTo>
                    <a:pt x="4" y="164"/>
                    <a:pt x="4" y="164"/>
                    <a:pt x="4" y="165"/>
                  </a:cubicBezTo>
                  <a:cubicBezTo>
                    <a:pt x="4" y="165"/>
                    <a:pt x="4" y="165"/>
                    <a:pt x="4" y="166"/>
                  </a:cubicBezTo>
                  <a:cubicBezTo>
                    <a:pt x="4" y="166"/>
                    <a:pt x="5" y="166"/>
                    <a:pt x="6" y="166"/>
                  </a:cubicBezTo>
                  <a:cubicBezTo>
                    <a:pt x="6" y="166"/>
                    <a:pt x="6" y="167"/>
                    <a:pt x="7" y="167"/>
                  </a:cubicBezTo>
                  <a:cubicBezTo>
                    <a:pt x="7" y="168"/>
                    <a:pt x="7" y="169"/>
                    <a:pt x="8" y="170"/>
                  </a:cubicBezTo>
                  <a:cubicBezTo>
                    <a:pt x="9" y="170"/>
                    <a:pt x="10" y="170"/>
                    <a:pt x="11" y="171"/>
                  </a:cubicBezTo>
                  <a:cubicBezTo>
                    <a:pt x="12" y="171"/>
                    <a:pt x="13" y="170"/>
                    <a:pt x="15" y="171"/>
                  </a:cubicBezTo>
                  <a:cubicBezTo>
                    <a:pt x="16" y="171"/>
                    <a:pt x="17" y="172"/>
                    <a:pt x="18" y="173"/>
                  </a:cubicBezTo>
                  <a:cubicBezTo>
                    <a:pt x="19" y="173"/>
                    <a:pt x="20" y="174"/>
                    <a:pt x="21" y="174"/>
                  </a:cubicBezTo>
                  <a:cubicBezTo>
                    <a:pt x="22" y="174"/>
                    <a:pt x="22" y="174"/>
                    <a:pt x="23" y="175"/>
                  </a:cubicBezTo>
                  <a:cubicBezTo>
                    <a:pt x="23" y="175"/>
                    <a:pt x="23" y="175"/>
                    <a:pt x="23" y="176"/>
                  </a:cubicBezTo>
                  <a:cubicBezTo>
                    <a:pt x="23" y="176"/>
                    <a:pt x="24" y="177"/>
                    <a:pt x="24" y="178"/>
                  </a:cubicBezTo>
                  <a:cubicBezTo>
                    <a:pt x="24" y="179"/>
                    <a:pt x="24" y="180"/>
                    <a:pt x="24" y="181"/>
                  </a:cubicBezTo>
                  <a:cubicBezTo>
                    <a:pt x="24" y="182"/>
                    <a:pt x="25" y="182"/>
                    <a:pt x="25" y="183"/>
                  </a:cubicBezTo>
                  <a:cubicBezTo>
                    <a:pt x="25" y="183"/>
                    <a:pt x="25" y="184"/>
                    <a:pt x="25" y="185"/>
                  </a:cubicBezTo>
                  <a:cubicBezTo>
                    <a:pt x="25" y="186"/>
                    <a:pt x="26" y="186"/>
                    <a:pt x="26" y="187"/>
                  </a:cubicBezTo>
                  <a:cubicBezTo>
                    <a:pt x="26" y="188"/>
                    <a:pt x="26" y="189"/>
                    <a:pt x="26" y="190"/>
                  </a:cubicBezTo>
                  <a:cubicBezTo>
                    <a:pt x="26" y="190"/>
                    <a:pt x="26" y="191"/>
                    <a:pt x="26" y="192"/>
                  </a:cubicBezTo>
                  <a:cubicBezTo>
                    <a:pt x="27" y="193"/>
                    <a:pt x="27" y="194"/>
                    <a:pt x="28" y="195"/>
                  </a:cubicBezTo>
                  <a:cubicBezTo>
                    <a:pt x="29" y="196"/>
                    <a:pt x="32" y="196"/>
                    <a:pt x="32" y="198"/>
                  </a:cubicBezTo>
                  <a:cubicBezTo>
                    <a:pt x="32" y="199"/>
                    <a:pt x="31" y="199"/>
                    <a:pt x="31" y="200"/>
                  </a:cubicBezTo>
                  <a:cubicBezTo>
                    <a:pt x="31" y="200"/>
                    <a:pt x="31" y="200"/>
                    <a:pt x="31" y="200"/>
                  </a:cubicBezTo>
                  <a:cubicBezTo>
                    <a:pt x="31" y="201"/>
                    <a:pt x="30" y="201"/>
                    <a:pt x="29" y="202"/>
                  </a:cubicBezTo>
                  <a:cubicBezTo>
                    <a:pt x="28" y="203"/>
                    <a:pt x="26" y="204"/>
                    <a:pt x="26" y="206"/>
                  </a:cubicBezTo>
                  <a:cubicBezTo>
                    <a:pt x="26" y="207"/>
                    <a:pt x="27" y="209"/>
                    <a:pt x="28" y="211"/>
                  </a:cubicBezTo>
                  <a:cubicBezTo>
                    <a:pt x="28" y="211"/>
                    <a:pt x="28" y="212"/>
                    <a:pt x="28" y="213"/>
                  </a:cubicBezTo>
                  <a:cubicBezTo>
                    <a:pt x="28" y="217"/>
                    <a:pt x="27" y="220"/>
                    <a:pt x="27" y="224"/>
                  </a:cubicBezTo>
                  <a:cubicBezTo>
                    <a:pt x="27" y="225"/>
                    <a:pt x="27" y="225"/>
                    <a:pt x="27" y="226"/>
                  </a:cubicBezTo>
                  <a:cubicBezTo>
                    <a:pt x="27" y="226"/>
                    <a:pt x="27" y="226"/>
                    <a:pt x="27" y="226"/>
                  </a:cubicBezTo>
                  <a:cubicBezTo>
                    <a:pt x="28" y="227"/>
                    <a:pt x="29" y="228"/>
                    <a:pt x="30" y="229"/>
                  </a:cubicBezTo>
                  <a:cubicBezTo>
                    <a:pt x="31" y="229"/>
                    <a:pt x="31" y="230"/>
                    <a:pt x="32" y="231"/>
                  </a:cubicBezTo>
                  <a:cubicBezTo>
                    <a:pt x="33" y="232"/>
                    <a:pt x="34" y="231"/>
                    <a:pt x="36" y="231"/>
                  </a:cubicBezTo>
                  <a:cubicBezTo>
                    <a:pt x="37" y="231"/>
                    <a:pt x="39" y="231"/>
                    <a:pt x="41" y="231"/>
                  </a:cubicBezTo>
                  <a:cubicBezTo>
                    <a:pt x="44" y="231"/>
                    <a:pt x="46" y="231"/>
                    <a:pt x="49" y="230"/>
                  </a:cubicBezTo>
                  <a:cubicBezTo>
                    <a:pt x="51" y="229"/>
                    <a:pt x="55" y="227"/>
                    <a:pt x="57" y="228"/>
                  </a:cubicBezTo>
                  <a:cubicBezTo>
                    <a:pt x="58" y="228"/>
                    <a:pt x="59" y="229"/>
                    <a:pt x="60" y="229"/>
                  </a:cubicBezTo>
                  <a:cubicBezTo>
                    <a:pt x="62" y="229"/>
                    <a:pt x="63" y="229"/>
                    <a:pt x="64" y="229"/>
                  </a:cubicBezTo>
                  <a:cubicBezTo>
                    <a:pt x="66" y="228"/>
                    <a:pt x="68" y="229"/>
                    <a:pt x="70" y="228"/>
                  </a:cubicBezTo>
                  <a:cubicBezTo>
                    <a:pt x="72" y="228"/>
                    <a:pt x="75" y="227"/>
                    <a:pt x="76" y="226"/>
                  </a:cubicBezTo>
                  <a:cubicBezTo>
                    <a:pt x="77" y="225"/>
                    <a:pt x="77" y="224"/>
                    <a:pt x="78" y="224"/>
                  </a:cubicBezTo>
                  <a:cubicBezTo>
                    <a:pt x="79" y="224"/>
                    <a:pt x="80" y="224"/>
                    <a:pt x="80" y="224"/>
                  </a:cubicBezTo>
                  <a:cubicBezTo>
                    <a:pt x="81" y="224"/>
                    <a:pt x="82" y="223"/>
                    <a:pt x="83" y="222"/>
                  </a:cubicBezTo>
                  <a:cubicBezTo>
                    <a:pt x="85" y="224"/>
                    <a:pt x="88" y="223"/>
                    <a:pt x="89" y="220"/>
                  </a:cubicBezTo>
                  <a:cubicBezTo>
                    <a:pt x="89" y="219"/>
                    <a:pt x="88" y="215"/>
                    <a:pt x="91" y="216"/>
                  </a:cubicBezTo>
                  <a:cubicBezTo>
                    <a:pt x="92" y="217"/>
                    <a:pt x="93" y="218"/>
                    <a:pt x="94" y="218"/>
                  </a:cubicBezTo>
                  <a:cubicBezTo>
                    <a:pt x="95" y="218"/>
                    <a:pt x="97" y="218"/>
                    <a:pt x="98" y="218"/>
                  </a:cubicBezTo>
                  <a:cubicBezTo>
                    <a:pt x="100" y="218"/>
                    <a:pt x="101" y="219"/>
                    <a:pt x="103" y="218"/>
                  </a:cubicBezTo>
                  <a:cubicBezTo>
                    <a:pt x="103" y="218"/>
                    <a:pt x="103" y="217"/>
                    <a:pt x="104" y="217"/>
                  </a:cubicBezTo>
                  <a:cubicBezTo>
                    <a:pt x="104" y="216"/>
                    <a:pt x="105" y="217"/>
                    <a:pt x="105" y="216"/>
                  </a:cubicBezTo>
                  <a:cubicBezTo>
                    <a:pt x="107" y="216"/>
                    <a:pt x="106" y="218"/>
                    <a:pt x="108" y="218"/>
                  </a:cubicBezTo>
                  <a:cubicBezTo>
                    <a:pt x="109" y="218"/>
                    <a:pt x="110" y="216"/>
                    <a:pt x="110" y="218"/>
                  </a:cubicBezTo>
                  <a:cubicBezTo>
                    <a:pt x="111" y="217"/>
                    <a:pt x="113" y="216"/>
                    <a:pt x="114" y="217"/>
                  </a:cubicBezTo>
                  <a:cubicBezTo>
                    <a:pt x="115" y="218"/>
                    <a:pt x="114" y="221"/>
                    <a:pt x="115" y="222"/>
                  </a:cubicBezTo>
                  <a:cubicBezTo>
                    <a:pt x="115" y="222"/>
                    <a:pt x="116" y="223"/>
                    <a:pt x="116" y="223"/>
                  </a:cubicBezTo>
                  <a:cubicBezTo>
                    <a:pt x="116" y="224"/>
                    <a:pt x="117" y="225"/>
                    <a:pt x="118" y="225"/>
                  </a:cubicBezTo>
                  <a:cubicBezTo>
                    <a:pt x="120" y="226"/>
                    <a:pt x="122" y="226"/>
                    <a:pt x="124" y="228"/>
                  </a:cubicBezTo>
                  <a:cubicBezTo>
                    <a:pt x="124" y="229"/>
                    <a:pt x="125" y="230"/>
                    <a:pt x="126" y="231"/>
                  </a:cubicBezTo>
                  <a:cubicBezTo>
                    <a:pt x="126" y="231"/>
                    <a:pt x="126" y="231"/>
                    <a:pt x="127" y="232"/>
                  </a:cubicBezTo>
                  <a:cubicBezTo>
                    <a:pt x="128" y="232"/>
                    <a:pt x="128" y="234"/>
                    <a:pt x="129" y="235"/>
                  </a:cubicBezTo>
                  <a:cubicBezTo>
                    <a:pt x="130" y="236"/>
                    <a:pt x="130" y="235"/>
                    <a:pt x="131" y="234"/>
                  </a:cubicBezTo>
                  <a:cubicBezTo>
                    <a:pt x="133" y="234"/>
                    <a:pt x="135" y="233"/>
                    <a:pt x="137" y="233"/>
                  </a:cubicBezTo>
                  <a:cubicBezTo>
                    <a:pt x="138" y="234"/>
                    <a:pt x="138" y="235"/>
                    <a:pt x="139" y="235"/>
                  </a:cubicBezTo>
                  <a:cubicBezTo>
                    <a:pt x="140" y="236"/>
                    <a:pt x="141" y="236"/>
                    <a:pt x="142" y="236"/>
                  </a:cubicBezTo>
                  <a:cubicBezTo>
                    <a:pt x="143" y="238"/>
                    <a:pt x="144" y="237"/>
                    <a:pt x="146" y="237"/>
                  </a:cubicBezTo>
                  <a:cubicBezTo>
                    <a:pt x="147" y="237"/>
                    <a:pt x="148" y="238"/>
                    <a:pt x="148" y="238"/>
                  </a:cubicBezTo>
                  <a:cubicBezTo>
                    <a:pt x="150" y="239"/>
                    <a:pt x="151" y="241"/>
                    <a:pt x="152" y="241"/>
                  </a:cubicBezTo>
                  <a:cubicBezTo>
                    <a:pt x="153" y="242"/>
                    <a:pt x="154" y="241"/>
                    <a:pt x="155" y="241"/>
                  </a:cubicBezTo>
                  <a:cubicBezTo>
                    <a:pt x="155" y="242"/>
                    <a:pt x="156" y="242"/>
                    <a:pt x="156" y="242"/>
                  </a:cubicBezTo>
                  <a:cubicBezTo>
                    <a:pt x="158" y="242"/>
                    <a:pt x="160" y="242"/>
                    <a:pt x="162" y="242"/>
                  </a:cubicBezTo>
                  <a:cubicBezTo>
                    <a:pt x="167" y="242"/>
                    <a:pt x="173" y="241"/>
                    <a:pt x="178" y="241"/>
                  </a:cubicBezTo>
                  <a:cubicBezTo>
                    <a:pt x="178" y="239"/>
                    <a:pt x="178" y="237"/>
                    <a:pt x="176" y="236"/>
                  </a:cubicBezTo>
                  <a:cubicBezTo>
                    <a:pt x="179" y="235"/>
                    <a:pt x="181" y="239"/>
                    <a:pt x="184" y="238"/>
                  </a:cubicBezTo>
                  <a:cubicBezTo>
                    <a:pt x="185" y="237"/>
                    <a:pt x="185" y="237"/>
                    <a:pt x="186" y="237"/>
                  </a:cubicBezTo>
                  <a:cubicBezTo>
                    <a:pt x="187" y="237"/>
                    <a:pt x="188" y="238"/>
                    <a:pt x="189" y="238"/>
                  </a:cubicBezTo>
                  <a:cubicBezTo>
                    <a:pt x="191" y="239"/>
                    <a:pt x="192" y="240"/>
                    <a:pt x="195" y="239"/>
                  </a:cubicBezTo>
                  <a:cubicBezTo>
                    <a:pt x="196" y="239"/>
                    <a:pt x="198" y="238"/>
                    <a:pt x="199" y="238"/>
                  </a:cubicBezTo>
                  <a:cubicBezTo>
                    <a:pt x="200" y="237"/>
                    <a:pt x="201" y="236"/>
                    <a:pt x="202" y="236"/>
                  </a:cubicBezTo>
                  <a:cubicBezTo>
                    <a:pt x="203" y="235"/>
                    <a:pt x="204" y="235"/>
                    <a:pt x="205" y="235"/>
                  </a:cubicBezTo>
                  <a:cubicBezTo>
                    <a:pt x="207" y="233"/>
                    <a:pt x="206" y="230"/>
                    <a:pt x="206" y="227"/>
                  </a:cubicBezTo>
                  <a:cubicBezTo>
                    <a:pt x="206" y="227"/>
                    <a:pt x="206" y="226"/>
                    <a:pt x="206" y="226"/>
                  </a:cubicBezTo>
                  <a:cubicBezTo>
                    <a:pt x="206" y="224"/>
                    <a:pt x="207" y="224"/>
                    <a:pt x="207" y="223"/>
                  </a:cubicBezTo>
                  <a:cubicBezTo>
                    <a:pt x="208" y="221"/>
                    <a:pt x="207" y="220"/>
                    <a:pt x="207" y="218"/>
                  </a:cubicBezTo>
                  <a:cubicBezTo>
                    <a:pt x="207" y="215"/>
                    <a:pt x="204" y="214"/>
                    <a:pt x="203" y="211"/>
                  </a:cubicBezTo>
                  <a:cubicBezTo>
                    <a:pt x="202" y="207"/>
                    <a:pt x="205" y="205"/>
                    <a:pt x="209" y="205"/>
                  </a:cubicBezTo>
                  <a:cubicBezTo>
                    <a:pt x="211" y="205"/>
                    <a:pt x="213" y="207"/>
                    <a:pt x="215" y="208"/>
                  </a:cubicBezTo>
                  <a:cubicBezTo>
                    <a:pt x="217" y="208"/>
                    <a:pt x="220" y="210"/>
                    <a:pt x="223" y="210"/>
                  </a:cubicBezTo>
                  <a:cubicBezTo>
                    <a:pt x="223" y="208"/>
                    <a:pt x="223" y="206"/>
                    <a:pt x="223" y="204"/>
                  </a:cubicBezTo>
                  <a:cubicBezTo>
                    <a:pt x="224" y="202"/>
                    <a:pt x="224" y="201"/>
                    <a:pt x="225" y="200"/>
                  </a:cubicBezTo>
                  <a:cubicBezTo>
                    <a:pt x="227" y="198"/>
                    <a:pt x="227" y="198"/>
                    <a:pt x="230" y="198"/>
                  </a:cubicBezTo>
                  <a:cubicBezTo>
                    <a:pt x="229" y="197"/>
                    <a:pt x="230" y="197"/>
                    <a:pt x="230" y="197"/>
                  </a:cubicBezTo>
                  <a:cubicBezTo>
                    <a:pt x="230" y="196"/>
                    <a:pt x="231" y="196"/>
                    <a:pt x="231" y="196"/>
                  </a:cubicBezTo>
                  <a:cubicBezTo>
                    <a:pt x="232" y="195"/>
                    <a:pt x="232" y="195"/>
                    <a:pt x="233" y="194"/>
                  </a:cubicBezTo>
                  <a:cubicBezTo>
                    <a:pt x="233" y="194"/>
                    <a:pt x="233" y="193"/>
                    <a:pt x="233" y="193"/>
                  </a:cubicBezTo>
                  <a:cubicBezTo>
                    <a:pt x="235" y="191"/>
                    <a:pt x="237" y="190"/>
                    <a:pt x="238" y="189"/>
                  </a:cubicBezTo>
                  <a:cubicBezTo>
                    <a:pt x="240" y="189"/>
                    <a:pt x="242" y="189"/>
                    <a:pt x="244" y="188"/>
                  </a:cubicBezTo>
                  <a:cubicBezTo>
                    <a:pt x="245" y="188"/>
                    <a:pt x="246" y="187"/>
                    <a:pt x="247" y="187"/>
                  </a:cubicBezTo>
                  <a:cubicBezTo>
                    <a:pt x="249" y="188"/>
                    <a:pt x="249" y="188"/>
                    <a:pt x="251" y="187"/>
                  </a:cubicBezTo>
                  <a:cubicBezTo>
                    <a:pt x="254" y="185"/>
                    <a:pt x="256" y="183"/>
                    <a:pt x="260" y="181"/>
                  </a:cubicBezTo>
                  <a:cubicBezTo>
                    <a:pt x="262" y="180"/>
                    <a:pt x="263" y="177"/>
                    <a:pt x="266" y="179"/>
                  </a:cubicBezTo>
                  <a:cubicBezTo>
                    <a:pt x="268" y="180"/>
                    <a:pt x="270" y="183"/>
                    <a:pt x="273" y="183"/>
                  </a:cubicBezTo>
                  <a:cubicBezTo>
                    <a:pt x="275" y="183"/>
                    <a:pt x="276" y="182"/>
                    <a:pt x="277" y="183"/>
                  </a:cubicBezTo>
                  <a:cubicBezTo>
                    <a:pt x="278" y="183"/>
                    <a:pt x="278" y="184"/>
                    <a:pt x="279" y="185"/>
                  </a:cubicBezTo>
                  <a:cubicBezTo>
                    <a:pt x="281" y="185"/>
                    <a:pt x="281" y="185"/>
                    <a:pt x="282" y="187"/>
                  </a:cubicBezTo>
                  <a:cubicBezTo>
                    <a:pt x="283" y="188"/>
                    <a:pt x="285" y="190"/>
                    <a:pt x="286" y="191"/>
                  </a:cubicBezTo>
                  <a:cubicBezTo>
                    <a:pt x="287" y="193"/>
                    <a:pt x="286" y="193"/>
                    <a:pt x="288" y="193"/>
                  </a:cubicBezTo>
                  <a:cubicBezTo>
                    <a:pt x="290" y="193"/>
                    <a:pt x="291" y="192"/>
                    <a:pt x="292" y="192"/>
                  </a:cubicBezTo>
                  <a:cubicBezTo>
                    <a:pt x="294" y="191"/>
                    <a:pt x="296" y="190"/>
                    <a:pt x="298" y="190"/>
                  </a:cubicBezTo>
                  <a:cubicBezTo>
                    <a:pt x="301" y="190"/>
                    <a:pt x="303" y="189"/>
                    <a:pt x="306" y="188"/>
                  </a:cubicBezTo>
                  <a:cubicBezTo>
                    <a:pt x="308" y="188"/>
                    <a:pt x="309" y="189"/>
                    <a:pt x="310" y="189"/>
                  </a:cubicBezTo>
                  <a:cubicBezTo>
                    <a:pt x="311" y="189"/>
                    <a:pt x="314" y="189"/>
                    <a:pt x="315" y="188"/>
                  </a:cubicBezTo>
                  <a:cubicBezTo>
                    <a:pt x="316" y="187"/>
                    <a:pt x="315" y="182"/>
                    <a:pt x="314" y="181"/>
                  </a:cubicBezTo>
                  <a:cubicBezTo>
                    <a:pt x="313" y="181"/>
                    <a:pt x="312" y="181"/>
                    <a:pt x="311" y="180"/>
                  </a:cubicBezTo>
                  <a:cubicBezTo>
                    <a:pt x="309" y="179"/>
                    <a:pt x="308" y="177"/>
                    <a:pt x="307" y="175"/>
                  </a:cubicBezTo>
                  <a:cubicBezTo>
                    <a:pt x="305" y="173"/>
                    <a:pt x="303" y="171"/>
                    <a:pt x="302" y="169"/>
                  </a:cubicBezTo>
                  <a:cubicBezTo>
                    <a:pt x="301" y="168"/>
                    <a:pt x="300" y="167"/>
                    <a:pt x="301" y="166"/>
                  </a:cubicBezTo>
                  <a:cubicBezTo>
                    <a:pt x="301" y="167"/>
                    <a:pt x="302" y="165"/>
                    <a:pt x="302" y="165"/>
                  </a:cubicBezTo>
                  <a:cubicBezTo>
                    <a:pt x="303" y="165"/>
                    <a:pt x="304" y="164"/>
                    <a:pt x="304" y="164"/>
                  </a:cubicBezTo>
                  <a:cubicBezTo>
                    <a:pt x="305" y="163"/>
                    <a:pt x="305" y="162"/>
                    <a:pt x="304" y="161"/>
                  </a:cubicBezTo>
                  <a:cubicBezTo>
                    <a:pt x="304" y="159"/>
                    <a:pt x="302" y="158"/>
                    <a:pt x="301" y="156"/>
                  </a:cubicBezTo>
                  <a:cubicBezTo>
                    <a:pt x="301" y="155"/>
                    <a:pt x="302" y="154"/>
                    <a:pt x="300" y="154"/>
                  </a:cubicBezTo>
                  <a:cubicBezTo>
                    <a:pt x="298" y="153"/>
                    <a:pt x="297" y="154"/>
                    <a:pt x="295" y="153"/>
                  </a:cubicBezTo>
                  <a:cubicBezTo>
                    <a:pt x="294" y="152"/>
                    <a:pt x="293" y="151"/>
                    <a:pt x="292" y="150"/>
                  </a:cubicBezTo>
                  <a:cubicBezTo>
                    <a:pt x="291" y="149"/>
                    <a:pt x="286" y="146"/>
                    <a:pt x="285" y="147"/>
                  </a:cubicBezTo>
                  <a:cubicBezTo>
                    <a:pt x="284" y="147"/>
                    <a:pt x="284" y="148"/>
                    <a:pt x="284" y="148"/>
                  </a:cubicBezTo>
                  <a:cubicBezTo>
                    <a:pt x="283" y="148"/>
                    <a:pt x="282" y="148"/>
                    <a:pt x="282" y="148"/>
                  </a:cubicBezTo>
                  <a:cubicBezTo>
                    <a:pt x="281" y="146"/>
                    <a:pt x="281" y="145"/>
                    <a:pt x="283" y="144"/>
                  </a:cubicBezTo>
                  <a:cubicBezTo>
                    <a:pt x="284" y="144"/>
                    <a:pt x="285" y="143"/>
                    <a:pt x="286" y="143"/>
                  </a:cubicBezTo>
                  <a:cubicBezTo>
                    <a:pt x="287" y="142"/>
                    <a:pt x="289" y="143"/>
                    <a:pt x="290" y="143"/>
                  </a:cubicBezTo>
                  <a:cubicBezTo>
                    <a:pt x="292" y="142"/>
                    <a:pt x="291" y="142"/>
                    <a:pt x="292" y="140"/>
                  </a:cubicBezTo>
                  <a:cubicBezTo>
                    <a:pt x="292" y="139"/>
                    <a:pt x="292" y="138"/>
                    <a:pt x="293" y="137"/>
                  </a:cubicBezTo>
                  <a:cubicBezTo>
                    <a:pt x="293" y="136"/>
                    <a:pt x="293" y="134"/>
                    <a:pt x="294" y="135"/>
                  </a:cubicBezTo>
                  <a:cubicBezTo>
                    <a:pt x="295" y="136"/>
                    <a:pt x="297" y="138"/>
                    <a:pt x="298" y="138"/>
                  </a:cubicBezTo>
                  <a:cubicBezTo>
                    <a:pt x="300" y="138"/>
                    <a:pt x="299" y="136"/>
                    <a:pt x="299" y="135"/>
                  </a:cubicBezTo>
                  <a:cubicBezTo>
                    <a:pt x="299" y="134"/>
                    <a:pt x="299" y="133"/>
                    <a:pt x="299" y="132"/>
                  </a:cubicBezTo>
                  <a:cubicBezTo>
                    <a:pt x="299" y="130"/>
                    <a:pt x="300" y="131"/>
                    <a:pt x="301" y="131"/>
                  </a:cubicBezTo>
                  <a:cubicBezTo>
                    <a:pt x="303" y="131"/>
                    <a:pt x="305" y="130"/>
                    <a:pt x="306" y="128"/>
                  </a:cubicBezTo>
                  <a:cubicBezTo>
                    <a:pt x="306" y="126"/>
                    <a:pt x="304" y="125"/>
                    <a:pt x="304" y="123"/>
                  </a:cubicBezTo>
                  <a:cubicBezTo>
                    <a:pt x="307" y="123"/>
                    <a:pt x="310" y="123"/>
                    <a:pt x="312" y="122"/>
                  </a:cubicBezTo>
                  <a:cubicBezTo>
                    <a:pt x="313" y="121"/>
                    <a:pt x="313" y="121"/>
                    <a:pt x="313" y="121"/>
                  </a:cubicBezTo>
                  <a:cubicBezTo>
                    <a:pt x="313" y="120"/>
                    <a:pt x="313" y="120"/>
                    <a:pt x="312" y="120"/>
                  </a:cubicBezTo>
                  <a:cubicBezTo>
                    <a:pt x="312" y="119"/>
                    <a:pt x="312" y="119"/>
                    <a:pt x="312" y="118"/>
                  </a:cubicBezTo>
                  <a:cubicBezTo>
                    <a:pt x="311" y="117"/>
                    <a:pt x="311" y="117"/>
                    <a:pt x="310" y="116"/>
                  </a:cubicBezTo>
                  <a:cubicBezTo>
                    <a:pt x="310" y="116"/>
                    <a:pt x="310" y="114"/>
                    <a:pt x="310" y="114"/>
                  </a:cubicBezTo>
                  <a:cubicBezTo>
                    <a:pt x="310" y="112"/>
                    <a:pt x="310" y="110"/>
                    <a:pt x="310" y="108"/>
                  </a:cubicBezTo>
                  <a:cubicBezTo>
                    <a:pt x="310" y="107"/>
                    <a:pt x="311" y="107"/>
                    <a:pt x="310" y="106"/>
                  </a:cubicBezTo>
                  <a:cubicBezTo>
                    <a:pt x="310" y="105"/>
                    <a:pt x="310" y="105"/>
                    <a:pt x="310" y="104"/>
                  </a:cubicBezTo>
                  <a:cubicBezTo>
                    <a:pt x="310" y="103"/>
                    <a:pt x="310" y="102"/>
                    <a:pt x="311" y="101"/>
                  </a:cubicBezTo>
                  <a:cubicBezTo>
                    <a:pt x="312" y="100"/>
                    <a:pt x="313" y="98"/>
                    <a:pt x="314" y="96"/>
                  </a:cubicBezTo>
                  <a:cubicBezTo>
                    <a:pt x="315" y="94"/>
                    <a:pt x="315" y="92"/>
                    <a:pt x="314" y="90"/>
                  </a:cubicBezTo>
                  <a:cubicBezTo>
                    <a:pt x="313" y="88"/>
                    <a:pt x="314" y="87"/>
                    <a:pt x="315" y="85"/>
                  </a:cubicBezTo>
                  <a:cubicBezTo>
                    <a:pt x="316" y="84"/>
                    <a:pt x="316" y="82"/>
                    <a:pt x="318" y="80"/>
                  </a:cubicBezTo>
                  <a:cubicBezTo>
                    <a:pt x="318" y="80"/>
                    <a:pt x="318" y="79"/>
                    <a:pt x="318" y="79"/>
                  </a:cubicBezTo>
                  <a:cubicBezTo>
                    <a:pt x="319" y="79"/>
                    <a:pt x="319" y="79"/>
                    <a:pt x="319" y="78"/>
                  </a:cubicBezTo>
                  <a:cubicBezTo>
                    <a:pt x="319" y="78"/>
                    <a:pt x="320" y="76"/>
                    <a:pt x="320" y="76"/>
                  </a:cubicBezTo>
                  <a:cubicBezTo>
                    <a:pt x="322" y="75"/>
                    <a:pt x="325" y="76"/>
                    <a:pt x="327" y="76"/>
                  </a:cubicBezTo>
                  <a:cubicBezTo>
                    <a:pt x="329" y="76"/>
                    <a:pt x="330" y="77"/>
                    <a:pt x="332" y="77"/>
                  </a:cubicBezTo>
                  <a:cubicBezTo>
                    <a:pt x="333" y="77"/>
                    <a:pt x="334" y="77"/>
                    <a:pt x="335" y="77"/>
                  </a:cubicBezTo>
                  <a:cubicBezTo>
                    <a:pt x="336" y="77"/>
                    <a:pt x="336" y="77"/>
                    <a:pt x="337" y="75"/>
                  </a:cubicBezTo>
                  <a:cubicBezTo>
                    <a:pt x="338" y="75"/>
                    <a:pt x="338" y="74"/>
                    <a:pt x="339" y="74"/>
                  </a:cubicBezTo>
                  <a:cubicBezTo>
                    <a:pt x="341" y="74"/>
                    <a:pt x="343" y="76"/>
                    <a:pt x="345" y="76"/>
                  </a:cubicBezTo>
                  <a:cubicBezTo>
                    <a:pt x="347" y="76"/>
                    <a:pt x="348" y="74"/>
                    <a:pt x="348" y="72"/>
                  </a:cubicBezTo>
                  <a:cubicBezTo>
                    <a:pt x="349" y="72"/>
                    <a:pt x="351" y="73"/>
                    <a:pt x="352" y="73"/>
                  </a:cubicBezTo>
                  <a:cubicBezTo>
                    <a:pt x="352" y="74"/>
                    <a:pt x="353" y="75"/>
                    <a:pt x="354" y="74"/>
                  </a:cubicBezTo>
                  <a:cubicBezTo>
                    <a:pt x="355" y="74"/>
                    <a:pt x="356" y="69"/>
                    <a:pt x="356" y="69"/>
                  </a:cubicBezTo>
                  <a:cubicBezTo>
                    <a:pt x="357" y="67"/>
                    <a:pt x="357" y="64"/>
                    <a:pt x="357" y="6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4" name="Freeform 34"/>
            <p:cNvSpPr>
              <a:spLocks/>
            </p:cNvSpPr>
            <p:nvPr/>
          </p:nvSpPr>
          <p:spPr bwMode="auto">
            <a:xfrm>
              <a:off x="5468938" y="4814888"/>
              <a:ext cx="981075" cy="717550"/>
            </a:xfrm>
            <a:custGeom>
              <a:avLst/>
              <a:gdLst/>
              <a:ahLst/>
              <a:cxnLst>
                <a:cxn ang="0">
                  <a:pos x="474" y="252"/>
                </a:cxn>
                <a:cxn ang="0">
                  <a:pos x="437" y="239"/>
                </a:cxn>
                <a:cxn ang="0">
                  <a:pos x="438" y="138"/>
                </a:cxn>
                <a:cxn ang="0">
                  <a:pos x="412" y="87"/>
                </a:cxn>
                <a:cxn ang="0">
                  <a:pos x="392" y="65"/>
                </a:cxn>
                <a:cxn ang="0">
                  <a:pos x="379" y="32"/>
                </a:cxn>
                <a:cxn ang="0">
                  <a:pos x="336" y="10"/>
                </a:cxn>
                <a:cxn ang="0">
                  <a:pos x="295" y="30"/>
                </a:cxn>
                <a:cxn ang="0">
                  <a:pos x="245" y="34"/>
                </a:cxn>
                <a:cxn ang="0">
                  <a:pos x="212" y="27"/>
                </a:cxn>
                <a:cxn ang="0">
                  <a:pos x="175" y="24"/>
                </a:cxn>
                <a:cxn ang="0">
                  <a:pos x="145" y="27"/>
                </a:cxn>
                <a:cxn ang="0">
                  <a:pos x="125" y="42"/>
                </a:cxn>
                <a:cxn ang="0">
                  <a:pos x="107" y="53"/>
                </a:cxn>
                <a:cxn ang="0">
                  <a:pos x="102" y="62"/>
                </a:cxn>
                <a:cxn ang="0">
                  <a:pos x="94" y="76"/>
                </a:cxn>
                <a:cxn ang="0">
                  <a:pos x="80" y="102"/>
                </a:cxn>
                <a:cxn ang="0">
                  <a:pos x="73" y="123"/>
                </a:cxn>
                <a:cxn ang="0">
                  <a:pos x="64" y="133"/>
                </a:cxn>
                <a:cxn ang="0">
                  <a:pos x="54" y="149"/>
                </a:cxn>
                <a:cxn ang="0">
                  <a:pos x="48" y="159"/>
                </a:cxn>
                <a:cxn ang="0">
                  <a:pos x="34" y="165"/>
                </a:cxn>
                <a:cxn ang="0">
                  <a:pos x="5" y="182"/>
                </a:cxn>
                <a:cxn ang="0">
                  <a:pos x="19" y="199"/>
                </a:cxn>
                <a:cxn ang="0">
                  <a:pos x="29" y="210"/>
                </a:cxn>
                <a:cxn ang="0">
                  <a:pos x="31" y="231"/>
                </a:cxn>
                <a:cxn ang="0">
                  <a:pos x="61" y="246"/>
                </a:cxn>
                <a:cxn ang="0">
                  <a:pos x="61" y="260"/>
                </a:cxn>
                <a:cxn ang="0">
                  <a:pos x="65" y="273"/>
                </a:cxn>
                <a:cxn ang="0">
                  <a:pos x="61" y="285"/>
                </a:cxn>
                <a:cxn ang="0">
                  <a:pos x="71" y="292"/>
                </a:cxn>
                <a:cxn ang="0">
                  <a:pos x="94" y="305"/>
                </a:cxn>
                <a:cxn ang="0">
                  <a:pos x="107" y="299"/>
                </a:cxn>
                <a:cxn ang="0">
                  <a:pos x="122" y="309"/>
                </a:cxn>
                <a:cxn ang="0">
                  <a:pos x="119" y="318"/>
                </a:cxn>
                <a:cxn ang="0">
                  <a:pos x="132" y="335"/>
                </a:cxn>
                <a:cxn ang="0">
                  <a:pos x="138" y="365"/>
                </a:cxn>
                <a:cxn ang="0">
                  <a:pos x="185" y="369"/>
                </a:cxn>
                <a:cxn ang="0">
                  <a:pos x="221" y="378"/>
                </a:cxn>
                <a:cxn ang="0">
                  <a:pos x="263" y="378"/>
                </a:cxn>
                <a:cxn ang="0">
                  <a:pos x="290" y="381"/>
                </a:cxn>
                <a:cxn ang="0">
                  <a:pos x="308" y="364"/>
                </a:cxn>
                <a:cxn ang="0">
                  <a:pos x="344" y="350"/>
                </a:cxn>
                <a:cxn ang="0">
                  <a:pos x="382" y="347"/>
                </a:cxn>
                <a:cxn ang="0">
                  <a:pos x="399" y="355"/>
                </a:cxn>
                <a:cxn ang="0">
                  <a:pos x="414" y="360"/>
                </a:cxn>
                <a:cxn ang="0">
                  <a:pos x="426" y="368"/>
                </a:cxn>
                <a:cxn ang="0">
                  <a:pos x="446" y="379"/>
                </a:cxn>
                <a:cxn ang="0">
                  <a:pos x="458" y="366"/>
                </a:cxn>
                <a:cxn ang="0">
                  <a:pos x="468" y="316"/>
                </a:cxn>
                <a:cxn ang="0">
                  <a:pos x="476" y="294"/>
                </a:cxn>
                <a:cxn ang="0">
                  <a:pos x="491" y="289"/>
                </a:cxn>
                <a:cxn ang="0">
                  <a:pos x="518" y="280"/>
                </a:cxn>
              </a:cxnLst>
              <a:rect l="0" t="0" r="r" b="b"/>
              <a:pathLst>
                <a:path w="525" h="384">
                  <a:moveTo>
                    <a:pt x="525" y="255"/>
                  </a:moveTo>
                  <a:cubicBezTo>
                    <a:pt x="525" y="252"/>
                    <a:pt x="515" y="249"/>
                    <a:pt x="512" y="247"/>
                  </a:cubicBezTo>
                  <a:cubicBezTo>
                    <a:pt x="507" y="244"/>
                    <a:pt x="503" y="241"/>
                    <a:pt x="496" y="243"/>
                  </a:cubicBezTo>
                  <a:cubicBezTo>
                    <a:pt x="493" y="243"/>
                    <a:pt x="493" y="244"/>
                    <a:pt x="491" y="246"/>
                  </a:cubicBezTo>
                  <a:cubicBezTo>
                    <a:pt x="490" y="247"/>
                    <a:pt x="487" y="249"/>
                    <a:pt x="483" y="250"/>
                  </a:cubicBezTo>
                  <a:cubicBezTo>
                    <a:pt x="478" y="252"/>
                    <a:pt x="476" y="252"/>
                    <a:pt x="474" y="252"/>
                  </a:cubicBezTo>
                  <a:cubicBezTo>
                    <a:pt x="472" y="252"/>
                    <a:pt x="470" y="251"/>
                    <a:pt x="468" y="252"/>
                  </a:cubicBezTo>
                  <a:cubicBezTo>
                    <a:pt x="467" y="252"/>
                    <a:pt x="467" y="255"/>
                    <a:pt x="466" y="256"/>
                  </a:cubicBezTo>
                  <a:cubicBezTo>
                    <a:pt x="463" y="259"/>
                    <a:pt x="462" y="257"/>
                    <a:pt x="459" y="256"/>
                  </a:cubicBezTo>
                  <a:cubicBezTo>
                    <a:pt x="457" y="254"/>
                    <a:pt x="455" y="253"/>
                    <a:pt x="453" y="252"/>
                  </a:cubicBezTo>
                  <a:cubicBezTo>
                    <a:pt x="451" y="252"/>
                    <a:pt x="445" y="249"/>
                    <a:pt x="443" y="248"/>
                  </a:cubicBezTo>
                  <a:cubicBezTo>
                    <a:pt x="443" y="247"/>
                    <a:pt x="438" y="239"/>
                    <a:pt x="437" y="239"/>
                  </a:cubicBezTo>
                  <a:cubicBezTo>
                    <a:pt x="433" y="234"/>
                    <a:pt x="428" y="230"/>
                    <a:pt x="432" y="223"/>
                  </a:cubicBezTo>
                  <a:cubicBezTo>
                    <a:pt x="433" y="219"/>
                    <a:pt x="433" y="211"/>
                    <a:pt x="431" y="208"/>
                  </a:cubicBezTo>
                  <a:cubicBezTo>
                    <a:pt x="429" y="204"/>
                    <a:pt x="430" y="191"/>
                    <a:pt x="430" y="185"/>
                  </a:cubicBezTo>
                  <a:cubicBezTo>
                    <a:pt x="431" y="175"/>
                    <a:pt x="433" y="171"/>
                    <a:pt x="437" y="161"/>
                  </a:cubicBezTo>
                  <a:cubicBezTo>
                    <a:pt x="438" y="159"/>
                    <a:pt x="439" y="151"/>
                    <a:pt x="437" y="148"/>
                  </a:cubicBezTo>
                  <a:cubicBezTo>
                    <a:pt x="436" y="146"/>
                    <a:pt x="438" y="141"/>
                    <a:pt x="438" y="138"/>
                  </a:cubicBezTo>
                  <a:cubicBezTo>
                    <a:pt x="438" y="136"/>
                    <a:pt x="434" y="130"/>
                    <a:pt x="434" y="128"/>
                  </a:cubicBezTo>
                  <a:cubicBezTo>
                    <a:pt x="432" y="125"/>
                    <a:pt x="434" y="121"/>
                    <a:pt x="431" y="121"/>
                  </a:cubicBezTo>
                  <a:cubicBezTo>
                    <a:pt x="427" y="121"/>
                    <a:pt x="424" y="119"/>
                    <a:pt x="422" y="115"/>
                  </a:cubicBezTo>
                  <a:cubicBezTo>
                    <a:pt x="420" y="112"/>
                    <a:pt x="421" y="109"/>
                    <a:pt x="421" y="106"/>
                  </a:cubicBezTo>
                  <a:cubicBezTo>
                    <a:pt x="420" y="101"/>
                    <a:pt x="419" y="96"/>
                    <a:pt x="416" y="92"/>
                  </a:cubicBezTo>
                  <a:cubicBezTo>
                    <a:pt x="414" y="91"/>
                    <a:pt x="414" y="90"/>
                    <a:pt x="412" y="87"/>
                  </a:cubicBezTo>
                  <a:cubicBezTo>
                    <a:pt x="411" y="86"/>
                    <a:pt x="409" y="85"/>
                    <a:pt x="408" y="84"/>
                  </a:cubicBezTo>
                  <a:cubicBezTo>
                    <a:pt x="407" y="83"/>
                    <a:pt x="406" y="81"/>
                    <a:pt x="405" y="79"/>
                  </a:cubicBezTo>
                  <a:cubicBezTo>
                    <a:pt x="403" y="77"/>
                    <a:pt x="403" y="73"/>
                    <a:pt x="401" y="72"/>
                  </a:cubicBezTo>
                  <a:cubicBezTo>
                    <a:pt x="399" y="70"/>
                    <a:pt x="396" y="70"/>
                    <a:pt x="394" y="68"/>
                  </a:cubicBezTo>
                  <a:cubicBezTo>
                    <a:pt x="394" y="68"/>
                    <a:pt x="395" y="67"/>
                    <a:pt x="394" y="67"/>
                  </a:cubicBezTo>
                  <a:cubicBezTo>
                    <a:pt x="394" y="66"/>
                    <a:pt x="393" y="66"/>
                    <a:pt x="392" y="65"/>
                  </a:cubicBezTo>
                  <a:cubicBezTo>
                    <a:pt x="391" y="65"/>
                    <a:pt x="392" y="64"/>
                    <a:pt x="391" y="63"/>
                  </a:cubicBezTo>
                  <a:cubicBezTo>
                    <a:pt x="391" y="62"/>
                    <a:pt x="390" y="62"/>
                    <a:pt x="390" y="60"/>
                  </a:cubicBezTo>
                  <a:cubicBezTo>
                    <a:pt x="389" y="59"/>
                    <a:pt x="390" y="58"/>
                    <a:pt x="390" y="57"/>
                  </a:cubicBezTo>
                  <a:cubicBezTo>
                    <a:pt x="390" y="53"/>
                    <a:pt x="390" y="49"/>
                    <a:pt x="388" y="46"/>
                  </a:cubicBezTo>
                  <a:cubicBezTo>
                    <a:pt x="386" y="42"/>
                    <a:pt x="383" y="40"/>
                    <a:pt x="381" y="37"/>
                  </a:cubicBezTo>
                  <a:cubicBezTo>
                    <a:pt x="380" y="36"/>
                    <a:pt x="380" y="34"/>
                    <a:pt x="379" y="32"/>
                  </a:cubicBezTo>
                  <a:cubicBezTo>
                    <a:pt x="378" y="27"/>
                    <a:pt x="374" y="26"/>
                    <a:pt x="372" y="22"/>
                  </a:cubicBezTo>
                  <a:cubicBezTo>
                    <a:pt x="369" y="19"/>
                    <a:pt x="367" y="17"/>
                    <a:pt x="365" y="14"/>
                  </a:cubicBezTo>
                  <a:cubicBezTo>
                    <a:pt x="362" y="10"/>
                    <a:pt x="361" y="4"/>
                    <a:pt x="357" y="2"/>
                  </a:cubicBezTo>
                  <a:cubicBezTo>
                    <a:pt x="353" y="0"/>
                    <a:pt x="348" y="5"/>
                    <a:pt x="344" y="6"/>
                  </a:cubicBezTo>
                  <a:cubicBezTo>
                    <a:pt x="344" y="6"/>
                    <a:pt x="344" y="6"/>
                    <a:pt x="344" y="6"/>
                  </a:cubicBezTo>
                  <a:cubicBezTo>
                    <a:pt x="341" y="7"/>
                    <a:pt x="339" y="8"/>
                    <a:pt x="336" y="10"/>
                  </a:cubicBezTo>
                  <a:cubicBezTo>
                    <a:pt x="333" y="11"/>
                    <a:pt x="329" y="13"/>
                    <a:pt x="328" y="16"/>
                  </a:cubicBezTo>
                  <a:cubicBezTo>
                    <a:pt x="326" y="18"/>
                    <a:pt x="326" y="21"/>
                    <a:pt x="324" y="23"/>
                  </a:cubicBezTo>
                  <a:cubicBezTo>
                    <a:pt x="322" y="26"/>
                    <a:pt x="321" y="25"/>
                    <a:pt x="317" y="25"/>
                  </a:cubicBezTo>
                  <a:cubicBezTo>
                    <a:pt x="313" y="25"/>
                    <a:pt x="308" y="27"/>
                    <a:pt x="303" y="27"/>
                  </a:cubicBezTo>
                  <a:cubicBezTo>
                    <a:pt x="301" y="27"/>
                    <a:pt x="298" y="28"/>
                    <a:pt x="296" y="29"/>
                  </a:cubicBezTo>
                  <a:cubicBezTo>
                    <a:pt x="296" y="29"/>
                    <a:pt x="296" y="30"/>
                    <a:pt x="295" y="30"/>
                  </a:cubicBezTo>
                  <a:cubicBezTo>
                    <a:pt x="295" y="30"/>
                    <a:pt x="293" y="30"/>
                    <a:pt x="293" y="30"/>
                  </a:cubicBezTo>
                  <a:cubicBezTo>
                    <a:pt x="287" y="30"/>
                    <a:pt x="281" y="30"/>
                    <a:pt x="276" y="30"/>
                  </a:cubicBezTo>
                  <a:cubicBezTo>
                    <a:pt x="272" y="30"/>
                    <a:pt x="271" y="32"/>
                    <a:pt x="269" y="35"/>
                  </a:cubicBezTo>
                  <a:cubicBezTo>
                    <a:pt x="268" y="37"/>
                    <a:pt x="267" y="41"/>
                    <a:pt x="264" y="42"/>
                  </a:cubicBezTo>
                  <a:cubicBezTo>
                    <a:pt x="259" y="44"/>
                    <a:pt x="253" y="42"/>
                    <a:pt x="249" y="39"/>
                  </a:cubicBezTo>
                  <a:cubicBezTo>
                    <a:pt x="247" y="37"/>
                    <a:pt x="246" y="35"/>
                    <a:pt x="245" y="34"/>
                  </a:cubicBezTo>
                  <a:cubicBezTo>
                    <a:pt x="244" y="33"/>
                    <a:pt x="242" y="32"/>
                    <a:pt x="241" y="31"/>
                  </a:cubicBezTo>
                  <a:cubicBezTo>
                    <a:pt x="240" y="30"/>
                    <a:pt x="241" y="29"/>
                    <a:pt x="238" y="29"/>
                  </a:cubicBezTo>
                  <a:cubicBezTo>
                    <a:pt x="239" y="25"/>
                    <a:pt x="229" y="29"/>
                    <a:pt x="228" y="29"/>
                  </a:cubicBezTo>
                  <a:cubicBezTo>
                    <a:pt x="223" y="31"/>
                    <a:pt x="220" y="31"/>
                    <a:pt x="216" y="29"/>
                  </a:cubicBezTo>
                  <a:cubicBezTo>
                    <a:pt x="215" y="29"/>
                    <a:pt x="214" y="29"/>
                    <a:pt x="214" y="29"/>
                  </a:cubicBezTo>
                  <a:cubicBezTo>
                    <a:pt x="213" y="29"/>
                    <a:pt x="213" y="28"/>
                    <a:pt x="212" y="27"/>
                  </a:cubicBezTo>
                  <a:cubicBezTo>
                    <a:pt x="210" y="26"/>
                    <a:pt x="205" y="26"/>
                    <a:pt x="203" y="26"/>
                  </a:cubicBezTo>
                  <a:cubicBezTo>
                    <a:pt x="201" y="26"/>
                    <a:pt x="199" y="26"/>
                    <a:pt x="197" y="26"/>
                  </a:cubicBezTo>
                  <a:cubicBezTo>
                    <a:pt x="195" y="26"/>
                    <a:pt x="195" y="27"/>
                    <a:pt x="194" y="29"/>
                  </a:cubicBezTo>
                  <a:cubicBezTo>
                    <a:pt x="194" y="28"/>
                    <a:pt x="192" y="24"/>
                    <a:pt x="191" y="24"/>
                  </a:cubicBezTo>
                  <a:cubicBezTo>
                    <a:pt x="189" y="22"/>
                    <a:pt x="187" y="23"/>
                    <a:pt x="186" y="23"/>
                  </a:cubicBezTo>
                  <a:cubicBezTo>
                    <a:pt x="182" y="23"/>
                    <a:pt x="179" y="24"/>
                    <a:pt x="175" y="24"/>
                  </a:cubicBezTo>
                  <a:cubicBezTo>
                    <a:pt x="171" y="23"/>
                    <a:pt x="172" y="21"/>
                    <a:pt x="170" y="18"/>
                  </a:cubicBezTo>
                  <a:cubicBezTo>
                    <a:pt x="168" y="16"/>
                    <a:pt x="165" y="15"/>
                    <a:pt x="162" y="17"/>
                  </a:cubicBezTo>
                  <a:cubicBezTo>
                    <a:pt x="160" y="18"/>
                    <a:pt x="159" y="19"/>
                    <a:pt x="158" y="20"/>
                  </a:cubicBezTo>
                  <a:cubicBezTo>
                    <a:pt x="157" y="21"/>
                    <a:pt x="156" y="22"/>
                    <a:pt x="155" y="23"/>
                  </a:cubicBezTo>
                  <a:cubicBezTo>
                    <a:pt x="152" y="24"/>
                    <a:pt x="148" y="22"/>
                    <a:pt x="145" y="23"/>
                  </a:cubicBezTo>
                  <a:cubicBezTo>
                    <a:pt x="145" y="24"/>
                    <a:pt x="145" y="25"/>
                    <a:pt x="145" y="27"/>
                  </a:cubicBezTo>
                  <a:cubicBezTo>
                    <a:pt x="143" y="27"/>
                    <a:pt x="142" y="28"/>
                    <a:pt x="142" y="30"/>
                  </a:cubicBezTo>
                  <a:cubicBezTo>
                    <a:pt x="141" y="31"/>
                    <a:pt x="142" y="32"/>
                    <a:pt x="141" y="33"/>
                  </a:cubicBezTo>
                  <a:cubicBezTo>
                    <a:pt x="141" y="33"/>
                    <a:pt x="140" y="34"/>
                    <a:pt x="140" y="35"/>
                  </a:cubicBezTo>
                  <a:cubicBezTo>
                    <a:pt x="138" y="35"/>
                    <a:pt x="135" y="37"/>
                    <a:pt x="133" y="39"/>
                  </a:cubicBezTo>
                  <a:cubicBezTo>
                    <a:pt x="133" y="40"/>
                    <a:pt x="133" y="41"/>
                    <a:pt x="132" y="42"/>
                  </a:cubicBezTo>
                  <a:cubicBezTo>
                    <a:pt x="130" y="43"/>
                    <a:pt x="127" y="42"/>
                    <a:pt x="125" y="42"/>
                  </a:cubicBezTo>
                  <a:cubicBezTo>
                    <a:pt x="124" y="42"/>
                    <a:pt x="124" y="43"/>
                    <a:pt x="122" y="43"/>
                  </a:cubicBezTo>
                  <a:cubicBezTo>
                    <a:pt x="121" y="43"/>
                    <a:pt x="120" y="43"/>
                    <a:pt x="119" y="45"/>
                  </a:cubicBezTo>
                  <a:cubicBezTo>
                    <a:pt x="118" y="46"/>
                    <a:pt x="118" y="47"/>
                    <a:pt x="116" y="48"/>
                  </a:cubicBezTo>
                  <a:cubicBezTo>
                    <a:pt x="115" y="48"/>
                    <a:pt x="113" y="48"/>
                    <a:pt x="112" y="48"/>
                  </a:cubicBezTo>
                  <a:cubicBezTo>
                    <a:pt x="110" y="48"/>
                    <a:pt x="110" y="48"/>
                    <a:pt x="109" y="50"/>
                  </a:cubicBezTo>
                  <a:cubicBezTo>
                    <a:pt x="108" y="51"/>
                    <a:pt x="108" y="52"/>
                    <a:pt x="107" y="53"/>
                  </a:cubicBezTo>
                  <a:cubicBezTo>
                    <a:pt x="106" y="53"/>
                    <a:pt x="106" y="54"/>
                    <a:pt x="106" y="55"/>
                  </a:cubicBezTo>
                  <a:cubicBezTo>
                    <a:pt x="105" y="55"/>
                    <a:pt x="105" y="55"/>
                    <a:pt x="104" y="56"/>
                  </a:cubicBezTo>
                  <a:cubicBezTo>
                    <a:pt x="104" y="57"/>
                    <a:pt x="105" y="58"/>
                    <a:pt x="104" y="59"/>
                  </a:cubicBezTo>
                  <a:cubicBezTo>
                    <a:pt x="104" y="59"/>
                    <a:pt x="103" y="60"/>
                    <a:pt x="103" y="60"/>
                  </a:cubicBezTo>
                  <a:cubicBezTo>
                    <a:pt x="103" y="60"/>
                    <a:pt x="102" y="61"/>
                    <a:pt x="102" y="61"/>
                  </a:cubicBezTo>
                  <a:cubicBezTo>
                    <a:pt x="102" y="62"/>
                    <a:pt x="102" y="62"/>
                    <a:pt x="102" y="62"/>
                  </a:cubicBezTo>
                  <a:cubicBezTo>
                    <a:pt x="102" y="62"/>
                    <a:pt x="101" y="63"/>
                    <a:pt x="101" y="63"/>
                  </a:cubicBezTo>
                  <a:cubicBezTo>
                    <a:pt x="100" y="64"/>
                    <a:pt x="100" y="65"/>
                    <a:pt x="99" y="66"/>
                  </a:cubicBezTo>
                  <a:cubicBezTo>
                    <a:pt x="99" y="66"/>
                    <a:pt x="99" y="67"/>
                    <a:pt x="99" y="67"/>
                  </a:cubicBezTo>
                  <a:cubicBezTo>
                    <a:pt x="99" y="69"/>
                    <a:pt x="99" y="70"/>
                    <a:pt x="98" y="71"/>
                  </a:cubicBezTo>
                  <a:cubicBezTo>
                    <a:pt x="98" y="73"/>
                    <a:pt x="98" y="74"/>
                    <a:pt x="98" y="75"/>
                  </a:cubicBezTo>
                  <a:cubicBezTo>
                    <a:pt x="97" y="76"/>
                    <a:pt x="95" y="76"/>
                    <a:pt x="94" y="76"/>
                  </a:cubicBezTo>
                  <a:cubicBezTo>
                    <a:pt x="92" y="77"/>
                    <a:pt x="91" y="79"/>
                    <a:pt x="90" y="81"/>
                  </a:cubicBezTo>
                  <a:cubicBezTo>
                    <a:pt x="89" y="82"/>
                    <a:pt x="89" y="83"/>
                    <a:pt x="89" y="84"/>
                  </a:cubicBezTo>
                  <a:cubicBezTo>
                    <a:pt x="88" y="86"/>
                    <a:pt x="89" y="87"/>
                    <a:pt x="88" y="89"/>
                  </a:cubicBezTo>
                  <a:cubicBezTo>
                    <a:pt x="88" y="91"/>
                    <a:pt x="86" y="94"/>
                    <a:pt x="84" y="96"/>
                  </a:cubicBezTo>
                  <a:cubicBezTo>
                    <a:pt x="83" y="96"/>
                    <a:pt x="81" y="97"/>
                    <a:pt x="81" y="98"/>
                  </a:cubicBezTo>
                  <a:cubicBezTo>
                    <a:pt x="80" y="99"/>
                    <a:pt x="80" y="101"/>
                    <a:pt x="80" y="102"/>
                  </a:cubicBezTo>
                  <a:cubicBezTo>
                    <a:pt x="79" y="103"/>
                    <a:pt x="79" y="104"/>
                    <a:pt x="78" y="105"/>
                  </a:cubicBezTo>
                  <a:cubicBezTo>
                    <a:pt x="77" y="106"/>
                    <a:pt x="77" y="107"/>
                    <a:pt x="77" y="108"/>
                  </a:cubicBezTo>
                  <a:cubicBezTo>
                    <a:pt x="76" y="109"/>
                    <a:pt x="76" y="109"/>
                    <a:pt x="75" y="109"/>
                  </a:cubicBezTo>
                  <a:cubicBezTo>
                    <a:pt x="75" y="110"/>
                    <a:pt x="75" y="112"/>
                    <a:pt x="75" y="113"/>
                  </a:cubicBezTo>
                  <a:cubicBezTo>
                    <a:pt x="75" y="115"/>
                    <a:pt x="74" y="117"/>
                    <a:pt x="74" y="118"/>
                  </a:cubicBezTo>
                  <a:cubicBezTo>
                    <a:pt x="74" y="120"/>
                    <a:pt x="74" y="122"/>
                    <a:pt x="73" y="123"/>
                  </a:cubicBezTo>
                  <a:cubicBezTo>
                    <a:pt x="72" y="125"/>
                    <a:pt x="71" y="126"/>
                    <a:pt x="70" y="126"/>
                  </a:cubicBezTo>
                  <a:cubicBezTo>
                    <a:pt x="70" y="127"/>
                    <a:pt x="70" y="127"/>
                    <a:pt x="69" y="128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7" y="128"/>
                    <a:pt x="67" y="128"/>
                    <a:pt x="67" y="129"/>
                  </a:cubicBezTo>
                  <a:cubicBezTo>
                    <a:pt x="66" y="129"/>
                    <a:pt x="66" y="132"/>
                    <a:pt x="64" y="132"/>
                  </a:cubicBezTo>
                  <a:cubicBezTo>
                    <a:pt x="64" y="132"/>
                    <a:pt x="64" y="132"/>
                    <a:pt x="64" y="133"/>
                  </a:cubicBezTo>
                  <a:cubicBezTo>
                    <a:pt x="62" y="133"/>
                    <a:pt x="63" y="134"/>
                    <a:pt x="62" y="135"/>
                  </a:cubicBezTo>
                  <a:cubicBezTo>
                    <a:pt x="61" y="136"/>
                    <a:pt x="60" y="136"/>
                    <a:pt x="59" y="137"/>
                  </a:cubicBezTo>
                  <a:cubicBezTo>
                    <a:pt x="59" y="138"/>
                    <a:pt x="59" y="139"/>
                    <a:pt x="59" y="139"/>
                  </a:cubicBezTo>
                  <a:cubicBezTo>
                    <a:pt x="59" y="140"/>
                    <a:pt x="58" y="140"/>
                    <a:pt x="58" y="141"/>
                  </a:cubicBezTo>
                  <a:cubicBezTo>
                    <a:pt x="57" y="142"/>
                    <a:pt x="56" y="143"/>
                    <a:pt x="55" y="145"/>
                  </a:cubicBezTo>
                  <a:cubicBezTo>
                    <a:pt x="55" y="146"/>
                    <a:pt x="54" y="148"/>
                    <a:pt x="54" y="149"/>
                  </a:cubicBezTo>
                  <a:cubicBezTo>
                    <a:pt x="54" y="149"/>
                    <a:pt x="55" y="150"/>
                    <a:pt x="54" y="151"/>
                  </a:cubicBezTo>
                  <a:cubicBezTo>
                    <a:pt x="54" y="151"/>
                    <a:pt x="53" y="151"/>
                    <a:pt x="53" y="152"/>
                  </a:cubicBezTo>
                  <a:cubicBezTo>
                    <a:pt x="53" y="152"/>
                    <a:pt x="53" y="153"/>
                    <a:pt x="52" y="154"/>
                  </a:cubicBezTo>
                  <a:cubicBezTo>
                    <a:pt x="52" y="154"/>
                    <a:pt x="51" y="155"/>
                    <a:pt x="51" y="155"/>
                  </a:cubicBezTo>
                  <a:cubicBezTo>
                    <a:pt x="50" y="156"/>
                    <a:pt x="50" y="157"/>
                    <a:pt x="49" y="158"/>
                  </a:cubicBezTo>
                  <a:cubicBezTo>
                    <a:pt x="49" y="159"/>
                    <a:pt x="48" y="159"/>
                    <a:pt x="48" y="159"/>
                  </a:cubicBezTo>
                  <a:cubicBezTo>
                    <a:pt x="48" y="158"/>
                    <a:pt x="47" y="161"/>
                    <a:pt x="47" y="161"/>
                  </a:cubicBezTo>
                  <a:cubicBezTo>
                    <a:pt x="46" y="161"/>
                    <a:pt x="46" y="162"/>
                    <a:pt x="46" y="162"/>
                  </a:cubicBezTo>
                  <a:cubicBezTo>
                    <a:pt x="46" y="162"/>
                    <a:pt x="45" y="163"/>
                    <a:pt x="46" y="163"/>
                  </a:cubicBezTo>
                  <a:cubicBezTo>
                    <a:pt x="45" y="164"/>
                    <a:pt x="45" y="165"/>
                    <a:pt x="43" y="166"/>
                  </a:cubicBezTo>
                  <a:cubicBezTo>
                    <a:pt x="42" y="166"/>
                    <a:pt x="40" y="166"/>
                    <a:pt x="38" y="166"/>
                  </a:cubicBezTo>
                  <a:cubicBezTo>
                    <a:pt x="37" y="166"/>
                    <a:pt x="36" y="166"/>
                    <a:pt x="34" y="165"/>
                  </a:cubicBezTo>
                  <a:cubicBezTo>
                    <a:pt x="33" y="164"/>
                    <a:pt x="32" y="164"/>
                    <a:pt x="31" y="164"/>
                  </a:cubicBezTo>
                  <a:cubicBezTo>
                    <a:pt x="28" y="164"/>
                    <a:pt x="27" y="167"/>
                    <a:pt x="26" y="168"/>
                  </a:cubicBezTo>
                  <a:cubicBezTo>
                    <a:pt x="22" y="177"/>
                    <a:pt x="12" y="171"/>
                    <a:pt x="5" y="172"/>
                  </a:cubicBezTo>
                  <a:cubicBezTo>
                    <a:pt x="4" y="172"/>
                    <a:pt x="4" y="173"/>
                    <a:pt x="2" y="173"/>
                  </a:cubicBezTo>
                  <a:cubicBezTo>
                    <a:pt x="2" y="173"/>
                    <a:pt x="1" y="173"/>
                    <a:pt x="0" y="173"/>
                  </a:cubicBezTo>
                  <a:cubicBezTo>
                    <a:pt x="5" y="182"/>
                    <a:pt x="5" y="182"/>
                    <a:pt x="5" y="182"/>
                  </a:cubicBezTo>
                  <a:cubicBezTo>
                    <a:pt x="5" y="184"/>
                    <a:pt x="4" y="186"/>
                    <a:pt x="6" y="188"/>
                  </a:cubicBezTo>
                  <a:cubicBezTo>
                    <a:pt x="6" y="189"/>
                    <a:pt x="7" y="189"/>
                    <a:pt x="8" y="189"/>
                  </a:cubicBezTo>
                  <a:cubicBezTo>
                    <a:pt x="10" y="190"/>
                    <a:pt x="13" y="190"/>
                    <a:pt x="14" y="193"/>
                  </a:cubicBezTo>
                  <a:cubicBezTo>
                    <a:pt x="14" y="195"/>
                    <a:pt x="14" y="194"/>
                    <a:pt x="16" y="195"/>
                  </a:cubicBezTo>
                  <a:cubicBezTo>
                    <a:pt x="17" y="195"/>
                    <a:pt x="18" y="196"/>
                    <a:pt x="18" y="197"/>
                  </a:cubicBezTo>
                  <a:cubicBezTo>
                    <a:pt x="19" y="198"/>
                    <a:pt x="18" y="198"/>
                    <a:pt x="19" y="199"/>
                  </a:cubicBezTo>
                  <a:cubicBezTo>
                    <a:pt x="19" y="199"/>
                    <a:pt x="20" y="200"/>
                    <a:pt x="20" y="200"/>
                  </a:cubicBezTo>
                  <a:cubicBezTo>
                    <a:pt x="20" y="201"/>
                    <a:pt x="21" y="203"/>
                    <a:pt x="22" y="203"/>
                  </a:cubicBezTo>
                  <a:cubicBezTo>
                    <a:pt x="23" y="203"/>
                    <a:pt x="23" y="202"/>
                    <a:pt x="24" y="202"/>
                  </a:cubicBezTo>
                  <a:cubicBezTo>
                    <a:pt x="24" y="201"/>
                    <a:pt x="25" y="202"/>
                    <a:pt x="26" y="202"/>
                  </a:cubicBezTo>
                  <a:cubicBezTo>
                    <a:pt x="27" y="202"/>
                    <a:pt x="28" y="202"/>
                    <a:pt x="29" y="203"/>
                  </a:cubicBezTo>
                  <a:cubicBezTo>
                    <a:pt x="30" y="205"/>
                    <a:pt x="29" y="208"/>
                    <a:pt x="29" y="210"/>
                  </a:cubicBezTo>
                  <a:cubicBezTo>
                    <a:pt x="29" y="211"/>
                    <a:pt x="29" y="213"/>
                    <a:pt x="29" y="214"/>
                  </a:cubicBezTo>
                  <a:cubicBezTo>
                    <a:pt x="29" y="215"/>
                    <a:pt x="28" y="215"/>
                    <a:pt x="28" y="216"/>
                  </a:cubicBezTo>
                  <a:cubicBezTo>
                    <a:pt x="27" y="218"/>
                    <a:pt x="28" y="222"/>
                    <a:pt x="30" y="222"/>
                  </a:cubicBezTo>
                  <a:cubicBezTo>
                    <a:pt x="31" y="223"/>
                    <a:pt x="28" y="225"/>
                    <a:pt x="27" y="226"/>
                  </a:cubicBezTo>
                  <a:cubicBezTo>
                    <a:pt x="27" y="227"/>
                    <a:pt x="27" y="228"/>
                    <a:pt x="28" y="229"/>
                  </a:cubicBezTo>
                  <a:cubicBezTo>
                    <a:pt x="28" y="231"/>
                    <a:pt x="29" y="231"/>
                    <a:pt x="31" y="231"/>
                  </a:cubicBezTo>
                  <a:cubicBezTo>
                    <a:pt x="34" y="232"/>
                    <a:pt x="34" y="232"/>
                    <a:pt x="34" y="235"/>
                  </a:cubicBezTo>
                  <a:cubicBezTo>
                    <a:pt x="34" y="236"/>
                    <a:pt x="34" y="237"/>
                    <a:pt x="34" y="238"/>
                  </a:cubicBezTo>
                  <a:cubicBezTo>
                    <a:pt x="35" y="239"/>
                    <a:pt x="36" y="240"/>
                    <a:pt x="38" y="241"/>
                  </a:cubicBezTo>
                  <a:cubicBezTo>
                    <a:pt x="44" y="243"/>
                    <a:pt x="50" y="243"/>
                    <a:pt x="57" y="243"/>
                  </a:cubicBezTo>
                  <a:cubicBezTo>
                    <a:pt x="58" y="243"/>
                    <a:pt x="59" y="243"/>
                    <a:pt x="60" y="244"/>
                  </a:cubicBezTo>
                  <a:cubicBezTo>
                    <a:pt x="61" y="245"/>
                    <a:pt x="61" y="245"/>
                    <a:pt x="61" y="246"/>
                  </a:cubicBezTo>
                  <a:cubicBezTo>
                    <a:pt x="62" y="246"/>
                    <a:pt x="63" y="246"/>
                    <a:pt x="63" y="247"/>
                  </a:cubicBezTo>
                  <a:cubicBezTo>
                    <a:pt x="64" y="248"/>
                    <a:pt x="63" y="248"/>
                    <a:pt x="62" y="249"/>
                  </a:cubicBezTo>
                  <a:cubicBezTo>
                    <a:pt x="62" y="250"/>
                    <a:pt x="62" y="251"/>
                    <a:pt x="63" y="252"/>
                  </a:cubicBezTo>
                  <a:cubicBezTo>
                    <a:pt x="64" y="253"/>
                    <a:pt x="65" y="253"/>
                    <a:pt x="65" y="254"/>
                  </a:cubicBezTo>
                  <a:cubicBezTo>
                    <a:pt x="65" y="255"/>
                    <a:pt x="64" y="256"/>
                    <a:pt x="63" y="257"/>
                  </a:cubicBezTo>
                  <a:cubicBezTo>
                    <a:pt x="62" y="258"/>
                    <a:pt x="61" y="258"/>
                    <a:pt x="61" y="260"/>
                  </a:cubicBezTo>
                  <a:cubicBezTo>
                    <a:pt x="61" y="260"/>
                    <a:pt x="61" y="261"/>
                    <a:pt x="60" y="261"/>
                  </a:cubicBezTo>
                  <a:cubicBezTo>
                    <a:pt x="60" y="262"/>
                    <a:pt x="60" y="262"/>
                    <a:pt x="60" y="262"/>
                  </a:cubicBezTo>
                  <a:cubicBezTo>
                    <a:pt x="59" y="263"/>
                    <a:pt x="58" y="263"/>
                    <a:pt x="58" y="264"/>
                  </a:cubicBezTo>
                  <a:cubicBezTo>
                    <a:pt x="57" y="265"/>
                    <a:pt x="58" y="268"/>
                    <a:pt x="59" y="269"/>
                  </a:cubicBezTo>
                  <a:cubicBezTo>
                    <a:pt x="60" y="270"/>
                    <a:pt x="62" y="270"/>
                    <a:pt x="63" y="271"/>
                  </a:cubicBezTo>
                  <a:cubicBezTo>
                    <a:pt x="63" y="271"/>
                    <a:pt x="64" y="272"/>
                    <a:pt x="65" y="273"/>
                  </a:cubicBezTo>
                  <a:cubicBezTo>
                    <a:pt x="66" y="274"/>
                    <a:pt x="67" y="277"/>
                    <a:pt x="65" y="278"/>
                  </a:cubicBezTo>
                  <a:cubicBezTo>
                    <a:pt x="64" y="278"/>
                    <a:pt x="62" y="277"/>
                    <a:pt x="60" y="278"/>
                  </a:cubicBezTo>
                  <a:cubicBezTo>
                    <a:pt x="59" y="278"/>
                    <a:pt x="59" y="279"/>
                    <a:pt x="58" y="280"/>
                  </a:cubicBezTo>
                  <a:cubicBezTo>
                    <a:pt x="57" y="281"/>
                    <a:pt x="56" y="281"/>
                    <a:pt x="57" y="282"/>
                  </a:cubicBezTo>
                  <a:cubicBezTo>
                    <a:pt x="57" y="283"/>
                    <a:pt x="57" y="284"/>
                    <a:pt x="58" y="285"/>
                  </a:cubicBezTo>
                  <a:cubicBezTo>
                    <a:pt x="59" y="285"/>
                    <a:pt x="60" y="285"/>
                    <a:pt x="61" y="285"/>
                  </a:cubicBezTo>
                  <a:cubicBezTo>
                    <a:pt x="62" y="285"/>
                    <a:pt x="65" y="285"/>
                    <a:pt x="65" y="285"/>
                  </a:cubicBezTo>
                  <a:cubicBezTo>
                    <a:pt x="66" y="286"/>
                    <a:pt x="66" y="286"/>
                    <a:pt x="66" y="287"/>
                  </a:cubicBezTo>
                  <a:cubicBezTo>
                    <a:pt x="66" y="287"/>
                    <a:pt x="67" y="288"/>
                    <a:pt x="67" y="288"/>
                  </a:cubicBezTo>
                  <a:cubicBezTo>
                    <a:pt x="67" y="289"/>
                    <a:pt x="67" y="289"/>
                    <a:pt x="67" y="290"/>
                  </a:cubicBezTo>
                  <a:cubicBezTo>
                    <a:pt x="68" y="291"/>
                    <a:pt x="69" y="291"/>
                    <a:pt x="70" y="292"/>
                  </a:cubicBezTo>
                  <a:cubicBezTo>
                    <a:pt x="70" y="292"/>
                    <a:pt x="71" y="292"/>
                    <a:pt x="71" y="292"/>
                  </a:cubicBezTo>
                  <a:cubicBezTo>
                    <a:pt x="71" y="292"/>
                    <a:pt x="71" y="292"/>
                    <a:pt x="71" y="292"/>
                  </a:cubicBezTo>
                  <a:cubicBezTo>
                    <a:pt x="74" y="293"/>
                    <a:pt x="77" y="294"/>
                    <a:pt x="80" y="295"/>
                  </a:cubicBezTo>
                  <a:cubicBezTo>
                    <a:pt x="83" y="296"/>
                    <a:pt x="85" y="298"/>
                    <a:pt x="87" y="300"/>
                  </a:cubicBezTo>
                  <a:cubicBezTo>
                    <a:pt x="88" y="300"/>
                    <a:pt x="89" y="301"/>
                    <a:pt x="90" y="301"/>
                  </a:cubicBezTo>
                  <a:cubicBezTo>
                    <a:pt x="91" y="302"/>
                    <a:pt x="92" y="302"/>
                    <a:pt x="93" y="303"/>
                  </a:cubicBezTo>
                  <a:cubicBezTo>
                    <a:pt x="93" y="303"/>
                    <a:pt x="93" y="305"/>
                    <a:pt x="94" y="305"/>
                  </a:cubicBezTo>
                  <a:cubicBezTo>
                    <a:pt x="94" y="307"/>
                    <a:pt x="94" y="307"/>
                    <a:pt x="96" y="307"/>
                  </a:cubicBezTo>
                  <a:cubicBezTo>
                    <a:pt x="99" y="308"/>
                    <a:pt x="100" y="308"/>
                    <a:pt x="102" y="306"/>
                  </a:cubicBezTo>
                  <a:cubicBezTo>
                    <a:pt x="103" y="305"/>
                    <a:pt x="103" y="306"/>
                    <a:pt x="104" y="304"/>
                  </a:cubicBezTo>
                  <a:cubicBezTo>
                    <a:pt x="104" y="304"/>
                    <a:pt x="104" y="303"/>
                    <a:pt x="104" y="303"/>
                  </a:cubicBezTo>
                  <a:cubicBezTo>
                    <a:pt x="105" y="302"/>
                    <a:pt x="105" y="301"/>
                    <a:pt x="105" y="301"/>
                  </a:cubicBezTo>
                  <a:cubicBezTo>
                    <a:pt x="106" y="300"/>
                    <a:pt x="106" y="299"/>
                    <a:pt x="107" y="299"/>
                  </a:cubicBezTo>
                  <a:cubicBezTo>
                    <a:pt x="109" y="297"/>
                    <a:pt x="109" y="294"/>
                    <a:pt x="112" y="293"/>
                  </a:cubicBezTo>
                  <a:cubicBezTo>
                    <a:pt x="115" y="292"/>
                    <a:pt x="117" y="295"/>
                    <a:pt x="120" y="296"/>
                  </a:cubicBezTo>
                  <a:cubicBezTo>
                    <a:pt x="123" y="298"/>
                    <a:pt x="125" y="298"/>
                    <a:pt x="128" y="300"/>
                  </a:cubicBezTo>
                  <a:cubicBezTo>
                    <a:pt x="130" y="301"/>
                    <a:pt x="133" y="302"/>
                    <a:pt x="132" y="305"/>
                  </a:cubicBezTo>
                  <a:cubicBezTo>
                    <a:pt x="131" y="307"/>
                    <a:pt x="128" y="307"/>
                    <a:pt x="125" y="307"/>
                  </a:cubicBezTo>
                  <a:cubicBezTo>
                    <a:pt x="124" y="308"/>
                    <a:pt x="123" y="308"/>
                    <a:pt x="122" y="309"/>
                  </a:cubicBezTo>
                  <a:cubicBezTo>
                    <a:pt x="121" y="309"/>
                    <a:pt x="121" y="309"/>
                    <a:pt x="120" y="310"/>
                  </a:cubicBezTo>
                  <a:cubicBezTo>
                    <a:pt x="120" y="310"/>
                    <a:pt x="118" y="310"/>
                    <a:pt x="118" y="311"/>
                  </a:cubicBezTo>
                  <a:cubicBezTo>
                    <a:pt x="118" y="312"/>
                    <a:pt x="118" y="312"/>
                    <a:pt x="118" y="313"/>
                  </a:cubicBezTo>
                  <a:cubicBezTo>
                    <a:pt x="117" y="313"/>
                    <a:pt x="117" y="313"/>
                    <a:pt x="116" y="314"/>
                  </a:cubicBezTo>
                  <a:cubicBezTo>
                    <a:pt x="116" y="315"/>
                    <a:pt x="117" y="315"/>
                    <a:pt x="117" y="316"/>
                  </a:cubicBezTo>
                  <a:cubicBezTo>
                    <a:pt x="117" y="317"/>
                    <a:pt x="118" y="318"/>
                    <a:pt x="119" y="318"/>
                  </a:cubicBezTo>
                  <a:cubicBezTo>
                    <a:pt x="119" y="319"/>
                    <a:pt x="118" y="321"/>
                    <a:pt x="119" y="322"/>
                  </a:cubicBezTo>
                  <a:cubicBezTo>
                    <a:pt x="120" y="323"/>
                    <a:pt x="121" y="323"/>
                    <a:pt x="122" y="324"/>
                  </a:cubicBezTo>
                  <a:cubicBezTo>
                    <a:pt x="122" y="324"/>
                    <a:pt x="123" y="325"/>
                    <a:pt x="123" y="326"/>
                  </a:cubicBezTo>
                  <a:cubicBezTo>
                    <a:pt x="125" y="327"/>
                    <a:pt x="126" y="329"/>
                    <a:pt x="126" y="331"/>
                  </a:cubicBezTo>
                  <a:cubicBezTo>
                    <a:pt x="126" y="332"/>
                    <a:pt x="126" y="333"/>
                    <a:pt x="126" y="334"/>
                  </a:cubicBezTo>
                  <a:cubicBezTo>
                    <a:pt x="128" y="334"/>
                    <a:pt x="130" y="335"/>
                    <a:pt x="132" y="335"/>
                  </a:cubicBezTo>
                  <a:cubicBezTo>
                    <a:pt x="134" y="336"/>
                    <a:pt x="135" y="337"/>
                    <a:pt x="136" y="338"/>
                  </a:cubicBezTo>
                  <a:cubicBezTo>
                    <a:pt x="139" y="340"/>
                    <a:pt x="144" y="341"/>
                    <a:pt x="145" y="344"/>
                  </a:cubicBezTo>
                  <a:cubicBezTo>
                    <a:pt x="146" y="347"/>
                    <a:pt x="143" y="348"/>
                    <a:pt x="141" y="349"/>
                  </a:cubicBezTo>
                  <a:cubicBezTo>
                    <a:pt x="140" y="350"/>
                    <a:pt x="138" y="351"/>
                    <a:pt x="137" y="352"/>
                  </a:cubicBezTo>
                  <a:cubicBezTo>
                    <a:pt x="136" y="352"/>
                    <a:pt x="136" y="355"/>
                    <a:pt x="136" y="356"/>
                  </a:cubicBezTo>
                  <a:cubicBezTo>
                    <a:pt x="136" y="358"/>
                    <a:pt x="136" y="363"/>
                    <a:pt x="138" y="365"/>
                  </a:cubicBezTo>
                  <a:cubicBezTo>
                    <a:pt x="140" y="366"/>
                    <a:pt x="141" y="366"/>
                    <a:pt x="143" y="366"/>
                  </a:cubicBezTo>
                  <a:cubicBezTo>
                    <a:pt x="145" y="366"/>
                    <a:pt x="146" y="367"/>
                    <a:pt x="148" y="367"/>
                  </a:cubicBezTo>
                  <a:cubicBezTo>
                    <a:pt x="151" y="368"/>
                    <a:pt x="153" y="364"/>
                    <a:pt x="157" y="364"/>
                  </a:cubicBezTo>
                  <a:cubicBezTo>
                    <a:pt x="162" y="364"/>
                    <a:pt x="166" y="365"/>
                    <a:pt x="171" y="365"/>
                  </a:cubicBezTo>
                  <a:cubicBezTo>
                    <a:pt x="174" y="365"/>
                    <a:pt x="177" y="365"/>
                    <a:pt x="180" y="367"/>
                  </a:cubicBezTo>
                  <a:cubicBezTo>
                    <a:pt x="182" y="367"/>
                    <a:pt x="183" y="368"/>
                    <a:pt x="185" y="369"/>
                  </a:cubicBezTo>
                  <a:cubicBezTo>
                    <a:pt x="186" y="369"/>
                    <a:pt x="188" y="369"/>
                    <a:pt x="189" y="370"/>
                  </a:cubicBezTo>
                  <a:cubicBezTo>
                    <a:pt x="192" y="371"/>
                    <a:pt x="194" y="372"/>
                    <a:pt x="197" y="373"/>
                  </a:cubicBezTo>
                  <a:cubicBezTo>
                    <a:pt x="198" y="374"/>
                    <a:pt x="200" y="375"/>
                    <a:pt x="201" y="375"/>
                  </a:cubicBezTo>
                  <a:cubicBezTo>
                    <a:pt x="202" y="375"/>
                    <a:pt x="202" y="374"/>
                    <a:pt x="203" y="374"/>
                  </a:cubicBezTo>
                  <a:cubicBezTo>
                    <a:pt x="207" y="374"/>
                    <a:pt x="209" y="378"/>
                    <a:pt x="213" y="379"/>
                  </a:cubicBezTo>
                  <a:cubicBezTo>
                    <a:pt x="215" y="379"/>
                    <a:pt x="219" y="379"/>
                    <a:pt x="221" y="378"/>
                  </a:cubicBezTo>
                  <a:cubicBezTo>
                    <a:pt x="223" y="377"/>
                    <a:pt x="225" y="375"/>
                    <a:pt x="228" y="375"/>
                  </a:cubicBezTo>
                  <a:cubicBezTo>
                    <a:pt x="232" y="374"/>
                    <a:pt x="236" y="375"/>
                    <a:pt x="240" y="376"/>
                  </a:cubicBezTo>
                  <a:cubicBezTo>
                    <a:pt x="242" y="376"/>
                    <a:pt x="244" y="376"/>
                    <a:pt x="246" y="375"/>
                  </a:cubicBezTo>
                  <a:cubicBezTo>
                    <a:pt x="248" y="374"/>
                    <a:pt x="248" y="373"/>
                    <a:pt x="251" y="374"/>
                  </a:cubicBezTo>
                  <a:cubicBezTo>
                    <a:pt x="253" y="375"/>
                    <a:pt x="255" y="378"/>
                    <a:pt x="257" y="378"/>
                  </a:cubicBezTo>
                  <a:cubicBezTo>
                    <a:pt x="259" y="378"/>
                    <a:pt x="261" y="378"/>
                    <a:pt x="263" y="378"/>
                  </a:cubicBezTo>
                  <a:cubicBezTo>
                    <a:pt x="266" y="379"/>
                    <a:pt x="269" y="380"/>
                    <a:pt x="271" y="381"/>
                  </a:cubicBezTo>
                  <a:cubicBezTo>
                    <a:pt x="272" y="381"/>
                    <a:pt x="273" y="382"/>
                    <a:pt x="274" y="382"/>
                  </a:cubicBezTo>
                  <a:cubicBezTo>
                    <a:pt x="275" y="382"/>
                    <a:pt x="275" y="382"/>
                    <a:pt x="275" y="382"/>
                  </a:cubicBezTo>
                  <a:cubicBezTo>
                    <a:pt x="278" y="382"/>
                    <a:pt x="281" y="384"/>
                    <a:pt x="283" y="384"/>
                  </a:cubicBezTo>
                  <a:cubicBezTo>
                    <a:pt x="285" y="384"/>
                    <a:pt x="285" y="384"/>
                    <a:pt x="286" y="383"/>
                  </a:cubicBezTo>
                  <a:cubicBezTo>
                    <a:pt x="288" y="382"/>
                    <a:pt x="289" y="382"/>
                    <a:pt x="290" y="381"/>
                  </a:cubicBezTo>
                  <a:cubicBezTo>
                    <a:pt x="292" y="379"/>
                    <a:pt x="293" y="379"/>
                    <a:pt x="295" y="379"/>
                  </a:cubicBezTo>
                  <a:cubicBezTo>
                    <a:pt x="297" y="379"/>
                    <a:pt x="299" y="380"/>
                    <a:pt x="300" y="378"/>
                  </a:cubicBezTo>
                  <a:cubicBezTo>
                    <a:pt x="301" y="377"/>
                    <a:pt x="300" y="376"/>
                    <a:pt x="300" y="375"/>
                  </a:cubicBezTo>
                  <a:cubicBezTo>
                    <a:pt x="301" y="373"/>
                    <a:pt x="304" y="372"/>
                    <a:pt x="305" y="371"/>
                  </a:cubicBezTo>
                  <a:cubicBezTo>
                    <a:pt x="307" y="370"/>
                    <a:pt x="308" y="369"/>
                    <a:pt x="308" y="367"/>
                  </a:cubicBezTo>
                  <a:cubicBezTo>
                    <a:pt x="308" y="366"/>
                    <a:pt x="308" y="365"/>
                    <a:pt x="308" y="364"/>
                  </a:cubicBezTo>
                  <a:cubicBezTo>
                    <a:pt x="309" y="363"/>
                    <a:pt x="311" y="362"/>
                    <a:pt x="313" y="361"/>
                  </a:cubicBezTo>
                  <a:cubicBezTo>
                    <a:pt x="314" y="360"/>
                    <a:pt x="315" y="359"/>
                    <a:pt x="316" y="359"/>
                  </a:cubicBezTo>
                  <a:cubicBezTo>
                    <a:pt x="318" y="357"/>
                    <a:pt x="321" y="357"/>
                    <a:pt x="324" y="356"/>
                  </a:cubicBezTo>
                  <a:cubicBezTo>
                    <a:pt x="326" y="355"/>
                    <a:pt x="328" y="355"/>
                    <a:pt x="331" y="355"/>
                  </a:cubicBezTo>
                  <a:cubicBezTo>
                    <a:pt x="333" y="354"/>
                    <a:pt x="334" y="354"/>
                    <a:pt x="335" y="353"/>
                  </a:cubicBezTo>
                  <a:cubicBezTo>
                    <a:pt x="338" y="352"/>
                    <a:pt x="341" y="350"/>
                    <a:pt x="344" y="350"/>
                  </a:cubicBezTo>
                  <a:cubicBezTo>
                    <a:pt x="346" y="350"/>
                    <a:pt x="349" y="350"/>
                    <a:pt x="351" y="350"/>
                  </a:cubicBezTo>
                  <a:cubicBezTo>
                    <a:pt x="354" y="350"/>
                    <a:pt x="356" y="350"/>
                    <a:pt x="358" y="349"/>
                  </a:cubicBezTo>
                  <a:cubicBezTo>
                    <a:pt x="361" y="348"/>
                    <a:pt x="363" y="347"/>
                    <a:pt x="366" y="345"/>
                  </a:cubicBezTo>
                  <a:cubicBezTo>
                    <a:pt x="368" y="344"/>
                    <a:pt x="370" y="342"/>
                    <a:pt x="373" y="343"/>
                  </a:cubicBezTo>
                  <a:cubicBezTo>
                    <a:pt x="374" y="343"/>
                    <a:pt x="376" y="344"/>
                    <a:pt x="377" y="345"/>
                  </a:cubicBezTo>
                  <a:cubicBezTo>
                    <a:pt x="378" y="345"/>
                    <a:pt x="380" y="346"/>
                    <a:pt x="382" y="347"/>
                  </a:cubicBezTo>
                  <a:cubicBezTo>
                    <a:pt x="383" y="348"/>
                    <a:pt x="383" y="349"/>
                    <a:pt x="384" y="350"/>
                  </a:cubicBezTo>
                  <a:cubicBezTo>
                    <a:pt x="385" y="351"/>
                    <a:pt x="386" y="351"/>
                    <a:pt x="387" y="352"/>
                  </a:cubicBezTo>
                  <a:cubicBezTo>
                    <a:pt x="388" y="352"/>
                    <a:pt x="389" y="353"/>
                    <a:pt x="390" y="353"/>
                  </a:cubicBezTo>
                  <a:cubicBezTo>
                    <a:pt x="390" y="353"/>
                    <a:pt x="392" y="353"/>
                    <a:pt x="393" y="353"/>
                  </a:cubicBezTo>
                  <a:cubicBezTo>
                    <a:pt x="394" y="353"/>
                    <a:pt x="396" y="354"/>
                    <a:pt x="397" y="355"/>
                  </a:cubicBezTo>
                  <a:cubicBezTo>
                    <a:pt x="398" y="355"/>
                    <a:pt x="398" y="355"/>
                    <a:pt x="399" y="355"/>
                  </a:cubicBezTo>
                  <a:cubicBezTo>
                    <a:pt x="399" y="355"/>
                    <a:pt x="401" y="354"/>
                    <a:pt x="401" y="354"/>
                  </a:cubicBezTo>
                  <a:cubicBezTo>
                    <a:pt x="402" y="354"/>
                    <a:pt x="403" y="354"/>
                    <a:pt x="404" y="354"/>
                  </a:cubicBezTo>
                  <a:cubicBezTo>
                    <a:pt x="407" y="354"/>
                    <a:pt x="406" y="354"/>
                    <a:pt x="407" y="356"/>
                  </a:cubicBezTo>
                  <a:cubicBezTo>
                    <a:pt x="407" y="357"/>
                    <a:pt x="408" y="357"/>
                    <a:pt x="408" y="358"/>
                  </a:cubicBezTo>
                  <a:cubicBezTo>
                    <a:pt x="409" y="358"/>
                    <a:pt x="410" y="360"/>
                    <a:pt x="410" y="360"/>
                  </a:cubicBezTo>
                  <a:cubicBezTo>
                    <a:pt x="411" y="360"/>
                    <a:pt x="413" y="360"/>
                    <a:pt x="414" y="360"/>
                  </a:cubicBezTo>
                  <a:cubicBezTo>
                    <a:pt x="415" y="359"/>
                    <a:pt x="420" y="355"/>
                    <a:pt x="421" y="357"/>
                  </a:cubicBezTo>
                  <a:cubicBezTo>
                    <a:pt x="421" y="358"/>
                    <a:pt x="421" y="358"/>
                    <a:pt x="421" y="359"/>
                  </a:cubicBezTo>
                  <a:cubicBezTo>
                    <a:pt x="421" y="359"/>
                    <a:pt x="421" y="360"/>
                    <a:pt x="422" y="360"/>
                  </a:cubicBezTo>
                  <a:cubicBezTo>
                    <a:pt x="423" y="362"/>
                    <a:pt x="423" y="362"/>
                    <a:pt x="423" y="364"/>
                  </a:cubicBezTo>
                  <a:cubicBezTo>
                    <a:pt x="424" y="365"/>
                    <a:pt x="423" y="366"/>
                    <a:pt x="424" y="367"/>
                  </a:cubicBezTo>
                  <a:cubicBezTo>
                    <a:pt x="425" y="368"/>
                    <a:pt x="425" y="368"/>
                    <a:pt x="426" y="368"/>
                  </a:cubicBezTo>
                  <a:cubicBezTo>
                    <a:pt x="426" y="368"/>
                    <a:pt x="426" y="369"/>
                    <a:pt x="426" y="369"/>
                  </a:cubicBezTo>
                  <a:cubicBezTo>
                    <a:pt x="427" y="370"/>
                    <a:pt x="428" y="370"/>
                    <a:pt x="428" y="372"/>
                  </a:cubicBezTo>
                  <a:cubicBezTo>
                    <a:pt x="429" y="372"/>
                    <a:pt x="428" y="373"/>
                    <a:pt x="429" y="373"/>
                  </a:cubicBezTo>
                  <a:cubicBezTo>
                    <a:pt x="429" y="374"/>
                    <a:pt x="430" y="375"/>
                    <a:pt x="431" y="375"/>
                  </a:cubicBezTo>
                  <a:cubicBezTo>
                    <a:pt x="433" y="376"/>
                    <a:pt x="436" y="376"/>
                    <a:pt x="439" y="377"/>
                  </a:cubicBezTo>
                  <a:cubicBezTo>
                    <a:pt x="441" y="377"/>
                    <a:pt x="443" y="378"/>
                    <a:pt x="446" y="379"/>
                  </a:cubicBezTo>
                  <a:cubicBezTo>
                    <a:pt x="449" y="379"/>
                    <a:pt x="452" y="379"/>
                    <a:pt x="456" y="379"/>
                  </a:cubicBezTo>
                  <a:cubicBezTo>
                    <a:pt x="456" y="379"/>
                    <a:pt x="456" y="379"/>
                    <a:pt x="456" y="379"/>
                  </a:cubicBezTo>
                  <a:cubicBezTo>
                    <a:pt x="456" y="379"/>
                    <a:pt x="455" y="379"/>
                    <a:pt x="455" y="379"/>
                  </a:cubicBezTo>
                  <a:cubicBezTo>
                    <a:pt x="456" y="379"/>
                    <a:pt x="456" y="379"/>
                    <a:pt x="456" y="379"/>
                  </a:cubicBezTo>
                  <a:cubicBezTo>
                    <a:pt x="456" y="378"/>
                    <a:pt x="456" y="377"/>
                    <a:pt x="456" y="376"/>
                  </a:cubicBezTo>
                  <a:cubicBezTo>
                    <a:pt x="457" y="372"/>
                    <a:pt x="458" y="369"/>
                    <a:pt x="458" y="366"/>
                  </a:cubicBezTo>
                  <a:cubicBezTo>
                    <a:pt x="458" y="362"/>
                    <a:pt x="458" y="359"/>
                    <a:pt x="458" y="356"/>
                  </a:cubicBezTo>
                  <a:cubicBezTo>
                    <a:pt x="458" y="347"/>
                    <a:pt x="457" y="340"/>
                    <a:pt x="462" y="332"/>
                  </a:cubicBezTo>
                  <a:cubicBezTo>
                    <a:pt x="465" y="330"/>
                    <a:pt x="466" y="328"/>
                    <a:pt x="466" y="325"/>
                  </a:cubicBezTo>
                  <a:cubicBezTo>
                    <a:pt x="466" y="323"/>
                    <a:pt x="466" y="322"/>
                    <a:pt x="466" y="321"/>
                  </a:cubicBezTo>
                  <a:cubicBezTo>
                    <a:pt x="466" y="321"/>
                    <a:pt x="467" y="319"/>
                    <a:pt x="467" y="319"/>
                  </a:cubicBezTo>
                  <a:cubicBezTo>
                    <a:pt x="467" y="318"/>
                    <a:pt x="467" y="317"/>
                    <a:pt x="468" y="316"/>
                  </a:cubicBezTo>
                  <a:cubicBezTo>
                    <a:pt x="469" y="314"/>
                    <a:pt x="469" y="312"/>
                    <a:pt x="469" y="309"/>
                  </a:cubicBezTo>
                  <a:cubicBezTo>
                    <a:pt x="469" y="308"/>
                    <a:pt x="468" y="306"/>
                    <a:pt x="467" y="305"/>
                  </a:cubicBezTo>
                  <a:cubicBezTo>
                    <a:pt x="466" y="304"/>
                    <a:pt x="465" y="304"/>
                    <a:pt x="464" y="302"/>
                  </a:cubicBezTo>
                  <a:cubicBezTo>
                    <a:pt x="466" y="302"/>
                    <a:pt x="468" y="302"/>
                    <a:pt x="470" y="302"/>
                  </a:cubicBezTo>
                  <a:cubicBezTo>
                    <a:pt x="472" y="302"/>
                    <a:pt x="472" y="301"/>
                    <a:pt x="474" y="299"/>
                  </a:cubicBezTo>
                  <a:cubicBezTo>
                    <a:pt x="475" y="297"/>
                    <a:pt x="476" y="296"/>
                    <a:pt x="476" y="294"/>
                  </a:cubicBezTo>
                  <a:cubicBezTo>
                    <a:pt x="476" y="291"/>
                    <a:pt x="473" y="290"/>
                    <a:pt x="472" y="288"/>
                  </a:cubicBezTo>
                  <a:cubicBezTo>
                    <a:pt x="471" y="284"/>
                    <a:pt x="472" y="279"/>
                    <a:pt x="475" y="278"/>
                  </a:cubicBezTo>
                  <a:cubicBezTo>
                    <a:pt x="477" y="277"/>
                    <a:pt x="479" y="278"/>
                    <a:pt x="481" y="277"/>
                  </a:cubicBezTo>
                  <a:cubicBezTo>
                    <a:pt x="483" y="277"/>
                    <a:pt x="482" y="274"/>
                    <a:pt x="484" y="274"/>
                  </a:cubicBezTo>
                  <a:cubicBezTo>
                    <a:pt x="485" y="279"/>
                    <a:pt x="479" y="280"/>
                    <a:pt x="478" y="285"/>
                  </a:cubicBezTo>
                  <a:cubicBezTo>
                    <a:pt x="477" y="290"/>
                    <a:pt x="488" y="288"/>
                    <a:pt x="491" y="289"/>
                  </a:cubicBezTo>
                  <a:cubicBezTo>
                    <a:pt x="492" y="289"/>
                    <a:pt x="493" y="288"/>
                    <a:pt x="494" y="289"/>
                  </a:cubicBezTo>
                  <a:cubicBezTo>
                    <a:pt x="494" y="290"/>
                    <a:pt x="494" y="291"/>
                    <a:pt x="494" y="292"/>
                  </a:cubicBezTo>
                  <a:cubicBezTo>
                    <a:pt x="496" y="293"/>
                    <a:pt x="500" y="292"/>
                    <a:pt x="502" y="292"/>
                  </a:cubicBezTo>
                  <a:cubicBezTo>
                    <a:pt x="507" y="292"/>
                    <a:pt x="512" y="292"/>
                    <a:pt x="515" y="288"/>
                  </a:cubicBezTo>
                  <a:cubicBezTo>
                    <a:pt x="516" y="287"/>
                    <a:pt x="516" y="286"/>
                    <a:pt x="517" y="285"/>
                  </a:cubicBezTo>
                  <a:cubicBezTo>
                    <a:pt x="517" y="284"/>
                    <a:pt x="517" y="281"/>
                    <a:pt x="518" y="280"/>
                  </a:cubicBezTo>
                  <a:cubicBezTo>
                    <a:pt x="518" y="278"/>
                    <a:pt x="518" y="276"/>
                    <a:pt x="518" y="274"/>
                  </a:cubicBezTo>
                  <a:cubicBezTo>
                    <a:pt x="518" y="271"/>
                    <a:pt x="520" y="268"/>
                    <a:pt x="521" y="265"/>
                  </a:cubicBezTo>
                  <a:cubicBezTo>
                    <a:pt x="521" y="262"/>
                    <a:pt x="522" y="259"/>
                    <a:pt x="523" y="257"/>
                  </a:cubicBezTo>
                  <a:cubicBezTo>
                    <a:pt x="523" y="257"/>
                    <a:pt x="525" y="255"/>
                    <a:pt x="525" y="25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5" name="Freeform 35"/>
            <p:cNvSpPr>
              <a:spLocks/>
            </p:cNvSpPr>
            <p:nvPr/>
          </p:nvSpPr>
          <p:spPr bwMode="auto">
            <a:xfrm>
              <a:off x="6130925" y="4779963"/>
              <a:ext cx="336550" cy="477838"/>
            </a:xfrm>
            <a:custGeom>
              <a:avLst/>
              <a:gdLst/>
              <a:ahLst/>
              <a:cxnLst>
                <a:cxn ang="0">
                  <a:pos x="169" y="144"/>
                </a:cxn>
                <a:cxn ang="0">
                  <a:pos x="163" y="133"/>
                </a:cxn>
                <a:cxn ang="0">
                  <a:pos x="158" y="123"/>
                </a:cxn>
                <a:cxn ang="0">
                  <a:pos x="159" y="115"/>
                </a:cxn>
                <a:cxn ang="0">
                  <a:pos x="160" y="101"/>
                </a:cxn>
                <a:cxn ang="0">
                  <a:pos x="150" y="101"/>
                </a:cxn>
                <a:cxn ang="0">
                  <a:pos x="144" y="96"/>
                </a:cxn>
                <a:cxn ang="0">
                  <a:pos x="136" y="85"/>
                </a:cxn>
                <a:cxn ang="0">
                  <a:pos x="139" y="74"/>
                </a:cxn>
                <a:cxn ang="0">
                  <a:pos x="141" y="63"/>
                </a:cxn>
                <a:cxn ang="0">
                  <a:pos x="141" y="56"/>
                </a:cxn>
                <a:cxn ang="0">
                  <a:pos x="141" y="48"/>
                </a:cxn>
                <a:cxn ang="0">
                  <a:pos x="130" y="48"/>
                </a:cxn>
                <a:cxn ang="0">
                  <a:pos x="121" y="45"/>
                </a:cxn>
                <a:cxn ang="0">
                  <a:pos x="115" y="35"/>
                </a:cxn>
                <a:cxn ang="0">
                  <a:pos x="107" y="31"/>
                </a:cxn>
                <a:cxn ang="0">
                  <a:pos x="97" y="37"/>
                </a:cxn>
                <a:cxn ang="0">
                  <a:pos x="95" y="29"/>
                </a:cxn>
                <a:cxn ang="0">
                  <a:pos x="92" y="24"/>
                </a:cxn>
                <a:cxn ang="0">
                  <a:pos x="80" y="23"/>
                </a:cxn>
                <a:cxn ang="0">
                  <a:pos x="75" y="18"/>
                </a:cxn>
                <a:cxn ang="0">
                  <a:pos x="60" y="7"/>
                </a:cxn>
                <a:cxn ang="0">
                  <a:pos x="48" y="4"/>
                </a:cxn>
                <a:cxn ang="0">
                  <a:pos x="36" y="6"/>
                </a:cxn>
                <a:cxn ang="0">
                  <a:pos x="25" y="11"/>
                </a:cxn>
                <a:cxn ang="0">
                  <a:pos x="12" y="13"/>
                </a:cxn>
                <a:cxn ang="0">
                  <a:pos x="4" y="7"/>
                </a:cxn>
                <a:cxn ang="0">
                  <a:pos x="2" y="18"/>
                </a:cxn>
                <a:cxn ang="0">
                  <a:pos x="11" y="33"/>
                </a:cxn>
                <a:cxn ang="0">
                  <a:pos x="34" y="65"/>
                </a:cxn>
                <a:cxn ang="0">
                  <a:pos x="38" y="84"/>
                </a:cxn>
                <a:cxn ang="0">
                  <a:pos x="51" y="98"/>
                </a:cxn>
                <a:cxn ang="0">
                  <a:pos x="67" y="125"/>
                </a:cxn>
                <a:cxn ang="0">
                  <a:pos x="84" y="157"/>
                </a:cxn>
                <a:cxn ang="0">
                  <a:pos x="77" y="227"/>
                </a:cxn>
                <a:cxn ang="0">
                  <a:pos x="88" y="252"/>
                </a:cxn>
                <a:cxn ang="0">
                  <a:pos x="98" y="253"/>
                </a:cxn>
                <a:cxn ang="0">
                  <a:pos x="99" y="244"/>
                </a:cxn>
                <a:cxn ang="0">
                  <a:pos x="101" y="234"/>
                </a:cxn>
                <a:cxn ang="0">
                  <a:pos x="108" y="228"/>
                </a:cxn>
                <a:cxn ang="0">
                  <a:pos x="126" y="211"/>
                </a:cxn>
                <a:cxn ang="0">
                  <a:pos x="128" y="195"/>
                </a:cxn>
                <a:cxn ang="0">
                  <a:pos x="126" y="182"/>
                </a:cxn>
                <a:cxn ang="0">
                  <a:pos x="127" y="172"/>
                </a:cxn>
                <a:cxn ang="0">
                  <a:pos x="143" y="169"/>
                </a:cxn>
                <a:cxn ang="0">
                  <a:pos x="142" y="180"/>
                </a:cxn>
                <a:cxn ang="0">
                  <a:pos x="146" y="171"/>
                </a:cxn>
                <a:cxn ang="0">
                  <a:pos x="155" y="176"/>
                </a:cxn>
                <a:cxn ang="0">
                  <a:pos x="163" y="185"/>
                </a:cxn>
                <a:cxn ang="0">
                  <a:pos x="171" y="172"/>
                </a:cxn>
                <a:cxn ang="0">
                  <a:pos x="178" y="165"/>
                </a:cxn>
              </a:cxnLst>
              <a:rect l="0" t="0" r="r" b="b"/>
              <a:pathLst>
                <a:path w="180" h="256">
                  <a:moveTo>
                    <a:pt x="180" y="147"/>
                  </a:moveTo>
                  <a:cubicBezTo>
                    <a:pt x="180" y="144"/>
                    <a:pt x="178" y="144"/>
                    <a:pt x="176" y="143"/>
                  </a:cubicBezTo>
                  <a:cubicBezTo>
                    <a:pt x="175" y="142"/>
                    <a:pt x="174" y="141"/>
                    <a:pt x="173" y="142"/>
                  </a:cubicBezTo>
                  <a:cubicBezTo>
                    <a:pt x="171" y="143"/>
                    <a:pt x="170" y="143"/>
                    <a:pt x="169" y="144"/>
                  </a:cubicBezTo>
                  <a:cubicBezTo>
                    <a:pt x="168" y="144"/>
                    <a:pt x="168" y="144"/>
                    <a:pt x="167" y="143"/>
                  </a:cubicBezTo>
                  <a:cubicBezTo>
                    <a:pt x="167" y="141"/>
                    <a:pt x="165" y="138"/>
                    <a:pt x="165" y="136"/>
                  </a:cubicBezTo>
                  <a:cubicBezTo>
                    <a:pt x="165" y="135"/>
                    <a:pt x="165" y="135"/>
                    <a:pt x="164" y="134"/>
                  </a:cubicBezTo>
                  <a:cubicBezTo>
                    <a:pt x="164" y="134"/>
                    <a:pt x="163" y="133"/>
                    <a:pt x="163" y="133"/>
                  </a:cubicBezTo>
                  <a:cubicBezTo>
                    <a:pt x="163" y="132"/>
                    <a:pt x="163" y="130"/>
                    <a:pt x="164" y="128"/>
                  </a:cubicBezTo>
                  <a:cubicBezTo>
                    <a:pt x="164" y="128"/>
                    <a:pt x="164" y="127"/>
                    <a:pt x="164" y="126"/>
                  </a:cubicBezTo>
                  <a:cubicBezTo>
                    <a:pt x="164" y="126"/>
                    <a:pt x="164" y="124"/>
                    <a:pt x="163" y="123"/>
                  </a:cubicBezTo>
                  <a:cubicBezTo>
                    <a:pt x="162" y="123"/>
                    <a:pt x="159" y="123"/>
                    <a:pt x="158" y="123"/>
                  </a:cubicBezTo>
                  <a:cubicBezTo>
                    <a:pt x="156" y="123"/>
                    <a:pt x="152" y="122"/>
                    <a:pt x="154" y="120"/>
                  </a:cubicBezTo>
                  <a:cubicBezTo>
                    <a:pt x="155" y="118"/>
                    <a:pt x="156" y="119"/>
                    <a:pt x="158" y="120"/>
                  </a:cubicBezTo>
                  <a:cubicBezTo>
                    <a:pt x="157" y="119"/>
                    <a:pt x="157" y="118"/>
                    <a:pt x="157" y="117"/>
                  </a:cubicBezTo>
                  <a:cubicBezTo>
                    <a:pt x="158" y="115"/>
                    <a:pt x="158" y="116"/>
                    <a:pt x="159" y="115"/>
                  </a:cubicBezTo>
                  <a:cubicBezTo>
                    <a:pt x="159" y="114"/>
                    <a:pt x="159" y="114"/>
                    <a:pt x="159" y="113"/>
                  </a:cubicBezTo>
                  <a:cubicBezTo>
                    <a:pt x="159" y="113"/>
                    <a:pt x="159" y="112"/>
                    <a:pt x="159" y="112"/>
                  </a:cubicBezTo>
                  <a:cubicBezTo>
                    <a:pt x="158" y="109"/>
                    <a:pt x="160" y="109"/>
                    <a:pt x="161" y="107"/>
                  </a:cubicBezTo>
                  <a:cubicBezTo>
                    <a:pt x="162" y="105"/>
                    <a:pt x="160" y="103"/>
                    <a:pt x="160" y="101"/>
                  </a:cubicBezTo>
                  <a:cubicBezTo>
                    <a:pt x="160" y="99"/>
                    <a:pt x="160" y="98"/>
                    <a:pt x="160" y="97"/>
                  </a:cubicBezTo>
                  <a:cubicBezTo>
                    <a:pt x="159" y="97"/>
                    <a:pt x="158" y="97"/>
                    <a:pt x="157" y="98"/>
                  </a:cubicBezTo>
                  <a:cubicBezTo>
                    <a:pt x="157" y="98"/>
                    <a:pt x="156" y="98"/>
                    <a:pt x="156" y="98"/>
                  </a:cubicBezTo>
                  <a:cubicBezTo>
                    <a:pt x="154" y="100"/>
                    <a:pt x="153" y="103"/>
                    <a:pt x="150" y="101"/>
                  </a:cubicBezTo>
                  <a:cubicBezTo>
                    <a:pt x="149" y="101"/>
                    <a:pt x="148" y="100"/>
                    <a:pt x="147" y="100"/>
                  </a:cubicBezTo>
                  <a:cubicBezTo>
                    <a:pt x="146" y="99"/>
                    <a:pt x="146" y="97"/>
                    <a:pt x="146" y="96"/>
                  </a:cubicBezTo>
                  <a:cubicBezTo>
                    <a:pt x="146" y="96"/>
                    <a:pt x="145" y="95"/>
                    <a:pt x="145" y="94"/>
                  </a:cubicBezTo>
                  <a:cubicBezTo>
                    <a:pt x="145" y="95"/>
                    <a:pt x="144" y="96"/>
                    <a:pt x="144" y="96"/>
                  </a:cubicBezTo>
                  <a:cubicBezTo>
                    <a:pt x="143" y="96"/>
                    <a:pt x="141" y="95"/>
                    <a:pt x="141" y="94"/>
                  </a:cubicBezTo>
                  <a:cubicBezTo>
                    <a:pt x="141" y="93"/>
                    <a:pt x="141" y="92"/>
                    <a:pt x="140" y="91"/>
                  </a:cubicBezTo>
                  <a:cubicBezTo>
                    <a:pt x="139" y="90"/>
                    <a:pt x="139" y="89"/>
                    <a:pt x="138" y="89"/>
                  </a:cubicBezTo>
                  <a:cubicBezTo>
                    <a:pt x="137" y="88"/>
                    <a:pt x="137" y="86"/>
                    <a:pt x="136" y="85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5" y="83"/>
                    <a:pt x="135" y="82"/>
                    <a:pt x="135" y="81"/>
                  </a:cubicBezTo>
                  <a:cubicBezTo>
                    <a:pt x="134" y="80"/>
                    <a:pt x="134" y="79"/>
                    <a:pt x="135" y="78"/>
                  </a:cubicBezTo>
                  <a:cubicBezTo>
                    <a:pt x="136" y="76"/>
                    <a:pt x="139" y="76"/>
                    <a:pt x="139" y="74"/>
                  </a:cubicBezTo>
                  <a:cubicBezTo>
                    <a:pt x="139" y="74"/>
                    <a:pt x="139" y="73"/>
                    <a:pt x="139" y="72"/>
                  </a:cubicBezTo>
                  <a:cubicBezTo>
                    <a:pt x="139" y="71"/>
                    <a:pt x="139" y="70"/>
                    <a:pt x="139" y="70"/>
                  </a:cubicBezTo>
                  <a:cubicBezTo>
                    <a:pt x="140" y="68"/>
                    <a:pt x="140" y="67"/>
                    <a:pt x="140" y="66"/>
                  </a:cubicBezTo>
                  <a:cubicBezTo>
                    <a:pt x="140" y="65"/>
                    <a:pt x="141" y="64"/>
                    <a:pt x="141" y="63"/>
                  </a:cubicBezTo>
                  <a:cubicBezTo>
                    <a:pt x="142" y="63"/>
                    <a:pt x="143" y="63"/>
                    <a:pt x="142" y="62"/>
                  </a:cubicBezTo>
                  <a:cubicBezTo>
                    <a:pt x="141" y="61"/>
                    <a:pt x="140" y="61"/>
                    <a:pt x="140" y="60"/>
                  </a:cubicBezTo>
                  <a:cubicBezTo>
                    <a:pt x="140" y="60"/>
                    <a:pt x="140" y="59"/>
                    <a:pt x="140" y="59"/>
                  </a:cubicBezTo>
                  <a:cubicBezTo>
                    <a:pt x="141" y="58"/>
                    <a:pt x="141" y="58"/>
                    <a:pt x="141" y="56"/>
                  </a:cubicBezTo>
                  <a:cubicBezTo>
                    <a:pt x="141" y="56"/>
                    <a:pt x="141" y="55"/>
                    <a:pt x="141" y="55"/>
                  </a:cubicBezTo>
                  <a:cubicBezTo>
                    <a:pt x="141" y="54"/>
                    <a:pt x="141" y="54"/>
                    <a:pt x="142" y="53"/>
                  </a:cubicBezTo>
                  <a:cubicBezTo>
                    <a:pt x="142" y="53"/>
                    <a:pt x="142" y="53"/>
                    <a:pt x="142" y="52"/>
                  </a:cubicBezTo>
                  <a:cubicBezTo>
                    <a:pt x="143" y="51"/>
                    <a:pt x="143" y="49"/>
                    <a:pt x="141" y="48"/>
                  </a:cubicBezTo>
                  <a:cubicBezTo>
                    <a:pt x="141" y="48"/>
                    <a:pt x="140" y="48"/>
                    <a:pt x="139" y="48"/>
                  </a:cubicBezTo>
                  <a:cubicBezTo>
                    <a:pt x="138" y="47"/>
                    <a:pt x="137" y="47"/>
                    <a:pt x="136" y="46"/>
                  </a:cubicBezTo>
                  <a:cubicBezTo>
                    <a:pt x="135" y="46"/>
                    <a:pt x="133" y="45"/>
                    <a:pt x="132" y="46"/>
                  </a:cubicBezTo>
                  <a:cubicBezTo>
                    <a:pt x="131" y="47"/>
                    <a:pt x="131" y="48"/>
                    <a:pt x="130" y="48"/>
                  </a:cubicBezTo>
                  <a:cubicBezTo>
                    <a:pt x="130" y="48"/>
                    <a:pt x="129" y="48"/>
                    <a:pt x="129" y="48"/>
                  </a:cubicBezTo>
                  <a:cubicBezTo>
                    <a:pt x="128" y="48"/>
                    <a:pt x="126" y="48"/>
                    <a:pt x="125" y="48"/>
                  </a:cubicBezTo>
                  <a:cubicBezTo>
                    <a:pt x="124" y="47"/>
                    <a:pt x="125" y="47"/>
                    <a:pt x="124" y="46"/>
                  </a:cubicBezTo>
                  <a:cubicBezTo>
                    <a:pt x="123" y="45"/>
                    <a:pt x="123" y="45"/>
                    <a:pt x="121" y="45"/>
                  </a:cubicBezTo>
                  <a:cubicBezTo>
                    <a:pt x="120" y="45"/>
                    <a:pt x="120" y="43"/>
                    <a:pt x="119" y="42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7"/>
                    <a:pt x="118" y="35"/>
                    <a:pt x="117" y="35"/>
                  </a:cubicBezTo>
                  <a:cubicBezTo>
                    <a:pt x="116" y="34"/>
                    <a:pt x="116" y="35"/>
                    <a:pt x="115" y="35"/>
                  </a:cubicBezTo>
                  <a:cubicBezTo>
                    <a:pt x="114" y="34"/>
                    <a:pt x="114" y="33"/>
                    <a:pt x="113" y="33"/>
                  </a:cubicBezTo>
                  <a:cubicBezTo>
                    <a:pt x="112" y="32"/>
                    <a:pt x="113" y="32"/>
                    <a:pt x="111" y="32"/>
                  </a:cubicBezTo>
                  <a:cubicBezTo>
                    <a:pt x="111" y="32"/>
                    <a:pt x="110" y="32"/>
                    <a:pt x="109" y="32"/>
                  </a:cubicBezTo>
                  <a:cubicBezTo>
                    <a:pt x="109" y="32"/>
                    <a:pt x="108" y="31"/>
                    <a:pt x="107" y="31"/>
                  </a:cubicBezTo>
                  <a:cubicBezTo>
                    <a:pt x="106" y="30"/>
                    <a:pt x="105" y="30"/>
                    <a:pt x="104" y="30"/>
                  </a:cubicBezTo>
                  <a:cubicBezTo>
                    <a:pt x="103" y="30"/>
                    <a:pt x="100" y="29"/>
                    <a:pt x="99" y="30"/>
                  </a:cubicBezTo>
                  <a:cubicBezTo>
                    <a:pt x="99" y="31"/>
                    <a:pt x="99" y="33"/>
                    <a:pt x="99" y="34"/>
                  </a:cubicBezTo>
                  <a:cubicBezTo>
                    <a:pt x="99" y="35"/>
                    <a:pt x="98" y="37"/>
                    <a:pt x="97" y="37"/>
                  </a:cubicBezTo>
                  <a:cubicBezTo>
                    <a:pt x="97" y="37"/>
                    <a:pt x="97" y="36"/>
                    <a:pt x="97" y="35"/>
                  </a:cubicBezTo>
                  <a:cubicBezTo>
                    <a:pt x="96" y="35"/>
                    <a:pt x="96" y="35"/>
                    <a:pt x="95" y="35"/>
                  </a:cubicBezTo>
                  <a:cubicBezTo>
                    <a:pt x="95" y="35"/>
                    <a:pt x="95" y="33"/>
                    <a:pt x="95" y="32"/>
                  </a:cubicBezTo>
                  <a:cubicBezTo>
                    <a:pt x="95" y="32"/>
                    <a:pt x="95" y="30"/>
                    <a:pt x="95" y="29"/>
                  </a:cubicBezTo>
                  <a:cubicBezTo>
                    <a:pt x="94" y="29"/>
                    <a:pt x="93" y="31"/>
                    <a:pt x="92" y="31"/>
                  </a:cubicBezTo>
                  <a:cubicBezTo>
                    <a:pt x="91" y="31"/>
                    <a:pt x="90" y="32"/>
                    <a:pt x="89" y="31"/>
                  </a:cubicBezTo>
                  <a:cubicBezTo>
                    <a:pt x="89" y="30"/>
                    <a:pt x="90" y="30"/>
                    <a:pt x="91" y="29"/>
                  </a:cubicBezTo>
                  <a:cubicBezTo>
                    <a:pt x="92" y="28"/>
                    <a:pt x="93" y="26"/>
                    <a:pt x="92" y="24"/>
                  </a:cubicBezTo>
                  <a:cubicBezTo>
                    <a:pt x="91" y="22"/>
                    <a:pt x="90" y="23"/>
                    <a:pt x="88" y="23"/>
                  </a:cubicBezTo>
                  <a:cubicBezTo>
                    <a:pt x="87" y="24"/>
                    <a:pt x="86" y="23"/>
                    <a:pt x="84" y="23"/>
                  </a:cubicBezTo>
                  <a:cubicBezTo>
                    <a:pt x="84" y="24"/>
                    <a:pt x="83" y="24"/>
                    <a:pt x="83" y="25"/>
                  </a:cubicBezTo>
                  <a:cubicBezTo>
                    <a:pt x="82" y="25"/>
                    <a:pt x="80" y="24"/>
                    <a:pt x="80" y="23"/>
                  </a:cubicBezTo>
                  <a:cubicBezTo>
                    <a:pt x="79" y="22"/>
                    <a:pt x="80" y="22"/>
                    <a:pt x="79" y="21"/>
                  </a:cubicBezTo>
                  <a:cubicBezTo>
                    <a:pt x="77" y="21"/>
                    <a:pt x="77" y="22"/>
                    <a:pt x="77" y="20"/>
                  </a:cubicBezTo>
                  <a:cubicBezTo>
                    <a:pt x="77" y="20"/>
                    <a:pt x="77" y="19"/>
                    <a:pt x="77" y="19"/>
                  </a:cubicBezTo>
                  <a:cubicBezTo>
                    <a:pt x="77" y="18"/>
                    <a:pt x="76" y="18"/>
                    <a:pt x="75" y="18"/>
                  </a:cubicBezTo>
                  <a:cubicBezTo>
                    <a:pt x="73" y="17"/>
                    <a:pt x="71" y="14"/>
                    <a:pt x="69" y="13"/>
                  </a:cubicBezTo>
                  <a:cubicBezTo>
                    <a:pt x="68" y="12"/>
                    <a:pt x="66" y="12"/>
                    <a:pt x="64" y="11"/>
                  </a:cubicBezTo>
                  <a:cubicBezTo>
                    <a:pt x="63" y="10"/>
                    <a:pt x="62" y="9"/>
                    <a:pt x="61" y="8"/>
                  </a:cubicBezTo>
                  <a:cubicBezTo>
                    <a:pt x="61" y="8"/>
                    <a:pt x="60" y="8"/>
                    <a:pt x="60" y="7"/>
                  </a:cubicBezTo>
                  <a:cubicBezTo>
                    <a:pt x="58" y="6"/>
                    <a:pt x="59" y="6"/>
                    <a:pt x="57" y="6"/>
                  </a:cubicBezTo>
                  <a:cubicBezTo>
                    <a:pt x="56" y="6"/>
                    <a:pt x="54" y="6"/>
                    <a:pt x="54" y="5"/>
                  </a:cubicBezTo>
                  <a:cubicBezTo>
                    <a:pt x="53" y="5"/>
                    <a:pt x="51" y="0"/>
                    <a:pt x="49" y="2"/>
                  </a:cubicBezTo>
                  <a:cubicBezTo>
                    <a:pt x="48" y="2"/>
                    <a:pt x="48" y="4"/>
                    <a:pt x="48" y="4"/>
                  </a:cubicBezTo>
                  <a:cubicBezTo>
                    <a:pt x="48" y="7"/>
                    <a:pt x="45" y="9"/>
                    <a:pt x="42" y="10"/>
                  </a:cubicBezTo>
                  <a:cubicBezTo>
                    <a:pt x="41" y="10"/>
                    <a:pt x="40" y="10"/>
                    <a:pt x="39" y="9"/>
                  </a:cubicBezTo>
                  <a:cubicBezTo>
                    <a:pt x="38" y="8"/>
                    <a:pt x="38" y="7"/>
                    <a:pt x="37" y="7"/>
                  </a:cubicBezTo>
                  <a:cubicBezTo>
                    <a:pt x="37" y="6"/>
                    <a:pt x="36" y="5"/>
                    <a:pt x="36" y="6"/>
                  </a:cubicBezTo>
                  <a:cubicBezTo>
                    <a:pt x="35" y="6"/>
                    <a:pt x="35" y="7"/>
                    <a:pt x="35" y="8"/>
                  </a:cubicBezTo>
                  <a:cubicBezTo>
                    <a:pt x="34" y="9"/>
                    <a:pt x="33" y="9"/>
                    <a:pt x="32" y="10"/>
                  </a:cubicBezTo>
                  <a:cubicBezTo>
                    <a:pt x="31" y="11"/>
                    <a:pt x="28" y="12"/>
                    <a:pt x="26" y="12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9"/>
                    <a:pt x="23" y="8"/>
                    <a:pt x="21" y="8"/>
                  </a:cubicBezTo>
                  <a:cubicBezTo>
                    <a:pt x="19" y="7"/>
                    <a:pt x="19" y="7"/>
                    <a:pt x="19" y="9"/>
                  </a:cubicBezTo>
                  <a:cubicBezTo>
                    <a:pt x="18" y="11"/>
                    <a:pt x="18" y="12"/>
                    <a:pt x="15" y="13"/>
                  </a:cubicBezTo>
                  <a:cubicBezTo>
                    <a:pt x="14" y="14"/>
                    <a:pt x="13" y="14"/>
                    <a:pt x="12" y="13"/>
                  </a:cubicBezTo>
                  <a:cubicBezTo>
                    <a:pt x="12" y="12"/>
                    <a:pt x="12" y="11"/>
                    <a:pt x="11" y="11"/>
                  </a:cubicBezTo>
                  <a:cubicBezTo>
                    <a:pt x="10" y="10"/>
                    <a:pt x="9" y="11"/>
                    <a:pt x="8" y="10"/>
                  </a:cubicBezTo>
                  <a:cubicBezTo>
                    <a:pt x="6" y="10"/>
                    <a:pt x="7" y="7"/>
                    <a:pt x="6" y="7"/>
                  </a:cubicBezTo>
                  <a:cubicBezTo>
                    <a:pt x="5" y="7"/>
                    <a:pt x="4" y="7"/>
                    <a:pt x="4" y="7"/>
                  </a:cubicBezTo>
                  <a:cubicBezTo>
                    <a:pt x="2" y="8"/>
                    <a:pt x="1" y="8"/>
                    <a:pt x="1" y="10"/>
                  </a:cubicBezTo>
                  <a:cubicBezTo>
                    <a:pt x="1" y="11"/>
                    <a:pt x="1" y="12"/>
                    <a:pt x="1" y="13"/>
                  </a:cubicBezTo>
                  <a:cubicBezTo>
                    <a:pt x="1" y="14"/>
                    <a:pt x="2" y="14"/>
                    <a:pt x="2" y="15"/>
                  </a:cubicBezTo>
                  <a:cubicBezTo>
                    <a:pt x="2" y="16"/>
                    <a:pt x="2" y="17"/>
                    <a:pt x="2" y="18"/>
                  </a:cubicBezTo>
                  <a:cubicBezTo>
                    <a:pt x="1" y="19"/>
                    <a:pt x="1" y="19"/>
                    <a:pt x="0" y="20"/>
                  </a:cubicBezTo>
                  <a:cubicBezTo>
                    <a:pt x="0" y="20"/>
                    <a:pt x="0" y="20"/>
                    <a:pt x="0" y="21"/>
                  </a:cubicBezTo>
                  <a:cubicBezTo>
                    <a:pt x="1" y="21"/>
                    <a:pt x="2" y="21"/>
                    <a:pt x="3" y="21"/>
                  </a:cubicBezTo>
                  <a:cubicBezTo>
                    <a:pt x="7" y="23"/>
                    <a:pt x="8" y="29"/>
                    <a:pt x="11" y="33"/>
                  </a:cubicBezTo>
                  <a:cubicBezTo>
                    <a:pt x="13" y="36"/>
                    <a:pt x="15" y="38"/>
                    <a:pt x="18" y="41"/>
                  </a:cubicBezTo>
                  <a:cubicBezTo>
                    <a:pt x="20" y="45"/>
                    <a:pt x="24" y="46"/>
                    <a:pt x="25" y="51"/>
                  </a:cubicBezTo>
                  <a:cubicBezTo>
                    <a:pt x="26" y="53"/>
                    <a:pt x="26" y="55"/>
                    <a:pt x="27" y="56"/>
                  </a:cubicBezTo>
                  <a:cubicBezTo>
                    <a:pt x="29" y="59"/>
                    <a:pt x="32" y="61"/>
                    <a:pt x="34" y="65"/>
                  </a:cubicBezTo>
                  <a:cubicBezTo>
                    <a:pt x="36" y="68"/>
                    <a:pt x="36" y="72"/>
                    <a:pt x="36" y="76"/>
                  </a:cubicBezTo>
                  <a:cubicBezTo>
                    <a:pt x="36" y="77"/>
                    <a:pt x="35" y="78"/>
                    <a:pt x="36" y="79"/>
                  </a:cubicBezTo>
                  <a:cubicBezTo>
                    <a:pt x="36" y="81"/>
                    <a:pt x="37" y="81"/>
                    <a:pt x="37" y="82"/>
                  </a:cubicBezTo>
                  <a:cubicBezTo>
                    <a:pt x="38" y="83"/>
                    <a:pt x="37" y="84"/>
                    <a:pt x="38" y="84"/>
                  </a:cubicBezTo>
                  <a:cubicBezTo>
                    <a:pt x="39" y="85"/>
                    <a:pt x="40" y="85"/>
                    <a:pt x="40" y="86"/>
                  </a:cubicBezTo>
                  <a:cubicBezTo>
                    <a:pt x="41" y="86"/>
                    <a:pt x="40" y="87"/>
                    <a:pt x="40" y="87"/>
                  </a:cubicBezTo>
                  <a:cubicBezTo>
                    <a:pt x="42" y="89"/>
                    <a:pt x="45" y="89"/>
                    <a:pt x="47" y="91"/>
                  </a:cubicBezTo>
                  <a:cubicBezTo>
                    <a:pt x="49" y="92"/>
                    <a:pt x="49" y="96"/>
                    <a:pt x="51" y="98"/>
                  </a:cubicBezTo>
                  <a:cubicBezTo>
                    <a:pt x="52" y="100"/>
                    <a:pt x="53" y="102"/>
                    <a:pt x="54" y="103"/>
                  </a:cubicBezTo>
                  <a:cubicBezTo>
                    <a:pt x="55" y="104"/>
                    <a:pt x="57" y="105"/>
                    <a:pt x="58" y="106"/>
                  </a:cubicBezTo>
                  <a:cubicBezTo>
                    <a:pt x="60" y="109"/>
                    <a:pt x="60" y="110"/>
                    <a:pt x="62" y="111"/>
                  </a:cubicBezTo>
                  <a:cubicBezTo>
                    <a:pt x="65" y="115"/>
                    <a:pt x="66" y="120"/>
                    <a:pt x="67" y="125"/>
                  </a:cubicBezTo>
                  <a:cubicBezTo>
                    <a:pt x="67" y="128"/>
                    <a:pt x="66" y="131"/>
                    <a:pt x="68" y="134"/>
                  </a:cubicBezTo>
                  <a:cubicBezTo>
                    <a:pt x="70" y="138"/>
                    <a:pt x="73" y="140"/>
                    <a:pt x="77" y="140"/>
                  </a:cubicBezTo>
                  <a:cubicBezTo>
                    <a:pt x="80" y="140"/>
                    <a:pt x="78" y="144"/>
                    <a:pt x="80" y="147"/>
                  </a:cubicBezTo>
                  <a:cubicBezTo>
                    <a:pt x="80" y="149"/>
                    <a:pt x="84" y="155"/>
                    <a:pt x="84" y="157"/>
                  </a:cubicBezTo>
                  <a:cubicBezTo>
                    <a:pt x="84" y="160"/>
                    <a:pt x="82" y="165"/>
                    <a:pt x="83" y="167"/>
                  </a:cubicBezTo>
                  <a:cubicBezTo>
                    <a:pt x="85" y="170"/>
                    <a:pt x="84" y="178"/>
                    <a:pt x="83" y="180"/>
                  </a:cubicBezTo>
                  <a:cubicBezTo>
                    <a:pt x="79" y="190"/>
                    <a:pt x="77" y="194"/>
                    <a:pt x="76" y="204"/>
                  </a:cubicBezTo>
                  <a:cubicBezTo>
                    <a:pt x="76" y="210"/>
                    <a:pt x="75" y="223"/>
                    <a:pt x="77" y="227"/>
                  </a:cubicBezTo>
                  <a:cubicBezTo>
                    <a:pt x="79" y="230"/>
                    <a:pt x="79" y="238"/>
                    <a:pt x="78" y="242"/>
                  </a:cubicBezTo>
                  <a:cubicBezTo>
                    <a:pt x="75" y="249"/>
                    <a:pt x="78" y="252"/>
                    <a:pt x="82" y="256"/>
                  </a:cubicBezTo>
                  <a:cubicBezTo>
                    <a:pt x="83" y="256"/>
                    <a:pt x="84" y="255"/>
                    <a:pt x="85" y="254"/>
                  </a:cubicBezTo>
                  <a:cubicBezTo>
                    <a:pt x="86" y="253"/>
                    <a:pt x="87" y="252"/>
                    <a:pt x="88" y="252"/>
                  </a:cubicBezTo>
                  <a:cubicBezTo>
                    <a:pt x="91" y="249"/>
                    <a:pt x="91" y="256"/>
                    <a:pt x="94" y="256"/>
                  </a:cubicBezTo>
                  <a:cubicBezTo>
                    <a:pt x="95" y="256"/>
                    <a:pt x="95" y="256"/>
                    <a:pt x="96" y="255"/>
                  </a:cubicBezTo>
                  <a:cubicBezTo>
                    <a:pt x="96" y="255"/>
                    <a:pt x="96" y="254"/>
                    <a:pt x="97" y="254"/>
                  </a:cubicBezTo>
                  <a:cubicBezTo>
                    <a:pt x="97" y="253"/>
                    <a:pt x="98" y="253"/>
                    <a:pt x="98" y="253"/>
                  </a:cubicBezTo>
                  <a:cubicBezTo>
                    <a:pt x="98" y="252"/>
                    <a:pt x="98" y="251"/>
                    <a:pt x="98" y="250"/>
                  </a:cubicBezTo>
                  <a:cubicBezTo>
                    <a:pt x="98" y="250"/>
                    <a:pt x="98" y="249"/>
                    <a:pt x="99" y="248"/>
                  </a:cubicBezTo>
                  <a:cubicBezTo>
                    <a:pt x="99" y="247"/>
                    <a:pt x="99" y="246"/>
                    <a:pt x="99" y="245"/>
                  </a:cubicBezTo>
                  <a:cubicBezTo>
                    <a:pt x="99" y="245"/>
                    <a:pt x="99" y="244"/>
                    <a:pt x="99" y="244"/>
                  </a:cubicBezTo>
                  <a:cubicBezTo>
                    <a:pt x="99" y="244"/>
                    <a:pt x="100" y="243"/>
                    <a:pt x="100" y="243"/>
                  </a:cubicBezTo>
                  <a:cubicBezTo>
                    <a:pt x="101" y="241"/>
                    <a:pt x="99" y="240"/>
                    <a:pt x="99" y="238"/>
                  </a:cubicBezTo>
                  <a:cubicBezTo>
                    <a:pt x="99" y="237"/>
                    <a:pt x="99" y="236"/>
                    <a:pt x="99" y="235"/>
                  </a:cubicBezTo>
                  <a:cubicBezTo>
                    <a:pt x="99" y="234"/>
                    <a:pt x="100" y="234"/>
                    <a:pt x="101" y="234"/>
                  </a:cubicBezTo>
                  <a:cubicBezTo>
                    <a:pt x="102" y="233"/>
                    <a:pt x="102" y="233"/>
                    <a:pt x="102" y="232"/>
                  </a:cubicBezTo>
                  <a:cubicBezTo>
                    <a:pt x="102" y="231"/>
                    <a:pt x="103" y="230"/>
                    <a:pt x="104" y="230"/>
                  </a:cubicBezTo>
                  <a:cubicBezTo>
                    <a:pt x="104" y="229"/>
                    <a:pt x="105" y="229"/>
                    <a:pt x="106" y="228"/>
                  </a:cubicBezTo>
                  <a:cubicBezTo>
                    <a:pt x="107" y="228"/>
                    <a:pt x="107" y="228"/>
                    <a:pt x="108" y="228"/>
                  </a:cubicBezTo>
                  <a:cubicBezTo>
                    <a:pt x="109" y="228"/>
                    <a:pt x="110" y="227"/>
                    <a:pt x="111" y="227"/>
                  </a:cubicBezTo>
                  <a:cubicBezTo>
                    <a:pt x="113" y="225"/>
                    <a:pt x="112" y="223"/>
                    <a:pt x="111" y="221"/>
                  </a:cubicBezTo>
                  <a:cubicBezTo>
                    <a:pt x="110" y="219"/>
                    <a:pt x="113" y="217"/>
                    <a:pt x="115" y="216"/>
                  </a:cubicBezTo>
                  <a:cubicBezTo>
                    <a:pt x="118" y="214"/>
                    <a:pt x="122" y="213"/>
                    <a:pt x="126" y="211"/>
                  </a:cubicBezTo>
                  <a:cubicBezTo>
                    <a:pt x="127" y="210"/>
                    <a:pt x="128" y="210"/>
                    <a:pt x="128" y="209"/>
                  </a:cubicBezTo>
                  <a:cubicBezTo>
                    <a:pt x="128" y="208"/>
                    <a:pt x="127" y="207"/>
                    <a:pt x="126" y="206"/>
                  </a:cubicBezTo>
                  <a:cubicBezTo>
                    <a:pt x="125" y="204"/>
                    <a:pt x="127" y="202"/>
                    <a:pt x="128" y="200"/>
                  </a:cubicBezTo>
                  <a:cubicBezTo>
                    <a:pt x="129" y="198"/>
                    <a:pt x="129" y="197"/>
                    <a:pt x="128" y="195"/>
                  </a:cubicBezTo>
                  <a:cubicBezTo>
                    <a:pt x="128" y="194"/>
                    <a:pt x="128" y="194"/>
                    <a:pt x="127" y="193"/>
                  </a:cubicBezTo>
                  <a:cubicBezTo>
                    <a:pt x="126" y="193"/>
                    <a:pt x="124" y="194"/>
                    <a:pt x="124" y="193"/>
                  </a:cubicBezTo>
                  <a:cubicBezTo>
                    <a:pt x="123" y="192"/>
                    <a:pt x="125" y="189"/>
                    <a:pt x="125" y="188"/>
                  </a:cubicBezTo>
                  <a:cubicBezTo>
                    <a:pt x="126" y="186"/>
                    <a:pt x="126" y="184"/>
                    <a:pt x="126" y="182"/>
                  </a:cubicBezTo>
                  <a:cubicBezTo>
                    <a:pt x="126" y="181"/>
                    <a:pt x="127" y="180"/>
                    <a:pt x="127" y="179"/>
                  </a:cubicBezTo>
                  <a:cubicBezTo>
                    <a:pt x="126" y="177"/>
                    <a:pt x="125" y="178"/>
                    <a:pt x="124" y="177"/>
                  </a:cubicBezTo>
                  <a:cubicBezTo>
                    <a:pt x="124" y="176"/>
                    <a:pt x="125" y="174"/>
                    <a:pt x="125" y="174"/>
                  </a:cubicBezTo>
                  <a:cubicBezTo>
                    <a:pt x="126" y="172"/>
                    <a:pt x="126" y="172"/>
                    <a:pt x="127" y="172"/>
                  </a:cubicBezTo>
                  <a:cubicBezTo>
                    <a:pt x="129" y="171"/>
                    <a:pt x="130" y="170"/>
                    <a:pt x="131" y="170"/>
                  </a:cubicBezTo>
                  <a:cubicBezTo>
                    <a:pt x="132" y="170"/>
                    <a:pt x="133" y="170"/>
                    <a:pt x="134" y="169"/>
                  </a:cubicBezTo>
                  <a:cubicBezTo>
                    <a:pt x="135" y="169"/>
                    <a:pt x="134" y="169"/>
                    <a:pt x="135" y="168"/>
                  </a:cubicBezTo>
                  <a:cubicBezTo>
                    <a:pt x="137" y="166"/>
                    <a:pt x="143" y="164"/>
                    <a:pt x="143" y="169"/>
                  </a:cubicBezTo>
                  <a:cubicBezTo>
                    <a:pt x="143" y="171"/>
                    <a:pt x="142" y="172"/>
                    <a:pt x="141" y="174"/>
                  </a:cubicBezTo>
                  <a:cubicBezTo>
                    <a:pt x="139" y="176"/>
                    <a:pt x="139" y="177"/>
                    <a:pt x="139" y="179"/>
                  </a:cubicBezTo>
                  <a:cubicBezTo>
                    <a:pt x="140" y="180"/>
                    <a:pt x="140" y="183"/>
                    <a:pt x="141" y="182"/>
                  </a:cubicBezTo>
                  <a:cubicBezTo>
                    <a:pt x="142" y="181"/>
                    <a:pt x="142" y="180"/>
                    <a:pt x="142" y="180"/>
                  </a:cubicBezTo>
                  <a:cubicBezTo>
                    <a:pt x="142" y="179"/>
                    <a:pt x="143" y="179"/>
                    <a:pt x="143" y="178"/>
                  </a:cubicBezTo>
                  <a:cubicBezTo>
                    <a:pt x="144" y="177"/>
                    <a:pt x="144" y="176"/>
                    <a:pt x="144" y="175"/>
                  </a:cubicBezTo>
                  <a:cubicBezTo>
                    <a:pt x="144" y="172"/>
                    <a:pt x="145" y="169"/>
                    <a:pt x="146" y="168"/>
                  </a:cubicBezTo>
                  <a:cubicBezTo>
                    <a:pt x="147" y="169"/>
                    <a:pt x="146" y="170"/>
                    <a:pt x="146" y="171"/>
                  </a:cubicBezTo>
                  <a:cubicBezTo>
                    <a:pt x="146" y="172"/>
                    <a:pt x="147" y="176"/>
                    <a:pt x="148" y="177"/>
                  </a:cubicBezTo>
                  <a:cubicBezTo>
                    <a:pt x="149" y="176"/>
                    <a:pt x="151" y="171"/>
                    <a:pt x="154" y="172"/>
                  </a:cubicBezTo>
                  <a:cubicBezTo>
                    <a:pt x="155" y="172"/>
                    <a:pt x="155" y="173"/>
                    <a:pt x="155" y="174"/>
                  </a:cubicBezTo>
                  <a:cubicBezTo>
                    <a:pt x="155" y="175"/>
                    <a:pt x="155" y="175"/>
                    <a:pt x="155" y="176"/>
                  </a:cubicBezTo>
                  <a:cubicBezTo>
                    <a:pt x="156" y="176"/>
                    <a:pt x="157" y="177"/>
                    <a:pt x="158" y="177"/>
                  </a:cubicBezTo>
                  <a:cubicBezTo>
                    <a:pt x="158" y="178"/>
                    <a:pt x="159" y="179"/>
                    <a:pt x="159" y="180"/>
                  </a:cubicBezTo>
                  <a:cubicBezTo>
                    <a:pt x="159" y="180"/>
                    <a:pt x="160" y="181"/>
                    <a:pt x="160" y="182"/>
                  </a:cubicBezTo>
                  <a:cubicBezTo>
                    <a:pt x="161" y="183"/>
                    <a:pt x="162" y="184"/>
                    <a:pt x="163" y="185"/>
                  </a:cubicBezTo>
                  <a:cubicBezTo>
                    <a:pt x="163" y="185"/>
                    <a:pt x="165" y="185"/>
                    <a:pt x="166" y="185"/>
                  </a:cubicBezTo>
                  <a:cubicBezTo>
                    <a:pt x="166" y="182"/>
                    <a:pt x="166" y="180"/>
                    <a:pt x="168" y="178"/>
                  </a:cubicBezTo>
                  <a:cubicBezTo>
                    <a:pt x="169" y="177"/>
                    <a:pt x="170" y="176"/>
                    <a:pt x="170" y="175"/>
                  </a:cubicBezTo>
                  <a:cubicBezTo>
                    <a:pt x="171" y="174"/>
                    <a:pt x="170" y="173"/>
                    <a:pt x="171" y="172"/>
                  </a:cubicBezTo>
                  <a:cubicBezTo>
                    <a:pt x="172" y="171"/>
                    <a:pt x="172" y="171"/>
                    <a:pt x="173" y="170"/>
                  </a:cubicBezTo>
                  <a:cubicBezTo>
                    <a:pt x="173" y="170"/>
                    <a:pt x="173" y="169"/>
                    <a:pt x="173" y="168"/>
                  </a:cubicBezTo>
                  <a:cubicBezTo>
                    <a:pt x="175" y="167"/>
                    <a:pt x="176" y="169"/>
                    <a:pt x="178" y="168"/>
                  </a:cubicBezTo>
                  <a:cubicBezTo>
                    <a:pt x="179" y="167"/>
                    <a:pt x="178" y="166"/>
                    <a:pt x="178" y="165"/>
                  </a:cubicBezTo>
                  <a:cubicBezTo>
                    <a:pt x="178" y="163"/>
                    <a:pt x="179" y="161"/>
                    <a:pt x="179" y="160"/>
                  </a:cubicBezTo>
                  <a:cubicBezTo>
                    <a:pt x="180" y="156"/>
                    <a:pt x="180" y="151"/>
                    <a:pt x="180" y="147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6" name="Freeform 36"/>
            <p:cNvSpPr>
              <a:spLocks/>
            </p:cNvSpPr>
            <p:nvPr/>
          </p:nvSpPr>
          <p:spPr bwMode="auto">
            <a:xfrm>
              <a:off x="5480050" y="3663950"/>
              <a:ext cx="346075" cy="179388"/>
            </a:xfrm>
            <a:custGeom>
              <a:avLst/>
              <a:gdLst/>
              <a:ahLst/>
              <a:cxnLst>
                <a:cxn ang="0">
                  <a:pos x="184" y="94"/>
                </a:cxn>
                <a:cxn ang="0">
                  <a:pos x="182" y="91"/>
                </a:cxn>
                <a:cxn ang="0">
                  <a:pos x="175" y="87"/>
                </a:cxn>
                <a:cxn ang="0">
                  <a:pos x="163" y="83"/>
                </a:cxn>
                <a:cxn ang="0">
                  <a:pos x="161" y="81"/>
                </a:cxn>
                <a:cxn ang="0">
                  <a:pos x="160" y="75"/>
                </a:cxn>
                <a:cxn ang="0">
                  <a:pos x="163" y="61"/>
                </a:cxn>
                <a:cxn ang="0">
                  <a:pos x="171" y="47"/>
                </a:cxn>
                <a:cxn ang="0">
                  <a:pos x="169" y="38"/>
                </a:cxn>
                <a:cxn ang="0">
                  <a:pos x="163" y="31"/>
                </a:cxn>
                <a:cxn ang="0">
                  <a:pos x="158" y="23"/>
                </a:cxn>
                <a:cxn ang="0">
                  <a:pos x="151" y="22"/>
                </a:cxn>
                <a:cxn ang="0">
                  <a:pos x="139" y="20"/>
                </a:cxn>
                <a:cxn ang="0">
                  <a:pos x="132" y="22"/>
                </a:cxn>
                <a:cxn ang="0">
                  <a:pos x="127" y="22"/>
                </a:cxn>
                <a:cxn ang="0">
                  <a:pos x="122" y="20"/>
                </a:cxn>
                <a:cxn ang="0">
                  <a:pos x="115" y="17"/>
                </a:cxn>
                <a:cxn ang="0">
                  <a:pos x="110" y="15"/>
                </a:cxn>
                <a:cxn ang="0">
                  <a:pos x="101" y="12"/>
                </a:cxn>
                <a:cxn ang="0">
                  <a:pos x="90" y="1"/>
                </a:cxn>
                <a:cxn ang="0">
                  <a:pos x="82" y="3"/>
                </a:cxn>
                <a:cxn ang="0">
                  <a:pos x="83" y="9"/>
                </a:cxn>
                <a:cxn ang="0">
                  <a:pos x="76" y="12"/>
                </a:cxn>
                <a:cxn ang="0">
                  <a:pos x="76" y="20"/>
                </a:cxn>
                <a:cxn ang="0">
                  <a:pos x="76" y="36"/>
                </a:cxn>
                <a:cxn ang="0">
                  <a:pos x="74" y="40"/>
                </a:cxn>
                <a:cxn ang="0">
                  <a:pos x="62" y="33"/>
                </a:cxn>
                <a:cxn ang="0">
                  <a:pos x="48" y="39"/>
                </a:cxn>
                <a:cxn ang="0">
                  <a:pos x="33" y="45"/>
                </a:cxn>
                <a:cxn ang="0">
                  <a:pos x="14" y="52"/>
                </a:cxn>
                <a:cxn ang="0">
                  <a:pos x="28" y="56"/>
                </a:cxn>
                <a:cxn ang="0">
                  <a:pos x="28" y="62"/>
                </a:cxn>
                <a:cxn ang="0">
                  <a:pos x="22" y="65"/>
                </a:cxn>
                <a:cxn ang="0">
                  <a:pos x="15" y="66"/>
                </a:cxn>
                <a:cxn ang="0">
                  <a:pos x="11" y="71"/>
                </a:cxn>
                <a:cxn ang="0">
                  <a:pos x="0" y="78"/>
                </a:cxn>
                <a:cxn ang="0">
                  <a:pos x="2" y="84"/>
                </a:cxn>
                <a:cxn ang="0">
                  <a:pos x="6" y="83"/>
                </a:cxn>
                <a:cxn ang="0">
                  <a:pos x="76" y="88"/>
                </a:cxn>
                <a:cxn ang="0">
                  <a:pos x="137" y="89"/>
                </a:cxn>
                <a:cxn ang="0">
                  <a:pos x="164" y="89"/>
                </a:cxn>
                <a:cxn ang="0">
                  <a:pos x="184" y="96"/>
                </a:cxn>
              </a:cxnLst>
              <a:rect l="0" t="0" r="r" b="b"/>
              <a:pathLst>
                <a:path w="185" h="96">
                  <a:moveTo>
                    <a:pt x="185" y="96"/>
                  </a:moveTo>
                  <a:cubicBezTo>
                    <a:pt x="185" y="96"/>
                    <a:pt x="184" y="95"/>
                    <a:pt x="184" y="94"/>
                  </a:cubicBezTo>
                  <a:cubicBezTo>
                    <a:pt x="183" y="94"/>
                    <a:pt x="184" y="93"/>
                    <a:pt x="183" y="92"/>
                  </a:cubicBezTo>
                  <a:cubicBezTo>
                    <a:pt x="183" y="92"/>
                    <a:pt x="182" y="91"/>
                    <a:pt x="182" y="91"/>
                  </a:cubicBezTo>
                  <a:cubicBezTo>
                    <a:pt x="181" y="90"/>
                    <a:pt x="180" y="89"/>
                    <a:pt x="179" y="88"/>
                  </a:cubicBezTo>
                  <a:cubicBezTo>
                    <a:pt x="178" y="87"/>
                    <a:pt x="177" y="87"/>
                    <a:pt x="175" y="87"/>
                  </a:cubicBezTo>
                  <a:cubicBezTo>
                    <a:pt x="173" y="87"/>
                    <a:pt x="171" y="86"/>
                    <a:pt x="169" y="85"/>
                  </a:cubicBezTo>
                  <a:cubicBezTo>
                    <a:pt x="167" y="85"/>
                    <a:pt x="165" y="84"/>
                    <a:pt x="163" y="83"/>
                  </a:cubicBezTo>
                  <a:cubicBezTo>
                    <a:pt x="163" y="82"/>
                    <a:pt x="163" y="82"/>
                    <a:pt x="162" y="82"/>
                  </a:cubicBezTo>
                  <a:cubicBezTo>
                    <a:pt x="162" y="81"/>
                    <a:pt x="161" y="81"/>
                    <a:pt x="161" y="81"/>
                  </a:cubicBezTo>
                  <a:cubicBezTo>
                    <a:pt x="160" y="81"/>
                    <a:pt x="160" y="81"/>
                    <a:pt x="160" y="80"/>
                  </a:cubicBezTo>
                  <a:cubicBezTo>
                    <a:pt x="160" y="78"/>
                    <a:pt x="160" y="76"/>
                    <a:pt x="160" y="75"/>
                  </a:cubicBezTo>
                  <a:cubicBezTo>
                    <a:pt x="160" y="73"/>
                    <a:pt x="161" y="72"/>
                    <a:pt x="161" y="71"/>
                  </a:cubicBezTo>
                  <a:cubicBezTo>
                    <a:pt x="161" y="67"/>
                    <a:pt x="162" y="64"/>
                    <a:pt x="163" y="61"/>
                  </a:cubicBezTo>
                  <a:cubicBezTo>
                    <a:pt x="163" y="58"/>
                    <a:pt x="163" y="57"/>
                    <a:pt x="165" y="55"/>
                  </a:cubicBezTo>
                  <a:cubicBezTo>
                    <a:pt x="167" y="53"/>
                    <a:pt x="169" y="50"/>
                    <a:pt x="171" y="47"/>
                  </a:cubicBezTo>
                  <a:cubicBezTo>
                    <a:pt x="172" y="47"/>
                    <a:pt x="172" y="46"/>
                    <a:pt x="172" y="45"/>
                  </a:cubicBezTo>
                  <a:cubicBezTo>
                    <a:pt x="172" y="42"/>
                    <a:pt x="169" y="40"/>
                    <a:pt x="169" y="38"/>
                  </a:cubicBezTo>
                  <a:cubicBezTo>
                    <a:pt x="168" y="37"/>
                    <a:pt x="168" y="35"/>
                    <a:pt x="167" y="33"/>
                  </a:cubicBezTo>
                  <a:cubicBezTo>
                    <a:pt x="166" y="32"/>
                    <a:pt x="164" y="32"/>
                    <a:pt x="163" y="31"/>
                  </a:cubicBezTo>
                  <a:cubicBezTo>
                    <a:pt x="162" y="30"/>
                    <a:pt x="159" y="28"/>
                    <a:pt x="159" y="27"/>
                  </a:cubicBezTo>
                  <a:cubicBezTo>
                    <a:pt x="158" y="26"/>
                    <a:pt x="159" y="25"/>
                    <a:pt x="158" y="23"/>
                  </a:cubicBezTo>
                  <a:cubicBezTo>
                    <a:pt x="157" y="22"/>
                    <a:pt x="155" y="20"/>
                    <a:pt x="154" y="20"/>
                  </a:cubicBezTo>
                  <a:cubicBezTo>
                    <a:pt x="152" y="20"/>
                    <a:pt x="152" y="21"/>
                    <a:pt x="151" y="22"/>
                  </a:cubicBezTo>
                  <a:cubicBezTo>
                    <a:pt x="150" y="22"/>
                    <a:pt x="149" y="22"/>
                    <a:pt x="148" y="22"/>
                  </a:cubicBezTo>
                  <a:cubicBezTo>
                    <a:pt x="144" y="22"/>
                    <a:pt x="142" y="21"/>
                    <a:pt x="139" y="20"/>
                  </a:cubicBezTo>
                  <a:cubicBezTo>
                    <a:pt x="137" y="19"/>
                    <a:pt x="136" y="19"/>
                    <a:pt x="134" y="20"/>
                  </a:cubicBezTo>
                  <a:cubicBezTo>
                    <a:pt x="133" y="21"/>
                    <a:pt x="132" y="22"/>
                    <a:pt x="132" y="22"/>
                  </a:cubicBezTo>
                  <a:cubicBezTo>
                    <a:pt x="131" y="23"/>
                    <a:pt x="132" y="24"/>
                    <a:pt x="130" y="24"/>
                  </a:cubicBezTo>
                  <a:cubicBezTo>
                    <a:pt x="129" y="24"/>
                    <a:pt x="128" y="22"/>
                    <a:pt x="127" y="22"/>
                  </a:cubicBezTo>
                  <a:cubicBezTo>
                    <a:pt x="126" y="21"/>
                    <a:pt x="125" y="18"/>
                    <a:pt x="124" y="19"/>
                  </a:cubicBezTo>
                  <a:cubicBezTo>
                    <a:pt x="123" y="19"/>
                    <a:pt x="123" y="20"/>
                    <a:pt x="122" y="20"/>
                  </a:cubicBezTo>
                  <a:cubicBezTo>
                    <a:pt x="121" y="20"/>
                    <a:pt x="121" y="19"/>
                    <a:pt x="120" y="18"/>
                  </a:cubicBezTo>
                  <a:cubicBezTo>
                    <a:pt x="119" y="17"/>
                    <a:pt x="116" y="18"/>
                    <a:pt x="115" y="17"/>
                  </a:cubicBezTo>
                  <a:cubicBezTo>
                    <a:pt x="114" y="17"/>
                    <a:pt x="113" y="16"/>
                    <a:pt x="112" y="15"/>
                  </a:cubicBezTo>
                  <a:cubicBezTo>
                    <a:pt x="111" y="15"/>
                    <a:pt x="110" y="15"/>
                    <a:pt x="110" y="15"/>
                  </a:cubicBezTo>
                  <a:cubicBezTo>
                    <a:pt x="109" y="14"/>
                    <a:pt x="108" y="14"/>
                    <a:pt x="107" y="13"/>
                  </a:cubicBezTo>
                  <a:cubicBezTo>
                    <a:pt x="105" y="13"/>
                    <a:pt x="103" y="12"/>
                    <a:pt x="101" y="12"/>
                  </a:cubicBezTo>
                  <a:cubicBezTo>
                    <a:pt x="99" y="12"/>
                    <a:pt x="98" y="10"/>
                    <a:pt x="97" y="9"/>
                  </a:cubicBezTo>
                  <a:cubicBezTo>
                    <a:pt x="95" y="6"/>
                    <a:pt x="93" y="2"/>
                    <a:pt x="90" y="1"/>
                  </a:cubicBezTo>
                  <a:cubicBezTo>
                    <a:pt x="88" y="0"/>
                    <a:pt x="87" y="1"/>
                    <a:pt x="85" y="2"/>
                  </a:cubicBezTo>
                  <a:cubicBezTo>
                    <a:pt x="85" y="2"/>
                    <a:pt x="83" y="3"/>
                    <a:pt x="82" y="3"/>
                  </a:cubicBezTo>
                  <a:cubicBezTo>
                    <a:pt x="82" y="4"/>
                    <a:pt x="82" y="4"/>
                    <a:pt x="83" y="5"/>
                  </a:cubicBezTo>
                  <a:cubicBezTo>
                    <a:pt x="83" y="7"/>
                    <a:pt x="84" y="8"/>
                    <a:pt x="83" y="9"/>
                  </a:cubicBezTo>
                  <a:cubicBezTo>
                    <a:pt x="82" y="10"/>
                    <a:pt x="80" y="10"/>
                    <a:pt x="79" y="10"/>
                  </a:cubicBezTo>
                  <a:cubicBezTo>
                    <a:pt x="77" y="10"/>
                    <a:pt x="76" y="10"/>
                    <a:pt x="76" y="12"/>
                  </a:cubicBezTo>
                  <a:cubicBezTo>
                    <a:pt x="76" y="13"/>
                    <a:pt x="76" y="14"/>
                    <a:pt x="76" y="15"/>
                  </a:cubicBezTo>
                  <a:cubicBezTo>
                    <a:pt x="76" y="16"/>
                    <a:pt x="76" y="18"/>
                    <a:pt x="76" y="20"/>
                  </a:cubicBezTo>
                  <a:cubicBezTo>
                    <a:pt x="76" y="22"/>
                    <a:pt x="76" y="25"/>
                    <a:pt x="76" y="27"/>
                  </a:cubicBezTo>
                  <a:cubicBezTo>
                    <a:pt x="76" y="30"/>
                    <a:pt x="76" y="33"/>
                    <a:pt x="76" y="36"/>
                  </a:cubicBezTo>
                  <a:cubicBezTo>
                    <a:pt x="76" y="37"/>
                    <a:pt x="77" y="38"/>
                    <a:pt x="76" y="39"/>
                  </a:cubicBezTo>
                  <a:cubicBezTo>
                    <a:pt x="75" y="39"/>
                    <a:pt x="75" y="40"/>
                    <a:pt x="74" y="40"/>
                  </a:cubicBezTo>
                  <a:cubicBezTo>
                    <a:pt x="73" y="40"/>
                    <a:pt x="72" y="40"/>
                    <a:pt x="71" y="39"/>
                  </a:cubicBezTo>
                  <a:cubicBezTo>
                    <a:pt x="68" y="37"/>
                    <a:pt x="66" y="34"/>
                    <a:pt x="62" y="33"/>
                  </a:cubicBezTo>
                  <a:cubicBezTo>
                    <a:pt x="58" y="33"/>
                    <a:pt x="54" y="30"/>
                    <a:pt x="50" y="31"/>
                  </a:cubicBezTo>
                  <a:cubicBezTo>
                    <a:pt x="47" y="32"/>
                    <a:pt x="48" y="36"/>
                    <a:pt x="48" y="39"/>
                  </a:cubicBezTo>
                  <a:cubicBezTo>
                    <a:pt x="45" y="39"/>
                    <a:pt x="40" y="36"/>
                    <a:pt x="37" y="39"/>
                  </a:cubicBezTo>
                  <a:cubicBezTo>
                    <a:pt x="35" y="40"/>
                    <a:pt x="35" y="44"/>
                    <a:pt x="33" y="45"/>
                  </a:cubicBezTo>
                  <a:cubicBezTo>
                    <a:pt x="28" y="48"/>
                    <a:pt x="23" y="49"/>
                    <a:pt x="18" y="50"/>
                  </a:cubicBezTo>
                  <a:cubicBezTo>
                    <a:pt x="17" y="50"/>
                    <a:pt x="15" y="51"/>
                    <a:pt x="14" y="52"/>
                  </a:cubicBezTo>
                  <a:cubicBezTo>
                    <a:pt x="14" y="54"/>
                    <a:pt x="17" y="55"/>
                    <a:pt x="19" y="56"/>
                  </a:cubicBezTo>
                  <a:cubicBezTo>
                    <a:pt x="22" y="56"/>
                    <a:pt x="25" y="56"/>
                    <a:pt x="28" y="56"/>
                  </a:cubicBezTo>
                  <a:cubicBezTo>
                    <a:pt x="30" y="56"/>
                    <a:pt x="33" y="56"/>
                    <a:pt x="34" y="57"/>
                  </a:cubicBezTo>
                  <a:cubicBezTo>
                    <a:pt x="37" y="60"/>
                    <a:pt x="30" y="61"/>
                    <a:pt x="28" y="62"/>
                  </a:cubicBezTo>
                  <a:cubicBezTo>
                    <a:pt x="26" y="62"/>
                    <a:pt x="25" y="63"/>
                    <a:pt x="24" y="64"/>
                  </a:cubicBezTo>
                  <a:cubicBezTo>
                    <a:pt x="23" y="64"/>
                    <a:pt x="22" y="64"/>
                    <a:pt x="22" y="65"/>
                  </a:cubicBezTo>
                  <a:cubicBezTo>
                    <a:pt x="21" y="66"/>
                    <a:pt x="21" y="67"/>
                    <a:pt x="20" y="67"/>
                  </a:cubicBezTo>
                  <a:cubicBezTo>
                    <a:pt x="17" y="68"/>
                    <a:pt x="17" y="67"/>
                    <a:pt x="15" y="66"/>
                  </a:cubicBezTo>
                  <a:cubicBezTo>
                    <a:pt x="14" y="65"/>
                    <a:pt x="13" y="65"/>
                    <a:pt x="12" y="66"/>
                  </a:cubicBezTo>
                  <a:cubicBezTo>
                    <a:pt x="10" y="67"/>
                    <a:pt x="11" y="68"/>
                    <a:pt x="11" y="71"/>
                  </a:cubicBezTo>
                  <a:cubicBezTo>
                    <a:pt x="10" y="75"/>
                    <a:pt x="6" y="72"/>
                    <a:pt x="4" y="73"/>
                  </a:cubicBezTo>
                  <a:cubicBezTo>
                    <a:pt x="2" y="73"/>
                    <a:pt x="1" y="76"/>
                    <a:pt x="0" y="78"/>
                  </a:cubicBezTo>
                  <a:cubicBezTo>
                    <a:pt x="0" y="80"/>
                    <a:pt x="1" y="80"/>
                    <a:pt x="2" y="82"/>
                  </a:cubicBezTo>
                  <a:cubicBezTo>
                    <a:pt x="2" y="83"/>
                    <a:pt x="2" y="83"/>
                    <a:pt x="2" y="84"/>
                  </a:cubicBezTo>
                  <a:cubicBezTo>
                    <a:pt x="2" y="83"/>
                    <a:pt x="3" y="83"/>
                    <a:pt x="3" y="82"/>
                  </a:cubicBezTo>
                  <a:cubicBezTo>
                    <a:pt x="4" y="82"/>
                    <a:pt x="5" y="82"/>
                    <a:pt x="6" y="83"/>
                  </a:cubicBezTo>
                  <a:cubicBezTo>
                    <a:pt x="13" y="84"/>
                    <a:pt x="20" y="85"/>
                    <a:pt x="27" y="86"/>
                  </a:cubicBezTo>
                  <a:cubicBezTo>
                    <a:pt x="43" y="87"/>
                    <a:pt x="59" y="88"/>
                    <a:pt x="76" y="88"/>
                  </a:cubicBezTo>
                  <a:cubicBezTo>
                    <a:pt x="88" y="89"/>
                    <a:pt x="100" y="88"/>
                    <a:pt x="112" y="88"/>
                  </a:cubicBezTo>
                  <a:cubicBezTo>
                    <a:pt x="120" y="88"/>
                    <a:pt x="129" y="89"/>
                    <a:pt x="137" y="89"/>
                  </a:cubicBezTo>
                  <a:cubicBezTo>
                    <a:pt x="144" y="89"/>
                    <a:pt x="150" y="89"/>
                    <a:pt x="157" y="89"/>
                  </a:cubicBezTo>
                  <a:cubicBezTo>
                    <a:pt x="159" y="89"/>
                    <a:pt x="162" y="89"/>
                    <a:pt x="164" y="89"/>
                  </a:cubicBezTo>
                  <a:cubicBezTo>
                    <a:pt x="166" y="89"/>
                    <a:pt x="168" y="90"/>
                    <a:pt x="170" y="90"/>
                  </a:cubicBezTo>
                  <a:cubicBezTo>
                    <a:pt x="175" y="92"/>
                    <a:pt x="179" y="95"/>
                    <a:pt x="184" y="96"/>
                  </a:cubicBezTo>
                  <a:cubicBezTo>
                    <a:pt x="184" y="96"/>
                    <a:pt x="185" y="96"/>
                    <a:pt x="185" y="96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7" name="Freeform 37"/>
            <p:cNvSpPr>
              <a:spLocks/>
            </p:cNvSpPr>
            <p:nvPr/>
          </p:nvSpPr>
          <p:spPr bwMode="auto">
            <a:xfrm>
              <a:off x="5607050" y="3459163"/>
              <a:ext cx="592138" cy="452438"/>
            </a:xfrm>
            <a:custGeom>
              <a:avLst/>
              <a:gdLst/>
              <a:ahLst/>
              <a:cxnLst>
                <a:cxn ang="0">
                  <a:pos x="305" y="111"/>
                </a:cxn>
                <a:cxn ang="0">
                  <a:pos x="303" y="97"/>
                </a:cxn>
                <a:cxn ang="0">
                  <a:pos x="309" y="76"/>
                </a:cxn>
                <a:cxn ang="0">
                  <a:pos x="291" y="69"/>
                </a:cxn>
                <a:cxn ang="0">
                  <a:pos x="278" y="50"/>
                </a:cxn>
                <a:cxn ang="0">
                  <a:pos x="252" y="32"/>
                </a:cxn>
                <a:cxn ang="0">
                  <a:pos x="229" y="29"/>
                </a:cxn>
                <a:cxn ang="0">
                  <a:pos x="213" y="9"/>
                </a:cxn>
                <a:cxn ang="0">
                  <a:pos x="208" y="2"/>
                </a:cxn>
                <a:cxn ang="0">
                  <a:pos x="200" y="11"/>
                </a:cxn>
                <a:cxn ang="0">
                  <a:pos x="189" y="18"/>
                </a:cxn>
                <a:cxn ang="0">
                  <a:pos x="168" y="16"/>
                </a:cxn>
                <a:cxn ang="0">
                  <a:pos x="154" y="13"/>
                </a:cxn>
                <a:cxn ang="0">
                  <a:pos x="137" y="10"/>
                </a:cxn>
                <a:cxn ang="0">
                  <a:pos x="121" y="10"/>
                </a:cxn>
                <a:cxn ang="0">
                  <a:pos x="112" y="6"/>
                </a:cxn>
                <a:cxn ang="0">
                  <a:pos x="101" y="7"/>
                </a:cxn>
                <a:cxn ang="0">
                  <a:pos x="78" y="5"/>
                </a:cxn>
                <a:cxn ang="0">
                  <a:pos x="53" y="3"/>
                </a:cxn>
                <a:cxn ang="0">
                  <a:pos x="36" y="13"/>
                </a:cxn>
                <a:cxn ang="0">
                  <a:pos x="20" y="23"/>
                </a:cxn>
                <a:cxn ang="0">
                  <a:pos x="12" y="27"/>
                </a:cxn>
                <a:cxn ang="0">
                  <a:pos x="8" y="34"/>
                </a:cxn>
                <a:cxn ang="0">
                  <a:pos x="1" y="51"/>
                </a:cxn>
                <a:cxn ang="0">
                  <a:pos x="3" y="65"/>
                </a:cxn>
                <a:cxn ang="0">
                  <a:pos x="8" y="74"/>
                </a:cxn>
                <a:cxn ang="0">
                  <a:pos x="9" y="90"/>
                </a:cxn>
                <a:cxn ang="0">
                  <a:pos x="15" y="106"/>
                </a:cxn>
                <a:cxn ang="0">
                  <a:pos x="22" y="110"/>
                </a:cxn>
                <a:cxn ang="0">
                  <a:pos x="42" y="124"/>
                </a:cxn>
                <a:cxn ang="0">
                  <a:pos x="54" y="129"/>
                </a:cxn>
                <a:cxn ang="0">
                  <a:pos x="64" y="131"/>
                </a:cxn>
                <a:cxn ang="0">
                  <a:pos x="83" y="131"/>
                </a:cxn>
                <a:cxn ang="0">
                  <a:pos x="95" y="140"/>
                </a:cxn>
                <a:cxn ang="0">
                  <a:pos x="103" y="156"/>
                </a:cxn>
                <a:cxn ang="0">
                  <a:pos x="92" y="184"/>
                </a:cxn>
                <a:cxn ang="0">
                  <a:pos x="95" y="192"/>
                </a:cxn>
                <a:cxn ang="0">
                  <a:pos x="114" y="200"/>
                </a:cxn>
                <a:cxn ang="0">
                  <a:pos x="128" y="207"/>
                </a:cxn>
                <a:cxn ang="0">
                  <a:pos x="138" y="221"/>
                </a:cxn>
                <a:cxn ang="0">
                  <a:pos x="137" y="237"/>
                </a:cxn>
                <a:cxn ang="0">
                  <a:pos x="144" y="235"/>
                </a:cxn>
                <a:cxn ang="0">
                  <a:pos x="159" y="236"/>
                </a:cxn>
                <a:cxn ang="0">
                  <a:pos x="185" y="240"/>
                </a:cxn>
                <a:cxn ang="0">
                  <a:pos x="195" y="232"/>
                </a:cxn>
                <a:cxn ang="0">
                  <a:pos x="203" y="234"/>
                </a:cxn>
                <a:cxn ang="0">
                  <a:pos x="207" y="222"/>
                </a:cxn>
                <a:cxn ang="0">
                  <a:pos x="223" y="220"/>
                </a:cxn>
                <a:cxn ang="0">
                  <a:pos x="237" y="204"/>
                </a:cxn>
                <a:cxn ang="0">
                  <a:pos x="247" y="212"/>
                </a:cxn>
                <a:cxn ang="0">
                  <a:pos x="259" y="217"/>
                </a:cxn>
                <a:cxn ang="0">
                  <a:pos x="251" y="202"/>
                </a:cxn>
                <a:cxn ang="0">
                  <a:pos x="251" y="191"/>
                </a:cxn>
                <a:cxn ang="0">
                  <a:pos x="258" y="164"/>
                </a:cxn>
                <a:cxn ang="0">
                  <a:pos x="261" y="149"/>
                </a:cxn>
                <a:cxn ang="0">
                  <a:pos x="274" y="142"/>
                </a:cxn>
                <a:cxn ang="0">
                  <a:pos x="283" y="135"/>
                </a:cxn>
                <a:cxn ang="0">
                  <a:pos x="289" y="129"/>
                </a:cxn>
                <a:cxn ang="0">
                  <a:pos x="304" y="123"/>
                </a:cxn>
                <a:cxn ang="0">
                  <a:pos x="312" y="116"/>
                </a:cxn>
              </a:cxnLst>
              <a:rect l="0" t="0" r="r" b="b"/>
              <a:pathLst>
                <a:path w="317" h="242">
                  <a:moveTo>
                    <a:pt x="316" y="111"/>
                  </a:moveTo>
                  <a:cubicBezTo>
                    <a:pt x="314" y="110"/>
                    <a:pt x="310" y="110"/>
                    <a:pt x="308" y="110"/>
                  </a:cubicBezTo>
                  <a:cubicBezTo>
                    <a:pt x="308" y="110"/>
                    <a:pt x="307" y="110"/>
                    <a:pt x="306" y="110"/>
                  </a:cubicBezTo>
                  <a:cubicBezTo>
                    <a:pt x="306" y="110"/>
                    <a:pt x="305" y="111"/>
                    <a:pt x="305" y="111"/>
                  </a:cubicBezTo>
                  <a:cubicBezTo>
                    <a:pt x="303" y="111"/>
                    <a:pt x="302" y="109"/>
                    <a:pt x="301" y="108"/>
                  </a:cubicBezTo>
                  <a:cubicBezTo>
                    <a:pt x="300" y="106"/>
                    <a:pt x="300" y="106"/>
                    <a:pt x="301" y="105"/>
                  </a:cubicBezTo>
                  <a:cubicBezTo>
                    <a:pt x="302" y="103"/>
                    <a:pt x="304" y="102"/>
                    <a:pt x="304" y="100"/>
                  </a:cubicBezTo>
                  <a:cubicBezTo>
                    <a:pt x="304" y="98"/>
                    <a:pt x="304" y="98"/>
                    <a:pt x="303" y="97"/>
                  </a:cubicBezTo>
                  <a:cubicBezTo>
                    <a:pt x="302" y="96"/>
                    <a:pt x="300" y="97"/>
                    <a:pt x="301" y="94"/>
                  </a:cubicBezTo>
                  <a:cubicBezTo>
                    <a:pt x="301" y="94"/>
                    <a:pt x="301" y="93"/>
                    <a:pt x="302" y="92"/>
                  </a:cubicBezTo>
                  <a:cubicBezTo>
                    <a:pt x="304" y="91"/>
                    <a:pt x="305" y="89"/>
                    <a:pt x="306" y="87"/>
                  </a:cubicBezTo>
                  <a:cubicBezTo>
                    <a:pt x="307" y="85"/>
                    <a:pt x="312" y="78"/>
                    <a:pt x="309" y="76"/>
                  </a:cubicBezTo>
                  <a:cubicBezTo>
                    <a:pt x="308" y="75"/>
                    <a:pt x="306" y="75"/>
                    <a:pt x="305" y="75"/>
                  </a:cubicBezTo>
                  <a:cubicBezTo>
                    <a:pt x="303" y="75"/>
                    <a:pt x="301" y="74"/>
                    <a:pt x="299" y="74"/>
                  </a:cubicBezTo>
                  <a:cubicBezTo>
                    <a:pt x="297" y="73"/>
                    <a:pt x="293" y="73"/>
                    <a:pt x="292" y="72"/>
                  </a:cubicBezTo>
                  <a:cubicBezTo>
                    <a:pt x="291" y="71"/>
                    <a:pt x="291" y="70"/>
                    <a:pt x="291" y="69"/>
                  </a:cubicBezTo>
                  <a:cubicBezTo>
                    <a:pt x="290" y="67"/>
                    <a:pt x="288" y="65"/>
                    <a:pt x="287" y="63"/>
                  </a:cubicBezTo>
                  <a:cubicBezTo>
                    <a:pt x="286" y="62"/>
                    <a:pt x="285" y="61"/>
                    <a:pt x="285" y="60"/>
                  </a:cubicBezTo>
                  <a:cubicBezTo>
                    <a:pt x="284" y="60"/>
                    <a:pt x="284" y="59"/>
                    <a:pt x="284" y="58"/>
                  </a:cubicBezTo>
                  <a:cubicBezTo>
                    <a:pt x="283" y="55"/>
                    <a:pt x="280" y="52"/>
                    <a:pt x="278" y="50"/>
                  </a:cubicBezTo>
                  <a:cubicBezTo>
                    <a:pt x="275" y="48"/>
                    <a:pt x="273" y="46"/>
                    <a:pt x="270" y="44"/>
                  </a:cubicBezTo>
                  <a:cubicBezTo>
                    <a:pt x="267" y="42"/>
                    <a:pt x="265" y="40"/>
                    <a:pt x="262" y="39"/>
                  </a:cubicBezTo>
                  <a:cubicBezTo>
                    <a:pt x="260" y="37"/>
                    <a:pt x="258" y="36"/>
                    <a:pt x="255" y="35"/>
                  </a:cubicBezTo>
                  <a:cubicBezTo>
                    <a:pt x="254" y="34"/>
                    <a:pt x="253" y="32"/>
                    <a:pt x="252" y="32"/>
                  </a:cubicBezTo>
                  <a:cubicBezTo>
                    <a:pt x="250" y="30"/>
                    <a:pt x="248" y="30"/>
                    <a:pt x="246" y="30"/>
                  </a:cubicBezTo>
                  <a:cubicBezTo>
                    <a:pt x="243" y="30"/>
                    <a:pt x="239" y="31"/>
                    <a:pt x="236" y="29"/>
                  </a:cubicBezTo>
                  <a:cubicBezTo>
                    <a:pt x="235" y="29"/>
                    <a:pt x="234" y="27"/>
                    <a:pt x="233" y="27"/>
                  </a:cubicBezTo>
                  <a:cubicBezTo>
                    <a:pt x="232" y="26"/>
                    <a:pt x="229" y="27"/>
                    <a:pt x="229" y="29"/>
                  </a:cubicBezTo>
                  <a:cubicBezTo>
                    <a:pt x="227" y="29"/>
                    <a:pt x="226" y="26"/>
                    <a:pt x="226" y="25"/>
                  </a:cubicBezTo>
                  <a:cubicBezTo>
                    <a:pt x="223" y="24"/>
                    <a:pt x="222" y="22"/>
                    <a:pt x="221" y="19"/>
                  </a:cubicBezTo>
                  <a:cubicBezTo>
                    <a:pt x="219" y="16"/>
                    <a:pt x="217" y="14"/>
                    <a:pt x="216" y="11"/>
                  </a:cubicBezTo>
                  <a:cubicBezTo>
                    <a:pt x="215" y="10"/>
                    <a:pt x="214" y="9"/>
                    <a:pt x="213" y="9"/>
                  </a:cubicBezTo>
                  <a:cubicBezTo>
                    <a:pt x="213" y="8"/>
                    <a:pt x="213" y="8"/>
                    <a:pt x="213" y="7"/>
                  </a:cubicBezTo>
                  <a:cubicBezTo>
                    <a:pt x="214" y="6"/>
                    <a:pt x="213" y="6"/>
                    <a:pt x="214" y="5"/>
                  </a:cubicBezTo>
                  <a:cubicBezTo>
                    <a:pt x="217" y="3"/>
                    <a:pt x="217" y="3"/>
                    <a:pt x="217" y="3"/>
                  </a:cubicBezTo>
                  <a:cubicBezTo>
                    <a:pt x="217" y="0"/>
                    <a:pt x="210" y="0"/>
                    <a:pt x="208" y="2"/>
                  </a:cubicBezTo>
                  <a:cubicBezTo>
                    <a:pt x="208" y="2"/>
                    <a:pt x="208" y="3"/>
                    <a:pt x="207" y="3"/>
                  </a:cubicBezTo>
                  <a:cubicBezTo>
                    <a:pt x="207" y="4"/>
                    <a:pt x="206" y="4"/>
                    <a:pt x="205" y="4"/>
                  </a:cubicBezTo>
                  <a:cubicBezTo>
                    <a:pt x="204" y="5"/>
                    <a:pt x="202" y="6"/>
                    <a:pt x="201" y="7"/>
                  </a:cubicBezTo>
                  <a:cubicBezTo>
                    <a:pt x="200" y="8"/>
                    <a:pt x="200" y="10"/>
                    <a:pt x="200" y="11"/>
                  </a:cubicBezTo>
                  <a:cubicBezTo>
                    <a:pt x="200" y="12"/>
                    <a:pt x="200" y="13"/>
                    <a:pt x="200" y="14"/>
                  </a:cubicBezTo>
                  <a:cubicBezTo>
                    <a:pt x="199" y="14"/>
                    <a:pt x="198" y="14"/>
                    <a:pt x="197" y="14"/>
                  </a:cubicBezTo>
                  <a:cubicBezTo>
                    <a:pt x="196" y="15"/>
                    <a:pt x="196" y="16"/>
                    <a:pt x="195" y="17"/>
                  </a:cubicBezTo>
                  <a:cubicBezTo>
                    <a:pt x="193" y="18"/>
                    <a:pt x="190" y="18"/>
                    <a:pt x="189" y="18"/>
                  </a:cubicBezTo>
                  <a:cubicBezTo>
                    <a:pt x="184" y="17"/>
                    <a:pt x="179" y="15"/>
                    <a:pt x="175" y="18"/>
                  </a:cubicBezTo>
                  <a:cubicBezTo>
                    <a:pt x="174" y="18"/>
                    <a:pt x="173" y="20"/>
                    <a:pt x="171" y="20"/>
                  </a:cubicBezTo>
                  <a:cubicBezTo>
                    <a:pt x="170" y="20"/>
                    <a:pt x="169" y="20"/>
                    <a:pt x="169" y="19"/>
                  </a:cubicBezTo>
                  <a:cubicBezTo>
                    <a:pt x="168" y="18"/>
                    <a:pt x="169" y="17"/>
                    <a:pt x="168" y="16"/>
                  </a:cubicBezTo>
                  <a:cubicBezTo>
                    <a:pt x="168" y="15"/>
                    <a:pt x="166" y="15"/>
                    <a:pt x="165" y="15"/>
                  </a:cubicBezTo>
                  <a:cubicBezTo>
                    <a:pt x="163" y="14"/>
                    <a:pt x="161" y="13"/>
                    <a:pt x="159" y="12"/>
                  </a:cubicBezTo>
                  <a:cubicBezTo>
                    <a:pt x="158" y="11"/>
                    <a:pt x="157" y="10"/>
                    <a:pt x="156" y="10"/>
                  </a:cubicBezTo>
                  <a:cubicBezTo>
                    <a:pt x="154" y="10"/>
                    <a:pt x="155" y="13"/>
                    <a:pt x="154" y="13"/>
                  </a:cubicBezTo>
                  <a:cubicBezTo>
                    <a:pt x="153" y="12"/>
                    <a:pt x="153" y="10"/>
                    <a:pt x="153" y="9"/>
                  </a:cubicBezTo>
                  <a:cubicBezTo>
                    <a:pt x="150" y="8"/>
                    <a:pt x="148" y="8"/>
                    <a:pt x="145" y="9"/>
                  </a:cubicBezTo>
                  <a:cubicBezTo>
                    <a:pt x="144" y="9"/>
                    <a:pt x="143" y="10"/>
                    <a:pt x="142" y="10"/>
                  </a:cubicBezTo>
                  <a:cubicBezTo>
                    <a:pt x="140" y="10"/>
                    <a:pt x="138" y="10"/>
                    <a:pt x="137" y="10"/>
                  </a:cubicBezTo>
                  <a:cubicBezTo>
                    <a:pt x="135" y="9"/>
                    <a:pt x="134" y="8"/>
                    <a:pt x="132" y="8"/>
                  </a:cubicBezTo>
                  <a:cubicBezTo>
                    <a:pt x="131" y="8"/>
                    <a:pt x="129" y="7"/>
                    <a:pt x="128" y="7"/>
                  </a:cubicBezTo>
                  <a:cubicBezTo>
                    <a:pt x="127" y="8"/>
                    <a:pt x="127" y="10"/>
                    <a:pt x="125" y="10"/>
                  </a:cubicBezTo>
                  <a:cubicBezTo>
                    <a:pt x="124" y="10"/>
                    <a:pt x="122" y="9"/>
                    <a:pt x="121" y="10"/>
                  </a:cubicBezTo>
                  <a:cubicBezTo>
                    <a:pt x="121" y="12"/>
                    <a:pt x="117" y="14"/>
                    <a:pt x="115" y="14"/>
                  </a:cubicBezTo>
                  <a:cubicBezTo>
                    <a:pt x="113" y="13"/>
                    <a:pt x="113" y="10"/>
                    <a:pt x="113" y="9"/>
                  </a:cubicBezTo>
                  <a:cubicBezTo>
                    <a:pt x="113" y="8"/>
                    <a:pt x="112" y="8"/>
                    <a:pt x="112" y="8"/>
                  </a:cubicBezTo>
                  <a:cubicBezTo>
                    <a:pt x="112" y="7"/>
                    <a:pt x="112" y="6"/>
                    <a:pt x="112" y="6"/>
                  </a:cubicBezTo>
                  <a:cubicBezTo>
                    <a:pt x="112" y="5"/>
                    <a:pt x="110" y="6"/>
                    <a:pt x="110" y="6"/>
                  </a:cubicBezTo>
                  <a:cubicBezTo>
                    <a:pt x="109" y="5"/>
                    <a:pt x="107" y="5"/>
                    <a:pt x="106" y="5"/>
                  </a:cubicBezTo>
                  <a:cubicBezTo>
                    <a:pt x="105" y="5"/>
                    <a:pt x="104" y="5"/>
                    <a:pt x="103" y="5"/>
                  </a:cubicBezTo>
                  <a:cubicBezTo>
                    <a:pt x="102" y="6"/>
                    <a:pt x="102" y="7"/>
                    <a:pt x="101" y="7"/>
                  </a:cubicBezTo>
                  <a:cubicBezTo>
                    <a:pt x="100" y="7"/>
                    <a:pt x="99" y="7"/>
                    <a:pt x="99" y="7"/>
                  </a:cubicBezTo>
                  <a:cubicBezTo>
                    <a:pt x="97" y="7"/>
                    <a:pt x="96" y="7"/>
                    <a:pt x="94" y="7"/>
                  </a:cubicBezTo>
                  <a:cubicBezTo>
                    <a:pt x="91" y="7"/>
                    <a:pt x="89" y="7"/>
                    <a:pt x="86" y="6"/>
                  </a:cubicBezTo>
                  <a:cubicBezTo>
                    <a:pt x="83" y="5"/>
                    <a:pt x="81" y="5"/>
                    <a:pt x="78" y="5"/>
                  </a:cubicBezTo>
                  <a:cubicBezTo>
                    <a:pt x="75" y="5"/>
                    <a:pt x="71" y="5"/>
                    <a:pt x="67" y="4"/>
                  </a:cubicBezTo>
                  <a:cubicBezTo>
                    <a:pt x="66" y="4"/>
                    <a:pt x="65" y="3"/>
                    <a:pt x="64" y="3"/>
                  </a:cubicBezTo>
                  <a:cubicBezTo>
                    <a:pt x="63" y="3"/>
                    <a:pt x="62" y="2"/>
                    <a:pt x="61" y="2"/>
                  </a:cubicBezTo>
                  <a:cubicBezTo>
                    <a:pt x="60" y="1"/>
                    <a:pt x="54" y="1"/>
                    <a:pt x="53" y="3"/>
                  </a:cubicBezTo>
                  <a:cubicBezTo>
                    <a:pt x="52" y="5"/>
                    <a:pt x="54" y="7"/>
                    <a:pt x="50" y="7"/>
                  </a:cubicBezTo>
                  <a:cubicBezTo>
                    <a:pt x="49" y="7"/>
                    <a:pt x="48" y="7"/>
                    <a:pt x="47" y="8"/>
                  </a:cubicBezTo>
                  <a:cubicBezTo>
                    <a:pt x="45" y="8"/>
                    <a:pt x="42" y="9"/>
                    <a:pt x="41" y="10"/>
                  </a:cubicBezTo>
                  <a:cubicBezTo>
                    <a:pt x="39" y="12"/>
                    <a:pt x="39" y="13"/>
                    <a:pt x="36" y="13"/>
                  </a:cubicBezTo>
                  <a:cubicBezTo>
                    <a:pt x="33" y="13"/>
                    <a:pt x="31" y="12"/>
                    <a:pt x="29" y="14"/>
                  </a:cubicBezTo>
                  <a:cubicBezTo>
                    <a:pt x="28" y="14"/>
                    <a:pt x="26" y="16"/>
                    <a:pt x="25" y="17"/>
                  </a:cubicBezTo>
                  <a:cubicBezTo>
                    <a:pt x="23" y="17"/>
                    <a:pt x="22" y="17"/>
                    <a:pt x="21" y="19"/>
                  </a:cubicBezTo>
                  <a:cubicBezTo>
                    <a:pt x="21" y="20"/>
                    <a:pt x="21" y="22"/>
                    <a:pt x="20" y="23"/>
                  </a:cubicBezTo>
                  <a:cubicBezTo>
                    <a:pt x="19" y="23"/>
                    <a:pt x="18" y="24"/>
                    <a:pt x="17" y="24"/>
                  </a:cubicBezTo>
                  <a:cubicBezTo>
                    <a:pt x="16" y="24"/>
                    <a:pt x="15" y="25"/>
                    <a:pt x="15" y="25"/>
                  </a:cubicBezTo>
                  <a:cubicBezTo>
                    <a:pt x="15" y="25"/>
                    <a:pt x="14" y="26"/>
                    <a:pt x="14" y="26"/>
                  </a:cubicBezTo>
                  <a:cubicBezTo>
                    <a:pt x="14" y="26"/>
                    <a:pt x="12" y="26"/>
                    <a:pt x="12" y="27"/>
                  </a:cubicBezTo>
                  <a:cubicBezTo>
                    <a:pt x="11" y="27"/>
                    <a:pt x="12" y="28"/>
                    <a:pt x="12" y="28"/>
                  </a:cubicBezTo>
                  <a:cubicBezTo>
                    <a:pt x="12" y="29"/>
                    <a:pt x="11" y="29"/>
                    <a:pt x="11" y="29"/>
                  </a:cubicBezTo>
                  <a:cubicBezTo>
                    <a:pt x="11" y="30"/>
                    <a:pt x="10" y="31"/>
                    <a:pt x="10" y="31"/>
                  </a:cubicBezTo>
                  <a:cubicBezTo>
                    <a:pt x="9" y="32"/>
                    <a:pt x="9" y="33"/>
                    <a:pt x="8" y="34"/>
                  </a:cubicBezTo>
                  <a:cubicBezTo>
                    <a:pt x="7" y="34"/>
                    <a:pt x="6" y="33"/>
                    <a:pt x="5" y="34"/>
                  </a:cubicBezTo>
                  <a:cubicBezTo>
                    <a:pt x="3" y="35"/>
                    <a:pt x="3" y="38"/>
                    <a:pt x="3" y="40"/>
                  </a:cubicBezTo>
                  <a:cubicBezTo>
                    <a:pt x="2" y="43"/>
                    <a:pt x="2" y="46"/>
                    <a:pt x="2" y="49"/>
                  </a:cubicBezTo>
                  <a:cubicBezTo>
                    <a:pt x="2" y="50"/>
                    <a:pt x="2" y="50"/>
                    <a:pt x="1" y="51"/>
                  </a:cubicBezTo>
                  <a:cubicBezTo>
                    <a:pt x="0" y="52"/>
                    <a:pt x="0" y="53"/>
                    <a:pt x="0" y="55"/>
                  </a:cubicBezTo>
                  <a:cubicBezTo>
                    <a:pt x="0" y="57"/>
                    <a:pt x="0" y="61"/>
                    <a:pt x="1" y="63"/>
                  </a:cubicBezTo>
                  <a:cubicBezTo>
                    <a:pt x="1" y="63"/>
                    <a:pt x="2" y="63"/>
                    <a:pt x="2" y="64"/>
                  </a:cubicBezTo>
                  <a:cubicBezTo>
                    <a:pt x="2" y="64"/>
                    <a:pt x="3" y="65"/>
                    <a:pt x="3" y="65"/>
                  </a:cubicBezTo>
                  <a:cubicBezTo>
                    <a:pt x="4" y="67"/>
                    <a:pt x="5" y="67"/>
                    <a:pt x="5" y="69"/>
                  </a:cubicBezTo>
                  <a:cubicBezTo>
                    <a:pt x="5" y="68"/>
                    <a:pt x="6" y="70"/>
                    <a:pt x="6" y="70"/>
                  </a:cubicBezTo>
                  <a:cubicBezTo>
                    <a:pt x="6" y="70"/>
                    <a:pt x="7" y="70"/>
                    <a:pt x="7" y="71"/>
                  </a:cubicBezTo>
                  <a:cubicBezTo>
                    <a:pt x="8" y="72"/>
                    <a:pt x="7" y="73"/>
                    <a:pt x="8" y="74"/>
                  </a:cubicBezTo>
                  <a:cubicBezTo>
                    <a:pt x="8" y="76"/>
                    <a:pt x="8" y="76"/>
                    <a:pt x="8" y="78"/>
                  </a:cubicBezTo>
                  <a:cubicBezTo>
                    <a:pt x="9" y="81"/>
                    <a:pt x="8" y="84"/>
                    <a:pt x="8" y="88"/>
                  </a:cubicBezTo>
                  <a:cubicBezTo>
                    <a:pt x="8" y="88"/>
                    <a:pt x="8" y="89"/>
                    <a:pt x="8" y="89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10" y="92"/>
                    <a:pt x="12" y="95"/>
                    <a:pt x="12" y="97"/>
                  </a:cubicBezTo>
                  <a:cubicBezTo>
                    <a:pt x="12" y="99"/>
                    <a:pt x="12" y="101"/>
                    <a:pt x="12" y="102"/>
                  </a:cubicBezTo>
                  <a:cubicBezTo>
                    <a:pt x="12" y="103"/>
                    <a:pt x="12" y="104"/>
                    <a:pt x="13" y="105"/>
                  </a:cubicBezTo>
                  <a:cubicBezTo>
                    <a:pt x="13" y="105"/>
                    <a:pt x="14" y="105"/>
                    <a:pt x="15" y="106"/>
                  </a:cubicBezTo>
                  <a:cubicBezTo>
                    <a:pt x="15" y="107"/>
                    <a:pt x="15" y="107"/>
                    <a:pt x="15" y="108"/>
                  </a:cubicBezTo>
                  <a:cubicBezTo>
                    <a:pt x="16" y="109"/>
                    <a:pt x="18" y="109"/>
                    <a:pt x="19" y="110"/>
                  </a:cubicBezTo>
                  <a:cubicBezTo>
                    <a:pt x="19" y="111"/>
                    <a:pt x="19" y="111"/>
                    <a:pt x="19" y="111"/>
                  </a:cubicBezTo>
                  <a:cubicBezTo>
                    <a:pt x="20" y="110"/>
                    <a:pt x="20" y="109"/>
                    <a:pt x="22" y="110"/>
                  </a:cubicBezTo>
                  <a:cubicBezTo>
                    <a:pt x="25" y="111"/>
                    <a:pt x="27" y="115"/>
                    <a:pt x="29" y="118"/>
                  </a:cubicBezTo>
                  <a:cubicBezTo>
                    <a:pt x="30" y="119"/>
                    <a:pt x="31" y="121"/>
                    <a:pt x="33" y="121"/>
                  </a:cubicBezTo>
                  <a:cubicBezTo>
                    <a:pt x="35" y="121"/>
                    <a:pt x="37" y="122"/>
                    <a:pt x="39" y="122"/>
                  </a:cubicBezTo>
                  <a:cubicBezTo>
                    <a:pt x="40" y="123"/>
                    <a:pt x="41" y="123"/>
                    <a:pt x="42" y="124"/>
                  </a:cubicBezTo>
                  <a:cubicBezTo>
                    <a:pt x="42" y="124"/>
                    <a:pt x="43" y="124"/>
                    <a:pt x="44" y="124"/>
                  </a:cubicBezTo>
                  <a:cubicBezTo>
                    <a:pt x="45" y="125"/>
                    <a:pt x="46" y="126"/>
                    <a:pt x="47" y="126"/>
                  </a:cubicBezTo>
                  <a:cubicBezTo>
                    <a:pt x="48" y="127"/>
                    <a:pt x="51" y="126"/>
                    <a:pt x="52" y="127"/>
                  </a:cubicBezTo>
                  <a:cubicBezTo>
                    <a:pt x="53" y="128"/>
                    <a:pt x="53" y="129"/>
                    <a:pt x="54" y="129"/>
                  </a:cubicBezTo>
                  <a:cubicBezTo>
                    <a:pt x="55" y="129"/>
                    <a:pt x="55" y="128"/>
                    <a:pt x="56" y="128"/>
                  </a:cubicBezTo>
                  <a:cubicBezTo>
                    <a:pt x="57" y="127"/>
                    <a:pt x="58" y="130"/>
                    <a:pt x="59" y="131"/>
                  </a:cubicBezTo>
                  <a:cubicBezTo>
                    <a:pt x="60" y="131"/>
                    <a:pt x="61" y="133"/>
                    <a:pt x="62" y="133"/>
                  </a:cubicBezTo>
                  <a:cubicBezTo>
                    <a:pt x="64" y="133"/>
                    <a:pt x="63" y="132"/>
                    <a:pt x="64" y="131"/>
                  </a:cubicBezTo>
                  <a:cubicBezTo>
                    <a:pt x="64" y="131"/>
                    <a:pt x="65" y="130"/>
                    <a:pt x="66" y="129"/>
                  </a:cubicBezTo>
                  <a:cubicBezTo>
                    <a:pt x="68" y="128"/>
                    <a:pt x="69" y="128"/>
                    <a:pt x="71" y="129"/>
                  </a:cubicBezTo>
                  <a:cubicBezTo>
                    <a:pt x="74" y="130"/>
                    <a:pt x="76" y="131"/>
                    <a:pt x="80" y="131"/>
                  </a:cubicBezTo>
                  <a:cubicBezTo>
                    <a:pt x="81" y="131"/>
                    <a:pt x="82" y="131"/>
                    <a:pt x="83" y="131"/>
                  </a:cubicBezTo>
                  <a:cubicBezTo>
                    <a:pt x="84" y="130"/>
                    <a:pt x="84" y="129"/>
                    <a:pt x="86" y="129"/>
                  </a:cubicBezTo>
                  <a:cubicBezTo>
                    <a:pt x="87" y="129"/>
                    <a:pt x="89" y="131"/>
                    <a:pt x="90" y="132"/>
                  </a:cubicBezTo>
                  <a:cubicBezTo>
                    <a:pt x="91" y="134"/>
                    <a:pt x="90" y="135"/>
                    <a:pt x="91" y="136"/>
                  </a:cubicBezTo>
                  <a:cubicBezTo>
                    <a:pt x="91" y="137"/>
                    <a:pt x="94" y="139"/>
                    <a:pt x="95" y="140"/>
                  </a:cubicBezTo>
                  <a:cubicBezTo>
                    <a:pt x="96" y="141"/>
                    <a:pt x="98" y="141"/>
                    <a:pt x="99" y="142"/>
                  </a:cubicBezTo>
                  <a:cubicBezTo>
                    <a:pt x="100" y="144"/>
                    <a:pt x="100" y="146"/>
                    <a:pt x="101" y="147"/>
                  </a:cubicBezTo>
                  <a:cubicBezTo>
                    <a:pt x="101" y="149"/>
                    <a:pt x="104" y="151"/>
                    <a:pt x="104" y="154"/>
                  </a:cubicBezTo>
                  <a:cubicBezTo>
                    <a:pt x="104" y="155"/>
                    <a:pt x="104" y="156"/>
                    <a:pt x="103" y="156"/>
                  </a:cubicBezTo>
                  <a:cubicBezTo>
                    <a:pt x="101" y="159"/>
                    <a:pt x="99" y="162"/>
                    <a:pt x="97" y="164"/>
                  </a:cubicBezTo>
                  <a:cubicBezTo>
                    <a:pt x="95" y="166"/>
                    <a:pt x="95" y="167"/>
                    <a:pt x="95" y="170"/>
                  </a:cubicBezTo>
                  <a:cubicBezTo>
                    <a:pt x="94" y="173"/>
                    <a:pt x="93" y="176"/>
                    <a:pt x="93" y="180"/>
                  </a:cubicBezTo>
                  <a:cubicBezTo>
                    <a:pt x="93" y="181"/>
                    <a:pt x="92" y="182"/>
                    <a:pt x="92" y="184"/>
                  </a:cubicBezTo>
                  <a:cubicBezTo>
                    <a:pt x="92" y="185"/>
                    <a:pt x="92" y="187"/>
                    <a:pt x="92" y="189"/>
                  </a:cubicBezTo>
                  <a:cubicBezTo>
                    <a:pt x="92" y="190"/>
                    <a:pt x="92" y="190"/>
                    <a:pt x="93" y="190"/>
                  </a:cubicBezTo>
                  <a:cubicBezTo>
                    <a:pt x="93" y="190"/>
                    <a:pt x="94" y="190"/>
                    <a:pt x="94" y="191"/>
                  </a:cubicBezTo>
                  <a:cubicBezTo>
                    <a:pt x="95" y="191"/>
                    <a:pt x="95" y="191"/>
                    <a:pt x="95" y="192"/>
                  </a:cubicBezTo>
                  <a:cubicBezTo>
                    <a:pt x="97" y="193"/>
                    <a:pt x="99" y="194"/>
                    <a:pt x="101" y="194"/>
                  </a:cubicBezTo>
                  <a:cubicBezTo>
                    <a:pt x="103" y="195"/>
                    <a:pt x="105" y="196"/>
                    <a:pt x="107" y="196"/>
                  </a:cubicBezTo>
                  <a:cubicBezTo>
                    <a:pt x="109" y="196"/>
                    <a:pt x="110" y="196"/>
                    <a:pt x="111" y="197"/>
                  </a:cubicBezTo>
                  <a:cubicBezTo>
                    <a:pt x="112" y="198"/>
                    <a:pt x="113" y="199"/>
                    <a:pt x="114" y="200"/>
                  </a:cubicBezTo>
                  <a:cubicBezTo>
                    <a:pt x="114" y="200"/>
                    <a:pt x="115" y="201"/>
                    <a:pt x="115" y="201"/>
                  </a:cubicBezTo>
                  <a:cubicBezTo>
                    <a:pt x="116" y="202"/>
                    <a:pt x="115" y="203"/>
                    <a:pt x="116" y="203"/>
                  </a:cubicBezTo>
                  <a:cubicBezTo>
                    <a:pt x="116" y="204"/>
                    <a:pt x="117" y="205"/>
                    <a:pt x="117" y="205"/>
                  </a:cubicBezTo>
                  <a:cubicBezTo>
                    <a:pt x="121" y="206"/>
                    <a:pt x="125" y="205"/>
                    <a:pt x="128" y="207"/>
                  </a:cubicBezTo>
                  <a:cubicBezTo>
                    <a:pt x="129" y="208"/>
                    <a:pt x="131" y="210"/>
                    <a:pt x="132" y="210"/>
                  </a:cubicBezTo>
                  <a:cubicBezTo>
                    <a:pt x="132" y="211"/>
                    <a:pt x="132" y="212"/>
                    <a:pt x="132" y="213"/>
                  </a:cubicBezTo>
                  <a:cubicBezTo>
                    <a:pt x="132" y="215"/>
                    <a:pt x="134" y="216"/>
                    <a:pt x="134" y="217"/>
                  </a:cubicBezTo>
                  <a:cubicBezTo>
                    <a:pt x="135" y="218"/>
                    <a:pt x="137" y="219"/>
                    <a:pt x="138" y="221"/>
                  </a:cubicBezTo>
                  <a:cubicBezTo>
                    <a:pt x="139" y="223"/>
                    <a:pt x="139" y="228"/>
                    <a:pt x="138" y="230"/>
                  </a:cubicBezTo>
                  <a:cubicBezTo>
                    <a:pt x="138" y="231"/>
                    <a:pt x="137" y="230"/>
                    <a:pt x="137" y="231"/>
                  </a:cubicBezTo>
                  <a:cubicBezTo>
                    <a:pt x="136" y="232"/>
                    <a:pt x="137" y="233"/>
                    <a:pt x="137" y="233"/>
                  </a:cubicBezTo>
                  <a:cubicBezTo>
                    <a:pt x="137" y="234"/>
                    <a:pt x="136" y="236"/>
                    <a:pt x="137" y="237"/>
                  </a:cubicBezTo>
                  <a:cubicBezTo>
                    <a:pt x="137" y="238"/>
                    <a:pt x="137" y="239"/>
                    <a:pt x="138" y="240"/>
                  </a:cubicBezTo>
                  <a:cubicBezTo>
                    <a:pt x="138" y="240"/>
                    <a:pt x="138" y="240"/>
                    <a:pt x="139" y="239"/>
                  </a:cubicBezTo>
                  <a:cubicBezTo>
                    <a:pt x="139" y="238"/>
                    <a:pt x="140" y="237"/>
                    <a:pt x="141" y="237"/>
                  </a:cubicBezTo>
                  <a:cubicBezTo>
                    <a:pt x="142" y="235"/>
                    <a:pt x="142" y="235"/>
                    <a:pt x="144" y="235"/>
                  </a:cubicBezTo>
                  <a:cubicBezTo>
                    <a:pt x="147" y="234"/>
                    <a:pt x="149" y="234"/>
                    <a:pt x="152" y="234"/>
                  </a:cubicBezTo>
                  <a:cubicBezTo>
                    <a:pt x="153" y="234"/>
                    <a:pt x="154" y="234"/>
                    <a:pt x="155" y="234"/>
                  </a:cubicBezTo>
                  <a:cubicBezTo>
                    <a:pt x="156" y="235"/>
                    <a:pt x="156" y="235"/>
                    <a:pt x="157" y="235"/>
                  </a:cubicBezTo>
                  <a:cubicBezTo>
                    <a:pt x="158" y="236"/>
                    <a:pt x="159" y="236"/>
                    <a:pt x="159" y="236"/>
                  </a:cubicBezTo>
                  <a:cubicBezTo>
                    <a:pt x="161" y="236"/>
                    <a:pt x="166" y="238"/>
                    <a:pt x="167" y="236"/>
                  </a:cubicBezTo>
                  <a:cubicBezTo>
                    <a:pt x="167" y="236"/>
                    <a:pt x="167" y="237"/>
                    <a:pt x="167" y="237"/>
                  </a:cubicBezTo>
                  <a:cubicBezTo>
                    <a:pt x="170" y="238"/>
                    <a:pt x="174" y="237"/>
                    <a:pt x="176" y="238"/>
                  </a:cubicBezTo>
                  <a:cubicBezTo>
                    <a:pt x="179" y="239"/>
                    <a:pt x="182" y="242"/>
                    <a:pt x="185" y="240"/>
                  </a:cubicBezTo>
                  <a:cubicBezTo>
                    <a:pt x="187" y="240"/>
                    <a:pt x="187" y="239"/>
                    <a:pt x="188" y="237"/>
                  </a:cubicBezTo>
                  <a:cubicBezTo>
                    <a:pt x="189" y="236"/>
                    <a:pt x="190" y="236"/>
                    <a:pt x="192" y="235"/>
                  </a:cubicBezTo>
                  <a:cubicBezTo>
                    <a:pt x="192" y="235"/>
                    <a:pt x="193" y="234"/>
                    <a:pt x="194" y="234"/>
                  </a:cubicBezTo>
                  <a:cubicBezTo>
                    <a:pt x="194" y="233"/>
                    <a:pt x="195" y="233"/>
                    <a:pt x="195" y="232"/>
                  </a:cubicBezTo>
                  <a:cubicBezTo>
                    <a:pt x="196" y="232"/>
                    <a:pt x="197" y="232"/>
                    <a:pt x="197" y="232"/>
                  </a:cubicBezTo>
                  <a:cubicBezTo>
                    <a:pt x="198" y="231"/>
                    <a:pt x="199" y="230"/>
                    <a:pt x="200" y="230"/>
                  </a:cubicBezTo>
                  <a:cubicBezTo>
                    <a:pt x="201" y="232"/>
                    <a:pt x="198" y="236"/>
                    <a:pt x="202" y="234"/>
                  </a:cubicBezTo>
                  <a:cubicBezTo>
                    <a:pt x="202" y="234"/>
                    <a:pt x="203" y="234"/>
                    <a:pt x="203" y="234"/>
                  </a:cubicBezTo>
                  <a:cubicBezTo>
                    <a:pt x="204" y="233"/>
                    <a:pt x="204" y="233"/>
                    <a:pt x="205" y="232"/>
                  </a:cubicBezTo>
                  <a:cubicBezTo>
                    <a:pt x="206" y="231"/>
                    <a:pt x="207" y="232"/>
                    <a:pt x="208" y="231"/>
                  </a:cubicBezTo>
                  <a:cubicBezTo>
                    <a:pt x="209" y="229"/>
                    <a:pt x="207" y="228"/>
                    <a:pt x="207" y="226"/>
                  </a:cubicBezTo>
                  <a:cubicBezTo>
                    <a:pt x="207" y="225"/>
                    <a:pt x="207" y="223"/>
                    <a:pt x="207" y="222"/>
                  </a:cubicBezTo>
                  <a:cubicBezTo>
                    <a:pt x="207" y="221"/>
                    <a:pt x="208" y="218"/>
                    <a:pt x="210" y="218"/>
                  </a:cubicBezTo>
                  <a:cubicBezTo>
                    <a:pt x="211" y="217"/>
                    <a:pt x="214" y="216"/>
                    <a:pt x="216" y="216"/>
                  </a:cubicBezTo>
                  <a:cubicBezTo>
                    <a:pt x="217" y="217"/>
                    <a:pt x="217" y="219"/>
                    <a:pt x="219" y="219"/>
                  </a:cubicBezTo>
                  <a:cubicBezTo>
                    <a:pt x="220" y="220"/>
                    <a:pt x="222" y="220"/>
                    <a:pt x="223" y="220"/>
                  </a:cubicBezTo>
                  <a:cubicBezTo>
                    <a:pt x="228" y="220"/>
                    <a:pt x="227" y="215"/>
                    <a:pt x="227" y="212"/>
                  </a:cubicBezTo>
                  <a:cubicBezTo>
                    <a:pt x="227" y="208"/>
                    <a:pt x="231" y="204"/>
                    <a:pt x="235" y="205"/>
                  </a:cubicBezTo>
                  <a:cubicBezTo>
                    <a:pt x="236" y="205"/>
                    <a:pt x="236" y="205"/>
                    <a:pt x="236" y="205"/>
                  </a:cubicBezTo>
                  <a:cubicBezTo>
                    <a:pt x="237" y="205"/>
                    <a:pt x="237" y="205"/>
                    <a:pt x="237" y="204"/>
                  </a:cubicBezTo>
                  <a:cubicBezTo>
                    <a:pt x="238" y="204"/>
                    <a:pt x="238" y="204"/>
                    <a:pt x="238" y="204"/>
                  </a:cubicBezTo>
                  <a:cubicBezTo>
                    <a:pt x="241" y="204"/>
                    <a:pt x="244" y="204"/>
                    <a:pt x="246" y="204"/>
                  </a:cubicBezTo>
                  <a:cubicBezTo>
                    <a:pt x="246" y="206"/>
                    <a:pt x="248" y="206"/>
                    <a:pt x="248" y="208"/>
                  </a:cubicBezTo>
                  <a:cubicBezTo>
                    <a:pt x="248" y="210"/>
                    <a:pt x="247" y="210"/>
                    <a:pt x="247" y="212"/>
                  </a:cubicBezTo>
                  <a:cubicBezTo>
                    <a:pt x="246" y="213"/>
                    <a:pt x="246" y="215"/>
                    <a:pt x="246" y="216"/>
                  </a:cubicBezTo>
                  <a:cubicBezTo>
                    <a:pt x="246" y="218"/>
                    <a:pt x="246" y="218"/>
                    <a:pt x="248" y="219"/>
                  </a:cubicBezTo>
                  <a:cubicBezTo>
                    <a:pt x="250" y="219"/>
                    <a:pt x="254" y="219"/>
                    <a:pt x="256" y="219"/>
                  </a:cubicBezTo>
                  <a:cubicBezTo>
                    <a:pt x="257" y="219"/>
                    <a:pt x="259" y="218"/>
                    <a:pt x="259" y="217"/>
                  </a:cubicBezTo>
                  <a:cubicBezTo>
                    <a:pt x="261" y="214"/>
                    <a:pt x="259" y="211"/>
                    <a:pt x="257" y="209"/>
                  </a:cubicBezTo>
                  <a:cubicBezTo>
                    <a:pt x="257" y="208"/>
                    <a:pt x="256" y="207"/>
                    <a:pt x="255" y="207"/>
                  </a:cubicBezTo>
                  <a:cubicBezTo>
                    <a:pt x="254" y="206"/>
                    <a:pt x="253" y="205"/>
                    <a:pt x="252" y="204"/>
                  </a:cubicBezTo>
                  <a:cubicBezTo>
                    <a:pt x="252" y="204"/>
                    <a:pt x="252" y="202"/>
                    <a:pt x="251" y="202"/>
                  </a:cubicBezTo>
                  <a:cubicBezTo>
                    <a:pt x="250" y="200"/>
                    <a:pt x="249" y="201"/>
                    <a:pt x="249" y="199"/>
                  </a:cubicBezTo>
                  <a:cubicBezTo>
                    <a:pt x="249" y="198"/>
                    <a:pt x="249" y="197"/>
                    <a:pt x="249" y="196"/>
                  </a:cubicBezTo>
                  <a:cubicBezTo>
                    <a:pt x="249" y="195"/>
                    <a:pt x="249" y="194"/>
                    <a:pt x="250" y="193"/>
                  </a:cubicBezTo>
                  <a:cubicBezTo>
                    <a:pt x="250" y="192"/>
                    <a:pt x="251" y="191"/>
                    <a:pt x="251" y="191"/>
                  </a:cubicBezTo>
                  <a:cubicBezTo>
                    <a:pt x="252" y="189"/>
                    <a:pt x="253" y="188"/>
                    <a:pt x="254" y="186"/>
                  </a:cubicBezTo>
                  <a:cubicBezTo>
                    <a:pt x="255" y="184"/>
                    <a:pt x="256" y="183"/>
                    <a:pt x="257" y="180"/>
                  </a:cubicBezTo>
                  <a:cubicBezTo>
                    <a:pt x="257" y="179"/>
                    <a:pt x="258" y="177"/>
                    <a:pt x="258" y="176"/>
                  </a:cubicBezTo>
                  <a:cubicBezTo>
                    <a:pt x="259" y="172"/>
                    <a:pt x="258" y="168"/>
                    <a:pt x="258" y="164"/>
                  </a:cubicBezTo>
                  <a:cubicBezTo>
                    <a:pt x="258" y="161"/>
                    <a:pt x="258" y="158"/>
                    <a:pt x="258" y="155"/>
                  </a:cubicBezTo>
                  <a:cubicBezTo>
                    <a:pt x="258" y="155"/>
                    <a:pt x="258" y="154"/>
                    <a:pt x="258" y="154"/>
                  </a:cubicBezTo>
                  <a:cubicBezTo>
                    <a:pt x="259" y="153"/>
                    <a:pt x="259" y="153"/>
                    <a:pt x="259" y="152"/>
                  </a:cubicBezTo>
                  <a:cubicBezTo>
                    <a:pt x="260" y="150"/>
                    <a:pt x="260" y="150"/>
                    <a:pt x="261" y="149"/>
                  </a:cubicBezTo>
                  <a:cubicBezTo>
                    <a:pt x="263" y="148"/>
                    <a:pt x="264" y="148"/>
                    <a:pt x="265" y="148"/>
                  </a:cubicBezTo>
                  <a:cubicBezTo>
                    <a:pt x="266" y="147"/>
                    <a:pt x="268" y="146"/>
                    <a:pt x="269" y="145"/>
                  </a:cubicBezTo>
                  <a:cubicBezTo>
                    <a:pt x="269" y="145"/>
                    <a:pt x="269" y="144"/>
                    <a:pt x="270" y="144"/>
                  </a:cubicBezTo>
                  <a:cubicBezTo>
                    <a:pt x="271" y="143"/>
                    <a:pt x="273" y="143"/>
                    <a:pt x="274" y="142"/>
                  </a:cubicBezTo>
                  <a:cubicBezTo>
                    <a:pt x="276" y="142"/>
                    <a:pt x="277" y="142"/>
                    <a:pt x="279" y="142"/>
                  </a:cubicBezTo>
                  <a:cubicBezTo>
                    <a:pt x="281" y="142"/>
                    <a:pt x="281" y="142"/>
                    <a:pt x="282" y="141"/>
                  </a:cubicBezTo>
                  <a:cubicBezTo>
                    <a:pt x="282" y="140"/>
                    <a:pt x="283" y="139"/>
                    <a:pt x="283" y="138"/>
                  </a:cubicBezTo>
                  <a:cubicBezTo>
                    <a:pt x="283" y="137"/>
                    <a:pt x="283" y="136"/>
                    <a:pt x="283" y="135"/>
                  </a:cubicBezTo>
                  <a:cubicBezTo>
                    <a:pt x="283" y="135"/>
                    <a:pt x="284" y="135"/>
                    <a:pt x="284" y="134"/>
                  </a:cubicBezTo>
                  <a:cubicBezTo>
                    <a:pt x="284" y="134"/>
                    <a:pt x="284" y="134"/>
                    <a:pt x="284" y="133"/>
                  </a:cubicBezTo>
                  <a:cubicBezTo>
                    <a:pt x="285" y="133"/>
                    <a:pt x="285" y="132"/>
                    <a:pt x="285" y="132"/>
                  </a:cubicBezTo>
                  <a:cubicBezTo>
                    <a:pt x="287" y="131"/>
                    <a:pt x="288" y="130"/>
                    <a:pt x="289" y="129"/>
                  </a:cubicBezTo>
                  <a:cubicBezTo>
                    <a:pt x="291" y="129"/>
                    <a:pt x="293" y="128"/>
                    <a:pt x="294" y="127"/>
                  </a:cubicBezTo>
                  <a:cubicBezTo>
                    <a:pt x="295" y="126"/>
                    <a:pt x="295" y="126"/>
                    <a:pt x="296" y="125"/>
                  </a:cubicBezTo>
                  <a:cubicBezTo>
                    <a:pt x="298" y="125"/>
                    <a:pt x="299" y="124"/>
                    <a:pt x="301" y="124"/>
                  </a:cubicBezTo>
                  <a:cubicBezTo>
                    <a:pt x="302" y="123"/>
                    <a:pt x="303" y="124"/>
                    <a:pt x="304" y="123"/>
                  </a:cubicBezTo>
                  <a:cubicBezTo>
                    <a:pt x="305" y="123"/>
                    <a:pt x="305" y="122"/>
                    <a:pt x="306" y="122"/>
                  </a:cubicBezTo>
                  <a:cubicBezTo>
                    <a:pt x="307" y="121"/>
                    <a:pt x="308" y="121"/>
                    <a:pt x="309" y="120"/>
                  </a:cubicBezTo>
                  <a:cubicBezTo>
                    <a:pt x="310" y="118"/>
                    <a:pt x="309" y="118"/>
                    <a:pt x="311" y="117"/>
                  </a:cubicBezTo>
                  <a:cubicBezTo>
                    <a:pt x="311" y="117"/>
                    <a:pt x="312" y="117"/>
                    <a:pt x="312" y="116"/>
                  </a:cubicBezTo>
                  <a:cubicBezTo>
                    <a:pt x="313" y="116"/>
                    <a:pt x="313" y="116"/>
                    <a:pt x="314" y="116"/>
                  </a:cubicBezTo>
                  <a:cubicBezTo>
                    <a:pt x="316" y="115"/>
                    <a:pt x="317" y="113"/>
                    <a:pt x="316" y="11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8" name="Freeform 38"/>
            <p:cNvSpPr>
              <a:spLocks noEditPoints="1"/>
            </p:cNvSpPr>
            <p:nvPr/>
          </p:nvSpPr>
          <p:spPr bwMode="auto">
            <a:xfrm>
              <a:off x="5846763" y="3511550"/>
              <a:ext cx="947738" cy="849313"/>
            </a:xfrm>
            <a:custGeom>
              <a:avLst/>
              <a:gdLst/>
              <a:ahLst/>
              <a:cxnLst>
                <a:cxn ang="0">
                  <a:pos x="493" y="252"/>
                </a:cxn>
                <a:cxn ang="0">
                  <a:pos x="479" y="230"/>
                </a:cxn>
                <a:cxn ang="0">
                  <a:pos x="455" y="220"/>
                </a:cxn>
                <a:cxn ang="0">
                  <a:pos x="426" y="174"/>
                </a:cxn>
                <a:cxn ang="0">
                  <a:pos x="418" y="142"/>
                </a:cxn>
                <a:cxn ang="0">
                  <a:pos x="406" y="117"/>
                </a:cxn>
                <a:cxn ang="0">
                  <a:pos x="412" y="91"/>
                </a:cxn>
                <a:cxn ang="0">
                  <a:pos x="408" y="69"/>
                </a:cxn>
                <a:cxn ang="0">
                  <a:pos x="383" y="37"/>
                </a:cxn>
                <a:cxn ang="0">
                  <a:pos x="354" y="34"/>
                </a:cxn>
                <a:cxn ang="0">
                  <a:pos x="329" y="44"/>
                </a:cxn>
                <a:cxn ang="0">
                  <a:pos x="294" y="18"/>
                </a:cxn>
                <a:cxn ang="0">
                  <a:pos x="256" y="8"/>
                </a:cxn>
                <a:cxn ang="0">
                  <a:pos x="210" y="33"/>
                </a:cxn>
                <a:cxn ang="0">
                  <a:pos x="185" y="47"/>
                </a:cxn>
                <a:cxn ang="0">
                  <a:pos x="173" y="66"/>
                </a:cxn>
                <a:cxn ang="0">
                  <a:pos x="178" y="82"/>
                </a:cxn>
                <a:cxn ang="0">
                  <a:pos x="181" y="92"/>
                </a:cxn>
                <a:cxn ang="0">
                  <a:pos x="161" y="101"/>
                </a:cxn>
                <a:cxn ang="0">
                  <a:pos x="154" y="113"/>
                </a:cxn>
                <a:cxn ang="0">
                  <a:pos x="133" y="121"/>
                </a:cxn>
                <a:cxn ang="0">
                  <a:pos x="129" y="152"/>
                </a:cxn>
                <a:cxn ang="0">
                  <a:pos x="123" y="174"/>
                </a:cxn>
                <a:cxn ang="0">
                  <a:pos x="120" y="191"/>
                </a:cxn>
                <a:cxn ang="0">
                  <a:pos x="109" y="176"/>
                </a:cxn>
                <a:cxn ang="0">
                  <a:pos x="88" y="188"/>
                </a:cxn>
                <a:cxn ang="0">
                  <a:pos x="75" y="206"/>
                </a:cxn>
                <a:cxn ang="0">
                  <a:pos x="64" y="207"/>
                </a:cxn>
                <a:cxn ang="0">
                  <a:pos x="31" y="208"/>
                </a:cxn>
                <a:cxn ang="0">
                  <a:pos x="11" y="211"/>
                </a:cxn>
                <a:cxn ang="0">
                  <a:pos x="22" y="253"/>
                </a:cxn>
                <a:cxn ang="0">
                  <a:pos x="38" y="294"/>
                </a:cxn>
                <a:cxn ang="0">
                  <a:pos x="40" y="316"/>
                </a:cxn>
                <a:cxn ang="0">
                  <a:pos x="20" y="331"/>
                </a:cxn>
                <a:cxn ang="0">
                  <a:pos x="4" y="360"/>
                </a:cxn>
                <a:cxn ang="0">
                  <a:pos x="23" y="380"/>
                </a:cxn>
                <a:cxn ang="0">
                  <a:pos x="13" y="404"/>
                </a:cxn>
                <a:cxn ang="0">
                  <a:pos x="43" y="408"/>
                </a:cxn>
                <a:cxn ang="0">
                  <a:pos x="69" y="393"/>
                </a:cxn>
                <a:cxn ang="0">
                  <a:pos x="118" y="394"/>
                </a:cxn>
                <a:cxn ang="0">
                  <a:pos x="148" y="398"/>
                </a:cxn>
                <a:cxn ang="0">
                  <a:pos x="200" y="407"/>
                </a:cxn>
                <a:cxn ang="0">
                  <a:pos x="215" y="420"/>
                </a:cxn>
                <a:cxn ang="0">
                  <a:pos x="242" y="423"/>
                </a:cxn>
                <a:cxn ang="0">
                  <a:pos x="272" y="425"/>
                </a:cxn>
                <a:cxn ang="0">
                  <a:pos x="296" y="425"/>
                </a:cxn>
                <a:cxn ang="0">
                  <a:pos x="322" y="435"/>
                </a:cxn>
                <a:cxn ang="0">
                  <a:pos x="370" y="445"/>
                </a:cxn>
                <a:cxn ang="0">
                  <a:pos x="391" y="406"/>
                </a:cxn>
                <a:cxn ang="0">
                  <a:pos x="406" y="384"/>
                </a:cxn>
                <a:cxn ang="0">
                  <a:pos x="427" y="375"/>
                </a:cxn>
                <a:cxn ang="0">
                  <a:pos x="443" y="363"/>
                </a:cxn>
                <a:cxn ang="0">
                  <a:pos x="436" y="319"/>
                </a:cxn>
                <a:cxn ang="0">
                  <a:pos x="444" y="280"/>
                </a:cxn>
                <a:cxn ang="0">
                  <a:pos x="483" y="284"/>
                </a:cxn>
                <a:cxn ang="0">
                  <a:pos x="500" y="270"/>
                </a:cxn>
              </a:cxnLst>
              <a:rect l="0" t="0" r="r" b="b"/>
              <a:pathLst>
                <a:path w="507" h="454">
                  <a:moveTo>
                    <a:pt x="9" y="209"/>
                  </a:moveTo>
                  <a:cubicBezTo>
                    <a:pt x="9" y="210"/>
                    <a:pt x="9" y="210"/>
                    <a:pt x="9" y="211"/>
                  </a:cubicBezTo>
                  <a:cubicBezTo>
                    <a:pt x="9" y="210"/>
                    <a:pt x="9" y="210"/>
                    <a:pt x="9" y="209"/>
                  </a:cubicBezTo>
                  <a:moveTo>
                    <a:pt x="505" y="257"/>
                  </a:moveTo>
                  <a:cubicBezTo>
                    <a:pt x="503" y="254"/>
                    <a:pt x="502" y="255"/>
                    <a:pt x="498" y="255"/>
                  </a:cubicBezTo>
                  <a:cubicBezTo>
                    <a:pt x="496" y="255"/>
                    <a:pt x="495" y="255"/>
                    <a:pt x="493" y="252"/>
                  </a:cubicBezTo>
                  <a:cubicBezTo>
                    <a:pt x="491" y="249"/>
                    <a:pt x="491" y="246"/>
                    <a:pt x="491" y="242"/>
                  </a:cubicBezTo>
                  <a:cubicBezTo>
                    <a:pt x="491" y="241"/>
                    <a:pt x="490" y="239"/>
                    <a:pt x="490" y="238"/>
                  </a:cubicBezTo>
                  <a:cubicBezTo>
                    <a:pt x="490" y="236"/>
                    <a:pt x="492" y="232"/>
                    <a:pt x="491" y="230"/>
                  </a:cubicBezTo>
                  <a:cubicBezTo>
                    <a:pt x="489" y="229"/>
                    <a:pt x="487" y="232"/>
                    <a:pt x="484" y="232"/>
                  </a:cubicBezTo>
                  <a:cubicBezTo>
                    <a:pt x="483" y="232"/>
                    <a:pt x="483" y="231"/>
                    <a:pt x="482" y="231"/>
                  </a:cubicBezTo>
                  <a:cubicBezTo>
                    <a:pt x="481" y="230"/>
                    <a:pt x="480" y="231"/>
                    <a:pt x="479" y="230"/>
                  </a:cubicBezTo>
                  <a:cubicBezTo>
                    <a:pt x="478" y="230"/>
                    <a:pt x="478" y="231"/>
                    <a:pt x="476" y="229"/>
                  </a:cubicBezTo>
                  <a:cubicBezTo>
                    <a:pt x="475" y="228"/>
                    <a:pt x="475" y="227"/>
                    <a:pt x="474" y="226"/>
                  </a:cubicBezTo>
                  <a:cubicBezTo>
                    <a:pt x="472" y="225"/>
                    <a:pt x="468" y="226"/>
                    <a:pt x="466" y="225"/>
                  </a:cubicBezTo>
                  <a:cubicBezTo>
                    <a:pt x="462" y="225"/>
                    <a:pt x="457" y="227"/>
                    <a:pt x="453" y="227"/>
                  </a:cubicBezTo>
                  <a:cubicBezTo>
                    <a:pt x="452" y="225"/>
                    <a:pt x="453" y="225"/>
                    <a:pt x="454" y="224"/>
                  </a:cubicBezTo>
                  <a:cubicBezTo>
                    <a:pt x="454" y="223"/>
                    <a:pt x="454" y="221"/>
                    <a:pt x="455" y="220"/>
                  </a:cubicBezTo>
                  <a:cubicBezTo>
                    <a:pt x="457" y="215"/>
                    <a:pt x="458" y="211"/>
                    <a:pt x="458" y="206"/>
                  </a:cubicBezTo>
                  <a:cubicBezTo>
                    <a:pt x="457" y="204"/>
                    <a:pt x="456" y="203"/>
                    <a:pt x="456" y="201"/>
                  </a:cubicBezTo>
                  <a:cubicBezTo>
                    <a:pt x="455" y="199"/>
                    <a:pt x="454" y="198"/>
                    <a:pt x="453" y="197"/>
                  </a:cubicBezTo>
                  <a:cubicBezTo>
                    <a:pt x="446" y="193"/>
                    <a:pt x="438" y="200"/>
                    <a:pt x="435" y="190"/>
                  </a:cubicBezTo>
                  <a:cubicBezTo>
                    <a:pt x="434" y="188"/>
                    <a:pt x="434" y="185"/>
                    <a:pt x="432" y="182"/>
                  </a:cubicBezTo>
                  <a:cubicBezTo>
                    <a:pt x="431" y="179"/>
                    <a:pt x="428" y="177"/>
                    <a:pt x="426" y="174"/>
                  </a:cubicBezTo>
                  <a:cubicBezTo>
                    <a:pt x="425" y="171"/>
                    <a:pt x="425" y="167"/>
                    <a:pt x="422" y="165"/>
                  </a:cubicBezTo>
                  <a:cubicBezTo>
                    <a:pt x="421" y="164"/>
                    <a:pt x="417" y="165"/>
                    <a:pt x="416" y="163"/>
                  </a:cubicBezTo>
                  <a:cubicBezTo>
                    <a:pt x="415" y="161"/>
                    <a:pt x="416" y="160"/>
                    <a:pt x="417" y="159"/>
                  </a:cubicBezTo>
                  <a:cubicBezTo>
                    <a:pt x="419" y="156"/>
                    <a:pt x="421" y="154"/>
                    <a:pt x="422" y="150"/>
                  </a:cubicBezTo>
                  <a:cubicBezTo>
                    <a:pt x="423" y="149"/>
                    <a:pt x="422" y="147"/>
                    <a:pt x="422" y="145"/>
                  </a:cubicBezTo>
                  <a:cubicBezTo>
                    <a:pt x="421" y="142"/>
                    <a:pt x="420" y="142"/>
                    <a:pt x="418" y="142"/>
                  </a:cubicBezTo>
                  <a:cubicBezTo>
                    <a:pt x="415" y="142"/>
                    <a:pt x="414" y="143"/>
                    <a:pt x="413" y="141"/>
                  </a:cubicBezTo>
                  <a:cubicBezTo>
                    <a:pt x="411" y="140"/>
                    <a:pt x="411" y="139"/>
                    <a:pt x="409" y="138"/>
                  </a:cubicBezTo>
                  <a:cubicBezTo>
                    <a:pt x="406" y="136"/>
                    <a:pt x="402" y="137"/>
                    <a:pt x="401" y="132"/>
                  </a:cubicBezTo>
                  <a:cubicBezTo>
                    <a:pt x="399" y="129"/>
                    <a:pt x="403" y="126"/>
                    <a:pt x="402" y="123"/>
                  </a:cubicBezTo>
                  <a:cubicBezTo>
                    <a:pt x="402" y="121"/>
                    <a:pt x="400" y="120"/>
                    <a:pt x="402" y="118"/>
                  </a:cubicBezTo>
                  <a:cubicBezTo>
                    <a:pt x="403" y="117"/>
                    <a:pt x="405" y="117"/>
                    <a:pt x="406" y="117"/>
                  </a:cubicBezTo>
                  <a:cubicBezTo>
                    <a:pt x="406" y="116"/>
                    <a:pt x="407" y="115"/>
                    <a:pt x="408" y="115"/>
                  </a:cubicBezTo>
                  <a:cubicBezTo>
                    <a:pt x="408" y="114"/>
                    <a:pt x="408" y="112"/>
                    <a:pt x="408" y="111"/>
                  </a:cubicBezTo>
                  <a:cubicBezTo>
                    <a:pt x="410" y="111"/>
                    <a:pt x="411" y="110"/>
                    <a:pt x="412" y="109"/>
                  </a:cubicBezTo>
                  <a:cubicBezTo>
                    <a:pt x="412" y="108"/>
                    <a:pt x="412" y="106"/>
                    <a:pt x="412" y="105"/>
                  </a:cubicBezTo>
                  <a:cubicBezTo>
                    <a:pt x="411" y="102"/>
                    <a:pt x="411" y="102"/>
                    <a:pt x="412" y="100"/>
                  </a:cubicBezTo>
                  <a:cubicBezTo>
                    <a:pt x="413" y="97"/>
                    <a:pt x="412" y="94"/>
                    <a:pt x="412" y="91"/>
                  </a:cubicBezTo>
                  <a:cubicBezTo>
                    <a:pt x="410" y="91"/>
                    <a:pt x="406" y="89"/>
                    <a:pt x="405" y="88"/>
                  </a:cubicBezTo>
                  <a:cubicBezTo>
                    <a:pt x="404" y="86"/>
                    <a:pt x="405" y="87"/>
                    <a:pt x="405" y="85"/>
                  </a:cubicBezTo>
                  <a:cubicBezTo>
                    <a:pt x="405" y="83"/>
                    <a:pt x="405" y="81"/>
                    <a:pt x="406" y="80"/>
                  </a:cubicBezTo>
                  <a:cubicBezTo>
                    <a:pt x="407" y="79"/>
                    <a:pt x="408" y="79"/>
                    <a:pt x="408" y="78"/>
                  </a:cubicBezTo>
                  <a:cubicBezTo>
                    <a:pt x="408" y="77"/>
                    <a:pt x="408" y="76"/>
                    <a:pt x="408" y="76"/>
                  </a:cubicBezTo>
                  <a:cubicBezTo>
                    <a:pt x="408" y="73"/>
                    <a:pt x="408" y="71"/>
                    <a:pt x="408" y="69"/>
                  </a:cubicBezTo>
                  <a:cubicBezTo>
                    <a:pt x="408" y="64"/>
                    <a:pt x="410" y="63"/>
                    <a:pt x="411" y="58"/>
                  </a:cubicBezTo>
                  <a:cubicBezTo>
                    <a:pt x="411" y="57"/>
                    <a:pt x="411" y="54"/>
                    <a:pt x="409" y="54"/>
                  </a:cubicBezTo>
                  <a:cubicBezTo>
                    <a:pt x="407" y="53"/>
                    <a:pt x="404" y="54"/>
                    <a:pt x="402" y="54"/>
                  </a:cubicBezTo>
                  <a:cubicBezTo>
                    <a:pt x="396" y="54"/>
                    <a:pt x="399" y="49"/>
                    <a:pt x="397" y="45"/>
                  </a:cubicBezTo>
                  <a:cubicBezTo>
                    <a:pt x="396" y="43"/>
                    <a:pt x="393" y="42"/>
                    <a:pt x="391" y="41"/>
                  </a:cubicBezTo>
                  <a:cubicBezTo>
                    <a:pt x="388" y="39"/>
                    <a:pt x="386" y="38"/>
                    <a:pt x="383" y="37"/>
                  </a:cubicBezTo>
                  <a:cubicBezTo>
                    <a:pt x="381" y="37"/>
                    <a:pt x="379" y="36"/>
                    <a:pt x="377" y="34"/>
                  </a:cubicBezTo>
                  <a:cubicBezTo>
                    <a:pt x="376" y="33"/>
                    <a:pt x="375" y="31"/>
                    <a:pt x="374" y="29"/>
                  </a:cubicBezTo>
                  <a:cubicBezTo>
                    <a:pt x="371" y="26"/>
                    <a:pt x="365" y="30"/>
                    <a:pt x="362" y="32"/>
                  </a:cubicBezTo>
                  <a:cubicBezTo>
                    <a:pt x="362" y="32"/>
                    <a:pt x="362" y="33"/>
                    <a:pt x="362" y="33"/>
                  </a:cubicBezTo>
                  <a:cubicBezTo>
                    <a:pt x="360" y="33"/>
                    <a:pt x="359" y="32"/>
                    <a:pt x="357" y="32"/>
                  </a:cubicBezTo>
                  <a:cubicBezTo>
                    <a:pt x="355" y="32"/>
                    <a:pt x="355" y="32"/>
                    <a:pt x="354" y="34"/>
                  </a:cubicBezTo>
                  <a:cubicBezTo>
                    <a:pt x="351" y="36"/>
                    <a:pt x="352" y="39"/>
                    <a:pt x="350" y="42"/>
                  </a:cubicBezTo>
                  <a:cubicBezTo>
                    <a:pt x="348" y="41"/>
                    <a:pt x="346" y="39"/>
                    <a:pt x="343" y="39"/>
                  </a:cubicBezTo>
                  <a:cubicBezTo>
                    <a:pt x="342" y="39"/>
                    <a:pt x="341" y="40"/>
                    <a:pt x="340" y="41"/>
                  </a:cubicBezTo>
                  <a:cubicBezTo>
                    <a:pt x="338" y="43"/>
                    <a:pt x="339" y="43"/>
                    <a:pt x="337" y="44"/>
                  </a:cubicBezTo>
                  <a:cubicBezTo>
                    <a:pt x="337" y="44"/>
                    <a:pt x="336" y="44"/>
                    <a:pt x="335" y="45"/>
                  </a:cubicBezTo>
                  <a:cubicBezTo>
                    <a:pt x="334" y="45"/>
                    <a:pt x="330" y="45"/>
                    <a:pt x="329" y="44"/>
                  </a:cubicBezTo>
                  <a:cubicBezTo>
                    <a:pt x="327" y="43"/>
                    <a:pt x="328" y="36"/>
                    <a:pt x="328" y="35"/>
                  </a:cubicBezTo>
                  <a:cubicBezTo>
                    <a:pt x="328" y="33"/>
                    <a:pt x="328" y="31"/>
                    <a:pt x="328" y="29"/>
                  </a:cubicBezTo>
                  <a:cubicBezTo>
                    <a:pt x="329" y="28"/>
                    <a:pt x="330" y="27"/>
                    <a:pt x="330" y="25"/>
                  </a:cubicBezTo>
                  <a:cubicBezTo>
                    <a:pt x="329" y="18"/>
                    <a:pt x="321" y="16"/>
                    <a:pt x="315" y="16"/>
                  </a:cubicBezTo>
                  <a:cubicBezTo>
                    <a:pt x="311" y="16"/>
                    <a:pt x="306" y="16"/>
                    <a:pt x="302" y="18"/>
                  </a:cubicBezTo>
                  <a:cubicBezTo>
                    <a:pt x="299" y="19"/>
                    <a:pt x="297" y="21"/>
                    <a:pt x="294" y="18"/>
                  </a:cubicBezTo>
                  <a:cubicBezTo>
                    <a:pt x="291" y="17"/>
                    <a:pt x="290" y="13"/>
                    <a:pt x="289" y="10"/>
                  </a:cubicBezTo>
                  <a:cubicBezTo>
                    <a:pt x="287" y="6"/>
                    <a:pt x="286" y="4"/>
                    <a:pt x="282" y="6"/>
                  </a:cubicBezTo>
                  <a:cubicBezTo>
                    <a:pt x="278" y="7"/>
                    <a:pt x="274" y="9"/>
                    <a:pt x="270" y="8"/>
                  </a:cubicBezTo>
                  <a:cubicBezTo>
                    <a:pt x="269" y="8"/>
                    <a:pt x="265" y="7"/>
                    <a:pt x="264" y="6"/>
                  </a:cubicBezTo>
                  <a:cubicBezTo>
                    <a:pt x="264" y="6"/>
                    <a:pt x="264" y="2"/>
                    <a:pt x="263" y="1"/>
                  </a:cubicBezTo>
                  <a:cubicBezTo>
                    <a:pt x="262" y="0"/>
                    <a:pt x="257" y="6"/>
                    <a:pt x="256" y="8"/>
                  </a:cubicBezTo>
                  <a:cubicBezTo>
                    <a:pt x="253" y="11"/>
                    <a:pt x="249" y="16"/>
                    <a:pt x="245" y="16"/>
                  </a:cubicBezTo>
                  <a:cubicBezTo>
                    <a:pt x="240" y="17"/>
                    <a:pt x="237" y="19"/>
                    <a:pt x="236" y="24"/>
                  </a:cubicBezTo>
                  <a:cubicBezTo>
                    <a:pt x="235" y="28"/>
                    <a:pt x="238" y="33"/>
                    <a:pt x="234" y="36"/>
                  </a:cubicBezTo>
                  <a:cubicBezTo>
                    <a:pt x="230" y="39"/>
                    <a:pt x="227" y="34"/>
                    <a:pt x="223" y="35"/>
                  </a:cubicBezTo>
                  <a:cubicBezTo>
                    <a:pt x="220" y="35"/>
                    <a:pt x="217" y="35"/>
                    <a:pt x="215" y="35"/>
                  </a:cubicBezTo>
                  <a:cubicBezTo>
                    <a:pt x="212" y="34"/>
                    <a:pt x="212" y="34"/>
                    <a:pt x="210" y="33"/>
                  </a:cubicBezTo>
                  <a:cubicBezTo>
                    <a:pt x="207" y="31"/>
                    <a:pt x="203" y="33"/>
                    <a:pt x="201" y="35"/>
                  </a:cubicBezTo>
                  <a:cubicBezTo>
                    <a:pt x="200" y="35"/>
                    <a:pt x="200" y="37"/>
                    <a:pt x="199" y="37"/>
                  </a:cubicBezTo>
                  <a:cubicBezTo>
                    <a:pt x="198" y="37"/>
                    <a:pt x="197" y="37"/>
                    <a:pt x="196" y="38"/>
                  </a:cubicBezTo>
                  <a:cubicBezTo>
                    <a:pt x="195" y="38"/>
                    <a:pt x="193" y="39"/>
                    <a:pt x="193" y="40"/>
                  </a:cubicBezTo>
                  <a:cubicBezTo>
                    <a:pt x="191" y="41"/>
                    <a:pt x="190" y="44"/>
                    <a:pt x="189" y="45"/>
                  </a:cubicBezTo>
                  <a:cubicBezTo>
                    <a:pt x="188" y="47"/>
                    <a:pt x="187" y="47"/>
                    <a:pt x="185" y="47"/>
                  </a:cubicBezTo>
                  <a:cubicBezTo>
                    <a:pt x="183" y="47"/>
                    <a:pt x="181" y="46"/>
                    <a:pt x="180" y="46"/>
                  </a:cubicBezTo>
                  <a:cubicBezTo>
                    <a:pt x="179" y="47"/>
                    <a:pt x="179" y="47"/>
                    <a:pt x="178" y="47"/>
                  </a:cubicBezTo>
                  <a:cubicBezTo>
                    <a:pt x="179" y="47"/>
                    <a:pt x="181" y="47"/>
                    <a:pt x="181" y="48"/>
                  </a:cubicBezTo>
                  <a:cubicBezTo>
                    <a:pt x="184" y="50"/>
                    <a:pt x="179" y="57"/>
                    <a:pt x="178" y="59"/>
                  </a:cubicBezTo>
                  <a:cubicBezTo>
                    <a:pt x="177" y="61"/>
                    <a:pt x="176" y="63"/>
                    <a:pt x="174" y="64"/>
                  </a:cubicBezTo>
                  <a:cubicBezTo>
                    <a:pt x="173" y="65"/>
                    <a:pt x="173" y="66"/>
                    <a:pt x="173" y="66"/>
                  </a:cubicBezTo>
                  <a:cubicBezTo>
                    <a:pt x="172" y="69"/>
                    <a:pt x="174" y="68"/>
                    <a:pt x="175" y="69"/>
                  </a:cubicBezTo>
                  <a:cubicBezTo>
                    <a:pt x="176" y="70"/>
                    <a:pt x="176" y="70"/>
                    <a:pt x="176" y="72"/>
                  </a:cubicBezTo>
                  <a:cubicBezTo>
                    <a:pt x="176" y="74"/>
                    <a:pt x="174" y="75"/>
                    <a:pt x="173" y="77"/>
                  </a:cubicBezTo>
                  <a:cubicBezTo>
                    <a:pt x="172" y="78"/>
                    <a:pt x="172" y="78"/>
                    <a:pt x="173" y="80"/>
                  </a:cubicBezTo>
                  <a:cubicBezTo>
                    <a:pt x="174" y="81"/>
                    <a:pt x="175" y="83"/>
                    <a:pt x="177" y="83"/>
                  </a:cubicBezTo>
                  <a:cubicBezTo>
                    <a:pt x="177" y="83"/>
                    <a:pt x="178" y="82"/>
                    <a:pt x="178" y="82"/>
                  </a:cubicBezTo>
                  <a:cubicBezTo>
                    <a:pt x="179" y="82"/>
                    <a:pt x="180" y="82"/>
                    <a:pt x="180" y="82"/>
                  </a:cubicBezTo>
                  <a:cubicBezTo>
                    <a:pt x="182" y="82"/>
                    <a:pt x="186" y="82"/>
                    <a:pt x="188" y="83"/>
                  </a:cubicBezTo>
                  <a:cubicBezTo>
                    <a:pt x="189" y="85"/>
                    <a:pt x="188" y="87"/>
                    <a:pt x="186" y="88"/>
                  </a:cubicBezTo>
                  <a:cubicBezTo>
                    <a:pt x="185" y="88"/>
                    <a:pt x="185" y="88"/>
                    <a:pt x="184" y="88"/>
                  </a:cubicBezTo>
                  <a:cubicBezTo>
                    <a:pt x="184" y="89"/>
                    <a:pt x="183" y="89"/>
                    <a:pt x="183" y="89"/>
                  </a:cubicBezTo>
                  <a:cubicBezTo>
                    <a:pt x="181" y="90"/>
                    <a:pt x="182" y="90"/>
                    <a:pt x="181" y="92"/>
                  </a:cubicBezTo>
                  <a:cubicBezTo>
                    <a:pt x="180" y="93"/>
                    <a:pt x="179" y="93"/>
                    <a:pt x="178" y="94"/>
                  </a:cubicBezTo>
                  <a:cubicBezTo>
                    <a:pt x="177" y="94"/>
                    <a:pt x="177" y="95"/>
                    <a:pt x="176" y="95"/>
                  </a:cubicBezTo>
                  <a:cubicBezTo>
                    <a:pt x="175" y="96"/>
                    <a:pt x="174" y="95"/>
                    <a:pt x="173" y="96"/>
                  </a:cubicBezTo>
                  <a:cubicBezTo>
                    <a:pt x="171" y="96"/>
                    <a:pt x="170" y="97"/>
                    <a:pt x="168" y="97"/>
                  </a:cubicBezTo>
                  <a:cubicBezTo>
                    <a:pt x="167" y="98"/>
                    <a:pt x="167" y="98"/>
                    <a:pt x="166" y="99"/>
                  </a:cubicBezTo>
                  <a:cubicBezTo>
                    <a:pt x="165" y="100"/>
                    <a:pt x="163" y="101"/>
                    <a:pt x="161" y="101"/>
                  </a:cubicBezTo>
                  <a:cubicBezTo>
                    <a:pt x="160" y="102"/>
                    <a:pt x="159" y="103"/>
                    <a:pt x="157" y="104"/>
                  </a:cubicBezTo>
                  <a:cubicBezTo>
                    <a:pt x="157" y="104"/>
                    <a:pt x="157" y="105"/>
                    <a:pt x="156" y="105"/>
                  </a:cubicBezTo>
                  <a:cubicBezTo>
                    <a:pt x="156" y="106"/>
                    <a:pt x="156" y="106"/>
                    <a:pt x="156" y="106"/>
                  </a:cubicBezTo>
                  <a:cubicBezTo>
                    <a:pt x="156" y="107"/>
                    <a:pt x="155" y="107"/>
                    <a:pt x="155" y="107"/>
                  </a:cubicBezTo>
                  <a:cubicBezTo>
                    <a:pt x="155" y="108"/>
                    <a:pt x="155" y="109"/>
                    <a:pt x="155" y="110"/>
                  </a:cubicBezTo>
                  <a:cubicBezTo>
                    <a:pt x="155" y="111"/>
                    <a:pt x="154" y="112"/>
                    <a:pt x="154" y="113"/>
                  </a:cubicBezTo>
                  <a:cubicBezTo>
                    <a:pt x="153" y="114"/>
                    <a:pt x="153" y="114"/>
                    <a:pt x="151" y="114"/>
                  </a:cubicBezTo>
                  <a:cubicBezTo>
                    <a:pt x="149" y="114"/>
                    <a:pt x="148" y="114"/>
                    <a:pt x="146" y="114"/>
                  </a:cubicBezTo>
                  <a:cubicBezTo>
                    <a:pt x="145" y="115"/>
                    <a:pt x="143" y="115"/>
                    <a:pt x="142" y="116"/>
                  </a:cubicBezTo>
                  <a:cubicBezTo>
                    <a:pt x="141" y="116"/>
                    <a:pt x="141" y="117"/>
                    <a:pt x="141" y="117"/>
                  </a:cubicBezTo>
                  <a:cubicBezTo>
                    <a:pt x="140" y="118"/>
                    <a:pt x="138" y="119"/>
                    <a:pt x="137" y="120"/>
                  </a:cubicBezTo>
                  <a:cubicBezTo>
                    <a:pt x="136" y="120"/>
                    <a:pt x="135" y="120"/>
                    <a:pt x="133" y="121"/>
                  </a:cubicBezTo>
                  <a:cubicBezTo>
                    <a:pt x="132" y="122"/>
                    <a:pt x="132" y="122"/>
                    <a:pt x="131" y="124"/>
                  </a:cubicBezTo>
                  <a:cubicBezTo>
                    <a:pt x="131" y="125"/>
                    <a:pt x="131" y="125"/>
                    <a:pt x="130" y="126"/>
                  </a:cubicBezTo>
                  <a:cubicBezTo>
                    <a:pt x="130" y="126"/>
                    <a:pt x="130" y="127"/>
                    <a:pt x="130" y="127"/>
                  </a:cubicBezTo>
                  <a:cubicBezTo>
                    <a:pt x="130" y="130"/>
                    <a:pt x="130" y="133"/>
                    <a:pt x="130" y="136"/>
                  </a:cubicBezTo>
                  <a:cubicBezTo>
                    <a:pt x="130" y="140"/>
                    <a:pt x="131" y="144"/>
                    <a:pt x="130" y="148"/>
                  </a:cubicBezTo>
                  <a:cubicBezTo>
                    <a:pt x="130" y="149"/>
                    <a:pt x="129" y="151"/>
                    <a:pt x="129" y="152"/>
                  </a:cubicBezTo>
                  <a:cubicBezTo>
                    <a:pt x="128" y="155"/>
                    <a:pt x="127" y="156"/>
                    <a:pt x="126" y="158"/>
                  </a:cubicBezTo>
                  <a:cubicBezTo>
                    <a:pt x="125" y="160"/>
                    <a:pt x="124" y="161"/>
                    <a:pt x="123" y="163"/>
                  </a:cubicBezTo>
                  <a:cubicBezTo>
                    <a:pt x="123" y="163"/>
                    <a:pt x="122" y="164"/>
                    <a:pt x="122" y="165"/>
                  </a:cubicBezTo>
                  <a:cubicBezTo>
                    <a:pt x="121" y="166"/>
                    <a:pt x="121" y="167"/>
                    <a:pt x="121" y="168"/>
                  </a:cubicBezTo>
                  <a:cubicBezTo>
                    <a:pt x="121" y="169"/>
                    <a:pt x="121" y="170"/>
                    <a:pt x="121" y="171"/>
                  </a:cubicBezTo>
                  <a:cubicBezTo>
                    <a:pt x="121" y="173"/>
                    <a:pt x="122" y="172"/>
                    <a:pt x="123" y="174"/>
                  </a:cubicBezTo>
                  <a:cubicBezTo>
                    <a:pt x="124" y="174"/>
                    <a:pt x="124" y="176"/>
                    <a:pt x="124" y="176"/>
                  </a:cubicBezTo>
                  <a:cubicBezTo>
                    <a:pt x="125" y="177"/>
                    <a:pt x="126" y="178"/>
                    <a:pt x="127" y="179"/>
                  </a:cubicBezTo>
                  <a:cubicBezTo>
                    <a:pt x="128" y="179"/>
                    <a:pt x="129" y="180"/>
                    <a:pt x="129" y="181"/>
                  </a:cubicBezTo>
                  <a:cubicBezTo>
                    <a:pt x="131" y="183"/>
                    <a:pt x="133" y="186"/>
                    <a:pt x="131" y="189"/>
                  </a:cubicBezTo>
                  <a:cubicBezTo>
                    <a:pt x="131" y="190"/>
                    <a:pt x="129" y="191"/>
                    <a:pt x="128" y="191"/>
                  </a:cubicBezTo>
                  <a:cubicBezTo>
                    <a:pt x="126" y="191"/>
                    <a:pt x="122" y="191"/>
                    <a:pt x="120" y="191"/>
                  </a:cubicBezTo>
                  <a:cubicBezTo>
                    <a:pt x="118" y="190"/>
                    <a:pt x="118" y="190"/>
                    <a:pt x="118" y="188"/>
                  </a:cubicBezTo>
                  <a:cubicBezTo>
                    <a:pt x="118" y="187"/>
                    <a:pt x="118" y="185"/>
                    <a:pt x="119" y="184"/>
                  </a:cubicBezTo>
                  <a:cubicBezTo>
                    <a:pt x="119" y="182"/>
                    <a:pt x="120" y="182"/>
                    <a:pt x="120" y="180"/>
                  </a:cubicBezTo>
                  <a:cubicBezTo>
                    <a:pt x="120" y="178"/>
                    <a:pt x="118" y="178"/>
                    <a:pt x="118" y="176"/>
                  </a:cubicBezTo>
                  <a:cubicBezTo>
                    <a:pt x="116" y="176"/>
                    <a:pt x="113" y="176"/>
                    <a:pt x="110" y="176"/>
                  </a:cubicBezTo>
                  <a:cubicBezTo>
                    <a:pt x="110" y="176"/>
                    <a:pt x="110" y="176"/>
                    <a:pt x="109" y="176"/>
                  </a:cubicBezTo>
                  <a:cubicBezTo>
                    <a:pt x="109" y="177"/>
                    <a:pt x="109" y="177"/>
                    <a:pt x="108" y="177"/>
                  </a:cubicBezTo>
                  <a:cubicBezTo>
                    <a:pt x="108" y="177"/>
                    <a:pt x="108" y="177"/>
                    <a:pt x="107" y="177"/>
                  </a:cubicBezTo>
                  <a:cubicBezTo>
                    <a:pt x="103" y="176"/>
                    <a:pt x="99" y="180"/>
                    <a:pt x="99" y="184"/>
                  </a:cubicBezTo>
                  <a:cubicBezTo>
                    <a:pt x="99" y="187"/>
                    <a:pt x="100" y="192"/>
                    <a:pt x="95" y="192"/>
                  </a:cubicBezTo>
                  <a:cubicBezTo>
                    <a:pt x="94" y="192"/>
                    <a:pt x="92" y="192"/>
                    <a:pt x="91" y="191"/>
                  </a:cubicBezTo>
                  <a:cubicBezTo>
                    <a:pt x="89" y="191"/>
                    <a:pt x="89" y="189"/>
                    <a:pt x="88" y="188"/>
                  </a:cubicBezTo>
                  <a:cubicBezTo>
                    <a:pt x="86" y="188"/>
                    <a:pt x="83" y="189"/>
                    <a:pt x="82" y="190"/>
                  </a:cubicBezTo>
                  <a:cubicBezTo>
                    <a:pt x="80" y="190"/>
                    <a:pt x="79" y="193"/>
                    <a:pt x="79" y="194"/>
                  </a:cubicBezTo>
                  <a:cubicBezTo>
                    <a:pt x="79" y="195"/>
                    <a:pt x="79" y="197"/>
                    <a:pt x="79" y="198"/>
                  </a:cubicBezTo>
                  <a:cubicBezTo>
                    <a:pt x="79" y="200"/>
                    <a:pt x="81" y="201"/>
                    <a:pt x="80" y="203"/>
                  </a:cubicBezTo>
                  <a:cubicBezTo>
                    <a:pt x="79" y="204"/>
                    <a:pt x="78" y="203"/>
                    <a:pt x="77" y="204"/>
                  </a:cubicBezTo>
                  <a:cubicBezTo>
                    <a:pt x="76" y="205"/>
                    <a:pt x="76" y="205"/>
                    <a:pt x="75" y="206"/>
                  </a:cubicBezTo>
                  <a:cubicBezTo>
                    <a:pt x="75" y="206"/>
                    <a:pt x="74" y="206"/>
                    <a:pt x="74" y="206"/>
                  </a:cubicBezTo>
                  <a:cubicBezTo>
                    <a:pt x="70" y="208"/>
                    <a:pt x="73" y="204"/>
                    <a:pt x="72" y="202"/>
                  </a:cubicBezTo>
                  <a:cubicBezTo>
                    <a:pt x="71" y="202"/>
                    <a:pt x="70" y="203"/>
                    <a:pt x="69" y="204"/>
                  </a:cubicBezTo>
                  <a:cubicBezTo>
                    <a:pt x="69" y="204"/>
                    <a:pt x="68" y="204"/>
                    <a:pt x="67" y="204"/>
                  </a:cubicBezTo>
                  <a:cubicBezTo>
                    <a:pt x="67" y="205"/>
                    <a:pt x="66" y="205"/>
                    <a:pt x="66" y="206"/>
                  </a:cubicBezTo>
                  <a:cubicBezTo>
                    <a:pt x="65" y="206"/>
                    <a:pt x="64" y="207"/>
                    <a:pt x="64" y="207"/>
                  </a:cubicBezTo>
                  <a:cubicBezTo>
                    <a:pt x="62" y="208"/>
                    <a:pt x="61" y="208"/>
                    <a:pt x="60" y="209"/>
                  </a:cubicBezTo>
                  <a:cubicBezTo>
                    <a:pt x="59" y="211"/>
                    <a:pt x="59" y="212"/>
                    <a:pt x="57" y="212"/>
                  </a:cubicBezTo>
                  <a:cubicBezTo>
                    <a:pt x="54" y="214"/>
                    <a:pt x="51" y="211"/>
                    <a:pt x="48" y="210"/>
                  </a:cubicBezTo>
                  <a:cubicBezTo>
                    <a:pt x="46" y="209"/>
                    <a:pt x="42" y="210"/>
                    <a:pt x="39" y="209"/>
                  </a:cubicBezTo>
                  <a:cubicBezTo>
                    <a:pt x="39" y="209"/>
                    <a:pt x="39" y="208"/>
                    <a:pt x="39" y="208"/>
                  </a:cubicBezTo>
                  <a:cubicBezTo>
                    <a:pt x="38" y="210"/>
                    <a:pt x="33" y="208"/>
                    <a:pt x="31" y="208"/>
                  </a:cubicBezTo>
                  <a:cubicBezTo>
                    <a:pt x="31" y="208"/>
                    <a:pt x="30" y="208"/>
                    <a:pt x="29" y="207"/>
                  </a:cubicBezTo>
                  <a:cubicBezTo>
                    <a:pt x="28" y="207"/>
                    <a:pt x="28" y="207"/>
                    <a:pt x="27" y="206"/>
                  </a:cubicBezTo>
                  <a:cubicBezTo>
                    <a:pt x="26" y="206"/>
                    <a:pt x="25" y="206"/>
                    <a:pt x="24" y="206"/>
                  </a:cubicBezTo>
                  <a:cubicBezTo>
                    <a:pt x="21" y="206"/>
                    <a:pt x="19" y="206"/>
                    <a:pt x="16" y="207"/>
                  </a:cubicBezTo>
                  <a:cubicBezTo>
                    <a:pt x="14" y="207"/>
                    <a:pt x="14" y="207"/>
                    <a:pt x="13" y="209"/>
                  </a:cubicBezTo>
                  <a:cubicBezTo>
                    <a:pt x="12" y="209"/>
                    <a:pt x="11" y="210"/>
                    <a:pt x="11" y="211"/>
                  </a:cubicBezTo>
                  <a:cubicBezTo>
                    <a:pt x="10" y="212"/>
                    <a:pt x="10" y="212"/>
                    <a:pt x="10" y="212"/>
                  </a:cubicBezTo>
                  <a:cubicBezTo>
                    <a:pt x="11" y="215"/>
                    <a:pt x="13" y="217"/>
                    <a:pt x="14" y="220"/>
                  </a:cubicBezTo>
                  <a:cubicBezTo>
                    <a:pt x="14" y="222"/>
                    <a:pt x="13" y="223"/>
                    <a:pt x="12" y="225"/>
                  </a:cubicBezTo>
                  <a:cubicBezTo>
                    <a:pt x="11" y="227"/>
                    <a:pt x="11" y="227"/>
                    <a:pt x="11" y="230"/>
                  </a:cubicBezTo>
                  <a:cubicBezTo>
                    <a:pt x="11" y="234"/>
                    <a:pt x="14" y="236"/>
                    <a:pt x="15" y="239"/>
                  </a:cubicBezTo>
                  <a:cubicBezTo>
                    <a:pt x="17" y="244"/>
                    <a:pt x="20" y="248"/>
                    <a:pt x="22" y="253"/>
                  </a:cubicBezTo>
                  <a:cubicBezTo>
                    <a:pt x="25" y="259"/>
                    <a:pt x="26" y="264"/>
                    <a:pt x="28" y="270"/>
                  </a:cubicBezTo>
                  <a:cubicBezTo>
                    <a:pt x="30" y="273"/>
                    <a:pt x="31" y="277"/>
                    <a:pt x="33" y="279"/>
                  </a:cubicBezTo>
                  <a:cubicBezTo>
                    <a:pt x="33" y="281"/>
                    <a:pt x="34" y="281"/>
                    <a:pt x="35" y="282"/>
                  </a:cubicBezTo>
                  <a:cubicBezTo>
                    <a:pt x="35" y="284"/>
                    <a:pt x="34" y="287"/>
                    <a:pt x="34" y="289"/>
                  </a:cubicBezTo>
                  <a:cubicBezTo>
                    <a:pt x="35" y="291"/>
                    <a:pt x="35" y="291"/>
                    <a:pt x="36" y="293"/>
                  </a:cubicBezTo>
                  <a:cubicBezTo>
                    <a:pt x="37" y="293"/>
                    <a:pt x="37" y="294"/>
                    <a:pt x="38" y="294"/>
                  </a:cubicBezTo>
                  <a:cubicBezTo>
                    <a:pt x="39" y="295"/>
                    <a:pt x="39" y="293"/>
                    <a:pt x="40" y="293"/>
                  </a:cubicBezTo>
                  <a:cubicBezTo>
                    <a:pt x="44" y="292"/>
                    <a:pt x="43" y="296"/>
                    <a:pt x="43" y="298"/>
                  </a:cubicBezTo>
                  <a:cubicBezTo>
                    <a:pt x="43" y="300"/>
                    <a:pt x="43" y="302"/>
                    <a:pt x="43" y="304"/>
                  </a:cubicBezTo>
                  <a:cubicBezTo>
                    <a:pt x="43" y="306"/>
                    <a:pt x="43" y="307"/>
                    <a:pt x="42" y="309"/>
                  </a:cubicBezTo>
                  <a:cubicBezTo>
                    <a:pt x="42" y="310"/>
                    <a:pt x="41" y="311"/>
                    <a:pt x="40" y="312"/>
                  </a:cubicBezTo>
                  <a:cubicBezTo>
                    <a:pt x="40" y="313"/>
                    <a:pt x="40" y="315"/>
                    <a:pt x="40" y="316"/>
                  </a:cubicBezTo>
                  <a:cubicBezTo>
                    <a:pt x="40" y="318"/>
                    <a:pt x="39" y="320"/>
                    <a:pt x="38" y="321"/>
                  </a:cubicBezTo>
                  <a:cubicBezTo>
                    <a:pt x="37" y="323"/>
                    <a:pt x="38" y="323"/>
                    <a:pt x="35" y="324"/>
                  </a:cubicBezTo>
                  <a:cubicBezTo>
                    <a:pt x="32" y="324"/>
                    <a:pt x="30" y="323"/>
                    <a:pt x="27" y="324"/>
                  </a:cubicBezTo>
                  <a:cubicBezTo>
                    <a:pt x="25" y="325"/>
                    <a:pt x="24" y="326"/>
                    <a:pt x="23" y="327"/>
                  </a:cubicBezTo>
                  <a:cubicBezTo>
                    <a:pt x="22" y="328"/>
                    <a:pt x="21" y="328"/>
                    <a:pt x="21" y="329"/>
                  </a:cubicBezTo>
                  <a:cubicBezTo>
                    <a:pt x="20" y="329"/>
                    <a:pt x="20" y="331"/>
                    <a:pt x="20" y="331"/>
                  </a:cubicBezTo>
                  <a:cubicBezTo>
                    <a:pt x="19" y="333"/>
                    <a:pt x="19" y="334"/>
                    <a:pt x="18" y="336"/>
                  </a:cubicBezTo>
                  <a:cubicBezTo>
                    <a:pt x="17" y="338"/>
                    <a:pt x="18" y="337"/>
                    <a:pt x="16" y="338"/>
                  </a:cubicBezTo>
                  <a:cubicBezTo>
                    <a:pt x="14" y="341"/>
                    <a:pt x="11" y="342"/>
                    <a:pt x="8" y="344"/>
                  </a:cubicBezTo>
                  <a:cubicBezTo>
                    <a:pt x="6" y="345"/>
                    <a:pt x="4" y="346"/>
                    <a:pt x="3" y="347"/>
                  </a:cubicBezTo>
                  <a:cubicBezTo>
                    <a:pt x="3" y="349"/>
                    <a:pt x="3" y="351"/>
                    <a:pt x="2" y="352"/>
                  </a:cubicBezTo>
                  <a:cubicBezTo>
                    <a:pt x="1" y="355"/>
                    <a:pt x="0" y="360"/>
                    <a:pt x="4" y="360"/>
                  </a:cubicBezTo>
                  <a:cubicBezTo>
                    <a:pt x="8" y="359"/>
                    <a:pt x="8" y="360"/>
                    <a:pt x="10" y="363"/>
                  </a:cubicBezTo>
                  <a:cubicBezTo>
                    <a:pt x="11" y="365"/>
                    <a:pt x="12" y="367"/>
                    <a:pt x="14" y="368"/>
                  </a:cubicBezTo>
                  <a:cubicBezTo>
                    <a:pt x="16" y="368"/>
                    <a:pt x="16" y="368"/>
                    <a:pt x="18" y="370"/>
                  </a:cubicBezTo>
                  <a:cubicBezTo>
                    <a:pt x="19" y="371"/>
                    <a:pt x="20" y="372"/>
                    <a:pt x="21" y="373"/>
                  </a:cubicBezTo>
                  <a:cubicBezTo>
                    <a:pt x="22" y="375"/>
                    <a:pt x="23" y="375"/>
                    <a:pt x="23" y="377"/>
                  </a:cubicBezTo>
                  <a:cubicBezTo>
                    <a:pt x="23" y="377"/>
                    <a:pt x="23" y="379"/>
                    <a:pt x="23" y="380"/>
                  </a:cubicBezTo>
                  <a:cubicBezTo>
                    <a:pt x="23" y="381"/>
                    <a:pt x="22" y="380"/>
                    <a:pt x="22" y="381"/>
                  </a:cubicBezTo>
                  <a:cubicBezTo>
                    <a:pt x="20" y="382"/>
                    <a:pt x="21" y="383"/>
                    <a:pt x="21" y="385"/>
                  </a:cubicBezTo>
                  <a:cubicBezTo>
                    <a:pt x="20" y="388"/>
                    <a:pt x="19" y="390"/>
                    <a:pt x="18" y="392"/>
                  </a:cubicBezTo>
                  <a:cubicBezTo>
                    <a:pt x="17" y="394"/>
                    <a:pt x="17" y="394"/>
                    <a:pt x="16" y="396"/>
                  </a:cubicBezTo>
                  <a:cubicBezTo>
                    <a:pt x="16" y="397"/>
                    <a:pt x="16" y="399"/>
                    <a:pt x="16" y="400"/>
                  </a:cubicBezTo>
                  <a:cubicBezTo>
                    <a:pt x="15" y="402"/>
                    <a:pt x="14" y="402"/>
                    <a:pt x="13" y="404"/>
                  </a:cubicBezTo>
                  <a:cubicBezTo>
                    <a:pt x="13" y="406"/>
                    <a:pt x="13" y="408"/>
                    <a:pt x="13" y="410"/>
                  </a:cubicBezTo>
                  <a:cubicBezTo>
                    <a:pt x="13" y="413"/>
                    <a:pt x="12" y="416"/>
                    <a:pt x="15" y="417"/>
                  </a:cubicBezTo>
                  <a:cubicBezTo>
                    <a:pt x="17" y="418"/>
                    <a:pt x="17" y="416"/>
                    <a:pt x="19" y="418"/>
                  </a:cubicBezTo>
                  <a:cubicBezTo>
                    <a:pt x="22" y="418"/>
                    <a:pt x="25" y="417"/>
                    <a:pt x="28" y="416"/>
                  </a:cubicBezTo>
                  <a:cubicBezTo>
                    <a:pt x="31" y="416"/>
                    <a:pt x="32" y="416"/>
                    <a:pt x="35" y="414"/>
                  </a:cubicBezTo>
                  <a:cubicBezTo>
                    <a:pt x="37" y="412"/>
                    <a:pt x="42" y="412"/>
                    <a:pt x="43" y="408"/>
                  </a:cubicBezTo>
                  <a:cubicBezTo>
                    <a:pt x="45" y="405"/>
                    <a:pt x="43" y="402"/>
                    <a:pt x="46" y="399"/>
                  </a:cubicBezTo>
                  <a:cubicBezTo>
                    <a:pt x="47" y="397"/>
                    <a:pt x="49" y="396"/>
                    <a:pt x="50" y="396"/>
                  </a:cubicBezTo>
                  <a:cubicBezTo>
                    <a:pt x="51" y="396"/>
                    <a:pt x="52" y="396"/>
                    <a:pt x="53" y="396"/>
                  </a:cubicBezTo>
                  <a:cubicBezTo>
                    <a:pt x="53" y="396"/>
                    <a:pt x="55" y="394"/>
                    <a:pt x="55" y="394"/>
                  </a:cubicBezTo>
                  <a:cubicBezTo>
                    <a:pt x="57" y="392"/>
                    <a:pt x="60" y="391"/>
                    <a:pt x="63" y="392"/>
                  </a:cubicBezTo>
                  <a:cubicBezTo>
                    <a:pt x="65" y="392"/>
                    <a:pt x="67" y="392"/>
                    <a:pt x="69" y="393"/>
                  </a:cubicBezTo>
                  <a:cubicBezTo>
                    <a:pt x="71" y="393"/>
                    <a:pt x="73" y="395"/>
                    <a:pt x="75" y="395"/>
                  </a:cubicBezTo>
                  <a:cubicBezTo>
                    <a:pt x="76" y="395"/>
                    <a:pt x="78" y="395"/>
                    <a:pt x="80" y="394"/>
                  </a:cubicBezTo>
                  <a:cubicBezTo>
                    <a:pt x="83" y="394"/>
                    <a:pt x="86" y="391"/>
                    <a:pt x="89" y="392"/>
                  </a:cubicBezTo>
                  <a:cubicBezTo>
                    <a:pt x="91" y="392"/>
                    <a:pt x="92" y="392"/>
                    <a:pt x="94" y="392"/>
                  </a:cubicBezTo>
                  <a:cubicBezTo>
                    <a:pt x="98" y="392"/>
                    <a:pt x="102" y="393"/>
                    <a:pt x="106" y="393"/>
                  </a:cubicBezTo>
                  <a:cubicBezTo>
                    <a:pt x="110" y="393"/>
                    <a:pt x="114" y="394"/>
                    <a:pt x="118" y="394"/>
                  </a:cubicBezTo>
                  <a:cubicBezTo>
                    <a:pt x="120" y="394"/>
                    <a:pt x="123" y="393"/>
                    <a:pt x="124" y="394"/>
                  </a:cubicBezTo>
                  <a:cubicBezTo>
                    <a:pt x="125" y="394"/>
                    <a:pt x="126" y="395"/>
                    <a:pt x="127" y="395"/>
                  </a:cubicBezTo>
                  <a:cubicBezTo>
                    <a:pt x="128" y="396"/>
                    <a:pt x="130" y="396"/>
                    <a:pt x="131" y="396"/>
                  </a:cubicBezTo>
                  <a:cubicBezTo>
                    <a:pt x="133" y="396"/>
                    <a:pt x="135" y="396"/>
                    <a:pt x="138" y="397"/>
                  </a:cubicBezTo>
                  <a:cubicBezTo>
                    <a:pt x="139" y="397"/>
                    <a:pt x="141" y="398"/>
                    <a:pt x="143" y="398"/>
                  </a:cubicBezTo>
                  <a:cubicBezTo>
                    <a:pt x="144" y="398"/>
                    <a:pt x="147" y="397"/>
                    <a:pt x="148" y="398"/>
                  </a:cubicBezTo>
                  <a:cubicBezTo>
                    <a:pt x="151" y="399"/>
                    <a:pt x="150" y="402"/>
                    <a:pt x="152" y="403"/>
                  </a:cubicBezTo>
                  <a:cubicBezTo>
                    <a:pt x="154" y="404"/>
                    <a:pt x="157" y="403"/>
                    <a:pt x="159" y="402"/>
                  </a:cubicBezTo>
                  <a:cubicBezTo>
                    <a:pt x="163" y="402"/>
                    <a:pt x="166" y="402"/>
                    <a:pt x="169" y="402"/>
                  </a:cubicBezTo>
                  <a:cubicBezTo>
                    <a:pt x="171" y="403"/>
                    <a:pt x="174" y="404"/>
                    <a:pt x="176" y="405"/>
                  </a:cubicBezTo>
                  <a:cubicBezTo>
                    <a:pt x="178" y="406"/>
                    <a:pt x="180" y="408"/>
                    <a:pt x="183" y="409"/>
                  </a:cubicBezTo>
                  <a:cubicBezTo>
                    <a:pt x="188" y="410"/>
                    <a:pt x="195" y="401"/>
                    <a:pt x="200" y="407"/>
                  </a:cubicBezTo>
                  <a:cubicBezTo>
                    <a:pt x="201" y="408"/>
                    <a:pt x="201" y="410"/>
                    <a:pt x="202" y="412"/>
                  </a:cubicBezTo>
                  <a:cubicBezTo>
                    <a:pt x="202" y="412"/>
                    <a:pt x="203" y="413"/>
                    <a:pt x="203" y="414"/>
                  </a:cubicBezTo>
                  <a:cubicBezTo>
                    <a:pt x="204" y="415"/>
                    <a:pt x="204" y="415"/>
                    <a:pt x="204" y="416"/>
                  </a:cubicBezTo>
                  <a:cubicBezTo>
                    <a:pt x="205" y="418"/>
                    <a:pt x="205" y="418"/>
                    <a:pt x="206" y="419"/>
                  </a:cubicBezTo>
                  <a:cubicBezTo>
                    <a:pt x="206" y="420"/>
                    <a:pt x="206" y="421"/>
                    <a:pt x="207" y="422"/>
                  </a:cubicBezTo>
                  <a:cubicBezTo>
                    <a:pt x="209" y="423"/>
                    <a:pt x="212" y="420"/>
                    <a:pt x="215" y="420"/>
                  </a:cubicBezTo>
                  <a:cubicBezTo>
                    <a:pt x="218" y="420"/>
                    <a:pt x="221" y="420"/>
                    <a:pt x="222" y="423"/>
                  </a:cubicBezTo>
                  <a:cubicBezTo>
                    <a:pt x="223" y="426"/>
                    <a:pt x="224" y="429"/>
                    <a:pt x="225" y="431"/>
                  </a:cubicBezTo>
                  <a:cubicBezTo>
                    <a:pt x="227" y="434"/>
                    <a:pt x="228" y="434"/>
                    <a:pt x="231" y="432"/>
                  </a:cubicBezTo>
                  <a:cubicBezTo>
                    <a:pt x="233" y="430"/>
                    <a:pt x="234" y="429"/>
                    <a:pt x="235" y="427"/>
                  </a:cubicBezTo>
                  <a:cubicBezTo>
                    <a:pt x="235" y="425"/>
                    <a:pt x="234" y="422"/>
                    <a:pt x="236" y="421"/>
                  </a:cubicBezTo>
                  <a:cubicBezTo>
                    <a:pt x="237" y="420"/>
                    <a:pt x="240" y="423"/>
                    <a:pt x="242" y="423"/>
                  </a:cubicBezTo>
                  <a:cubicBezTo>
                    <a:pt x="245" y="423"/>
                    <a:pt x="246" y="422"/>
                    <a:pt x="247" y="420"/>
                  </a:cubicBezTo>
                  <a:cubicBezTo>
                    <a:pt x="247" y="418"/>
                    <a:pt x="248" y="413"/>
                    <a:pt x="251" y="414"/>
                  </a:cubicBezTo>
                  <a:cubicBezTo>
                    <a:pt x="255" y="414"/>
                    <a:pt x="257" y="423"/>
                    <a:pt x="258" y="426"/>
                  </a:cubicBezTo>
                  <a:cubicBezTo>
                    <a:pt x="260" y="429"/>
                    <a:pt x="261" y="430"/>
                    <a:pt x="263" y="429"/>
                  </a:cubicBezTo>
                  <a:cubicBezTo>
                    <a:pt x="264" y="428"/>
                    <a:pt x="265" y="426"/>
                    <a:pt x="267" y="425"/>
                  </a:cubicBezTo>
                  <a:cubicBezTo>
                    <a:pt x="268" y="425"/>
                    <a:pt x="271" y="425"/>
                    <a:pt x="272" y="425"/>
                  </a:cubicBezTo>
                  <a:cubicBezTo>
                    <a:pt x="278" y="427"/>
                    <a:pt x="276" y="436"/>
                    <a:pt x="276" y="441"/>
                  </a:cubicBezTo>
                  <a:cubicBezTo>
                    <a:pt x="278" y="441"/>
                    <a:pt x="281" y="441"/>
                    <a:pt x="282" y="440"/>
                  </a:cubicBezTo>
                  <a:cubicBezTo>
                    <a:pt x="284" y="439"/>
                    <a:pt x="282" y="434"/>
                    <a:pt x="282" y="432"/>
                  </a:cubicBezTo>
                  <a:cubicBezTo>
                    <a:pt x="283" y="430"/>
                    <a:pt x="283" y="431"/>
                    <a:pt x="286" y="430"/>
                  </a:cubicBezTo>
                  <a:cubicBezTo>
                    <a:pt x="288" y="429"/>
                    <a:pt x="289" y="429"/>
                    <a:pt x="291" y="428"/>
                  </a:cubicBezTo>
                  <a:cubicBezTo>
                    <a:pt x="293" y="428"/>
                    <a:pt x="295" y="427"/>
                    <a:pt x="296" y="425"/>
                  </a:cubicBezTo>
                  <a:cubicBezTo>
                    <a:pt x="297" y="424"/>
                    <a:pt x="297" y="422"/>
                    <a:pt x="299" y="421"/>
                  </a:cubicBezTo>
                  <a:cubicBezTo>
                    <a:pt x="304" y="419"/>
                    <a:pt x="306" y="424"/>
                    <a:pt x="307" y="427"/>
                  </a:cubicBezTo>
                  <a:cubicBezTo>
                    <a:pt x="307" y="431"/>
                    <a:pt x="309" y="438"/>
                    <a:pt x="312" y="441"/>
                  </a:cubicBezTo>
                  <a:cubicBezTo>
                    <a:pt x="313" y="442"/>
                    <a:pt x="316" y="443"/>
                    <a:pt x="318" y="443"/>
                  </a:cubicBezTo>
                  <a:cubicBezTo>
                    <a:pt x="320" y="442"/>
                    <a:pt x="320" y="441"/>
                    <a:pt x="321" y="440"/>
                  </a:cubicBezTo>
                  <a:cubicBezTo>
                    <a:pt x="322" y="438"/>
                    <a:pt x="322" y="437"/>
                    <a:pt x="322" y="435"/>
                  </a:cubicBezTo>
                  <a:cubicBezTo>
                    <a:pt x="323" y="430"/>
                    <a:pt x="328" y="427"/>
                    <a:pt x="332" y="429"/>
                  </a:cubicBezTo>
                  <a:cubicBezTo>
                    <a:pt x="335" y="430"/>
                    <a:pt x="336" y="433"/>
                    <a:pt x="336" y="436"/>
                  </a:cubicBezTo>
                  <a:cubicBezTo>
                    <a:pt x="339" y="436"/>
                    <a:pt x="343" y="436"/>
                    <a:pt x="346" y="436"/>
                  </a:cubicBezTo>
                  <a:cubicBezTo>
                    <a:pt x="350" y="435"/>
                    <a:pt x="354" y="431"/>
                    <a:pt x="357" y="433"/>
                  </a:cubicBezTo>
                  <a:cubicBezTo>
                    <a:pt x="360" y="434"/>
                    <a:pt x="361" y="439"/>
                    <a:pt x="363" y="440"/>
                  </a:cubicBezTo>
                  <a:cubicBezTo>
                    <a:pt x="365" y="442"/>
                    <a:pt x="368" y="442"/>
                    <a:pt x="370" y="445"/>
                  </a:cubicBezTo>
                  <a:cubicBezTo>
                    <a:pt x="372" y="447"/>
                    <a:pt x="374" y="449"/>
                    <a:pt x="376" y="451"/>
                  </a:cubicBezTo>
                  <a:cubicBezTo>
                    <a:pt x="377" y="452"/>
                    <a:pt x="378" y="453"/>
                    <a:pt x="380" y="453"/>
                  </a:cubicBezTo>
                  <a:cubicBezTo>
                    <a:pt x="383" y="454"/>
                    <a:pt x="385" y="451"/>
                    <a:pt x="386" y="449"/>
                  </a:cubicBezTo>
                  <a:cubicBezTo>
                    <a:pt x="387" y="446"/>
                    <a:pt x="385" y="443"/>
                    <a:pt x="384" y="440"/>
                  </a:cubicBezTo>
                  <a:cubicBezTo>
                    <a:pt x="382" y="432"/>
                    <a:pt x="380" y="423"/>
                    <a:pt x="385" y="415"/>
                  </a:cubicBezTo>
                  <a:cubicBezTo>
                    <a:pt x="387" y="412"/>
                    <a:pt x="389" y="409"/>
                    <a:pt x="391" y="406"/>
                  </a:cubicBezTo>
                  <a:cubicBezTo>
                    <a:pt x="392" y="404"/>
                    <a:pt x="392" y="403"/>
                    <a:pt x="394" y="402"/>
                  </a:cubicBezTo>
                  <a:cubicBezTo>
                    <a:pt x="394" y="401"/>
                    <a:pt x="395" y="401"/>
                    <a:pt x="396" y="400"/>
                  </a:cubicBezTo>
                  <a:cubicBezTo>
                    <a:pt x="397" y="399"/>
                    <a:pt x="399" y="396"/>
                    <a:pt x="400" y="394"/>
                  </a:cubicBezTo>
                  <a:cubicBezTo>
                    <a:pt x="401" y="393"/>
                    <a:pt x="401" y="392"/>
                    <a:pt x="402" y="391"/>
                  </a:cubicBezTo>
                  <a:cubicBezTo>
                    <a:pt x="403" y="390"/>
                    <a:pt x="403" y="390"/>
                    <a:pt x="404" y="390"/>
                  </a:cubicBezTo>
                  <a:cubicBezTo>
                    <a:pt x="405" y="388"/>
                    <a:pt x="406" y="386"/>
                    <a:pt x="406" y="384"/>
                  </a:cubicBezTo>
                  <a:cubicBezTo>
                    <a:pt x="406" y="383"/>
                    <a:pt x="405" y="380"/>
                    <a:pt x="406" y="379"/>
                  </a:cubicBezTo>
                  <a:cubicBezTo>
                    <a:pt x="408" y="377"/>
                    <a:pt x="409" y="380"/>
                    <a:pt x="410" y="381"/>
                  </a:cubicBezTo>
                  <a:cubicBezTo>
                    <a:pt x="411" y="382"/>
                    <a:pt x="410" y="382"/>
                    <a:pt x="412" y="383"/>
                  </a:cubicBezTo>
                  <a:cubicBezTo>
                    <a:pt x="414" y="384"/>
                    <a:pt x="418" y="383"/>
                    <a:pt x="420" y="383"/>
                  </a:cubicBezTo>
                  <a:cubicBezTo>
                    <a:pt x="421" y="382"/>
                    <a:pt x="423" y="379"/>
                    <a:pt x="424" y="377"/>
                  </a:cubicBezTo>
                  <a:cubicBezTo>
                    <a:pt x="425" y="375"/>
                    <a:pt x="425" y="375"/>
                    <a:pt x="427" y="375"/>
                  </a:cubicBezTo>
                  <a:cubicBezTo>
                    <a:pt x="434" y="375"/>
                    <a:pt x="441" y="377"/>
                    <a:pt x="447" y="378"/>
                  </a:cubicBezTo>
                  <a:cubicBezTo>
                    <a:pt x="449" y="379"/>
                    <a:pt x="452" y="381"/>
                    <a:pt x="453" y="379"/>
                  </a:cubicBezTo>
                  <a:cubicBezTo>
                    <a:pt x="454" y="377"/>
                    <a:pt x="452" y="376"/>
                    <a:pt x="452" y="375"/>
                  </a:cubicBezTo>
                  <a:cubicBezTo>
                    <a:pt x="450" y="372"/>
                    <a:pt x="450" y="371"/>
                    <a:pt x="449" y="368"/>
                  </a:cubicBezTo>
                  <a:cubicBezTo>
                    <a:pt x="448" y="366"/>
                    <a:pt x="448" y="366"/>
                    <a:pt x="446" y="365"/>
                  </a:cubicBezTo>
                  <a:cubicBezTo>
                    <a:pt x="445" y="365"/>
                    <a:pt x="444" y="364"/>
                    <a:pt x="443" y="363"/>
                  </a:cubicBezTo>
                  <a:cubicBezTo>
                    <a:pt x="440" y="361"/>
                    <a:pt x="442" y="360"/>
                    <a:pt x="442" y="357"/>
                  </a:cubicBezTo>
                  <a:cubicBezTo>
                    <a:pt x="442" y="354"/>
                    <a:pt x="439" y="351"/>
                    <a:pt x="439" y="347"/>
                  </a:cubicBezTo>
                  <a:cubicBezTo>
                    <a:pt x="439" y="346"/>
                    <a:pt x="439" y="345"/>
                    <a:pt x="439" y="344"/>
                  </a:cubicBezTo>
                  <a:cubicBezTo>
                    <a:pt x="440" y="342"/>
                    <a:pt x="441" y="343"/>
                    <a:pt x="442" y="341"/>
                  </a:cubicBezTo>
                  <a:cubicBezTo>
                    <a:pt x="445" y="337"/>
                    <a:pt x="439" y="334"/>
                    <a:pt x="437" y="331"/>
                  </a:cubicBezTo>
                  <a:cubicBezTo>
                    <a:pt x="436" y="328"/>
                    <a:pt x="436" y="323"/>
                    <a:pt x="436" y="319"/>
                  </a:cubicBezTo>
                  <a:cubicBezTo>
                    <a:pt x="436" y="313"/>
                    <a:pt x="434" y="309"/>
                    <a:pt x="430" y="304"/>
                  </a:cubicBezTo>
                  <a:cubicBezTo>
                    <a:pt x="427" y="300"/>
                    <a:pt x="423" y="296"/>
                    <a:pt x="428" y="293"/>
                  </a:cubicBezTo>
                  <a:cubicBezTo>
                    <a:pt x="431" y="291"/>
                    <a:pt x="430" y="291"/>
                    <a:pt x="430" y="288"/>
                  </a:cubicBezTo>
                  <a:cubicBezTo>
                    <a:pt x="430" y="286"/>
                    <a:pt x="429" y="281"/>
                    <a:pt x="430" y="280"/>
                  </a:cubicBezTo>
                  <a:cubicBezTo>
                    <a:pt x="432" y="278"/>
                    <a:pt x="436" y="280"/>
                    <a:pt x="438" y="280"/>
                  </a:cubicBezTo>
                  <a:cubicBezTo>
                    <a:pt x="440" y="280"/>
                    <a:pt x="442" y="279"/>
                    <a:pt x="444" y="280"/>
                  </a:cubicBezTo>
                  <a:cubicBezTo>
                    <a:pt x="447" y="281"/>
                    <a:pt x="448" y="283"/>
                    <a:pt x="450" y="285"/>
                  </a:cubicBezTo>
                  <a:cubicBezTo>
                    <a:pt x="451" y="285"/>
                    <a:pt x="453" y="285"/>
                    <a:pt x="453" y="286"/>
                  </a:cubicBezTo>
                  <a:cubicBezTo>
                    <a:pt x="454" y="286"/>
                    <a:pt x="454" y="286"/>
                    <a:pt x="454" y="287"/>
                  </a:cubicBezTo>
                  <a:cubicBezTo>
                    <a:pt x="455" y="287"/>
                    <a:pt x="456" y="288"/>
                    <a:pt x="457" y="288"/>
                  </a:cubicBezTo>
                  <a:cubicBezTo>
                    <a:pt x="463" y="289"/>
                    <a:pt x="471" y="289"/>
                    <a:pt x="477" y="288"/>
                  </a:cubicBezTo>
                  <a:cubicBezTo>
                    <a:pt x="479" y="287"/>
                    <a:pt x="481" y="286"/>
                    <a:pt x="483" y="284"/>
                  </a:cubicBezTo>
                  <a:cubicBezTo>
                    <a:pt x="483" y="283"/>
                    <a:pt x="483" y="282"/>
                    <a:pt x="484" y="281"/>
                  </a:cubicBezTo>
                  <a:cubicBezTo>
                    <a:pt x="485" y="280"/>
                    <a:pt x="486" y="280"/>
                    <a:pt x="487" y="279"/>
                  </a:cubicBezTo>
                  <a:cubicBezTo>
                    <a:pt x="488" y="278"/>
                    <a:pt x="489" y="277"/>
                    <a:pt x="490" y="276"/>
                  </a:cubicBezTo>
                  <a:cubicBezTo>
                    <a:pt x="492" y="275"/>
                    <a:pt x="493" y="275"/>
                    <a:pt x="494" y="274"/>
                  </a:cubicBezTo>
                  <a:cubicBezTo>
                    <a:pt x="496" y="273"/>
                    <a:pt x="496" y="271"/>
                    <a:pt x="497" y="270"/>
                  </a:cubicBezTo>
                  <a:cubicBezTo>
                    <a:pt x="498" y="269"/>
                    <a:pt x="499" y="270"/>
                    <a:pt x="500" y="270"/>
                  </a:cubicBezTo>
                  <a:cubicBezTo>
                    <a:pt x="502" y="269"/>
                    <a:pt x="501" y="269"/>
                    <a:pt x="502" y="268"/>
                  </a:cubicBezTo>
                  <a:cubicBezTo>
                    <a:pt x="504" y="266"/>
                    <a:pt x="504" y="266"/>
                    <a:pt x="505" y="263"/>
                  </a:cubicBezTo>
                  <a:cubicBezTo>
                    <a:pt x="505" y="262"/>
                    <a:pt x="506" y="261"/>
                    <a:pt x="506" y="260"/>
                  </a:cubicBezTo>
                  <a:cubicBezTo>
                    <a:pt x="507" y="258"/>
                    <a:pt x="506" y="258"/>
                    <a:pt x="505" y="257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9" name="Freeform 39"/>
            <p:cNvSpPr>
              <a:spLocks/>
            </p:cNvSpPr>
            <p:nvPr/>
          </p:nvSpPr>
          <p:spPr bwMode="auto">
            <a:xfrm>
              <a:off x="5592763" y="3159125"/>
              <a:ext cx="746125" cy="441325"/>
            </a:xfrm>
            <a:custGeom>
              <a:avLst/>
              <a:gdLst/>
              <a:ahLst/>
              <a:cxnLst>
                <a:cxn ang="0">
                  <a:pos x="394" y="150"/>
                </a:cxn>
                <a:cxn ang="0">
                  <a:pos x="386" y="137"/>
                </a:cxn>
                <a:cxn ang="0">
                  <a:pos x="375" y="124"/>
                </a:cxn>
                <a:cxn ang="0">
                  <a:pos x="376" y="94"/>
                </a:cxn>
                <a:cxn ang="0">
                  <a:pos x="378" y="77"/>
                </a:cxn>
                <a:cxn ang="0">
                  <a:pos x="359" y="56"/>
                </a:cxn>
                <a:cxn ang="0">
                  <a:pos x="349" y="50"/>
                </a:cxn>
                <a:cxn ang="0">
                  <a:pos x="332" y="49"/>
                </a:cxn>
                <a:cxn ang="0">
                  <a:pos x="311" y="53"/>
                </a:cxn>
                <a:cxn ang="0">
                  <a:pos x="294" y="48"/>
                </a:cxn>
                <a:cxn ang="0">
                  <a:pos x="279" y="32"/>
                </a:cxn>
                <a:cxn ang="0">
                  <a:pos x="255" y="15"/>
                </a:cxn>
                <a:cxn ang="0">
                  <a:pos x="237" y="7"/>
                </a:cxn>
                <a:cxn ang="0">
                  <a:pos x="219" y="10"/>
                </a:cxn>
                <a:cxn ang="0">
                  <a:pos x="192" y="22"/>
                </a:cxn>
                <a:cxn ang="0">
                  <a:pos x="189" y="60"/>
                </a:cxn>
                <a:cxn ang="0">
                  <a:pos x="174" y="94"/>
                </a:cxn>
                <a:cxn ang="0">
                  <a:pos x="146" y="109"/>
                </a:cxn>
                <a:cxn ang="0">
                  <a:pos x="127" y="96"/>
                </a:cxn>
                <a:cxn ang="0">
                  <a:pos x="124" y="77"/>
                </a:cxn>
                <a:cxn ang="0">
                  <a:pos x="110" y="64"/>
                </a:cxn>
                <a:cxn ang="0">
                  <a:pos x="96" y="50"/>
                </a:cxn>
                <a:cxn ang="0">
                  <a:pos x="93" y="33"/>
                </a:cxn>
                <a:cxn ang="0">
                  <a:pos x="75" y="38"/>
                </a:cxn>
                <a:cxn ang="0">
                  <a:pos x="57" y="51"/>
                </a:cxn>
                <a:cxn ang="0">
                  <a:pos x="39" y="58"/>
                </a:cxn>
                <a:cxn ang="0">
                  <a:pos x="28" y="75"/>
                </a:cxn>
                <a:cxn ang="0">
                  <a:pos x="17" y="117"/>
                </a:cxn>
                <a:cxn ang="0">
                  <a:pos x="8" y="131"/>
                </a:cxn>
                <a:cxn ang="0">
                  <a:pos x="1" y="189"/>
                </a:cxn>
                <a:cxn ang="0">
                  <a:pos x="10" y="204"/>
                </a:cxn>
                <a:cxn ang="0">
                  <a:pos x="18" y="192"/>
                </a:cxn>
                <a:cxn ang="0">
                  <a:pos x="22" y="187"/>
                </a:cxn>
                <a:cxn ang="0">
                  <a:pos x="29" y="180"/>
                </a:cxn>
                <a:cxn ang="0">
                  <a:pos x="49" y="171"/>
                </a:cxn>
                <a:cxn ang="0">
                  <a:pos x="69" y="163"/>
                </a:cxn>
                <a:cxn ang="0">
                  <a:pos x="94" y="167"/>
                </a:cxn>
                <a:cxn ang="0">
                  <a:pos x="111" y="166"/>
                </a:cxn>
                <a:cxn ang="0">
                  <a:pos x="120" y="169"/>
                </a:cxn>
                <a:cxn ang="0">
                  <a:pos x="133" y="171"/>
                </a:cxn>
                <a:cxn ang="0">
                  <a:pos x="150" y="171"/>
                </a:cxn>
                <a:cxn ang="0">
                  <a:pos x="164" y="171"/>
                </a:cxn>
                <a:cxn ang="0">
                  <a:pos x="177" y="180"/>
                </a:cxn>
                <a:cxn ang="0">
                  <a:pos x="203" y="178"/>
                </a:cxn>
                <a:cxn ang="0">
                  <a:pos x="209" y="168"/>
                </a:cxn>
                <a:cxn ang="0">
                  <a:pos x="225" y="164"/>
                </a:cxn>
                <a:cxn ang="0">
                  <a:pos x="224" y="172"/>
                </a:cxn>
                <a:cxn ang="0">
                  <a:pos x="241" y="188"/>
                </a:cxn>
                <a:cxn ang="0">
                  <a:pos x="263" y="196"/>
                </a:cxn>
                <a:cxn ang="0">
                  <a:pos x="292" y="219"/>
                </a:cxn>
                <a:cxn ang="0">
                  <a:pos x="300" y="233"/>
                </a:cxn>
                <a:cxn ang="0">
                  <a:pos x="316" y="235"/>
                </a:cxn>
                <a:cxn ang="0">
                  <a:pos x="332" y="227"/>
                </a:cxn>
                <a:cxn ang="0">
                  <a:pos x="351" y="224"/>
                </a:cxn>
                <a:cxn ang="0">
                  <a:pos x="381" y="205"/>
                </a:cxn>
                <a:cxn ang="0">
                  <a:pos x="399" y="173"/>
                </a:cxn>
              </a:cxnLst>
              <a:rect l="0" t="0" r="r" b="b"/>
              <a:pathLst>
                <a:path w="399" h="236">
                  <a:moveTo>
                    <a:pt x="399" y="162"/>
                  </a:moveTo>
                  <a:cubicBezTo>
                    <a:pt x="399" y="161"/>
                    <a:pt x="398" y="161"/>
                    <a:pt x="397" y="159"/>
                  </a:cubicBezTo>
                  <a:cubicBezTo>
                    <a:pt x="396" y="157"/>
                    <a:pt x="398" y="153"/>
                    <a:pt x="397" y="151"/>
                  </a:cubicBezTo>
                  <a:cubicBezTo>
                    <a:pt x="396" y="149"/>
                    <a:pt x="396" y="150"/>
                    <a:pt x="394" y="150"/>
                  </a:cubicBezTo>
                  <a:cubicBezTo>
                    <a:pt x="392" y="149"/>
                    <a:pt x="392" y="148"/>
                    <a:pt x="391" y="146"/>
                  </a:cubicBezTo>
                  <a:cubicBezTo>
                    <a:pt x="391" y="143"/>
                    <a:pt x="392" y="143"/>
                    <a:pt x="390" y="142"/>
                  </a:cubicBezTo>
                  <a:cubicBezTo>
                    <a:pt x="389" y="141"/>
                    <a:pt x="387" y="141"/>
                    <a:pt x="387" y="140"/>
                  </a:cubicBezTo>
                  <a:cubicBezTo>
                    <a:pt x="386" y="139"/>
                    <a:pt x="386" y="138"/>
                    <a:pt x="386" y="137"/>
                  </a:cubicBezTo>
                  <a:cubicBezTo>
                    <a:pt x="385" y="135"/>
                    <a:pt x="384" y="135"/>
                    <a:pt x="384" y="133"/>
                  </a:cubicBezTo>
                  <a:cubicBezTo>
                    <a:pt x="385" y="130"/>
                    <a:pt x="387" y="129"/>
                    <a:pt x="387" y="126"/>
                  </a:cubicBezTo>
                  <a:cubicBezTo>
                    <a:pt x="382" y="126"/>
                    <a:pt x="383" y="124"/>
                    <a:pt x="383" y="121"/>
                  </a:cubicBezTo>
                  <a:cubicBezTo>
                    <a:pt x="380" y="120"/>
                    <a:pt x="378" y="123"/>
                    <a:pt x="375" y="124"/>
                  </a:cubicBezTo>
                  <a:cubicBezTo>
                    <a:pt x="373" y="124"/>
                    <a:pt x="371" y="124"/>
                    <a:pt x="369" y="125"/>
                  </a:cubicBezTo>
                  <a:cubicBezTo>
                    <a:pt x="367" y="121"/>
                    <a:pt x="373" y="118"/>
                    <a:pt x="373" y="114"/>
                  </a:cubicBezTo>
                  <a:cubicBezTo>
                    <a:pt x="374" y="110"/>
                    <a:pt x="372" y="110"/>
                    <a:pt x="371" y="107"/>
                  </a:cubicBezTo>
                  <a:cubicBezTo>
                    <a:pt x="369" y="101"/>
                    <a:pt x="374" y="98"/>
                    <a:pt x="376" y="94"/>
                  </a:cubicBezTo>
                  <a:cubicBezTo>
                    <a:pt x="377" y="94"/>
                    <a:pt x="377" y="93"/>
                    <a:pt x="377" y="93"/>
                  </a:cubicBezTo>
                  <a:cubicBezTo>
                    <a:pt x="378" y="92"/>
                    <a:pt x="380" y="91"/>
                    <a:pt x="380" y="91"/>
                  </a:cubicBezTo>
                  <a:cubicBezTo>
                    <a:pt x="381" y="90"/>
                    <a:pt x="381" y="87"/>
                    <a:pt x="381" y="86"/>
                  </a:cubicBezTo>
                  <a:cubicBezTo>
                    <a:pt x="382" y="83"/>
                    <a:pt x="381" y="79"/>
                    <a:pt x="378" y="77"/>
                  </a:cubicBezTo>
                  <a:cubicBezTo>
                    <a:pt x="376" y="75"/>
                    <a:pt x="373" y="75"/>
                    <a:pt x="370" y="73"/>
                  </a:cubicBezTo>
                  <a:cubicBezTo>
                    <a:pt x="369" y="72"/>
                    <a:pt x="368" y="70"/>
                    <a:pt x="367" y="69"/>
                  </a:cubicBezTo>
                  <a:cubicBezTo>
                    <a:pt x="364" y="66"/>
                    <a:pt x="361" y="65"/>
                    <a:pt x="358" y="63"/>
                  </a:cubicBezTo>
                  <a:cubicBezTo>
                    <a:pt x="359" y="61"/>
                    <a:pt x="359" y="58"/>
                    <a:pt x="359" y="56"/>
                  </a:cubicBezTo>
                  <a:cubicBezTo>
                    <a:pt x="357" y="56"/>
                    <a:pt x="355" y="56"/>
                    <a:pt x="354" y="56"/>
                  </a:cubicBezTo>
                  <a:cubicBezTo>
                    <a:pt x="353" y="55"/>
                    <a:pt x="353" y="55"/>
                    <a:pt x="353" y="54"/>
                  </a:cubicBezTo>
                  <a:cubicBezTo>
                    <a:pt x="351" y="52"/>
                    <a:pt x="350" y="50"/>
                    <a:pt x="349" y="47"/>
                  </a:cubicBezTo>
                  <a:cubicBezTo>
                    <a:pt x="349" y="48"/>
                    <a:pt x="349" y="49"/>
                    <a:pt x="349" y="50"/>
                  </a:cubicBezTo>
                  <a:cubicBezTo>
                    <a:pt x="349" y="53"/>
                    <a:pt x="350" y="54"/>
                    <a:pt x="350" y="56"/>
                  </a:cubicBezTo>
                  <a:cubicBezTo>
                    <a:pt x="346" y="57"/>
                    <a:pt x="343" y="56"/>
                    <a:pt x="340" y="54"/>
                  </a:cubicBezTo>
                  <a:cubicBezTo>
                    <a:pt x="338" y="53"/>
                    <a:pt x="336" y="53"/>
                    <a:pt x="334" y="52"/>
                  </a:cubicBezTo>
                  <a:cubicBezTo>
                    <a:pt x="333" y="51"/>
                    <a:pt x="333" y="50"/>
                    <a:pt x="332" y="49"/>
                  </a:cubicBezTo>
                  <a:cubicBezTo>
                    <a:pt x="331" y="48"/>
                    <a:pt x="329" y="48"/>
                    <a:pt x="327" y="48"/>
                  </a:cubicBezTo>
                  <a:cubicBezTo>
                    <a:pt x="326" y="47"/>
                    <a:pt x="327" y="47"/>
                    <a:pt x="325" y="47"/>
                  </a:cubicBezTo>
                  <a:cubicBezTo>
                    <a:pt x="324" y="46"/>
                    <a:pt x="320" y="46"/>
                    <a:pt x="319" y="47"/>
                  </a:cubicBezTo>
                  <a:cubicBezTo>
                    <a:pt x="314" y="48"/>
                    <a:pt x="315" y="52"/>
                    <a:pt x="311" y="53"/>
                  </a:cubicBezTo>
                  <a:cubicBezTo>
                    <a:pt x="310" y="53"/>
                    <a:pt x="309" y="53"/>
                    <a:pt x="308" y="53"/>
                  </a:cubicBezTo>
                  <a:cubicBezTo>
                    <a:pt x="306" y="52"/>
                    <a:pt x="303" y="52"/>
                    <a:pt x="301" y="51"/>
                  </a:cubicBezTo>
                  <a:cubicBezTo>
                    <a:pt x="300" y="51"/>
                    <a:pt x="300" y="50"/>
                    <a:pt x="299" y="50"/>
                  </a:cubicBezTo>
                  <a:cubicBezTo>
                    <a:pt x="297" y="49"/>
                    <a:pt x="296" y="48"/>
                    <a:pt x="294" y="48"/>
                  </a:cubicBezTo>
                  <a:cubicBezTo>
                    <a:pt x="294" y="48"/>
                    <a:pt x="292" y="49"/>
                    <a:pt x="291" y="48"/>
                  </a:cubicBezTo>
                  <a:cubicBezTo>
                    <a:pt x="289" y="48"/>
                    <a:pt x="288" y="45"/>
                    <a:pt x="287" y="43"/>
                  </a:cubicBezTo>
                  <a:cubicBezTo>
                    <a:pt x="285" y="41"/>
                    <a:pt x="284" y="39"/>
                    <a:pt x="282" y="36"/>
                  </a:cubicBezTo>
                  <a:cubicBezTo>
                    <a:pt x="281" y="34"/>
                    <a:pt x="281" y="33"/>
                    <a:pt x="279" y="32"/>
                  </a:cubicBezTo>
                  <a:cubicBezTo>
                    <a:pt x="276" y="31"/>
                    <a:pt x="276" y="31"/>
                    <a:pt x="276" y="28"/>
                  </a:cubicBezTo>
                  <a:cubicBezTo>
                    <a:pt x="275" y="25"/>
                    <a:pt x="277" y="24"/>
                    <a:pt x="274" y="22"/>
                  </a:cubicBezTo>
                  <a:cubicBezTo>
                    <a:pt x="271" y="21"/>
                    <a:pt x="268" y="22"/>
                    <a:pt x="266" y="20"/>
                  </a:cubicBezTo>
                  <a:cubicBezTo>
                    <a:pt x="262" y="17"/>
                    <a:pt x="262" y="13"/>
                    <a:pt x="255" y="15"/>
                  </a:cubicBezTo>
                  <a:cubicBezTo>
                    <a:pt x="256" y="10"/>
                    <a:pt x="251" y="7"/>
                    <a:pt x="247" y="5"/>
                  </a:cubicBezTo>
                  <a:cubicBezTo>
                    <a:pt x="245" y="5"/>
                    <a:pt x="244" y="4"/>
                    <a:pt x="243" y="4"/>
                  </a:cubicBezTo>
                  <a:cubicBezTo>
                    <a:pt x="241" y="2"/>
                    <a:pt x="240" y="0"/>
                    <a:pt x="237" y="0"/>
                  </a:cubicBezTo>
                  <a:cubicBezTo>
                    <a:pt x="237" y="2"/>
                    <a:pt x="237" y="5"/>
                    <a:pt x="237" y="7"/>
                  </a:cubicBezTo>
                  <a:cubicBezTo>
                    <a:pt x="232" y="8"/>
                    <a:pt x="235" y="2"/>
                    <a:pt x="233" y="1"/>
                  </a:cubicBezTo>
                  <a:cubicBezTo>
                    <a:pt x="231" y="0"/>
                    <a:pt x="226" y="4"/>
                    <a:pt x="224" y="5"/>
                  </a:cubicBezTo>
                  <a:cubicBezTo>
                    <a:pt x="223" y="6"/>
                    <a:pt x="222" y="6"/>
                    <a:pt x="221" y="7"/>
                  </a:cubicBezTo>
                  <a:cubicBezTo>
                    <a:pt x="220" y="8"/>
                    <a:pt x="219" y="9"/>
                    <a:pt x="219" y="10"/>
                  </a:cubicBezTo>
                  <a:cubicBezTo>
                    <a:pt x="215" y="13"/>
                    <a:pt x="209" y="12"/>
                    <a:pt x="204" y="13"/>
                  </a:cubicBezTo>
                  <a:cubicBezTo>
                    <a:pt x="201" y="13"/>
                    <a:pt x="202" y="13"/>
                    <a:pt x="201" y="15"/>
                  </a:cubicBezTo>
                  <a:cubicBezTo>
                    <a:pt x="199" y="17"/>
                    <a:pt x="198" y="18"/>
                    <a:pt x="196" y="20"/>
                  </a:cubicBezTo>
                  <a:cubicBezTo>
                    <a:pt x="195" y="20"/>
                    <a:pt x="193" y="22"/>
                    <a:pt x="192" y="22"/>
                  </a:cubicBezTo>
                  <a:cubicBezTo>
                    <a:pt x="189" y="23"/>
                    <a:pt x="188" y="22"/>
                    <a:pt x="188" y="21"/>
                  </a:cubicBezTo>
                  <a:cubicBezTo>
                    <a:pt x="188" y="23"/>
                    <a:pt x="188" y="25"/>
                    <a:pt x="188" y="27"/>
                  </a:cubicBezTo>
                  <a:cubicBezTo>
                    <a:pt x="188" y="30"/>
                    <a:pt x="189" y="34"/>
                    <a:pt x="189" y="37"/>
                  </a:cubicBezTo>
                  <a:cubicBezTo>
                    <a:pt x="189" y="45"/>
                    <a:pt x="189" y="52"/>
                    <a:pt x="189" y="60"/>
                  </a:cubicBezTo>
                  <a:cubicBezTo>
                    <a:pt x="189" y="68"/>
                    <a:pt x="190" y="77"/>
                    <a:pt x="189" y="85"/>
                  </a:cubicBezTo>
                  <a:cubicBezTo>
                    <a:pt x="188" y="90"/>
                    <a:pt x="185" y="91"/>
                    <a:pt x="181" y="92"/>
                  </a:cubicBezTo>
                  <a:cubicBezTo>
                    <a:pt x="179" y="93"/>
                    <a:pt x="178" y="94"/>
                    <a:pt x="176" y="94"/>
                  </a:cubicBezTo>
                  <a:cubicBezTo>
                    <a:pt x="175" y="94"/>
                    <a:pt x="174" y="94"/>
                    <a:pt x="174" y="94"/>
                  </a:cubicBezTo>
                  <a:cubicBezTo>
                    <a:pt x="173" y="93"/>
                    <a:pt x="173" y="92"/>
                    <a:pt x="172" y="92"/>
                  </a:cubicBezTo>
                  <a:cubicBezTo>
                    <a:pt x="165" y="90"/>
                    <a:pt x="163" y="102"/>
                    <a:pt x="159" y="105"/>
                  </a:cubicBezTo>
                  <a:cubicBezTo>
                    <a:pt x="158" y="106"/>
                    <a:pt x="156" y="106"/>
                    <a:pt x="154" y="107"/>
                  </a:cubicBezTo>
                  <a:cubicBezTo>
                    <a:pt x="151" y="108"/>
                    <a:pt x="148" y="109"/>
                    <a:pt x="146" y="109"/>
                  </a:cubicBezTo>
                  <a:cubicBezTo>
                    <a:pt x="142" y="110"/>
                    <a:pt x="140" y="108"/>
                    <a:pt x="140" y="104"/>
                  </a:cubicBezTo>
                  <a:cubicBezTo>
                    <a:pt x="138" y="104"/>
                    <a:pt x="135" y="105"/>
                    <a:pt x="133" y="104"/>
                  </a:cubicBezTo>
                  <a:cubicBezTo>
                    <a:pt x="131" y="103"/>
                    <a:pt x="131" y="103"/>
                    <a:pt x="131" y="101"/>
                  </a:cubicBezTo>
                  <a:cubicBezTo>
                    <a:pt x="129" y="99"/>
                    <a:pt x="128" y="98"/>
                    <a:pt x="127" y="96"/>
                  </a:cubicBezTo>
                  <a:cubicBezTo>
                    <a:pt x="127" y="96"/>
                    <a:pt x="127" y="95"/>
                    <a:pt x="127" y="95"/>
                  </a:cubicBezTo>
                  <a:cubicBezTo>
                    <a:pt x="126" y="94"/>
                    <a:pt x="125" y="93"/>
                    <a:pt x="125" y="92"/>
                  </a:cubicBezTo>
                  <a:cubicBezTo>
                    <a:pt x="124" y="91"/>
                    <a:pt x="124" y="90"/>
                    <a:pt x="124" y="88"/>
                  </a:cubicBezTo>
                  <a:cubicBezTo>
                    <a:pt x="124" y="85"/>
                    <a:pt x="124" y="81"/>
                    <a:pt x="124" y="77"/>
                  </a:cubicBezTo>
                  <a:cubicBezTo>
                    <a:pt x="124" y="73"/>
                    <a:pt x="125" y="72"/>
                    <a:pt x="121" y="71"/>
                  </a:cubicBezTo>
                  <a:cubicBezTo>
                    <a:pt x="118" y="70"/>
                    <a:pt x="114" y="70"/>
                    <a:pt x="112" y="68"/>
                  </a:cubicBezTo>
                  <a:cubicBezTo>
                    <a:pt x="111" y="67"/>
                    <a:pt x="110" y="67"/>
                    <a:pt x="110" y="66"/>
                  </a:cubicBezTo>
                  <a:cubicBezTo>
                    <a:pt x="110" y="65"/>
                    <a:pt x="110" y="64"/>
                    <a:pt x="110" y="64"/>
                  </a:cubicBezTo>
                  <a:cubicBezTo>
                    <a:pt x="110" y="63"/>
                    <a:pt x="109" y="62"/>
                    <a:pt x="108" y="62"/>
                  </a:cubicBezTo>
                  <a:cubicBezTo>
                    <a:pt x="107" y="61"/>
                    <a:pt x="105" y="59"/>
                    <a:pt x="105" y="57"/>
                  </a:cubicBezTo>
                  <a:cubicBezTo>
                    <a:pt x="103" y="57"/>
                    <a:pt x="101" y="58"/>
                    <a:pt x="99" y="56"/>
                  </a:cubicBezTo>
                  <a:cubicBezTo>
                    <a:pt x="98" y="54"/>
                    <a:pt x="98" y="52"/>
                    <a:pt x="96" y="50"/>
                  </a:cubicBezTo>
                  <a:cubicBezTo>
                    <a:pt x="96" y="49"/>
                    <a:pt x="95" y="49"/>
                    <a:pt x="94" y="48"/>
                  </a:cubicBezTo>
                  <a:cubicBezTo>
                    <a:pt x="92" y="47"/>
                    <a:pt x="92" y="48"/>
                    <a:pt x="92" y="45"/>
                  </a:cubicBezTo>
                  <a:cubicBezTo>
                    <a:pt x="92" y="43"/>
                    <a:pt x="92" y="41"/>
                    <a:pt x="92" y="39"/>
                  </a:cubicBezTo>
                  <a:cubicBezTo>
                    <a:pt x="92" y="38"/>
                    <a:pt x="93" y="35"/>
                    <a:pt x="93" y="33"/>
                  </a:cubicBezTo>
                  <a:cubicBezTo>
                    <a:pt x="92" y="32"/>
                    <a:pt x="91" y="32"/>
                    <a:pt x="91" y="30"/>
                  </a:cubicBezTo>
                  <a:cubicBezTo>
                    <a:pt x="90" y="30"/>
                    <a:pt x="88" y="32"/>
                    <a:pt x="87" y="33"/>
                  </a:cubicBezTo>
                  <a:cubicBezTo>
                    <a:pt x="85" y="35"/>
                    <a:pt x="86" y="35"/>
                    <a:pt x="84" y="35"/>
                  </a:cubicBezTo>
                  <a:cubicBezTo>
                    <a:pt x="81" y="36"/>
                    <a:pt x="78" y="37"/>
                    <a:pt x="75" y="38"/>
                  </a:cubicBezTo>
                  <a:cubicBezTo>
                    <a:pt x="73" y="39"/>
                    <a:pt x="72" y="40"/>
                    <a:pt x="70" y="41"/>
                  </a:cubicBezTo>
                  <a:cubicBezTo>
                    <a:pt x="68" y="43"/>
                    <a:pt x="67" y="42"/>
                    <a:pt x="65" y="43"/>
                  </a:cubicBezTo>
                  <a:cubicBezTo>
                    <a:pt x="61" y="45"/>
                    <a:pt x="61" y="48"/>
                    <a:pt x="61" y="51"/>
                  </a:cubicBezTo>
                  <a:cubicBezTo>
                    <a:pt x="59" y="51"/>
                    <a:pt x="58" y="51"/>
                    <a:pt x="57" y="51"/>
                  </a:cubicBezTo>
                  <a:cubicBezTo>
                    <a:pt x="57" y="51"/>
                    <a:pt x="55" y="50"/>
                    <a:pt x="55" y="50"/>
                  </a:cubicBezTo>
                  <a:cubicBezTo>
                    <a:pt x="54" y="49"/>
                    <a:pt x="52" y="49"/>
                    <a:pt x="50" y="49"/>
                  </a:cubicBezTo>
                  <a:cubicBezTo>
                    <a:pt x="47" y="49"/>
                    <a:pt x="44" y="51"/>
                    <a:pt x="42" y="53"/>
                  </a:cubicBezTo>
                  <a:cubicBezTo>
                    <a:pt x="41" y="55"/>
                    <a:pt x="40" y="56"/>
                    <a:pt x="39" y="58"/>
                  </a:cubicBezTo>
                  <a:cubicBezTo>
                    <a:pt x="37" y="59"/>
                    <a:pt x="37" y="62"/>
                    <a:pt x="36" y="64"/>
                  </a:cubicBezTo>
                  <a:cubicBezTo>
                    <a:pt x="34" y="66"/>
                    <a:pt x="33" y="67"/>
                    <a:pt x="32" y="69"/>
                  </a:cubicBezTo>
                  <a:cubicBezTo>
                    <a:pt x="31" y="70"/>
                    <a:pt x="31" y="71"/>
                    <a:pt x="30" y="72"/>
                  </a:cubicBezTo>
                  <a:cubicBezTo>
                    <a:pt x="30" y="73"/>
                    <a:pt x="28" y="74"/>
                    <a:pt x="28" y="75"/>
                  </a:cubicBezTo>
                  <a:cubicBezTo>
                    <a:pt x="27" y="77"/>
                    <a:pt x="26" y="80"/>
                    <a:pt x="25" y="83"/>
                  </a:cubicBezTo>
                  <a:cubicBezTo>
                    <a:pt x="24" y="88"/>
                    <a:pt x="26" y="94"/>
                    <a:pt x="25" y="99"/>
                  </a:cubicBezTo>
                  <a:cubicBezTo>
                    <a:pt x="24" y="103"/>
                    <a:pt x="23" y="107"/>
                    <a:pt x="22" y="110"/>
                  </a:cubicBezTo>
                  <a:cubicBezTo>
                    <a:pt x="21" y="113"/>
                    <a:pt x="19" y="115"/>
                    <a:pt x="17" y="117"/>
                  </a:cubicBezTo>
                  <a:cubicBezTo>
                    <a:pt x="17" y="117"/>
                    <a:pt x="15" y="118"/>
                    <a:pt x="15" y="119"/>
                  </a:cubicBezTo>
                  <a:cubicBezTo>
                    <a:pt x="14" y="120"/>
                    <a:pt x="14" y="120"/>
                    <a:pt x="14" y="122"/>
                  </a:cubicBezTo>
                  <a:cubicBezTo>
                    <a:pt x="13" y="123"/>
                    <a:pt x="12" y="125"/>
                    <a:pt x="11" y="126"/>
                  </a:cubicBezTo>
                  <a:cubicBezTo>
                    <a:pt x="10" y="128"/>
                    <a:pt x="9" y="130"/>
                    <a:pt x="8" y="131"/>
                  </a:cubicBezTo>
                  <a:cubicBezTo>
                    <a:pt x="7" y="135"/>
                    <a:pt x="8" y="141"/>
                    <a:pt x="6" y="146"/>
                  </a:cubicBezTo>
                  <a:cubicBezTo>
                    <a:pt x="5" y="149"/>
                    <a:pt x="2" y="152"/>
                    <a:pt x="1" y="156"/>
                  </a:cubicBezTo>
                  <a:cubicBezTo>
                    <a:pt x="0" y="160"/>
                    <a:pt x="0" y="164"/>
                    <a:pt x="0" y="168"/>
                  </a:cubicBezTo>
                  <a:cubicBezTo>
                    <a:pt x="0" y="175"/>
                    <a:pt x="0" y="182"/>
                    <a:pt x="1" y="189"/>
                  </a:cubicBezTo>
                  <a:cubicBezTo>
                    <a:pt x="1" y="191"/>
                    <a:pt x="0" y="191"/>
                    <a:pt x="2" y="193"/>
                  </a:cubicBezTo>
                  <a:cubicBezTo>
                    <a:pt x="2" y="194"/>
                    <a:pt x="3" y="194"/>
                    <a:pt x="4" y="195"/>
                  </a:cubicBezTo>
                  <a:cubicBezTo>
                    <a:pt x="5" y="196"/>
                    <a:pt x="6" y="198"/>
                    <a:pt x="6" y="199"/>
                  </a:cubicBezTo>
                  <a:cubicBezTo>
                    <a:pt x="7" y="201"/>
                    <a:pt x="9" y="202"/>
                    <a:pt x="10" y="204"/>
                  </a:cubicBezTo>
                  <a:cubicBezTo>
                    <a:pt x="11" y="203"/>
                    <a:pt x="11" y="202"/>
                    <a:pt x="11" y="201"/>
                  </a:cubicBezTo>
                  <a:cubicBezTo>
                    <a:pt x="11" y="199"/>
                    <a:pt x="11" y="196"/>
                    <a:pt x="13" y="195"/>
                  </a:cubicBezTo>
                  <a:cubicBezTo>
                    <a:pt x="14" y="194"/>
                    <a:pt x="15" y="195"/>
                    <a:pt x="16" y="195"/>
                  </a:cubicBezTo>
                  <a:cubicBezTo>
                    <a:pt x="17" y="194"/>
                    <a:pt x="17" y="193"/>
                    <a:pt x="18" y="192"/>
                  </a:cubicBezTo>
                  <a:cubicBezTo>
                    <a:pt x="18" y="192"/>
                    <a:pt x="19" y="191"/>
                    <a:pt x="19" y="190"/>
                  </a:cubicBezTo>
                  <a:cubicBezTo>
                    <a:pt x="19" y="190"/>
                    <a:pt x="20" y="190"/>
                    <a:pt x="20" y="189"/>
                  </a:cubicBezTo>
                  <a:cubicBezTo>
                    <a:pt x="20" y="189"/>
                    <a:pt x="19" y="188"/>
                    <a:pt x="20" y="188"/>
                  </a:cubicBezTo>
                  <a:cubicBezTo>
                    <a:pt x="20" y="187"/>
                    <a:pt x="22" y="187"/>
                    <a:pt x="22" y="187"/>
                  </a:cubicBezTo>
                  <a:cubicBezTo>
                    <a:pt x="22" y="187"/>
                    <a:pt x="23" y="186"/>
                    <a:pt x="23" y="186"/>
                  </a:cubicBezTo>
                  <a:cubicBezTo>
                    <a:pt x="23" y="186"/>
                    <a:pt x="24" y="185"/>
                    <a:pt x="25" y="185"/>
                  </a:cubicBezTo>
                  <a:cubicBezTo>
                    <a:pt x="26" y="185"/>
                    <a:pt x="27" y="184"/>
                    <a:pt x="28" y="184"/>
                  </a:cubicBezTo>
                  <a:cubicBezTo>
                    <a:pt x="29" y="183"/>
                    <a:pt x="29" y="181"/>
                    <a:pt x="29" y="180"/>
                  </a:cubicBezTo>
                  <a:cubicBezTo>
                    <a:pt x="30" y="178"/>
                    <a:pt x="31" y="178"/>
                    <a:pt x="33" y="178"/>
                  </a:cubicBezTo>
                  <a:cubicBezTo>
                    <a:pt x="34" y="177"/>
                    <a:pt x="36" y="175"/>
                    <a:pt x="37" y="175"/>
                  </a:cubicBezTo>
                  <a:cubicBezTo>
                    <a:pt x="39" y="173"/>
                    <a:pt x="41" y="174"/>
                    <a:pt x="44" y="174"/>
                  </a:cubicBezTo>
                  <a:cubicBezTo>
                    <a:pt x="47" y="174"/>
                    <a:pt x="47" y="173"/>
                    <a:pt x="49" y="171"/>
                  </a:cubicBezTo>
                  <a:cubicBezTo>
                    <a:pt x="50" y="170"/>
                    <a:pt x="53" y="169"/>
                    <a:pt x="55" y="169"/>
                  </a:cubicBezTo>
                  <a:cubicBezTo>
                    <a:pt x="56" y="168"/>
                    <a:pt x="57" y="168"/>
                    <a:pt x="58" y="168"/>
                  </a:cubicBezTo>
                  <a:cubicBezTo>
                    <a:pt x="62" y="168"/>
                    <a:pt x="60" y="166"/>
                    <a:pt x="61" y="164"/>
                  </a:cubicBezTo>
                  <a:cubicBezTo>
                    <a:pt x="62" y="162"/>
                    <a:pt x="68" y="162"/>
                    <a:pt x="69" y="163"/>
                  </a:cubicBezTo>
                  <a:cubicBezTo>
                    <a:pt x="70" y="163"/>
                    <a:pt x="71" y="164"/>
                    <a:pt x="72" y="164"/>
                  </a:cubicBezTo>
                  <a:cubicBezTo>
                    <a:pt x="73" y="164"/>
                    <a:pt x="74" y="165"/>
                    <a:pt x="75" y="165"/>
                  </a:cubicBezTo>
                  <a:cubicBezTo>
                    <a:pt x="79" y="166"/>
                    <a:pt x="83" y="166"/>
                    <a:pt x="86" y="166"/>
                  </a:cubicBezTo>
                  <a:cubicBezTo>
                    <a:pt x="89" y="166"/>
                    <a:pt x="91" y="166"/>
                    <a:pt x="94" y="167"/>
                  </a:cubicBezTo>
                  <a:cubicBezTo>
                    <a:pt x="97" y="168"/>
                    <a:pt x="99" y="168"/>
                    <a:pt x="102" y="168"/>
                  </a:cubicBezTo>
                  <a:cubicBezTo>
                    <a:pt x="104" y="168"/>
                    <a:pt x="105" y="168"/>
                    <a:pt x="107" y="168"/>
                  </a:cubicBezTo>
                  <a:cubicBezTo>
                    <a:pt x="107" y="168"/>
                    <a:pt x="108" y="168"/>
                    <a:pt x="109" y="168"/>
                  </a:cubicBezTo>
                  <a:cubicBezTo>
                    <a:pt x="110" y="168"/>
                    <a:pt x="110" y="167"/>
                    <a:pt x="111" y="166"/>
                  </a:cubicBezTo>
                  <a:cubicBezTo>
                    <a:pt x="112" y="166"/>
                    <a:pt x="113" y="166"/>
                    <a:pt x="114" y="166"/>
                  </a:cubicBezTo>
                  <a:cubicBezTo>
                    <a:pt x="115" y="166"/>
                    <a:pt x="117" y="166"/>
                    <a:pt x="118" y="167"/>
                  </a:cubicBezTo>
                  <a:cubicBezTo>
                    <a:pt x="118" y="167"/>
                    <a:pt x="120" y="166"/>
                    <a:pt x="120" y="167"/>
                  </a:cubicBezTo>
                  <a:cubicBezTo>
                    <a:pt x="120" y="167"/>
                    <a:pt x="120" y="168"/>
                    <a:pt x="120" y="169"/>
                  </a:cubicBezTo>
                  <a:cubicBezTo>
                    <a:pt x="120" y="169"/>
                    <a:pt x="121" y="169"/>
                    <a:pt x="121" y="170"/>
                  </a:cubicBezTo>
                  <a:cubicBezTo>
                    <a:pt x="121" y="171"/>
                    <a:pt x="121" y="174"/>
                    <a:pt x="123" y="175"/>
                  </a:cubicBezTo>
                  <a:cubicBezTo>
                    <a:pt x="125" y="175"/>
                    <a:pt x="129" y="173"/>
                    <a:pt x="129" y="171"/>
                  </a:cubicBezTo>
                  <a:cubicBezTo>
                    <a:pt x="130" y="170"/>
                    <a:pt x="132" y="171"/>
                    <a:pt x="133" y="171"/>
                  </a:cubicBezTo>
                  <a:cubicBezTo>
                    <a:pt x="135" y="171"/>
                    <a:pt x="135" y="169"/>
                    <a:pt x="136" y="168"/>
                  </a:cubicBezTo>
                  <a:cubicBezTo>
                    <a:pt x="137" y="168"/>
                    <a:pt x="139" y="169"/>
                    <a:pt x="140" y="169"/>
                  </a:cubicBezTo>
                  <a:cubicBezTo>
                    <a:pt x="142" y="169"/>
                    <a:pt x="143" y="170"/>
                    <a:pt x="145" y="171"/>
                  </a:cubicBezTo>
                  <a:cubicBezTo>
                    <a:pt x="146" y="171"/>
                    <a:pt x="148" y="171"/>
                    <a:pt x="150" y="171"/>
                  </a:cubicBezTo>
                  <a:cubicBezTo>
                    <a:pt x="151" y="171"/>
                    <a:pt x="152" y="170"/>
                    <a:pt x="153" y="170"/>
                  </a:cubicBezTo>
                  <a:cubicBezTo>
                    <a:pt x="156" y="169"/>
                    <a:pt x="158" y="169"/>
                    <a:pt x="161" y="170"/>
                  </a:cubicBezTo>
                  <a:cubicBezTo>
                    <a:pt x="161" y="171"/>
                    <a:pt x="161" y="173"/>
                    <a:pt x="162" y="174"/>
                  </a:cubicBezTo>
                  <a:cubicBezTo>
                    <a:pt x="163" y="174"/>
                    <a:pt x="162" y="171"/>
                    <a:pt x="164" y="171"/>
                  </a:cubicBezTo>
                  <a:cubicBezTo>
                    <a:pt x="165" y="171"/>
                    <a:pt x="166" y="172"/>
                    <a:pt x="167" y="173"/>
                  </a:cubicBezTo>
                  <a:cubicBezTo>
                    <a:pt x="169" y="174"/>
                    <a:pt x="171" y="175"/>
                    <a:pt x="173" y="176"/>
                  </a:cubicBezTo>
                  <a:cubicBezTo>
                    <a:pt x="174" y="176"/>
                    <a:pt x="176" y="176"/>
                    <a:pt x="176" y="177"/>
                  </a:cubicBezTo>
                  <a:cubicBezTo>
                    <a:pt x="177" y="178"/>
                    <a:pt x="176" y="179"/>
                    <a:pt x="177" y="180"/>
                  </a:cubicBezTo>
                  <a:cubicBezTo>
                    <a:pt x="177" y="181"/>
                    <a:pt x="178" y="181"/>
                    <a:pt x="179" y="181"/>
                  </a:cubicBezTo>
                  <a:cubicBezTo>
                    <a:pt x="181" y="181"/>
                    <a:pt x="182" y="179"/>
                    <a:pt x="183" y="179"/>
                  </a:cubicBezTo>
                  <a:cubicBezTo>
                    <a:pt x="187" y="176"/>
                    <a:pt x="192" y="178"/>
                    <a:pt x="197" y="179"/>
                  </a:cubicBezTo>
                  <a:cubicBezTo>
                    <a:pt x="198" y="179"/>
                    <a:pt x="201" y="179"/>
                    <a:pt x="203" y="178"/>
                  </a:cubicBezTo>
                  <a:cubicBezTo>
                    <a:pt x="204" y="177"/>
                    <a:pt x="204" y="176"/>
                    <a:pt x="205" y="175"/>
                  </a:cubicBezTo>
                  <a:cubicBezTo>
                    <a:pt x="206" y="175"/>
                    <a:pt x="207" y="175"/>
                    <a:pt x="208" y="175"/>
                  </a:cubicBezTo>
                  <a:cubicBezTo>
                    <a:pt x="208" y="174"/>
                    <a:pt x="208" y="173"/>
                    <a:pt x="208" y="172"/>
                  </a:cubicBezTo>
                  <a:cubicBezTo>
                    <a:pt x="208" y="171"/>
                    <a:pt x="208" y="169"/>
                    <a:pt x="209" y="168"/>
                  </a:cubicBezTo>
                  <a:cubicBezTo>
                    <a:pt x="210" y="167"/>
                    <a:pt x="212" y="166"/>
                    <a:pt x="213" y="165"/>
                  </a:cubicBezTo>
                  <a:cubicBezTo>
                    <a:pt x="214" y="165"/>
                    <a:pt x="215" y="165"/>
                    <a:pt x="215" y="164"/>
                  </a:cubicBezTo>
                  <a:cubicBezTo>
                    <a:pt x="216" y="164"/>
                    <a:pt x="216" y="163"/>
                    <a:pt x="216" y="163"/>
                  </a:cubicBezTo>
                  <a:cubicBezTo>
                    <a:pt x="218" y="161"/>
                    <a:pt x="225" y="161"/>
                    <a:pt x="225" y="164"/>
                  </a:cubicBezTo>
                  <a:cubicBezTo>
                    <a:pt x="222" y="166"/>
                    <a:pt x="222" y="166"/>
                    <a:pt x="222" y="166"/>
                  </a:cubicBezTo>
                  <a:cubicBezTo>
                    <a:pt x="221" y="167"/>
                    <a:pt x="222" y="167"/>
                    <a:pt x="221" y="168"/>
                  </a:cubicBezTo>
                  <a:cubicBezTo>
                    <a:pt x="221" y="169"/>
                    <a:pt x="221" y="169"/>
                    <a:pt x="221" y="170"/>
                  </a:cubicBezTo>
                  <a:cubicBezTo>
                    <a:pt x="222" y="170"/>
                    <a:pt x="223" y="171"/>
                    <a:pt x="224" y="172"/>
                  </a:cubicBezTo>
                  <a:cubicBezTo>
                    <a:pt x="225" y="175"/>
                    <a:pt x="227" y="177"/>
                    <a:pt x="229" y="180"/>
                  </a:cubicBezTo>
                  <a:cubicBezTo>
                    <a:pt x="230" y="183"/>
                    <a:pt x="231" y="185"/>
                    <a:pt x="234" y="186"/>
                  </a:cubicBezTo>
                  <a:cubicBezTo>
                    <a:pt x="234" y="187"/>
                    <a:pt x="235" y="190"/>
                    <a:pt x="237" y="190"/>
                  </a:cubicBezTo>
                  <a:cubicBezTo>
                    <a:pt x="237" y="188"/>
                    <a:pt x="240" y="187"/>
                    <a:pt x="241" y="188"/>
                  </a:cubicBezTo>
                  <a:cubicBezTo>
                    <a:pt x="242" y="188"/>
                    <a:pt x="243" y="190"/>
                    <a:pt x="244" y="190"/>
                  </a:cubicBezTo>
                  <a:cubicBezTo>
                    <a:pt x="247" y="192"/>
                    <a:pt x="251" y="191"/>
                    <a:pt x="254" y="191"/>
                  </a:cubicBezTo>
                  <a:cubicBezTo>
                    <a:pt x="256" y="191"/>
                    <a:pt x="258" y="191"/>
                    <a:pt x="260" y="193"/>
                  </a:cubicBezTo>
                  <a:cubicBezTo>
                    <a:pt x="261" y="193"/>
                    <a:pt x="262" y="195"/>
                    <a:pt x="263" y="196"/>
                  </a:cubicBezTo>
                  <a:cubicBezTo>
                    <a:pt x="266" y="197"/>
                    <a:pt x="268" y="198"/>
                    <a:pt x="270" y="200"/>
                  </a:cubicBezTo>
                  <a:cubicBezTo>
                    <a:pt x="273" y="201"/>
                    <a:pt x="275" y="203"/>
                    <a:pt x="278" y="205"/>
                  </a:cubicBezTo>
                  <a:cubicBezTo>
                    <a:pt x="281" y="207"/>
                    <a:pt x="283" y="209"/>
                    <a:pt x="286" y="211"/>
                  </a:cubicBezTo>
                  <a:cubicBezTo>
                    <a:pt x="288" y="213"/>
                    <a:pt x="291" y="216"/>
                    <a:pt x="292" y="219"/>
                  </a:cubicBezTo>
                  <a:cubicBezTo>
                    <a:pt x="292" y="220"/>
                    <a:pt x="292" y="221"/>
                    <a:pt x="293" y="221"/>
                  </a:cubicBezTo>
                  <a:cubicBezTo>
                    <a:pt x="293" y="222"/>
                    <a:pt x="294" y="223"/>
                    <a:pt x="295" y="224"/>
                  </a:cubicBezTo>
                  <a:cubicBezTo>
                    <a:pt x="296" y="226"/>
                    <a:pt x="298" y="228"/>
                    <a:pt x="299" y="230"/>
                  </a:cubicBezTo>
                  <a:cubicBezTo>
                    <a:pt x="299" y="231"/>
                    <a:pt x="299" y="232"/>
                    <a:pt x="300" y="233"/>
                  </a:cubicBezTo>
                  <a:cubicBezTo>
                    <a:pt x="301" y="234"/>
                    <a:pt x="305" y="234"/>
                    <a:pt x="307" y="235"/>
                  </a:cubicBezTo>
                  <a:cubicBezTo>
                    <a:pt x="309" y="235"/>
                    <a:pt x="311" y="236"/>
                    <a:pt x="313" y="236"/>
                  </a:cubicBezTo>
                  <a:cubicBezTo>
                    <a:pt x="313" y="236"/>
                    <a:pt x="313" y="236"/>
                    <a:pt x="314" y="236"/>
                  </a:cubicBezTo>
                  <a:cubicBezTo>
                    <a:pt x="315" y="236"/>
                    <a:pt x="315" y="236"/>
                    <a:pt x="316" y="235"/>
                  </a:cubicBezTo>
                  <a:cubicBezTo>
                    <a:pt x="317" y="235"/>
                    <a:pt x="319" y="236"/>
                    <a:pt x="321" y="236"/>
                  </a:cubicBezTo>
                  <a:cubicBezTo>
                    <a:pt x="323" y="236"/>
                    <a:pt x="324" y="236"/>
                    <a:pt x="325" y="234"/>
                  </a:cubicBezTo>
                  <a:cubicBezTo>
                    <a:pt x="326" y="233"/>
                    <a:pt x="327" y="230"/>
                    <a:pt x="329" y="229"/>
                  </a:cubicBezTo>
                  <a:cubicBezTo>
                    <a:pt x="329" y="228"/>
                    <a:pt x="331" y="227"/>
                    <a:pt x="332" y="227"/>
                  </a:cubicBezTo>
                  <a:cubicBezTo>
                    <a:pt x="333" y="226"/>
                    <a:pt x="334" y="226"/>
                    <a:pt x="335" y="226"/>
                  </a:cubicBezTo>
                  <a:cubicBezTo>
                    <a:pt x="336" y="226"/>
                    <a:pt x="336" y="224"/>
                    <a:pt x="337" y="224"/>
                  </a:cubicBezTo>
                  <a:cubicBezTo>
                    <a:pt x="339" y="222"/>
                    <a:pt x="343" y="220"/>
                    <a:pt x="346" y="222"/>
                  </a:cubicBezTo>
                  <a:cubicBezTo>
                    <a:pt x="348" y="223"/>
                    <a:pt x="348" y="223"/>
                    <a:pt x="351" y="224"/>
                  </a:cubicBezTo>
                  <a:cubicBezTo>
                    <a:pt x="353" y="224"/>
                    <a:pt x="356" y="224"/>
                    <a:pt x="359" y="224"/>
                  </a:cubicBezTo>
                  <a:cubicBezTo>
                    <a:pt x="363" y="223"/>
                    <a:pt x="366" y="228"/>
                    <a:pt x="370" y="225"/>
                  </a:cubicBezTo>
                  <a:cubicBezTo>
                    <a:pt x="374" y="222"/>
                    <a:pt x="371" y="217"/>
                    <a:pt x="372" y="213"/>
                  </a:cubicBezTo>
                  <a:cubicBezTo>
                    <a:pt x="373" y="208"/>
                    <a:pt x="376" y="206"/>
                    <a:pt x="381" y="205"/>
                  </a:cubicBezTo>
                  <a:cubicBezTo>
                    <a:pt x="385" y="205"/>
                    <a:pt x="389" y="200"/>
                    <a:pt x="392" y="197"/>
                  </a:cubicBezTo>
                  <a:cubicBezTo>
                    <a:pt x="392" y="196"/>
                    <a:pt x="393" y="195"/>
                    <a:pt x="394" y="194"/>
                  </a:cubicBezTo>
                  <a:cubicBezTo>
                    <a:pt x="394" y="191"/>
                    <a:pt x="395" y="188"/>
                    <a:pt x="395" y="187"/>
                  </a:cubicBezTo>
                  <a:cubicBezTo>
                    <a:pt x="396" y="182"/>
                    <a:pt x="398" y="177"/>
                    <a:pt x="399" y="173"/>
                  </a:cubicBezTo>
                  <a:cubicBezTo>
                    <a:pt x="399" y="170"/>
                    <a:pt x="399" y="167"/>
                    <a:pt x="399" y="165"/>
                  </a:cubicBezTo>
                  <a:cubicBezTo>
                    <a:pt x="399" y="164"/>
                    <a:pt x="399" y="162"/>
                    <a:pt x="399" y="16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0" name="Freeform 40"/>
            <p:cNvSpPr>
              <a:spLocks/>
            </p:cNvSpPr>
            <p:nvPr/>
          </p:nvSpPr>
          <p:spPr bwMode="auto">
            <a:xfrm>
              <a:off x="5822950" y="2852738"/>
              <a:ext cx="508000" cy="412750"/>
            </a:xfrm>
            <a:custGeom>
              <a:avLst/>
              <a:gdLst/>
              <a:ahLst/>
              <a:cxnLst>
                <a:cxn ang="0">
                  <a:pos x="269" y="22"/>
                </a:cxn>
                <a:cxn ang="0">
                  <a:pos x="268" y="32"/>
                </a:cxn>
                <a:cxn ang="0">
                  <a:pos x="255" y="49"/>
                </a:cxn>
                <a:cxn ang="0">
                  <a:pos x="252" y="66"/>
                </a:cxn>
                <a:cxn ang="0">
                  <a:pos x="234" y="69"/>
                </a:cxn>
                <a:cxn ang="0">
                  <a:pos x="209" y="77"/>
                </a:cxn>
                <a:cxn ang="0">
                  <a:pos x="212" y="94"/>
                </a:cxn>
                <a:cxn ang="0">
                  <a:pos x="219" y="119"/>
                </a:cxn>
                <a:cxn ang="0">
                  <a:pos x="240" y="136"/>
                </a:cxn>
                <a:cxn ang="0">
                  <a:pos x="237" y="157"/>
                </a:cxn>
                <a:cxn ang="0">
                  <a:pos x="242" y="171"/>
                </a:cxn>
                <a:cxn ang="0">
                  <a:pos x="248" y="184"/>
                </a:cxn>
                <a:cxn ang="0">
                  <a:pos x="236" y="187"/>
                </a:cxn>
                <a:cxn ang="0">
                  <a:pos x="232" y="195"/>
                </a:cxn>
                <a:cxn ang="0">
                  <a:pos x="228" y="209"/>
                </a:cxn>
                <a:cxn ang="0">
                  <a:pos x="217" y="218"/>
                </a:cxn>
                <a:cxn ang="0">
                  <a:pos x="204" y="212"/>
                </a:cxn>
                <a:cxn ang="0">
                  <a:pos x="188" y="217"/>
                </a:cxn>
                <a:cxn ang="0">
                  <a:pos x="176" y="214"/>
                </a:cxn>
                <a:cxn ang="0">
                  <a:pos x="164" y="207"/>
                </a:cxn>
                <a:cxn ang="0">
                  <a:pos x="153" y="192"/>
                </a:cxn>
                <a:cxn ang="0">
                  <a:pos x="132" y="179"/>
                </a:cxn>
                <a:cxn ang="0">
                  <a:pos x="114" y="164"/>
                </a:cxn>
                <a:cxn ang="0">
                  <a:pos x="101" y="169"/>
                </a:cxn>
                <a:cxn ang="0">
                  <a:pos x="81" y="177"/>
                </a:cxn>
                <a:cxn ang="0">
                  <a:pos x="69" y="186"/>
                </a:cxn>
                <a:cxn ang="0">
                  <a:pos x="70" y="159"/>
                </a:cxn>
                <a:cxn ang="0">
                  <a:pos x="78" y="138"/>
                </a:cxn>
                <a:cxn ang="0">
                  <a:pos x="44" y="143"/>
                </a:cxn>
                <a:cxn ang="0">
                  <a:pos x="23" y="119"/>
                </a:cxn>
                <a:cxn ang="0">
                  <a:pos x="21" y="107"/>
                </a:cxn>
                <a:cxn ang="0">
                  <a:pos x="28" y="96"/>
                </a:cxn>
                <a:cxn ang="0">
                  <a:pos x="22" y="87"/>
                </a:cxn>
                <a:cxn ang="0">
                  <a:pos x="20" y="68"/>
                </a:cxn>
                <a:cxn ang="0">
                  <a:pos x="3" y="63"/>
                </a:cxn>
                <a:cxn ang="0">
                  <a:pos x="13" y="59"/>
                </a:cxn>
                <a:cxn ang="0">
                  <a:pos x="17" y="44"/>
                </a:cxn>
                <a:cxn ang="0">
                  <a:pos x="29" y="39"/>
                </a:cxn>
                <a:cxn ang="0">
                  <a:pos x="46" y="32"/>
                </a:cxn>
                <a:cxn ang="0">
                  <a:pos x="58" y="25"/>
                </a:cxn>
                <a:cxn ang="0">
                  <a:pos x="81" y="18"/>
                </a:cxn>
                <a:cxn ang="0">
                  <a:pos x="97" y="8"/>
                </a:cxn>
                <a:cxn ang="0">
                  <a:pos x="109" y="14"/>
                </a:cxn>
                <a:cxn ang="0">
                  <a:pos x="128" y="5"/>
                </a:cxn>
                <a:cxn ang="0">
                  <a:pos x="136" y="4"/>
                </a:cxn>
                <a:cxn ang="0">
                  <a:pos x="153" y="6"/>
                </a:cxn>
                <a:cxn ang="0">
                  <a:pos x="167" y="6"/>
                </a:cxn>
                <a:cxn ang="0">
                  <a:pos x="183" y="12"/>
                </a:cxn>
                <a:cxn ang="0">
                  <a:pos x="195" y="14"/>
                </a:cxn>
                <a:cxn ang="0">
                  <a:pos x="227" y="23"/>
                </a:cxn>
                <a:cxn ang="0">
                  <a:pos x="247" y="19"/>
                </a:cxn>
              </a:cxnLst>
              <a:rect l="0" t="0" r="r" b="b"/>
              <a:pathLst>
                <a:path w="272" h="221">
                  <a:moveTo>
                    <a:pt x="264" y="14"/>
                  </a:moveTo>
                  <a:cubicBezTo>
                    <a:pt x="264" y="14"/>
                    <a:pt x="264" y="15"/>
                    <a:pt x="264" y="15"/>
                  </a:cubicBezTo>
                  <a:cubicBezTo>
                    <a:pt x="265" y="18"/>
                    <a:pt x="267" y="20"/>
                    <a:pt x="269" y="22"/>
                  </a:cubicBezTo>
                  <a:cubicBezTo>
                    <a:pt x="270" y="23"/>
                    <a:pt x="271" y="24"/>
                    <a:pt x="271" y="26"/>
                  </a:cubicBezTo>
                  <a:cubicBezTo>
                    <a:pt x="272" y="28"/>
                    <a:pt x="271" y="27"/>
                    <a:pt x="270" y="29"/>
                  </a:cubicBezTo>
                  <a:cubicBezTo>
                    <a:pt x="269" y="30"/>
                    <a:pt x="269" y="31"/>
                    <a:pt x="268" y="32"/>
                  </a:cubicBezTo>
                  <a:cubicBezTo>
                    <a:pt x="267" y="35"/>
                    <a:pt x="265" y="34"/>
                    <a:pt x="264" y="35"/>
                  </a:cubicBezTo>
                  <a:cubicBezTo>
                    <a:pt x="260" y="37"/>
                    <a:pt x="257" y="41"/>
                    <a:pt x="256" y="45"/>
                  </a:cubicBezTo>
                  <a:cubicBezTo>
                    <a:pt x="255" y="46"/>
                    <a:pt x="255" y="48"/>
                    <a:pt x="255" y="49"/>
                  </a:cubicBezTo>
                  <a:cubicBezTo>
                    <a:pt x="254" y="51"/>
                    <a:pt x="254" y="53"/>
                    <a:pt x="254" y="54"/>
                  </a:cubicBezTo>
                  <a:cubicBezTo>
                    <a:pt x="254" y="57"/>
                    <a:pt x="253" y="58"/>
                    <a:pt x="253" y="60"/>
                  </a:cubicBezTo>
                  <a:cubicBezTo>
                    <a:pt x="252" y="62"/>
                    <a:pt x="253" y="64"/>
                    <a:pt x="252" y="66"/>
                  </a:cubicBezTo>
                  <a:cubicBezTo>
                    <a:pt x="251" y="69"/>
                    <a:pt x="248" y="71"/>
                    <a:pt x="245" y="71"/>
                  </a:cubicBezTo>
                  <a:cubicBezTo>
                    <a:pt x="242" y="71"/>
                    <a:pt x="242" y="70"/>
                    <a:pt x="240" y="69"/>
                  </a:cubicBezTo>
                  <a:cubicBezTo>
                    <a:pt x="238" y="68"/>
                    <a:pt x="236" y="69"/>
                    <a:pt x="234" y="69"/>
                  </a:cubicBezTo>
                  <a:cubicBezTo>
                    <a:pt x="230" y="69"/>
                    <a:pt x="227" y="71"/>
                    <a:pt x="223" y="72"/>
                  </a:cubicBezTo>
                  <a:cubicBezTo>
                    <a:pt x="220" y="73"/>
                    <a:pt x="218" y="73"/>
                    <a:pt x="215" y="74"/>
                  </a:cubicBezTo>
                  <a:cubicBezTo>
                    <a:pt x="213" y="75"/>
                    <a:pt x="211" y="76"/>
                    <a:pt x="209" y="77"/>
                  </a:cubicBezTo>
                  <a:cubicBezTo>
                    <a:pt x="206" y="79"/>
                    <a:pt x="202" y="80"/>
                    <a:pt x="203" y="84"/>
                  </a:cubicBezTo>
                  <a:cubicBezTo>
                    <a:pt x="204" y="86"/>
                    <a:pt x="207" y="89"/>
                    <a:pt x="209" y="91"/>
                  </a:cubicBezTo>
                  <a:cubicBezTo>
                    <a:pt x="210" y="92"/>
                    <a:pt x="211" y="93"/>
                    <a:pt x="212" y="94"/>
                  </a:cubicBezTo>
                  <a:cubicBezTo>
                    <a:pt x="215" y="97"/>
                    <a:pt x="215" y="101"/>
                    <a:pt x="216" y="105"/>
                  </a:cubicBezTo>
                  <a:cubicBezTo>
                    <a:pt x="216" y="108"/>
                    <a:pt x="216" y="111"/>
                    <a:pt x="216" y="114"/>
                  </a:cubicBezTo>
                  <a:cubicBezTo>
                    <a:pt x="217" y="116"/>
                    <a:pt x="218" y="117"/>
                    <a:pt x="219" y="119"/>
                  </a:cubicBezTo>
                  <a:cubicBezTo>
                    <a:pt x="220" y="123"/>
                    <a:pt x="219" y="126"/>
                    <a:pt x="222" y="129"/>
                  </a:cubicBezTo>
                  <a:cubicBezTo>
                    <a:pt x="224" y="130"/>
                    <a:pt x="229" y="131"/>
                    <a:pt x="229" y="135"/>
                  </a:cubicBezTo>
                  <a:cubicBezTo>
                    <a:pt x="232" y="136"/>
                    <a:pt x="237" y="134"/>
                    <a:pt x="240" y="136"/>
                  </a:cubicBezTo>
                  <a:cubicBezTo>
                    <a:pt x="243" y="140"/>
                    <a:pt x="237" y="140"/>
                    <a:pt x="236" y="141"/>
                  </a:cubicBezTo>
                  <a:cubicBezTo>
                    <a:pt x="235" y="142"/>
                    <a:pt x="235" y="144"/>
                    <a:pt x="235" y="146"/>
                  </a:cubicBezTo>
                  <a:cubicBezTo>
                    <a:pt x="235" y="151"/>
                    <a:pt x="234" y="154"/>
                    <a:pt x="237" y="157"/>
                  </a:cubicBezTo>
                  <a:cubicBezTo>
                    <a:pt x="238" y="159"/>
                    <a:pt x="239" y="161"/>
                    <a:pt x="240" y="163"/>
                  </a:cubicBezTo>
                  <a:cubicBezTo>
                    <a:pt x="241" y="165"/>
                    <a:pt x="242" y="166"/>
                    <a:pt x="242" y="168"/>
                  </a:cubicBezTo>
                  <a:cubicBezTo>
                    <a:pt x="242" y="169"/>
                    <a:pt x="242" y="170"/>
                    <a:pt x="242" y="171"/>
                  </a:cubicBezTo>
                  <a:cubicBezTo>
                    <a:pt x="242" y="172"/>
                    <a:pt x="244" y="173"/>
                    <a:pt x="244" y="174"/>
                  </a:cubicBezTo>
                  <a:cubicBezTo>
                    <a:pt x="245" y="174"/>
                    <a:pt x="245" y="177"/>
                    <a:pt x="245" y="178"/>
                  </a:cubicBezTo>
                  <a:cubicBezTo>
                    <a:pt x="245" y="180"/>
                    <a:pt x="246" y="182"/>
                    <a:pt x="248" y="184"/>
                  </a:cubicBezTo>
                  <a:cubicBezTo>
                    <a:pt x="248" y="185"/>
                    <a:pt x="250" y="184"/>
                    <a:pt x="250" y="186"/>
                  </a:cubicBezTo>
                  <a:cubicBezTo>
                    <a:pt x="249" y="188"/>
                    <a:pt x="248" y="187"/>
                    <a:pt x="247" y="187"/>
                  </a:cubicBezTo>
                  <a:cubicBezTo>
                    <a:pt x="244" y="188"/>
                    <a:pt x="239" y="186"/>
                    <a:pt x="236" y="187"/>
                  </a:cubicBezTo>
                  <a:cubicBezTo>
                    <a:pt x="234" y="188"/>
                    <a:pt x="235" y="189"/>
                    <a:pt x="234" y="191"/>
                  </a:cubicBezTo>
                  <a:cubicBezTo>
                    <a:pt x="233" y="192"/>
                    <a:pt x="232" y="191"/>
                    <a:pt x="232" y="193"/>
                  </a:cubicBezTo>
                  <a:cubicBezTo>
                    <a:pt x="232" y="194"/>
                    <a:pt x="232" y="195"/>
                    <a:pt x="232" y="195"/>
                  </a:cubicBezTo>
                  <a:cubicBezTo>
                    <a:pt x="234" y="198"/>
                    <a:pt x="234" y="197"/>
                    <a:pt x="234" y="200"/>
                  </a:cubicBezTo>
                  <a:cubicBezTo>
                    <a:pt x="234" y="200"/>
                    <a:pt x="235" y="203"/>
                    <a:pt x="234" y="204"/>
                  </a:cubicBezTo>
                  <a:cubicBezTo>
                    <a:pt x="233" y="207"/>
                    <a:pt x="230" y="207"/>
                    <a:pt x="228" y="209"/>
                  </a:cubicBezTo>
                  <a:cubicBezTo>
                    <a:pt x="226" y="210"/>
                    <a:pt x="226" y="211"/>
                    <a:pt x="226" y="214"/>
                  </a:cubicBezTo>
                  <a:cubicBezTo>
                    <a:pt x="226" y="217"/>
                    <a:pt x="227" y="218"/>
                    <a:pt x="227" y="220"/>
                  </a:cubicBezTo>
                  <a:cubicBezTo>
                    <a:pt x="223" y="221"/>
                    <a:pt x="220" y="220"/>
                    <a:pt x="217" y="218"/>
                  </a:cubicBezTo>
                  <a:cubicBezTo>
                    <a:pt x="215" y="217"/>
                    <a:pt x="213" y="217"/>
                    <a:pt x="211" y="216"/>
                  </a:cubicBezTo>
                  <a:cubicBezTo>
                    <a:pt x="210" y="215"/>
                    <a:pt x="210" y="214"/>
                    <a:pt x="209" y="213"/>
                  </a:cubicBezTo>
                  <a:cubicBezTo>
                    <a:pt x="208" y="212"/>
                    <a:pt x="206" y="212"/>
                    <a:pt x="204" y="212"/>
                  </a:cubicBezTo>
                  <a:cubicBezTo>
                    <a:pt x="203" y="211"/>
                    <a:pt x="204" y="211"/>
                    <a:pt x="202" y="211"/>
                  </a:cubicBezTo>
                  <a:cubicBezTo>
                    <a:pt x="201" y="210"/>
                    <a:pt x="197" y="210"/>
                    <a:pt x="196" y="211"/>
                  </a:cubicBezTo>
                  <a:cubicBezTo>
                    <a:pt x="191" y="212"/>
                    <a:pt x="192" y="216"/>
                    <a:pt x="188" y="217"/>
                  </a:cubicBezTo>
                  <a:cubicBezTo>
                    <a:pt x="187" y="217"/>
                    <a:pt x="186" y="217"/>
                    <a:pt x="185" y="217"/>
                  </a:cubicBezTo>
                  <a:cubicBezTo>
                    <a:pt x="183" y="216"/>
                    <a:pt x="180" y="216"/>
                    <a:pt x="178" y="215"/>
                  </a:cubicBezTo>
                  <a:cubicBezTo>
                    <a:pt x="177" y="215"/>
                    <a:pt x="177" y="214"/>
                    <a:pt x="176" y="214"/>
                  </a:cubicBezTo>
                  <a:cubicBezTo>
                    <a:pt x="174" y="213"/>
                    <a:pt x="173" y="212"/>
                    <a:pt x="171" y="212"/>
                  </a:cubicBezTo>
                  <a:cubicBezTo>
                    <a:pt x="171" y="212"/>
                    <a:pt x="169" y="213"/>
                    <a:pt x="168" y="212"/>
                  </a:cubicBezTo>
                  <a:cubicBezTo>
                    <a:pt x="166" y="212"/>
                    <a:pt x="165" y="209"/>
                    <a:pt x="164" y="207"/>
                  </a:cubicBezTo>
                  <a:cubicBezTo>
                    <a:pt x="162" y="205"/>
                    <a:pt x="161" y="203"/>
                    <a:pt x="159" y="200"/>
                  </a:cubicBezTo>
                  <a:cubicBezTo>
                    <a:pt x="158" y="198"/>
                    <a:pt x="158" y="197"/>
                    <a:pt x="156" y="196"/>
                  </a:cubicBezTo>
                  <a:cubicBezTo>
                    <a:pt x="153" y="195"/>
                    <a:pt x="153" y="195"/>
                    <a:pt x="153" y="192"/>
                  </a:cubicBezTo>
                  <a:cubicBezTo>
                    <a:pt x="152" y="189"/>
                    <a:pt x="154" y="188"/>
                    <a:pt x="151" y="186"/>
                  </a:cubicBezTo>
                  <a:cubicBezTo>
                    <a:pt x="148" y="185"/>
                    <a:pt x="145" y="186"/>
                    <a:pt x="143" y="184"/>
                  </a:cubicBezTo>
                  <a:cubicBezTo>
                    <a:pt x="139" y="181"/>
                    <a:pt x="139" y="177"/>
                    <a:pt x="132" y="179"/>
                  </a:cubicBezTo>
                  <a:cubicBezTo>
                    <a:pt x="133" y="174"/>
                    <a:pt x="128" y="171"/>
                    <a:pt x="124" y="169"/>
                  </a:cubicBezTo>
                  <a:cubicBezTo>
                    <a:pt x="122" y="169"/>
                    <a:pt x="121" y="168"/>
                    <a:pt x="120" y="168"/>
                  </a:cubicBezTo>
                  <a:cubicBezTo>
                    <a:pt x="118" y="166"/>
                    <a:pt x="117" y="164"/>
                    <a:pt x="114" y="164"/>
                  </a:cubicBezTo>
                  <a:cubicBezTo>
                    <a:pt x="114" y="166"/>
                    <a:pt x="114" y="169"/>
                    <a:pt x="114" y="171"/>
                  </a:cubicBezTo>
                  <a:cubicBezTo>
                    <a:pt x="109" y="172"/>
                    <a:pt x="112" y="166"/>
                    <a:pt x="110" y="165"/>
                  </a:cubicBezTo>
                  <a:cubicBezTo>
                    <a:pt x="108" y="164"/>
                    <a:pt x="103" y="168"/>
                    <a:pt x="101" y="169"/>
                  </a:cubicBezTo>
                  <a:cubicBezTo>
                    <a:pt x="100" y="170"/>
                    <a:pt x="99" y="170"/>
                    <a:pt x="98" y="171"/>
                  </a:cubicBezTo>
                  <a:cubicBezTo>
                    <a:pt x="97" y="172"/>
                    <a:pt x="96" y="173"/>
                    <a:pt x="96" y="174"/>
                  </a:cubicBezTo>
                  <a:cubicBezTo>
                    <a:pt x="92" y="177"/>
                    <a:pt x="86" y="176"/>
                    <a:pt x="81" y="177"/>
                  </a:cubicBezTo>
                  <a:cubicBezTo>
                    <a:pt x="78" y="177"/>
                    <a:pt x="79" y="177"/>
                    <a:pt x="78" y="179"/>
                  </a:cubicBezTo>
                  <a:cubicBezTo>
                    <a:pt x="76" y="181"/>
                    <a:pt x="75" y="182"/>
                    <a:pt x="73" y="184"/>
                  </a:cubicBezTo>
                  <a:cubicBezTo>
                    <a:pt x="72" y="184"/>
                    <a:pt x="70" y="186"/>
                    <a:pt x="69" y="186"/>
                  </a:cubicBezTo>
                  <a:cubicBezTo>
                    <a:pt x="65" y="188"/>
                    <a:pt x="65" y="185"/>
                    <a:pt x="64" y="182"/>
                  </a:cubicBezTo>
                  <a:cubicBezTo>
                    <a:pt x="63" y="176"/>
                    <a:pt x="67" y="174"/>
                    <a:pt x="68" y="169"/>
                  </a:cubicBezTo>
                  <a:cubicBezTo>
                    <a:pt x="70" y="165"/>
                    <a:pt x="71" y="163"/>
                    <a:pt x="70" y="159"/>
                  </a:cubicBezTo>
                  <a:cubicBezTo>
                    <a:pt x="70" y="157"/>
                    <a:pt x="70" y="156"/>
                    <a:pt x="69" y="154"/>
                  </a:cubicBezTo>
                  <a:cubicBezTo>
                    <a:pt x="69" y="150"/>
                    <a:pt x="70" y="145"/>
                    <a:pt x="73" y="142"/>
                  </a:cubicBezTo>
                  <a:cubicBezTo>
                    <a:pt x="74" y="140"/>
                    <a:pt x="77" y="140"/>
                    <a:pt x="78" y="138"/>
                  </a:cubicBezTo>
                  <a:cubicBezTo>
                    <a:pt x="76" y="135"/>
                    <a:pt x="64" y="134"/>
                    <a:pt x="62" y="137"/>
                  </a:cubicBezTo>
                  <a:cubicBezTo>
                    <a:pt x="59" y="140"/>
                    <a:pt x="59" y="144"/>
                    <a:pt x="55" y="147"/>
                  </a:cubicBezTo>
                  <a:cubicBezTo>
                    <a:pt x="51" y="150"/>
                    <a:pt x="47" y="147"/>
                    <a:pt x="44" y="143"/>
                  </a:cubicBezTo>
                  <a:cubicBezTo>
                    <a:pt x="43" y="140"/>
                    <a:pt x="37" y="130"/>
                    <a:pt x="33" y="134"/>
                  </a:cubicBezTo>
                  <a:cubicBezTo>
                    <a:pt x="31" y="131"/>
                    <a:pt x="30" y="127"/>
                    <a:pt x="27" y="124"/>
                  </a:cubicBezTo>
                  <a:cubicBezTo>
                    <a:pt x="26" y="122"/>
                    <a:pt x="24" y="121"/>
                    <a:pt x="23" y="119"/>
                  </a:cubicBezTo>
                  <a:cubicBezTo>
                    <a:pt x="22" y="118"/>
                    <a:pt x="23" y="114"/>
                    <a:pt x="23" y="112"/>
                  </a:cubicBezTo>
                  <a:cubicBezTo>
                    <a:pt x="22" y="111"/>
                    <a:pt x="22" y="110"/>
                    <a:pt x="21" y="109"/>
                  </a:cubicBezTo>
                  <a:cubicBezTo>
                    <a:pt x="21" y="108"/>
                    <a:pt x="21" y="108"/>
                    <a:pt x="21" y="107"/>
                  </a:cubicBezTo>
                  <a:cubicBezTo>
                    <a:pt x="21" y="107"/>
                    <a:pt x="21" y="106"/>
                    <a:pt x="20" y="106"/>
                  </a:cubicBezTo>
                  <a:cubicBezTo>
                    <a:pt x="19" y="104"/>
                    <a:pt x="16" y="97"/>
                    <a:pt x="20" y="96"/>
                  </a:cubicBezTo>
                  <a:cubicBezTo>
                    <a:pt x="22" y="95"/>
                    <a:pt x="26" y="97"/>
                    <a:pt x="28" y="96"/>
                  </a:cubicBezTo>
                  <a:cubicBezTo>
                    <a:pt x="28" y="96"/>
                    <a:pt x="30" y="93"/>
                    <a:pt x="30" y="93"/>
                  </a:cubicBezTo>
                  <a:cubicBezTo>
                    <a:pt x="31" y="91"/>
                    <a:pt x="32" y="90"/>
                    <a:pt x="32" y="88"/>
                  </a:cubicBezTo>
                  <a:cubicBezTo>
                    <a:pt x="28" y="87"/>
                    <a:pt x="25" y="88"/>
                    <a:pt x="22" y="87"/>
                  </a:cubicBezTo>
                  <a:cubicBezTo>
                    <a:pt x="22" y="86"/>
                    <a:pt x="22" y="84"/>
                    <a:pt x="22" y="82"/>
                  </a:cubicBezTo>
                  <a:cubicBezTo>
                    <a:pt x="21" y="80"/>
                    <a:pt x="18" y="79"/>
                    <a:pt x="17" y="76"/>
                  </a:cubicBezTo>
                  <a:cubicBezTo>
                    <a:pt x="16" y="72"/>
                    <a:pt x="18" y="70"/>
                    <a:pt x="20" y="68"/>
                  </a:cubicBezTo>
                  <a:cubicBezTo>
                    <a:pt x="19" y="66"/>
                    <a:pt x="14" y="67"/>
                    <a:pt x="12" y="67"/>
                  </a:cubicBezTo>
                  <a:cubicBezTo>
                    <a:pt x="9" y="67"/>
                    <a:pt x="6" y="70"/>
                    <a:pt x="4" y="69"/>
                  </a:cubicBezTo>
                  <a:cubicBezTo>
                    <a:pt x="0" y="68"/>
                    <a:pt x="1" y="64"/>
                    <a:pt x="3" y="63"/>
                  </a:cubicBezTo>
                  <a:cubicBezTo>
                    <a:pt x="6" y="62"/>
                    <a:pt x="6" y="62"/>
                    <a:pt x="8" y="63"/>
                  </a:cubicBezTo>
                  <a:cubicBezTo>
                    <a:pt x="10" y="63"/>
                    <a:pt x="11" y="62"/>
                    <a:pt x="12" y="61"/>
                  </a:cubicBezTo>
                  <a:cubicBezTo>
                    <a:pt x="12" y="60"/>
                    <a:pt x="12" y="59"/>
                    <a:pt x="13" y="59"/>
                  </a:cubicBezTo>
                  <a:cubicBezTo>
                    <a:pt x="13" y="58"/>
                    <a:pt x="14" y="59"/>
                    <a:pt x="14" y="58"/>
                  </a:cubicBezTo>
                  <a:cubicBezTo>
                    <a:pt x="16" y="57"/>
                    <a:pt x="16" y="57"/>
                    <a:pt x="17" y="55"/>
                  </a:cubicBezTo>
                  <a:cubicBezTo>
                    <a:pt x="18" y="51"/>
                    <a:pt x="17" y="48"/>
                    <a:pt x="17" y="44"/>
                  </a:cubicBezTo>
                  <a:cubicBezTo>
                    <a:pt x="16" y="40"/>
                    <a:pt x="17" y="37"/>
                    <a:pt x="21" y="39"/>
                  </a:cubicBezTo>
                  <a:cubicBezTo>
                    <a:pt x="22" y="39"/>
                    <a:pt x="23" y="41"/>
                    <a:pt x="25" y="41"/>
                  </a:cubicBezTo>
                  <a:cubicBezTo>
                    <a:pt x="27" y="42"/>
                    <a:pt x="28" y="40"/>
                    <a:pt x="29" y="39"/>
                  </a:cubicBezTo>
                  <a:cubicBezTo>
                    <a:pt x="31" y="37"/>
                    <a:pt x="41" y="36"/>
                    <a:pt x="41" y="40"/>
                  </a:cubicBezTo>
                  <a:cubicBezTo>
                    <a:pt x="43" y="40"/>
                    <a:pt x="52" y="40"/>
                    <a:pt x="50" y="36"/>
                  </a:cubicBezTo>
                  <a:cubicBezTo>
                    <a:pt x="50" y="34"/>
                    <a:pt x="47" y="34"/>
                    <a:pt x="46" y="32"/>
                  </a:cubicBezTo>
                  <a:cubicBezTo>
                    <a:pt x="45" y="30"/>
                    <a:pt x="47" y="29"/>
                    <a:pt x="48" y="29"/>
                  </a:cubicBezTo>
                  <a:cubicBezTo>
                    <a:pt x="50" y="29"/>
                    <a:pt x="52" y="30"/>
                    <a:pt x="53" y="29"/>
                  </a:cubicBezTo>
                  <a:cubicBezTo>
                    <a:pt x="56" y="29"/>
                    <a:pt x="56" y="27"/>
                    <a:pt x="58" y="25"/>
                  </a:cubicBezTo>
                  <a:cubicBezTo>
                    <a:pt x="61" y="22"/>
                    <a:pt x="66" y="20"/>
                    <a:pt x="69" y="20"/>
                  </a:cubicBezTo>
                  <a:cubicBezTo>
                    <a:pt x="72" y="20"/>
                    <a:pt x="73" y="20"/>
                    <a:pt x="75" y="19"/>
                  </a:cubicBezTo>
                  <a:cubicBezTo>
                    <a:pt x="77" y="19"/>
                    <a:pt x="79" y="18"/>
                    <a:pt x="81" y="18"/>
                  </a:cubicBezTo>
                  <a:cubicBezTo>
                    <a:pt x="83" y="17"/>
                    <a:pt x="83" y="17"/>
                    <a:pt x="84" y="16"/>
                  </a:cubicBezTo>
                  <a:cubicBezTo>
                    <a:pt x="85" y="15"/>
                    <a:pt x="87" y="15"/>
                    <a:pt x="89" y="14"/>
                  </a:cubicBezTo>
                  <a:cubicBezTo>
                    <a:pt x="92" y="11"/>
                    <a:pt x="93" y="9"/>
                    <a:pt x="97" y="8"/>
                  </a:cubicBezTo>
                  <a:cubicBezTo>
                    <a:pt x="100" y="7"/>
                    <a:pt x="102" y="8"/>
                    <a:pt x="105" y="10"/>
                  </a:cubicBezTo>
                  <a:cubicBezTo>
                    <a:pt x="106" y="11"/>
                    <a:pt x="108" y="11"/>
                    <a:pt x="109" y="12"/>
                  </a:cubicBezTo>
                  <a:cubicBezTo>
                    <a:pt x="109" y="13"/>
                    <a:pt x="109" y="14"/>
                    <a:pt x="109" y="14"/>
                  </a:cubicBezTo>
                  <a:cubicBezTo>
                    <a:pt x="110" y="14"/>
                    <a:pt x="111" y="14"/>
                    <a:pt x="111" y="14"/>
                  </a:cubicBezTo>
                  <a:cubicBezTo>
                    <a:pt x="116" y="16"/>
                    <a:pt x="123" y="16"/>
                    <a:pt x="128" y="15"/>
                  </a:cubicBezTo>
                  <a:cubicBezTo>
                    <a:pt x="128" y="12"/>
                    <a:pt x="127" y="8"/>
                    <a:pt x="128" y="5"/>
                  </a:cubicBezTo>
                  <a:cubicBezTo>
                    <a:pt x="128" y="4"/>
                    <a:pt x="128" y="2"/>
                    <a:pt x="130" y="3"/>
                  </a:cubicBezTo>
                  <a:cubicBezTo>
                    <a:pt x="133" y="3"/>
                    <a:pt x="132" y="7"/>
                    <a:pt x="132" y="9"/>
                  </a:cubicBezTo>
                  <a:cubicBezTo>
                    <a:pt x="136" y="10"/>
                    <a:pt x="135" y="5"/>
                    <a:pt x="136" y="4"/>
                  </a:cubicBezTo>
                  <a:cubicBezTo>
                    <a:pt x="139" y="0"/>
                    <a:pt x="140" y="6"/>
                    <a:pt x="141" y="8"/>
                  </a:cubicBezTo>
                  <a:cubicBezTo>
                    <a:pt x="143" y="8"/>
                    <a:pt x="145" y="9"/>
                    <a:pt x="147" y="8"/>
                  </a:cubicBezTo>
                  <a:cubicBezTo>
                    <a:pt x="150" y="8"/>
                    <a:pt x="151" y="7"/>
                    <a:pt x="153" y="6"/>
                  </a:cubicBezTo>
                  <a:cubicBezTo>
                    <a:pt x="156" y="5"/>
                    <a:pt x="158" y="5"/>
                    <a:pt x="161" y="5"/>
                  </a:cubicBezTo>
                  <a:cubicBezTo>
                    <a:pt x="163" y="4"/>
                    <a:pt x="163" y="3"/>
                    <a:pt x="166" y="4"/>
                  </a:cubicBezTo>
                  <a:cubicBezTo>
                    <a:pt x="166" y="5"/>
                    <a:pt x="167" y="6"/>
                    <a:pt x="167" y="6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2" y="8"/>
                    <a:pt x="173" y="9"/>
                    <a:pt x="175" y="9"/>
                  </a:cubicBezTo>
                  <a:cubicBezTo>
                    <a:pt x="177" y="10"/>
                    <a:pt x="180" y="12"/>
                    <a:pt x="183" y="12"/>
                  </a:cubicBezTo>
                  <a:cubicBezTo>
                    <a:pt x="183" y="11"/>
                    <a:pt x="183" y="9"/>
                    <a:pt x="183" y="8"/>
                  </a:cubicBezTo>
                  <a:cubicBezTo>
                    <a:pt x="185" y="8"/>
                    <a:pt x="187" y="10"/>
                    <a:pt x="188" y="11"/>
                  </a:cubicBezTo>
                  <a:cubicBezTo>
                    <a:pt x="191" y="13"/>
                    <a:pt x="192" y="14"/>
                    <a:pt x="195" y="14"/>
                  </a:cubicBezTo>
                  <a:cubicBezTo>
                    <a:pt x="198" y="15"/>
                    <a:pt x="202" y="14"/>
                    <a:pt x="205" y="16"/>
                  </a:cubicBezTo>
                  <a:cubicBezTo>
                    <a:pt x="209" y="17"/>
                    <a:pt x="211" y="20"/>
                    <a:pt x="214" y="21"/>
                  </a:cubicBezTo>
                  <a:cubicBezTo>
                    <a:pt x="218" y="23"/>
                    <a:pt x="223" y="23"/>
                    <a:pt x="227" y="23"/>
                  </a:cubicBezTo>
                  <a:cubicBezTo>
                    <a:pt x="231" y="22"/>
                    <a:pt x="233" y="20"/>
                    <a:pt x="237" y="19"/>
                  </a:cubicBezTo>
                  <a:cubicBezTo>
                    <a:pt x="238" y="19"/>
                    <a:pt x="243" y="17"/>
                    <a:pt x="244" y="17"/>
                  </a:cubicBezTo>
                  <a:cubicBezTo>
                    <a:pt x="246" y="18"/>
                    <a:pt x="245" y="18"/>
                    <a:pt x="247" y="19"/>
                  </a:cubicBezTo>
                  <a:cubicBezTo>
                    <a:pt x="251" y="22"/>
                    <a:pt x="259" y="21"/>
                    <a:pt x="264" y="21"/>
                  </a:cubicBezTo>
                  <a:lnTo>
                    <a:pt x="264" y="1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1" name="Freeform 41"/>
            <p:cNvSpPr>
              <a:spLocks/>
            </p:cNvSpPr>
            <p:nvPr/>
          </p:nvSpPr>
          <p:spPr bwMode="auto">
            <a:xfrm>
              <a:off x="5683250" y="3044825"/>
              <a:ext cx="171450" cy="144463"/>
            </a:xfrm>
            <a:custGeom>
              <a:avLst/>
              <a:gdLst/>
              <a:ahLst/>
              <a:cxnLst>
                <a:cxn ang="0">
                  <a:pos x="83" y="0"/>
                </a:cxn>
                <a:cxn ang="0">
                  <a:pos x="76" y="1"/>
                </a:cxn>
                <a:cxn ang="0">
                  <a:pos x="75" y="8"/>
                </a:cxn>
                <a:cxn ang="0">
                  <a:pos x="75" y="11"/>
                </a:cxn>
                <a:cxn ang="0">
                  <a:pos x="72" y="9"/>
                </a:cxn>
                <a:cxn ang="0">
                  <a:pos x="69" y="8"/>
                </a:cxn>
                <a:cxn ang="0">
                  <a:pos x="66" y="6"/>
                </a:cxn>
                <a:cxn ang="0">
                  <a:pos x="62" y="6"/>
                </a:cxn>
                <a:cxn ang="0">
                  <a:pos x="59" y="4"/>
                </a:cxn>
                <a:cxn ang="0">
                  <a:pos x="55" y="9"/>
                </a:cxn>
                <a:cxn ang="0">
                  <a:pos x="49" y="9"/>
                </a:cxn>
                <a:cxn ang="0">
                  <a:pos x="46" y="7"/>
                </a:cxn>
                <a:cxn ang="0">
                  <a:pos x="42" y="7"/>
                </a:cxn>
                <a:cxn ang="0">
                  <a:pos x="38" y="3"/>
                </a:cxn>
                <a:cxn ang="0">
                  <a:pos x="36" y="7"/>
                </a:cxn>
                <a:cxn ang="0">
                  <a:pos x="32" y="9"/>
                </a:cxn>
                <a:cxn ang="0">
                  <a:pos x="28" y="20"/>
                </a:cxn>
                <a:cxn ang="0">
                  <a:pos x="22" y="18"/>
                </a:cxn>
                <a:cxn ang="0">
                  <a:pos x="22" y="13"/>
                </a:cxn>
                <a:cxn ang="0">
                  <a:pos x="16" y="25"/>
                </a:cxn>
                <a:cxn ang="0">
                  <a:pos x="7" y="17"/>
                </a:cxn>
                <a:cxn ang="0">
                  <a:pos x="1" y="20"/>
                </a:cxn>
                <a:cxn ang="0">
                  <a:pos x="7" y="27"/>
                </a:cxn>
                <a:cxn ang="0">
                  <a:pos x="5" y="31"/>
                </a:cxn>
                <a:cxn ang="0">
                  <a:pos x="9" y="36"/>
                </a:cxn>
                <a:cxn ang="0">
                  <a:pos x="3" y="39"/>
                </a:cxn>
                <a:cxn ang="0">
                  <a:pos x="10" y="42"/>
                </a:cxn>
                <a:cxn ang="0">
                  <a:pos x="19" y="51"/>
                </a:cxn>
                <a:cxn ang="0">
                  <a:pos x="20" y="59"/>
                </a:cxn>
                <a:cxn ang="0">
                  <a:pos x="14" y="63"/>
                </a:cxn>
                <a:cxn ang="0">
                  <a:pos x="18" y="77"/>
                </a:cxn>
                <a:cxn ang="0">
                  <a:pos x="22" y="75"/>
                </a:cxn>
                <a:cxn ang="0">
                  <a:pos x="23" y="69"/>
                </a:cxn>
                <a:cxn ang="0">
                  <a:pos x="22" y="64"/>
                </a:cxn>
                <a:cxn ang="0">
                  <a:pos x="21" y="59"/>
                </a:cxn>
                <a:cxn ang="0">
                  <a:pos x="24" y="53"/>
                </a:cxn>
                <a:cxn ang="0">
                  <a:pos x="27" y="49"/>
                </a:cxn>
                <a:cxn ang="0">
                  <a:pos x="28" y="48"/>
                </a:cxn>
                <a:cxn ang="0">
                  <a:pos x="31" y="50"/>
                </a:cxn>
                <a:cxn ang="0">
                  <a:pos x="34" y="48"/>
                </a:cxn>
                <a:cxn ang="0">
                  <a:pos x="39" y="50"/>
                </a:cxn>
                <a:cxn ang="0">
                  <a:pos x="48" y="45"/>
                </a:cxn>
                <a:cxn ang="0">
                  <a:pos x="56" y="44"/>
                </a:cxn>
                <a:cxn ang="0">
                  <a:pos x="57" y="38"/>
                </a:cxn>
                <a:cxn ang="0">
                  <a:pos x="62" y="37"/>
                </a:cxn>
                <a:cxn ang="0">
                  <a:pos x="68" y="31"/>
                </a:cxn>
                <a:cxn ang="0">
                  <a:pos x="72" y="27"/>
                </a:cxn>
                <a:cxn ang="0">
                  <a:pos x="80" y="20"/>
                </a:cxn>
                <a:cxn ang="0">
                  <a:pos x="75" y="17"/>
                </a:cxn>
                <a:cxn ang="0">
                  <a:pos x="72" y="13"/>
                </a:cxn>
                <a:cxn ang="0">
                  <a:pos x="90" y="12"/>
                </a:cxn>
                <a:cxn ang="0">
                  <a:pos x="82" y="1"/>
                </a:cxn>
                <a:cxn ang="0">
                  <a:pos x="83" y="0"/>
                </a:cxn>
              </a:cxnLst>
              <a:rect l="0" t="0" r="r" b="b"/>
              <a:pathLst>
                <a:path w="91" h="77">
                  <a:moveTo>
                    <a:pt x="83" y="0"/>
                  </a:moveTo>
                  <a:cubicBezTo>
                    <a:pt x="81" y="0"/>
                    <a:pt x="77" y="0"/>
                    <a:pt x="76" y="1"/>
                  </a:cubicBezTo>
                  <a:cubicBezTo>
                    <a:pt x="72" y="2"/>
                    <a:pt x="74" y="5"/>
                    <a:pt x="75" y="8"/>
                  </a:cubicBezTo>
                  <a:cubicBezTo>
                    <a:pt x="75" y="9"/>
                    <a:pt x="76" y="10"/>
                    <a:pt x="75" y="11"/>
                  </a:cubicBezTo>
                  <a:cubicBezTo>
                    <a:pt x="73" y="12"/>
                    <a:pt x="73" y="10"/>
                    <a:pt x="72" y="9"/>
                  </a:cubicBezTo>
                  <a:cubicBezTo>
                    <a:pt x="70" y="8"/>
                    <a:pt x="70" y="9"/>
                    <a:pt x="69" y="8"/>
                  </a:cubicBezTo>
                  <a:cubicBezTo>
                    <a:pt x="68" y="7"/>
                    <a:pt x="68" y="7"/>
                    <a:pt x="66" y="6"/>
                  </a:cubicBezTo>
                  <a:cubicBezTo>
                    <a:pt x="65" y="6"/>
                    <a:pt x="63" y="6"/>
                    <a:pt x="62" y="6"/>
                  </a:cubicBezTo>
                  <a:cubicBezTo>
                    <a:pt x="61" y="6"/>
                    <a:pt x="60" y="4"/>
                    <a:pt x="59" y="4"/>
                  </a:cubicBezTo>
                  <a:cubicBezTo>
                    <a:pt x="56" y="4"/>
                    <a:pt x="57" y="8"/>
                    <a:pt x="55" y="9"/>
                  </a:cubicBezTo>
                  <a:cubicBezTo>
                    <a:pt x="54" y="9"/>
                    <a:pt x="50" y="9"/>
                    <a:pt x="49" y="9"/>
                  </a:cubicBezTo>
                  <a:cubicBezTo>
                    <a:pt x="48" y="8"/>
                    <a:pt x="47" y="7"/>
                    <a:pt x="46" y="7"/>
                  </a:cubicBezTo>
                  <a:cubicBezTo>
                    <a:pt x="44" y="7"/>
                    <a:pt x="43" y="7"/>
                    <a:pt x="42" y="7"/>
                  </a:cubicBezTo>
                  <a:cubicBezTo>
                    <a:pt x="41" y="5"/>
                    <a:pt x="41" y="1"/>
                    <a:pt x="38" y="3"/>
                  </a:cubicBezTo>
                  <a:cubicBezTo>
                    <a:pt x="36" y="4"/>
                    <a:pt x="37" y="6"/>
                    <a:pt x="36" y="7"/>
                  </a:cubicBezTo>
                  <a:cubicBezTo>
                    <a:pt x="34" y="9"/>
                    <a:pt x="33" y="8"/>
                    <a:pt x="32" y="9"/>
                  </a:cubicBezTo>
                  <a:cubicBezTo>
                    <a:pt x="28" y="11"/>
                    <a:pt x="31" y="17"/>
                    <a:pt x="28" y="20"/>
                  </a:cubicBezTo>
                  <a:cubicBezTo>
                    <a:pt x="27" y="21"/>
                    <a:pt x="23" y="19"/>
                    <a:pt x="22" y="18"/>
                  </a:cubicBezTo>
                  <a:cubicBezTo>
                    <a:pt x="22" y="17"/>
                    <a:pt x="23" y="15"/>
                    <a:pt x="22" y="13"/>
                  </a:cubicBezTo>
                  <a:cubicBezTo>
                    <a:pt x="16" y="12"/>
                    <a:pt x="16" y="21"/>
                    <a:pt x="16" y="25"/>
                  </a:cubicBezTo>
                  <a:cubicBezTo>
                    <a:pt x="12" y="27"/>
                    <a:pt x="9" y="18"/>
                    <a:pt x="7" y="17"/>
                  </a:cubicBezTo>
                  <a:cubicBezTo>
                    <a:pt x="5" y="15"/>
                    <a:pt x="0" y="16"/>
                    <a:pt x="1" y="20"/>
                  </a:cubicBezTo>
                  <a:cubicBezTo>
                    <a:pt x="5" y="20"/>
                    <a:pt x="7" y="24"/>
                    <a:pt x="7" y="27"/>
                  </a:cubicBezTo>
                  <a:cubicBezTo>
                    <a:pt x="6" y="28"/>
                    <a:pt x="5" y="29"/>
                    <a:pt x="5" y="31"/>
                  </a:cubicBezTo>
                  <a:cubicBezTo>
                    <a:pt x="4" y="34"/>
                    <a:pt x="7" y="34"/>
                    <a:pt x="9" y="36"/>
                  </a:cubicBezTo>
                  <a:cubicBezTo>
                    <a:pt x="8" y="38"/>
                    <a:pt x="4" y="37"/>
                    <a:pt x="3" y="39"/>
                  </a:cubicBezTo>
                  <a:cubicBezTo>
                    <a:pt x="1" y="42"/>
                    <a:pt x="8" y="42"/>
                    <a:pt x="10" y="42"/>
                  </a:cubicBezTo>
                  <a:cubicBezTo>
                    <a:pt x="10" y="48"/>
                    <a:pt x="18" y="45"/>
                    <a:pt x="19" y="51"/>
                  </a:cubicBezTo>
                  <a:cubicBezTo>
                    <a:pt x="19" y="53"/>
                    <a:pt x="21" y="57"/>
                    <a:pt x="20" y="59"/>
                  </a:cubicBezTo>
                  <a:cubicBezTo>
                    <a:pt x="19" y="60"/>
                    <a:pt x="16" y="62"/>
                    <a:pt x="14" y="63"/>
                  </a:cubicBezTo>
                  <a:cubicBezTo>
                    <a:pt x="9" y="67"/>
                    <a:pt x="10" y="77"/>
                    <a:pt x="18" y="77"/>
                  </a:cubicBezTo>
                  <a:cubicBezTo>
                    <a:pt x="21" y="77"/>
                    <a:pt x="21" y="77"/>
                    <a:pt x="22" y="75"/>
                  </a:cubicBezTo>
                  <a:cubicBezTo>
                    <a:pt x="23" y="74"/>
                    <a:pt x="24" y="70"/>
                    <a:pt x="23" y="69"/>
                  </a:cubicBezTo>
                  <a:cubicBezTo>
                    <a:pt x="23" y="67"/>
                    <a:pt x="22" y="66"/>
                    <a:pt x="22" y="64"/>
                  </a:cubicBezTo>
                  <a:cubicBezTo>
                    <a:pt x="21" y="62"/>
                    <a:pt x="22" y="61"/>
                    <a:pt x="21" y="59"/>
                  </a:cubicBezTo>
                  <a:cubicBezTo>
                    <a:pt x="23" y="59"/>
                    <a:pt x="23" y="55"/>
                    <a:pt x="24" y="53"/>
                  </a:cubicBezTo>
                  <a:cubicBezTo>
                    <a:pt x="25" y="52"/>
                    <a:pt x="25" y="50"/>
                    <a:pt x="27" y="49"/>
                  </a:cubicBezTo>
                  <a:cubicBezTo>
                    <a:pt x="28" y="48"/>
                    <a:pt x="27" y="48"/>
                    <a:pt x="28" y="48"/>
                  </a:cubicBezTo>
                  <a:cubicBezTo>
                    <a:pt x="30" y="48"/>
                    <a:pt x="30" y="50"/>
                    <a:pt x="31" y="50"/>
                  </a:cubicBezTo>
                  <a:cubicBezTo>
                    <a:pt x="33" y="51"/>
                    <a:pt x="32" y="49"/>
                    <a:pt x="34" y="48"/>
                  </a:cubicBezTo>
                  <a:cubicBezTo>
                    <a:pt x="37" y="46"/>
                    <a:pt x="38" y="49"/>
                    <a:pt x="39" y="50"/>
                  </a:cubicBezTo>
                  <a:cubicBezTo>
                    <a:pt x="44" y="53"/>
                    <a:pt x="46" y="47"/>
                    <a:pt x="48" y="45"/>
                  </a:cubicBezTo>
                  <a:cubicBezTo>
                    <a:pt x="51" y="42"/>
                    <a:pt x="53" y="45"/>
                    <a:pt x="56" y="44"/>
                  </a:cubicBezTo>
                  <a:cubicBezTo>
                    <a:pt x="56" y="42"/>
                    <a:pt x="55" y="40"/>
                    <a:pt x="57" y="38"/>
                  </a:cubicBezTo>
                  <a:cubicBezTo>
                    <a:pt x="59" y="36"/>
                    <a:pt x="60" y="37"/>
                    <a:pt x="62" y="37"/>
                  </a:cubicBezTo>
                  <a:cubicBezTo>
                    <a:pt x="66" y="36"/>
                    <a:pt x="66" y="34"/>
                    <a:pt x="68" y="31"/>
                  </a:cubicBezTo>
                  <a:cubicBezTo>
                    <a:pt x="69" y="28"/>
                    <a:pt x="69" y="28"/>
                    <a:pt x="72" y="27"/>
                  </a:cubicBezTo>
                  <a:cubicBezTo>
                    <a:pt x="76" y="25"/>
                    <a:pt x="84" y="25"/>
                    <a:pt x="80" y="20"/>
                  </a:cubicBezTo>
                  <a:cubicBezTo>
                    <a:pt x="79" y="17"/>
                    <a:pt x="77" y="17"/>
                    <a:pt x="75" y="17"/>
                  </a:cubicBezTo>
                  <a:cubicBezTo>
                    <a:pt x="72" y="16"/>
                    <a:pt x="73" y="15"/>
                    <a:pt x="72" y="13"/>
                  </a:cubicBezTo>
                  <a:cubicBezTo>
                    <a:pt x="76" y="15"/>
                    <a:pt x="87" y="17"/>
                    <a:pt x="90" y="12"/>
                  </a:cubicBezTo>
                  <a:cubicBezTo>
                    <a:pt x="91" y="8"/>
                    <a:pt x="85" y="2"/>
                    <a:pt x="82" y="1"/>
                  </a:cubicBezTo>
                  <a:lnTo>
                    <a:pt x="8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2" name="Freeform 42"/>
            <p:cNvSpPr>
              <a:spLocks/>
            </p:cNvSpPr>
            <p:nvPr/>
          </p:nvSpPr>
          <p:spPr bwMode="auto">
            <a:xfrm>
              <a:off x="5713413" y="2960688"/>
              <a:ext cx="101600" cy="79375"/>
            </a:xfrm>
            <a:custGeom>
              <a:avLst/>
              <a:gdLst/>
              <a:ahLst/>
              <a:cxnLst>
                <a:cxn ang="0">
                  <a:pos x="50" y="21"/>
                </a:cxn>
                <a:cxn ang="0">
                  <a:pos x="53" y="27"/>
                </a:cxn>
                <a:cxn ang="0">
                  <a:pos x="44" y="26"/>
                </a:cxn>
                <a:cxn ang="0">
                  <a:pos x="36" y="25"/>
                </a:cxn>
                <a:cxn ang="0">
                  <a:pos x="37" y="34"/>
                </a:cxn>
                <a:cxn ang="0">
                  <a:pos x="38" y="39"/>
                </a:cxn>
                <a:cxn ang="0">
                  <a:pos x="31" y="38"/>
                </a:cxn>
                <a:cxn ang="0">
                  <a:pos x="29" y="36"/>
                </a:cxn>
                <a:cxn ang="0">
                  <a:pos x="28" y="40"/>
                </a:cxn>
                <a:cxn ang="0">
                  <a:pos x="23" y="41"/>
                </a:cxn>
                <a:cxn ang="0">
                  <a:pos x="20" y="36"/>
                </a:cxn>
                <a:cxn ang="0">
                  <a:pos x="14" y="25"/>
                </a:cxn>
                <a:cxn ang="0">
                  <a:pos x="3" y="24"/>
                </a:cxn>
                <a:cxn ang="0">
                  <a:pos x="1" y="19"/>
                </a:cxn>
                <a:cxn ang="0">
                  <a:pos x="1" y="16"/>
                </a:cxn>
                <a:cxn ang="0">
                  <a:pos x="10" y="17"/>
                </a:cxn>
                <a:cxn ang="0">
                  <a:pos x="12" y="16"/>
                </a:cxn>
                <a:cxn ang="0">
                  <a:pos x="16" y="17"/>
                </a:cxn>
                <a:cxn ang="0">
                  <a:pos x="20" y="6"/>
                </a:cxn>
                <a:cxn ang="0">
                  <a:pos x="28" y="4"/>
                </a:cxn>
                <a:cxn ang="0">
                  <a:pos x="34" y="0"/>
                </a:cxn>
                <a:cxn ang="0">
                  <a:pos x="35" y="9"/>
                </a:cxn>
                <a:cxn ang="0">
                  <a:pos x="41" y="10"/>
                </a:cxn>
                <a:cxn ang="0">
                  <a:pos x="43" y="15"/>
                </a:cxn>
                <a:cxn ang="0">
                  <a:pos x="53" y="17"/>
                </a:cxn>
                <a:cxn ang="0">
                  <a:pos x="53" y="23"/>
                </a:cxn>
                <a:cxn ang="0">
                  <a:pos x="50" y="21"/>
                </a:cxn>
              </a:cxnLst>
              <a:rect l="0" t="0" r="r" b="b"/>
              <a:pathLst>
                <a:path w="54" h="42">
                  <a:moveTo>
                    <a:pt x="50" y="21"/>
                  </a:moveTo>
                  <a:cubicBezTo>
                    <a:pt x="50" y="24"/>
                    <a:pt x="54" y="24"/>
                    <a:pt x="53" y="27"/>
                  </a:cubicBezTo>
                  <a:cubicBezTo>
                    <a:pt x="50" y="28"/>
                    <a:pt x="47" y="27"/>
                    <a:pt x="44" y="26"/>
                  </a:cubicBezTo>
                  <a:cubicBezTo>
                    <a:pt x="41" y="24"/>
                    <a:pt x="39" y="21"/>
                    <a:pt x="36" y="25"/>
                  </a:cubicBezTo>
                  <a:cubicBezTo>
                    <a:pt x="34" y="29"/>
                    <a:pt x="34" y="31"/>
                    <a:pt x="37" y="34"/>
                  </a:cubicBezTo>
                  <a:cubicBezTo>
                    <a:pt x="38" y="36"/>
                    <a:pt x="39" y="37"/>
                    <a:pt x="38" y="39"/>
                  </a:cubicBezTo>
                  <a:cubicBezTo>
                    <a:pt x="36" y="39"/>
                    <a:pt x="33" y="39"/>
                    <a:pt x="31" y="38"/>
                  </a:cubicBezTo>
                  <a:cubicBezTo>
                    <a:pt x="30" y="38"/>
                    <a:pt x="31" y="36"/>
                    <a:pt x="29" y="36"/>
                  </a:cubicBezTo>
                  <a:cubicBezTo>
                    <a:pt x="28" y="37"/>
                    <a:pt x="29" y="39"/>
                    <a:pt x="28" y="40"/>
                  </a:cubicBezTo>
                  <a:cubicBezTo>
                    <a:pt x="28" y="42"/>
                    <a:pt x="25" y="42"/>
                    <a:pt x="23" y="41"/>
                  </a:cubicBezTo>
                  <a:cubicBezTo>
                    <a:pt x="20" y="40"/>
                    <a:pt x="20" y="39"/>
                    <a:pt x="20" y="36"/>
                  </a:cubicBezTo>
                  <a:cubicBezTo>
                    <a:pt x="20" y="31"/>
                    <a:pt x="20" y="26"/>
                    <a:pt x="14" y="25"/>
                  </a:cubicBezTo>
                  <a:cubicBezTo>
                    <a:pt x="11" y="25"/>
                    <a:pt x="5" y="27"/>
                    <a:pt x="3" y="24"/>
                  </a:cubicBezTo>
                  <a:cubicBezTo>
                    <a:pt x="2" y="23"/>
                    <a:pt x="1" y="20"/>
                    <a:pt x="1" y="19"/>
                  </a:cubicBezTo>
                  <a:cubicBezTo>
                    <a:pt x="1" y="18"/>
                    <a:pt x="0" y="17"/>
                    <a:pt x="1" y="16"/>
                  </a:cubicBezTo>
                  <a:cubicBezTo>
                    <a:pt x="4" y="15"/>
                    <a:pt x="6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4" y="16"/>
                    <a:pt x="15" y="17"/>
                    <a:pt x="16" y="17"/>
                  </a:cubicBezTo>
                  <a:cubicBezTo>
                    <a:pt x="17" y="12"/>
                    <a:pt x="14" y="9"/>
                    <a:pt x="20" y="6"/>
                  </a:cubicBezTo>
                  <a:cubicBezTo>
                    <a:pt x="22" y="5"/>
                    <a:pt x="25" y="5"/>
                    <a:pt x="28" y="4"/>
                  </a:cubicBezTo>
                  <a:cubicBezTo>
                    <a:pt x="30" y="3"/>
                    <a:pt x="31" y="1"/>
                    <a:pt x="34" y="0"/>
                  </a:cubicBezTo>
                  <a:cubicBezTo>
                    <a:pt x="34" y="3"/>
                    <a:pt x="34" y="6"/>
                    <a:pt x="35" y="9"/>
                  </a:cubicBezTo>
                  <a:cubicBezTo>
                    <a:pt x="37" y="9"/>
                    <a:pt x="39" y="9"/>
                    <a:pt x="41" y="10"/>
                  </a:cubicBezTo>
                  <a:cubicBezTo>
                    <a:pt x="42" y="12"/>
                    <a:pt x="41" y="14"/>
                    <a:pt x="43" y="15"/>
                  </a:cubicBezTo>
                  <a:cubicBezTo>
                    <a:pt x="45" y="17"/>
                    <a:pt x="50" y="14"/>
                    <a:pt x="53" y="17"/>
                  </a:cubicBezTo>
                  <a:cubicBezTo>
                    <a:pt x="53" y="18"/>
                    <a:pt x="54" y="21"/>
                    <a:pt x="53" y="23"/>
                  </a:cubicBezTo>
                  <a:lnTo>
                    <a:pt x="50" y="2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3" name="Freeform 43"/>
            <p:cNvSpPr>
              <a:spLocks noEditPoints="1"/>
            </p:cNvSpPr>
            <p:nvPr/>
          </p:nvSpPr>
          <p:spPr bwMode="auto">
            <a:xfrm>
              <a:off x="5429250" y="5822950"/>
              <a:ext cx="688975" cy="779463"/>
            </a:xfrm>
            <a:custGeom>
              <a:avLst/>
              <a:gdLst/>
              <a:ahLst/>
              <a:cxnLst>
                <a:cxn ang="0">
                  <a:pos x="116" y="274"/>
                </a:cxn>
                <a:cxn ang="0">
                  <a:pos x="84" y="265"/>
                </a:cxn>
                <a:cxn ang="0">
                  <a:pos x="52" y="293"/>
                </a:cxn>
                <a:cxn ang="0">
                  <a:pos x="79" y="343"/>
                </a:cxn>
                <a:cxn ang="0">
                  <a:pos x="77" y="372"/>
                </a:cxn>
                <a:cxn ang="0">
                  <a:pos x="109" y="379"/>
                </a:cxn>
                <a:cxn ang="0">
                  <a:pos x="139" y="385"/>
                </a:cxn>
                <a:cxn ang="0">
                  <a:pos x="154" y="408"/>
                </a:cxn>
                <a:cxn ang="0">
                  <a:pos x="155" y="380"/>
                </a:cxn>
                <a:cxn ang="0">
                  <a:pos x="142" y="334"/>
                </a:cxn>
                <a:cxn ang="0">
                  <a:pos x="160" y="334"/>
                </a:cxn>
                <a:cxn ang="0">
                  <a:pos x="171" y="346"/>
                </a:cxn>
                <a:cxn ang="0">
                  <a:pos x="183" y="335"/>
                </a:cxn>
                <a:cxn ang="0">
                  <a:pos x="160" y="315"/>
                </a:cxn>
                <a:cxn ang="0">
                  <a:pos x="158" y="293"/>
                </a:cxn>
                <a:cxn ang="0">
                  <a:pos x="18" y="191"/>
                </a:cxn>
                <a:cxn ang="0">
                  <a:pos x="48" y="216"/>
                </a:cxn>
                <a:cxn ang="0">
                  <a:pos x="24" y="239"/>
                </a:cxn>
                <a:cxn ang="0">
                  <a:pos x="40" y="236"/>
                </a:cxn>
                <a:cxn ang="0">
                  <a:pos x="69" y="257"/>
                </a:cxn>
                <a:cxn ang="0">
                  <a:pos x="120" y="261"/>
                </a:cxn>
                <a:cxn ang="0">
                  <a:pos x="155" y="271"/>
                </a:cxn>
                <a:cxn ang="0">
                  <a:pos x="152" y="289"/>
                </a:cxn>
                <a:cxn ang="0">
                  <a:pos x="180" y="295"/>
                </a:cxn>
                <a:cxn ang="0">
                  <a:pos x="211" y="312"/>
                </a:cxn>
                <a:cxn ang="0">
                  <a:pos x="216" y="287"/>
                </a:cxn>
                <a:cxn ang="0">
                  <a:pos x="247" y="294"/>
                </a:cxn>
                <a:cxn ang="0">
                  <a:pos x="224" y="248"/>
                </a:cxn>
                <a:cxn ang="0">
                  <a:pos x="168" y="210"/>
                </a:cxn>
                <a:cxn ang="0">
                  <a:pos x="162" y="230"/>
                </a:cxn>
                <a:cxn ang="0">
                  <a:pos x="176" y="249"/>
                </a:cxn>
                <a:cxn ang="0">
                  <a:pos x="149" y="219"/>
                </a:cxn>
                <a:cxn ang="0">
                  <a:pos x="166" y="201"/>
                </a:cxn>
                <a:cxn ang="0">
                  <a:pos x="155" y="166"/>
                </a:cxn>
                <a:cxn ang="0">
                  <a:pos x="132" y="116"/>
                </a:cxn>
                <a:cxn ang="0">
                  <a:pos x="156" y="96"/>
                </a:cxn>
                <a:cxn ang="0">
                  <a:pos x="178" y="138"/>
                </a:cxn>
                <a:cxn ang="0">
                  <a:pos x="196" y="124"/>
                </a:cxn>
                <a:cxn ang="0">
                  <a:pos x="208" y="110"/>
                </a:cxn>
                <a:cxn ang="0">
                  <a:pos x="238" y="121"/>
                </a:cxn>
                <a:cxn ang="0">
                  <a:pos x="210" y="92"/>
                </a:cxn>
                <a:cxn ang="0">
                  <a:pos x="228" y="72"/>
                </a:cxn>
                <a:cxn ang="0">
                  <a:pos x="275" y="53"/>
                </a:cxn>
                <a:cxn ang="0">
                  <a:pos x="333" y="79"/>
                </a:cxn>
                <a:cxn ang="0">
                  <a:pos x="366" y="22"/>
                </a:cxn>
                <a:cxn ang="0">
                  <a:pos x="338" y="13"/>
                </a:cxn>
                <a:cxn ang="0">
                  <a:pos x="320" y="33"/>
                </a:cxn>
                <a:cxn ang="0">
                  <a:pos x="283" y="36"/>
                </a:cxn>
                <a:cxn ang="0">
                  <a:pos x="258" y="27"/>
                </a:cxn>
                <a:cxn ang="0">
                  <a:pos x="239" y="13"/>
                </a:cxn>
                <a:cxn ang="0">
                  <a:pos x="214" y="17"/>
                </a:cxn>
                <a:cxn ang="0">
                  <a:pos x="180" y="25"/>
                </a:cxn>
                <a:cxn ang="0">
                  <a:pos x="155" y="22"/>
                </a:cxn>
                <a:cxn ang="0">
                  <a:pos x="144" y="40"/>
                </a:cxn>
                <a:cxn ang="0">
                  <a:pos x="118" y="37"/>
                </a:cxn>
                <a:cxn ang="0">
                  <a:pos x="93" y="52"/>
                </a:cxn>
                <a:cxn ang="0">
                  <a:pos x="70" y="57"/>
                </a:cxn>
                <a:cxn ang="0">
                  <a:pos x="50" y="82"/>
                </a:cxn>
                <a:cxn ang="0">
                  <a:pos x="33" y="100"/>
                </a:cxn>
                <a:cxn ang="0">
                  <a:pos x="22" y="120"/>
                </a:cxn>
                <a:cxn ang="0">
                  <a:pos x="12" y="140"/>
                </a:cxn>
                <a:cxn ang="0">
                  <a:pos x="2" y="153"/>
                </a:cxn>
              </a:cxnLst>
              <a:rect l="0" t="0" r="r" b="b"/>
              <a:pathLst>
                <a:path w="368" h="417">
                  <a:moveTo>
                    <a:pt x="155" y="296"/>
                  </a:moveTo>
                  <a:cubicBezTo>
                    <a:pt x="155" y="296"/>
                    <a:pt x="155" y="296"/>
                    <a:pt x="155" y="296"/>
                  </a:cubicBezTo>
                  <a:cubicBezTo>
                    <a:pt x="151" y="295"/>
                    <a:pt x="146" y="291"/>
                    <a:pt x="145" y="290"/>
                  </a:cubicBezTo>
                  <a:cubicBezTo>
                    <a:pt x="144" y="289"/>
                    <a:pt x="142" y="288"/>
                    <a:pt x="141" y="287"/>
                  </a:cubicBezTo>
                  <a:cubicBezTo>
                    <a:pt x="141" y="285"/>
                    <a:pt x="140" y="283"/>
                    <a:pt x="139" y="282"/>
                  </a:cubicBezTo>
                  <a:cubicBezTo>
                    <a:pt x="137" y="281"/>
                    <a:pt x="135" y="282"/>
                    <a:pt x="134" y="281"/>
                  </a:cubicBezTo>
                  <a:cubicBezTo>
                    <a:pt x="132" y="281"/>
                    <a:pt x="131" y="280"/>
                    <a:pt x="129" y="279"/>
                  </a:cubicBezTo>
                  <a:cubicBezTo>
                    <a:pt x="125" y="277"/>
                    <a:pt x="120" y="275"/>
                    <a:pt x="116" y="274"/>
                  </a:cubicBezTo>
                  <a:cubicBezTo>
                    <a:pt x="114" y="273"/>
                    <a:pt x="112" y="272"/>
                    <a:pt x="110" y="271"/>
                  </a:cubicBezTo>
                  <a:cubicBezTo>
                    <a:pt x="109" y="271"/>
                    <a:pt x="108" y="271"/>
                    <a:pt x="107" y="270"/>
                  </a:cubicBezTo>
                  <a:cubicBezTo>
                    <a:pt x="106" y="269"/>
                    <a:pt x="107" y="268"/>
                    <a:pt x="106" y="267"/>
                  </a:cubicBezTo>
                  <a:cubicBezTo>
                    <a:pt x="104" y="265"/>
                    <a:pt x="100" y="267"/>
                    <a:pt x="98" y="264"/>
                  </a:cubicBezTo>
                  <a:cubicBezTo>
                    <a:pt x="97" y="262"/>
                    <a:pt x="97" y="261"/>
                    <a:pt x="94" y="261"/>
                  </a:cubicBezTo>
                  <a:cubicBezTo>
                    <a:pt x="92" y="261"/>
                    <a:pt x="91" y="260"/>
                    <a:pt x="89" y="261"/>
                  </a:cubicBezTo>
                  <a:cubicBezTo>
                    <a:pt x="87" y="261"/>
                    <a:pt x="87" y="262"/>
                    <a:pt x="86" y="263"/>
                  </a:cubicBezTo>
                  <a:cubicBezTo>
                    <a:pt x="85" y="264"/>
                    <a:pt x="85" y="265"/>
                    <a:pt x="84" y="265"/>
                  </a:cubicBezTo>
                  <a:cubicBezTo>
                    <a:pt x="82" y="266"/>
                    <a:pt x="81" y="267"/>
                    <a:pt x="79" y="268"/>
                  </a:cubicBezTo>
                  <a:cubicBezTo>
                    <a:pt x="78" y="268"/>
                    <a:pt x="77" y="270"/>
                    <a:pt x="77" y="270"/>
                  </a:cubicBezTo>
                  <a:cubicBezTo>
                    <a:pt x="75" y="271"/>
                    <a:pt x="73" y="270"/>
                    <a:pt x="71" y="269"/>
                  </a:cubicBezTo>
                  <a:cubicBezTo>
                    <a:pt x="70" y="269"/>
                    <a:pt x="67" y="266"/>
                    <a:pt x="65" y="266"/>
                  </a:cubicBezTo>
                  <a:cubicBezTo>
                    <a:pt x="65" y="269"/>
                    <a:pt x="66" y="274"/>
                    <a:pt x="64" y="276"/>
                  </a:cubicBezTo>
                  <a:cubicBezTo>
                    <a:pt x="63" y="277"/>
                    <a:pt x="61" y="277"/>
                    <a:pt x="60" y="278"/>
                  </a:cubicBezTo>
                  <a:cubicBezTo>
                    <a:pt x="57" y="281"/>
                    <a:pt x="55" y="288"/>
                    <a:pt x="55" y="292"/>
                  </a:cubicBezTo>
                  <a:cubicBezTo>
                    <a:pt x="54" y="292"/>
                    <a:pt x="53" y="293"/>
                    <a:pt x="52" y="293"/>
                  </a:cubicBezTo>
                  <a:cubicBezTo>
                    <a:pt x="51" y="293"/>
                    <a:pt x="49" y="292"/>
                    <a:pt x="48" y="293"/>
                  </a:cubicBezTo>
                  <a:cubicBezTo>
                    <a:pt x="45" y="294"/>
                    <a:pt x="44" y="297"/>
                    <a:pt x="46" y="299"/>
                  </a:cubicBezTo>
                  <a:cubicBezTo>
                    <a:pt x="49" y="302"/>
                    <a:pt x="54" y="301"/>
                    <a:pt x="57" y="304"/>
                  </a:cubicBezTo>
                  <a:cubicBezTo>
                    <a:pt x="60" y="307"/>
                    <a:pt x="56" y="309"/>
                    <a:pt x="57" y="312"/>
                  </a:cubicBezTo>
                  <a:cubicBezTo>
                    <a:pt x="61" y="313"/>
                    <a:pt x="65" y="314"/>
                    <a:pt x="69" y="315"/>
                  </a:cubicBezTo>
                  <a:cubicBezTo>
                    <a:pt x="74" y="316"/>
                    <a:pt x="75" y="319"/>
                    <a:pt x="75" y="325"/>
                  </a:cubicBezTo>
                  <a:cubicBezTo>
                    <a:pt x="75" y="328"/>
                    <a:pt x="74" y="331"/>
                    <a:pt x="75" y="334"/>
                  </a:cubicBezTo>
                  <a:cubicBezTo>
                    <a:pt x="76" y="337"/>
                    <a:pt x="80" y="340"/>
                    <a:pt x="79" y="343"/>
                  </a:cubicBezTo>
                  <a:cubicBezTo>
                    <a:pt x="79" y="345"/>
                    <a:pt x="76" y="345"/>
                    <a:pt x="74" y="345"/>
                  </a:cubicBezTo>
                  <a:cubicBezTo>
                    <a:pt x="70" y="346"/>
                    <a:pt x="70" y="346"/>
                    <a:pt x="71" y="349"/>
                  </a:cubicBezTo>
                  <a:cubicBezTo>
                    <a:pt x="71" y="352"/>
                    <a:pt x="71" y="355"/>
                    <a:pt x="71" y="358"/>
                  </a:cubicBezTo>
                  <a:cubicBezTo>
                    <a:pt x="72" y="359"/>
                    <a:pt x="72" y="361"/>
                    <a:pt x="72" y="361"/>
                  </a:cubicBezTo>
                  <a:cubicBezTo>
                    <a:pt x="73" y="362"/>
                    <a:pt x="74" y="362"/>
                    <a:pt x="74" y="362"/>
                  </a:cubicBezTo>
                  <a:cubicBezTo>
                    <a:pt x="75" y="363"/>
                    <a:pt x="75" y="364"/>
                    <a:pt x="76" y="364"/>
                  </a:cubicBezTo>
                  <a:cubicBezTo>
                    <a:pt x="77" y="366"/>
                    <a:pt x="77" y="368"/>
                    <a:pt x="78" y="370"/>
                  </a:cubicBezTo>
                  <a:cubicBezTo>
                    <a:pt x="78" y="371"/>
                    <a:pt x="77" y="371"/>
                    <a:pt x="77" y="372"/>
                  </a:cubicBezTo>
                  <a:cubicBezTo>
                    <a:pt x="75" y="376"/>
                    <a:pt x="76" y="380"/>
                    <a:pt x="77" y="384"/>
                  </a:cubicBezTo>
                  <a:cubicBezTo>
                    <a:pt x="80" y="384"/>
                    <a:pt x="82" y="384"/>
                    <a:pt x="84" y="386"/>
                  </a:cubicBezTo>
                  <a:cubicBezTo>
                    <a:pt x="85" y="387"/>
                    <a:pt x="86" y="388"/>
                    <a:pt x="87" y="389"/>
                  </a:cubicBezTo>
                  <a:cubicBezTo>
                    <a:pt x="88" y="390"/>
                    <a:pt x="90" y="390"/>
                    <a:pt x="90" y="390"/>
                  </a:cubicBezTo>
                  <a:cubicBezTo>
                    <a:pt x="94" y="385"/>
                    <a:pt x="90" y="377"/>
                    <a:pt x="91" y="371"/>
                  </a:cubicBezTo>
                  <a:cubicBezTo>
                    <a:pt x="92" y="364"/>
                    <a:pt x="98" y="366"/>
                    <a:pt x="103" y="367"/>
                  </a:cubicBezTo>
                  <a:cubicBezTo>
                    <a:pt x="103" y="369"/>
                    <a:pt x="103" y="372"/>
                    <a:pt x="104" y="373"/>
                  </a:cubicBezTo>
                  <a:cubicBezTo>
                    <a:pt x="105" y="375"/>
                    <a:pt x="107" y="377"/>
                    <a:pt x="109" y="379"/>
                  </a:cubicBezTo>
                  <a:cubicBezTo>
                    <a:pt x="111" y="381"/>
                    <a:pt x="112" y="383"/>
                    <a:pt x="113" y="386"/>
                  </a:cubicBezTo>
                  <a:cubicBezTo>
                    <a:pt x="114" y="389"/>
                    <a:pt x="116" y="391"/>
                    <a:pt x="117" y="394"/>
                  </a:cubicBezTo>
                  <a:cubicBezTo>
                    <a:pt x="119" y="400"/>
                    <a:pt x="113" y="411"/>
                    <a:pt x="120" y="414"/>
                  </a:cubicBezTo>
                  <a:cubicBezTo>
                    <a:pt x="126" y="417"/>
                    <a:pt x="124" y="408"/>
                    <a:pt x="124" y="405"/>
                  </a:cubicBezTo>
                  <a:cubicBezTo>
                    <a:pt x="124" y="401"/>
                    <a:pt x="123" y="399"/>
                    <a:pt x="125" y="396"/>
                  </a:cubicBezTo>
                  <a:cubicBezTo>
                    <a:pt x="126" y="393"/>
                    <a:pt x="127" y="392"/>
                    <a:pt x="129" y="390"/>
                  </a:cubicBezTo>
                  <a:cubicBezTo>
                    <a:pt x="132" y="388"/>
                    <a:pt x="131" y="385"/>
                    <a:pt x="135" y="385"/>
                  </a:cubicBezTo>
                  <a:cubicBezTo>
                    <a:pt x="136" y="385"/>
                    <a:pt x="138" y="384"/>
                    <a:pt x="139" y="385"/>
                  </a:cubicBezTo>
                  <a:cubicBezTo>
                    <a:pt x="141" y="385"/>
                    <a:pt x="140" y="386"/>
                    <a:pt x="140" y="387"/>
                  </a:cubicBezTo>
                  <a:cubicBezTo>
                    <a:pt x="141" y="389"/>
                    <a:pt x="140" y="389"/>
                    <a:pt x="141" y="391"/>
                  </a:cubicBezTo>
                  <a:cubicBezTo>
                    <a:pt x="142" y="391"/>
                    <a:pt x="143" y="391"/>
                    <a:pt x="144" y="392"/>
                  </a:cubicBezTo>
                  <a:cubicBezTo>
                    <a:pt x="145" y="393"/>
                    <a:pt x="145" y="393"/>
                    <a:pt x="145" y="394"/>
                  </a:cubicBezTo>
                  <a:cubicBezTo>
                    <a:pt x="146" y="396"/>
                    <a:pt x="145" y="398"/>
                    <a:pt x="146" y="400"/>
                  </a:cubicBezTo>
                  <a:cubicBezTo>
                    <a:pt x="146" y="402"/>
                    <a:pt x="146" y="402"/>
                    <a:pt x="147" y="403"/>
                  </a:cubicBezTo>
                  <a:cubicBezTo>
                    <a:pt x="148" y="405"/>
                    <a:pt x="148" y="406"/>
                    <a:pt x="150" y="407"/>
                  </a:cubicBezTo>
                  <a:cubicBezTo>
                    <a:pt x="151" y="407"/>
                    <a:pt x="153" y="407"/>
                    <a:pt x="154" y="408"/>
                  </a:cubicBezTo>
                  <a:cubicBezTo>
                    <a:pt x="155" y="409"/>
                    <a:pt x="155" y="410"/>
                    <a:pt x="155" y="411"/>
                  </a:cubicBezTo>
                  <a:cubicBezTo>
                    <a:pt x="156" y="412"/>
                    <a:pt x="160" y="415"/>
                    <a:pt x="162" y="415"/>
                  </a:cubicBezTo>
                  <a:cubicBezTo>
                    <a:pt x="162" y="413"/>
                    <a:pt x="160" y="412"/>
                    <a:pt x="160" y="410"/>
                  </a:cubicBezTo>
                  <a:cubicBezTo>
                    <a:pt x="159" y="408"/>
                    <a:pt x="159" y="405"/>
                    <a:pt x="157" y="404"/>
                  </a:cubicBezTo>
                  <a:cubicBezTo>
                    <a:pt x="156" y="401"/>
                    <a:pt x="155" y="402"/>
                    <a:pt x="155" y="399"/>
                  </a:cubicBezTo>
                  <a:cubicBezTo>
                    <a:pt x="155" y="397"/>
                    <a:pt x="154" y="395"/>
                    <a:pt x="155" y="393"/>
                  </a:cubicBezTo>
                  <a:cubicBezTo>
                    <a:pt x="155" y="390"/>
                    <a:pt x="157" y="389"/>
                    <a:pt x="156" y="386"/>
                  </a:cubicBezTo>
                  <a:cubicBezTo>
                    <a:pt x="156" y="384"/>
                    <a:pt x="155" y="382"/>
                    <a:pt x="155" y="380"/>
                  </a:cubicBezTo>
                  <a:cubicBezTo>
                    <a:pt x="154" y="378"/>
                    <a:pt x="155" y="375"/>
                    <a:pt x="155" y="373"/>
                  </a:cubicBezTo>
                  <a:cubicBezTo>
                    <a:pt x="155" y="371"/>
                    <a:pt x="155" y="368"/>
                    <a:pt x="155" y="367"/>
                  </a:cubicBezTo>
                  <a:cubicBezTo>
                    <a:pt x="154" y="366"/>
                    <a:pt x="152" y="365"/>
                    <a:pt x="150" y="363"/>
                  </a:cubicBezTo>
                  <a:cubicBezTo>
                    <a:pt x="149" y="362"/>
                    <a:pt x="149" y="361"/>
                    <a:pt x="149" y="359"/>
                  </a:cubicBezTo>
                  <a:cubicBezTo>
                    <a:pt x="149" y="356"/>
                    <a:pt x="150" y="352"/>
                    <a:pt x="149" y="350"/>
                  </a:cubicBezTo>
                  <a:cubicBezTo>
                    <a:pt x="148" y="349"/>
                    <a:pt x="147" y="348"/>
                    <a:pt x="146" y="347"/>
                  </a:cubicBezTo>
                  <a:cubicBezTo>
                    <a:pt x="145" y="345"/>
                    <a:pt x="144" y="342"/>
                    <a:pt x="144" y="340"/>
                  </a:cubicBezTo>
                  <a:cubicBezTo>
                    <a:pt x="143" y="338"/>
                    <a:pt x="143" y="337"/>
                    <a:pt x="142" y="334"/>
                  </a:cubicBezTo>
                  <a:cubicBezTo>
                    <a:pt x="141" y="333"/>
                    <a:pt x="141" y="332"/>
                    <a:pt x="141" y="331"/>
                  </a:cubicBezTo>
                  <a:cubicBezTo>
                    <a:pt x="140" y="330"/>
                    <a:pt x="139" y="329"/>
                    <a:pt x="139" y="329"/>
                  </a:cubicBezTo>
                  <a:cubicBezTo>
                    <a:pt x="138" y="327"/>
                    <a:pt x="138" y="323"/>
                    <a:pt x="140" y="322"/>
                  </a:cubicBezTo>
                  <a:cubicBezTo>
                    <a:pt x="141" y="322"/>
                    <a:pt x="142" y="324"/>
                    <a:pt x="143" y="325"/>
                  </a:cubicBezTo>
                  <a:cubicBezTo>
                    <a:pt x="145" y="325"/>
                    <a:pt x="147" y="324"/>
                    <a:pt x="149" y="326"/>
                  </a:cubicBezTo>
                  <a:cubicBezTo>
                    <a:pt x="149" y="326"/>
                    <a:pt x="150" y="328"/>
                    <a:pt x="150" y="328"/>
                  </a:cubicBezTo>
                  <a:cubicBezTo>
                    <a:pt x="150" y="329"/>
                    <a:pt x="152" y="330"/>
                    <a:pt x="152" y="330"/>
                  </a:cubicBezTo>
                  <a:cubicBezTo>
                    <a:pt x="154" y="332"/>
                    <a:pt x="158" y="332"/>
                    <a:pt x="160" y="334"/>
                  </a:cubicBezTo>
                  <a:cubicBezTo>
                    <a:pt x="160" y="335"/>
                    <a:pt x="159" y="337"/>
                    <a:pt x="159" y="339"/>
                  </a:cubicBezTo>
                  <a:cubicBezTo>
                    <a:pt x="159" y="341"/>
                    <a:pt x="160" y="343"/>
                    <a:pt x="158" y="345"/>
                  </a:cubicBezTo>
                  <a:cubicBezTo>
                    <a:pt x="157" y="347"/>
                    <a:pt x="155" y="347"/>
                    <a:pt x="156" y="350"/>
                  </a:cubicBezTo>
                  <a:cubicBezTo>
                    <a:pt x="156" y="352"/>
                    <a:pt x="156" y="352"/>
                    <a:pt x="158" y="352"/>
                  </a:cubicBezTo>
                  <a:cubicBezTo>
                    <a:pt x="158" y="352"/>
                    <a:pt x="160" y="352"/>
                    <a:pt x="161" y="352"/>
                  </a:cubicBezTo>
                  <a:cubicBezTo>
                    <a:pt x="163" y="351"/>
                    <a:pt x="163" y="349"/>
                    <a:pt x="165" y="349"/>
                  </a:cubicBezTo>
                  <a:cubicBezTo>
                    <a:pt x="165" y="347"/>
                    <a:pt x="165" y="346"/>
                    <a:pt x="165" y="345"/>
                  </a:cubicBezTo>
                  <a:cubicBezTo>
                    <a:pt x="167" y="345"/>
                    <a:pt x="169" y="346"/>
                    <a:pt x="171" y="346"/>
                  </a:cubicBezTo>
                  <a:cubicBezTo>
                    <a:pt x="173" y="346"/>
                    <a:pt x="180" y="347"/>
                    <a:pt x="180" y="344"/>
                  </a:cubicBezTo>
                  <a:cubicBezTo>
                    <a:pt x="179" y="344"/>
                    <a:pt x="178" y="344"/>
                    <a:pt x="177" y="344"/>
                  </a:cubicBezTo>
                  <a:cubicBezTo>
                    <a:pt x="175" y="343"/>
                    <a:pt x="174" y="343"/>
                    <a:pt x="172" y="343"/>
                  </a:cubicBezTo>
                  <a:cubicBezTo>
                    <a:pt x="170" y="343"/>
                    <a:pt x="168" y="342"/>
                    <a:pt x="170" y="339"/>
                  </a:cubicBezTo>
                  <a:cubicBezTo>
                    <a:pt x="171" y="339"/>
                    <a:pt x="172" y="340"/>
                    <a:pt x="172" y="339"/>
                  </a:cubicBezTo>
                  <a:cubicBezTo>
                    <a:pt x="172" y="339"/>
                    <a:pt x="173" y="338"/>
                    <a:pt x="173" y="338"/>
                  </a:cubicBezTo>
                  <a:cubicBezTo>
                    <a:pt x="173" y="337"/>
                    <a:pt x="174" y="336"/>
                    <a:pt x="175" y="336"/>
                  </a:cubicBezTo>
                  <a:cubicBezTo>
                    <a:pt x="177" y="334"/>
                    <a:pt x="180" y="336"/>
                    <a:pt x="183" y="335"/>
                  </a:cubicBezTo>
                  <a:cubicBezTo>
                    <a:pt x="184" y="333"/>
                    <a:pt x="184" y="331"/>
                    <a:pt x="183" y="330"/>
                  </a:cubicBezTo>
                  <a:cubicBezTo>
                    <a:pt x="182" y="329"/>
                    <a:pt x="177" y="327"/>
                    <a:pt x="176" y="327"/>
                  </a:cubicBezTo>
                  <a:cubicBezTo>
                    <a:pt x="174" y="327"/>
                    <a:pt x="172" y="329"/>
                    <a:pt x="170" y="329"/>
                  </a:cubicBezTo>
                  <a:cubicBezTo>
                    <a:pt x="169" y="328"/>
                    <a:pt x="169" y="326"/>
                    <a:pt x="167" y="325"/>
                  </a:cubicBezTo>
                  <a:cubicBezTo>
                    <a:pt x="166" y="325"/>
                    <a:pt x="166" y="326"/>
                    <a:pt x="165" y="326"/>
                  </a:cubicBezTo>
                  <a:cubicBezTo>
                    <a:pt x="164" y="326"/>
                    <a:pt x="161" y="324"/>
                    <a:pt x="161" y="323"/>
                  </a:cubicBezTo>
                  <a:cubicBezTo>
                    <a:pt x="160" y="321"/>
                    <a:pt x="161" y="319"/>
                    <a:pt x="161" y="318"/>
                  </a:cubicBezTo>
                  <a:cubicBezTo>
                    <a:pt x="161" y="317"/>
                    <a:pt x="160" y="316"/>
                    <a:pt x="160" y="315"/>
                  </a:cubicBezTo>
                  <a:cubicBezTo>
                    <a:pt x="159" y="313"/>
                    <a:pt x="160" y="313"/>
                    <a:pt x="161" y="312"/>
                  </a:cubicBezTo>
                  <a:cubicBezTo>
                    <a:pt x="162" y="310"/>
                    <a:pt x="162" y="311"/>
                    <a:pt x="162" y="309"/>
                  </a:cubicBezTo>
                  <a:cubicBezTo>
                    <a:pt x="162" y="305"/>
                    <a:pt x="162" y="304"/>
                    <a:pt x="159" y="301"/>
                  </a:cubicBezTo>
                  <a:cubicBezTo>
                    <a:pt x="157" y="300"/>
                    <a:pt x="154" y="299"/>
                    <a:pt x="155" y="296"/>
                  </a:cubicBezTo>
                  <a:moveTo>
                    <a:pt x="158" y="293"/>
                  </a:moveTo>
                  <a:cubicBezTo>
                    <a:pt x="156" y="293"/>
                    <a:pt x="155" y="294"/>
                    <a:pt x="155" y="296"/>
                  </a:cubicBezTo>
                  <a:cubicBezTo>
                    <a:pt x="156" y="296"/>
                    <a:pt x="157" y="295"/>
                    <a:pt x="158" y="294"/>
                  </a:cubicBezTo>
                  <a:cubicBezTo>
                    <a:pt x="158" y="293"/>
                    <a:pt x="158" y="293"/>
                    <a:pt x="158" y="293"/>
                  </a:cubicBezTo>
                  <a:moveTo>
                    <a:pt x="0" y="153"/>
                  </a:moveTo>
                  <a:cubicBezTo>
                    <a:pt x="0" y="154"/>
                    <a:pt x="0" y="155"/>
                    <a:pt x="0" y="156"/>
                  </a:cubicBezTo>
                  <a:cubicBezTo>
                    <a:pt x="0" y="158"/>
                    <a:pt x="1" y="159"/>
                    <a:pt x="1" y="161"/>
                  </a:cubicBezTo>
                  <a:cubicBezTo>
                    <a:pt x="2" y="163"/>
                    <a:pt x="2" y="164"/>
                    <a:pt x="2" y="165"/>
                  </a:cubicBezTo>
                  <a:cubicBezTo>
                    <a:pt x="2" y="169"/>
                    <a:pt x="2" y="171"/>
                    <a:pt x="4" y="174"/>
                  </a:cubicBezTo>
                  <a:cubicBezTo>
                    <a:pt x="6" y="176"/>
                    <a:pt x="7" y="179"/>
                    <a:pt x="8" y="181"/>
                  </a:cubicBezTo>
                  <a:cubicBezTo>
                    <a:pt x="10" y="183"/>
                    <a:pt x="13" y="182"/>
                    <a:pt x="15" y="182"/>
                  </a:cubicBezTo>
                  <a:cubicBezTo>
                    <a:pt x="18" y="184"/>
                    <a:pt x="18" y="188"/>
                    <a:pt x="18" y="191"/>
                  </a:cubicBezTo>
                  <a:cubicBezTo>
                    <a:pt x="19" y="196"/>
                    <a:pt x="23" y="197"/>
                    <a:pt x="26" y="200"/>
                  </a:cubicBezTo>
                  <a:cubicBezTo>
                    <a:pt x="28" y="202"/>
                    <a:pt x="29" y="204"/>
                    <a:pt x="30" y="207"/>
                  </a:cubicBezTo>
                  <a:cubicBezTo>
                    <a:pt x="33" y="208"/>
                    <a:pt x="33" y="202"/>
                    <a:pt x="34" y="200"/>
                  </a:cubicBezTo>
                  <a:cubicBezTo>
                    <a:pt x="35" y="199"/>
                    <a:pt x="39" y="198"/>
                    <a:pt x="41" y="199"/>
                  </a:cubicBezTo>
                  <a:cubicBezTo>
                    <a:pt x="43" y="200"/>
                    <a:pt x="42" y="204"/>
                    <a:pt x="43" y="205"/>
                  </a:cubicBezTo>
                  <a:cubicBezTo>
                    <a:pt x="45" y="207"/>
                    <a:pt x="48" y="205"/>
                    <a:pt x="51" y="206"/>
                  </a:cubicBezTo>
                  <a:cubicBezTo>
                    <a:pt x="53" y="206"/>
                    <a:pt x="53" y="207"/>
                    <a:pt x="54" y="209"/>
                  </a:cubicBezTo>
                  <a:cubicBezTo>
                    <a:pt x="57" y="214"/>
                    <a:pt x="54" y="217"/>
                    <a:pt x="48" y="216"/>
                  </a:cubicBezTo>
                  <a:cubicBezTo>
                    <a:pt x="48" y="214"/>
                    <a:pt x="49" y="211"/>
                    <a:pt x="48" y="210"/>
                  </a:cubicBezTo>
                  <a:cubicBezTo>
                    <a:pt x="47" y="208"/>
                    <a:pt x="38" y="209"/>
                    <a:pt x="36" y="210"/>
                  </a:cubicBezTo>
                  <a:cubicBezTo>
                    <a:pt x="30" y="211"/>
                    <a:pt x="32" y="215"/>
                    <a:pt x="32" y="220"/>
                  </a:cubicBezTo>
                  <a:cubicBezTo>
                    <a:pt x="30" y="219"/>
                    <a:pt x="30" y="216"/>
                    <a:pt x="28" y="215"/>
                  </a:cubicBezTo>
                  <a:cubicBezTo>
                    <a:pt x="25" y="215"/>
                    <a:pt x="23" y="218"/>
                    <a:pt x="22" y="220"/>
                  </a:cubicBezTo>
                  <a:cubicBezTo>
                    <a:pt x="21" y="222"/>
                    <a:pt x="22" y="223"/>
                    <a:pt x="20" y="224"/>
                  </a:cubicBezTo>
                  <a:cubicBezTo>
                    <a:pt x="18" y="227"/>
                    <a:pt x="14" y="230"/>
                    <a:pt x="15" y="233"/>
                  </a:cubicBezTo>
                  <a:cubicBezTo>
                    <a:pt x="19" y="234"/>
                    <a:pt x="20" y="238"/>
                    <a:pt x="24" y="239"/>
                  </a:cubicBezTo>
                  <a:cubicBezTo>
                    <a:pt x="25" y="239"/>
                    <a:pt x="28" y="238"/>
                    <a:pt x="29" y="236"/>
                  </a:cubicBezTo>
                  <a:cubicBezTo>
                    <a:pt x="31" y="233"/>
                    <a:pt x="29" y="233"/>
                    <a:pt x="28" y="231"/>
                  </a:cubicBezTo>
                  <a:cubicBezTo>
                    <a:pt x="27" y="230"/>
                    <a:pt x="28" y="227"/>
                    <a:pt x="28" y="226"/>
                  </a:cubicBezTo>
                  <a:cubicBezTo>
                    <a:pt x="29" y="226"/>
                    <a:pt x="30" y="227"/>
                    <a:pt x="32" y="226"/>
                  </a:cubicBezTo>
                  <a:cubicBezTo>
                    <a:pt x="32" y="224"/>
                    <a:pt x="32" y="223"/>
                    <a:pt x="34" y="224"/>
                  </a:cubicBezTo>
                  <a:cubicBezTo>
                    <a:pt x="34" y="225"/>
                    <a:pt x="34" y="226"/>
                    <a:pt x="34" y="227"/>
                  </a:cubicBezTo>
                  <a:cubicBezTo>
                    <a:pt x="35" y="227"/>
                    <a:pt x="36" y="227"/>
                    <a:pt x="37" y="227"/>
                  </a:cubicBezTo>
                  <a:cubicBezTo>
                    <a:pt x="40" y="230"/>
                    <a:pt x="40" y="232"/>
                    <a:pt x="40" y="236"/>
                  </a:cubicBezTo>
                  <a:cubicBezTo>
                    <a:pt x="40" y="238"/>
                    <a:pt x="39" y="240"/>
                    <a:pt x="40" y="242"/>
                  </a:cubicBezTo>
                  <a:cubicBezTo>
                    <a:pt x="41" y="243"/>
                    <a:pt x="44" y="245"/>
                    <a:pt x="46" y="246"/>
                  </a:cubicBezTo>
                  <a:cubicBezTo>
                    <a:pt x="48" y="247"/>
                    <a:pt x="49" y="247"/>
                    <a:pt x="48" y="250"/>
                  </a:cubicBezTo>
                  <a:cubicBezTo>
                    <a:pt x="47" y="252"/>
                    <a:pt x="46" y="252"/>
                    <a:pt x="46" y="254"/>
                  </a:cubicBezTo>
                  <a:cubicBezTo>
                    <a:pt x="45" y="258"/>
                    <a:pt x="46" y="261"/>
                    <a:pt x="51" y="261"/>
                  </a:cubicBezTo>
                  <a:cubicBezTo>
                    <a:pt x="54" y="262"/>
                    <a:pt x="57" y="260"/>
                    <a:pt x="59" y="258"/>
                  </a:cubicBezTo>
                  <a:cubicBezTo>
                    <a:pt x="61" y="257"/>
                    <a:pt x="63" y="256"/>
                    <a:pt x="65" y="256"/>
                  </a:cubicBezTo>
                  <a:cubicBezTo>
                    <a:pt x="67" y="256"/>
                    <a:pt x="68" y="256"/>
                    <a:pt x="69" y="257"/>
                  </a:cubicBezTo>
                  <a:cubicBezTo>
                    <a:pt x="70" y="258"/>
                    <a:pt x="69" y="260"/>
                    <a:pt x="71" y="260"/>
                  </a:cubicBezTo>
                  <a:cubicBezTo>
                    <a:pt x="71" y="255"/>
                    <a:pt x="77" y="260"/>
                    <a:pt x="79" y="260"/>
                  </a:cubicBezTo>
                  <a:cubicBezTo>
                    <a:pt x="81" y="260"/>
                    <a:pt x="83" y="258"/>
                    <a:pt x="86" y="258"/>
                  </a:cubicBezTo>
                  <a:cubicBezTo>
                    <a:pt x="88" y="258"/>
                    <a:pt x="91" y="259"/>
                    <a:pt x="91" y="256"/>
                  </a:cubicBezTo>
                  <a:cubicBezTo>
                    <a:pt x="95" y="256"/>
                    <a:pt x="100" y="256"/>
                    <a:pt x="103" y="258"/>
                  </a:cubicBezTo>
                  <a:cubicBezTo>
                    <a:pt x="107" y="259"/>
                    <a:pt x="110" y="262"/>
                    <a:pt x="115" y="262"/>
                  </a:cubicBezTo>
                  <a:cubicBezTo>
                    <a:pt x="116" y="262"/>
                    <a:pt x="117" y="262"/>
                    <a:pt x="118" y="262"/>
                  </a:cubicBezTo>
                  <a:cubicBezTo>
                    <a:pt x="119" y="262"/>
                    <a:pt x="119" y="261"/>
                    <a:pt x="120" y="261"/>
                  </a:cubicBezTo>
                  <a:cubicBezTo>
                    <a:pt x="121" y="260"/>
                    <a:pt x="123" y="259"/>
                    <a:pt x="124" y="259"/>
                  </a:cubicBezTo>
                  <a:cubicBezTo>
                    <a:pt x="126" y="259"/>
                    <a:pt x="125" y="261"/>
                    <a:pt x="126" y="263"/>
                  </a:cubicBezTo>
                  <a:cubicBezTo>
                    <a:pt x="127" y="265"/>
                    <a:pt x="129" y="267"/>
                    <a:pt x="132" y="266"/>
                  </a:cubicBezTo>
                  <a:cubicBezTo>
                    <a:pt x="133" y="264"/>
                    <a:pt x="131" y="260"/>
                    <a:pt x="134" y="259"/>
                  </a:cubicBezTo>
                  <a:cubicBezTo>
                    <a:pt x="138" y="259"/>
                    <a:pt x="137" y="267"/>
                    <a:pt x="139" y="269"/>
                  </a:cubicBezTo>
                  <a:cubicBezTo>
                    <a:pt x="139" y="266"/>
                    <a:pt x="139" y="266"/>
                    <a:pt x="141" y="266"/>
                  </a:cubicBezTo>
                  <a:cubicBezTo>
                    <a:pt x="144" y="265"/>
                    <a:pt x="146" y="267"/>
                    <a:pt x="148" y="268"/>
                  </a:cubicBezTo>
                  <a:cubicBezTo>
                    <a:pt x="150" y="270"/>
                    <a:pt x="152" y="270"/>
                    <a:pt x="155" y="271"/>
                  </a:cubicBezTo>
                  <a:cubicBezTo>
                    <a:pt x="157" y="272"/>
                    <a:pt x="159" y="274"/>
                    <a:pt x="161" y="275"/>
                  </a:cubicBezTo>
                  <a:cubicBezTo>
                    <a:pt x="164" y="276"/>
                    <a:pt x="167" y="275"/>
                    <a:pt x="170" y="275"/>
                  </a:cubicBezTo>
                  <a:cubicBezTo>
                    <a:pt x="172" y="275"/>
                    <a:pt x="173" y="275"/>
                    <a:pt x="171" y="278"/>
                  </a:cubicBezTo>
                  <a:cubicBezTo>
                    <a:pt x="171" y="279"/>
                    <a:pt x="169" y="280"/>
                    <a:pt x="168" y="281"/>
                  </a:cubicBezTo>
                  <a:cubicBezTo>
                    <a:pt x="168" y="282"/>
                    <a:pt x="166" y="283"/>
                    <a:pt x="165" y="283"/>
                  </a:cubicBezTo>
                  <a:cubicBezTo>
                    <a:pt x="163" y="284"/>
                    <a:pt x="161" y="282"/>
                    <a:pt x="158" y="282"/>
                  </a:cubicBezTo>
                  <a:cubicBezTo>
                    <a:pt x="155" y="282"/>
                    <a:pt x="149" y="282"/>
                    <a:pt x="150" y="286"/>
                  </a:cubicBezTo>
                  <a:cubicBezTo>
                    <a:pt x="151" y="288"/>
                    <a:pt x="151" y="288"/>
                    <a:pt x="152" y="289"/>
                  </a:cubicBezTo>
                  <a:cubicBezTo>
                    <a:pt x="153" y="290"/>
                    <a:pt x="152" y="290"/>
                    <a:pt x="153" y="291"/>
                  </a:cubicBezTo>
                  <a:cubicBezTo>
                    <a:pt x="154" y="292"/>
                    <a:pt x="155" y="291"/>
                    <a:pt x="155" y="291"/>
                  </a:cubicBezTo>
                  <a:cubicBezTo>
                    <a:pt x="156" y="292"/>
                    <a:pt x="157" y="292"/>
                    <a:pt x="158" y="293"/>
                  </a:cubicBezTo>
                  <a:cubicBezTo>
                    <a:pt x="159" y="292"/>
                    <a:pt x="160" y="292"/>
                    <a:pt x="161" y="292"/>
                  </a:cubicBezTo>
                  <a:cubicBezTo>
                    <a:pt x="160" y="289"/>
                    <a:pt x="162" y="290"/>
                    <a:pt x="163" y="291"/>
                  </a:cubicBezTo>
                  <a:cubicBezTo>
                    <a:pt x="165" y="291"/>
                    <a:pt x="164" y="292"/>
                    <a:pt x="166" y="292"/>
                  </a:cubicBezTo>
                  <a:cubicBezTo>
                    <a:pt x="169" y="292"/>
                    <a:pt x="171" y="288"/>
                    <a:pt x="175" y="287"/>
                  </a:cubicBezTo>
                  <a:cubicBezTo>
                    <a:pt x="179" y="287"/>
                    <a:pt x="181" y="291"/>
                    <a:pt x="180" y="295"/>
                  </a:cubicBezTo>
                  <a:cubicBezTo>
                    <a:pt x="180" y="297"/>
                    <a:pt x="178" y="299"/>
                    <a:pt x="179" y="302"/>
                  </a:cubicBezTo>
                  <a:cubicBezTo>
                    <a:pt x="181" y="303"/>
                    <a:pt x="184" y="302"/>
                    <a:pt x="187" y="301"/>
                  </a:cubicBezTo>
                  <a:cubicBezTo>
                    <a:pt x="187" y="297"/>
                    <a:pt x="186" y="292"/>
                    <a:pt x="186" y="288"/>
                  </a:cubicBezTo>
                  <a:cubicBezTo>
                    <a:pt x="188" y="287"/>
                    <a:pt x="188" y="288"/>
                    <a:pt x="190" y="289"/>
                  </a:cubicBezTo>
                  <a:cubicBezTo>
                    <a:pt x="191" y="289"/>
                    <a:pt x="194" y="289"/>
                    <a:pt x="195" y="290"/>
                  </a:cubicBezTo>
                  <a:cubicBezTo>
                    <a:pt x="199" y="293"/>
                    <a:pt x="197" y="298"/>
                    <a:pt x="198" y="302"/>
                  </a:cubicBezTo>
                  <a:cubicBezTo>
                    <a:pt x="198" y="305"/>
                    <a:pt x="201" y="309"/>
                    <a:pt x="203" y="311"/>
                  </a:cubicBezTo>
                  <a:cubicBezTo>
                    <a:pt x="206" y="313"/>
                    <a:pt x="208" y="312"/>
                    <a:pt x="211" y="312"/>
                  </a:cubicBezTo>
                  <a:cubicBezTo>
                    <a:pt x="211" y="314"/>
                    <a:pt x="211" y="315"/>
                    <a:pt x="211" y="316"/>
                  </a:cubicBezTo>
                  <a:cubicBezTo>
                    <a:pt x="212" y="317"/>
                    <a:pt x="211" y="318"/>
                    <a:pt x="211" y="320"/>
                  </a:cubicBezTo>
                  <a:cubicBezTo>
                    <a:pt x="212" y="323"/>
                    <a:pt x="213" y="323"/>
                    <a:pt x="216" y="322"/>
                  </a:cubicBezTo>
                  <a:cubicBezTo>
                    <a:pt x="217" y="319"/>
                    <a:pt x="216" y="316"/>
                    <a:pt x="216" y="312"/>
                  </a:cubicBezTo>
                  <a:cubicBezTo>
                    <a:pt x="216" y="309"/>
                    <a:pt x="216" y="306"/>
                    <a:pt x="215" y="303"/>
                  </a:cubicBezTo>
                  <a:cubicBezTo>
                    <a:pt x="215" y="301"/>
                    <a:pt x="214" y="299"/>
                    <a:pt x="214" y="297"/>
                  </a:cubicBezTo>
                  <a:cubicBezTo>
                    <a:pt x="215" y="295"/>
                    <a:pt x="216" y="294"/>
                    <a:pt x="216" y="293"/>
                  </a:cubicBezTo>
                  <a:cubicBezTo>
                    <a:pt x="216" y="291"/>
                    <a:pt x="216" y="288"/>
                    <a:pt x="216" y="287"/>
                  </a:cubicBezTo>
                  <a:cubicBezTo>
                    <a:pt x="215" y="285"/>
                    <a:pt x="214" y="285"/>
                    <a:pt x="214" y="283"/>
                  </a:cubicBezTo>
                  <a:cubicBezTo>
                    <a:pt x="213" y="281"/>
                    <a:pt x="215" y="280"/>
                    <a:pt x="216" y="278"/>
                  </a:cubicBezTo>
                  <a:cubicBezTo>
                    <a:pt x="216" y="277"/>
                    <a:pt x="220" y="272"/>
                    <a:pt x="221" y="272"/>
                  </a:cubicBezTo>
                  <a:cubicBezTo>
                    <a:pt x="223" y="272"/>
                    <a:pt x="226" y="280"/>
                    <a:pt x="227" y="282"/>
                  </a:cubicBezTo>
                  <a:cubicBezTo>
                    <a:pt x="229" y="284"/>
                    <a:pt x="230" y="286"/>
                    <a:pt x="231" y="288"/>
                  </a:cubicBezTo>
                  <a:cubicBezTo>
                    <a:pt x="232" y="291"/>
                    <a:pt x="233" y="291"/>
                    <a:pt x="235" y="293"/>
                  </a:cubicBezTo>
                  <a:cubicBezTo>
                    <a:pt x="237" y="296"/>
                    <a:pt x="238" y="298"/>
                    <a:pt x="241" y="297"/>
                  </a:cubicBezTo>
                  <a:cubicBezTo>
                    <a:pt x="244" y="297"/>
                    <a:pt x="246" y="296"/>
                    <a:pt x="247" y="294"/>
                  </a:cubicBezTo>
                  <a:cubicBezTo>
                    <a:pt x="250" y="292"/>
                    <a:pt x="250" y="286"/>
                    <a:pt x="249" y="283"/>
                  </a:cubicBezTo>
                  <a:cubicBezTo>
                    <a:pt x="247" y="279"/>
                    <a:pt x="241" y="281"/>
                    <a:pt x="238" y="280"/>
                  </a:cubicBezTo>
                  <a:cubicBezTo>
                    <a:pt x="235" y="279"/>
                    <a:pt x="233" y="279"/>
                    <a:pt x="231" y="277"/>
                  </a:cubicBezTo>
                  <a:cubicBezTo>
                    <a:pt x="230" y="276"/>
                    <a:pt x="230" y="274"/>
                    <a:pt x="229" y="273"/>
                  </a:cubicBezTo>
                  <a:cubicBezTo>
                    <a:pt x="228" y="273"/>
                    <a:pt x="226" y="272"/>
                    <a:pt x="225" y="271"/>
                  </a:cubicBezTo>
                  <a:cubicBezTo>
                    <a:pt x="223" y="270"/>
                    <a:pt x="221" y="268"/>
                    <a:pt x="220" y="265"/>
                  </a:cubicBezTo>
                  <a:cubicBezTo>
                    <a:pt x="217" y="261"/>
                    <a:pt x="216" y="258"/>
                    <a:pt x="220" y="254"/>
                  </a:cubicBezTo>
                  <a:cubicBezTo>
                    <a:pt x="222" y="252"/>
                    <a:pt x="224" y="252"/>
                    <a:pt x="224" y="248"/>
                  </a:cubicBezTo>
                  <a:cubicBezTo>
                    <a:pt x="224" y="247"/>
                    <a:pt x="224" y="246"/>
                    <a:pt x="222" y="245"/>
                  </a:cubicBezTo>
                  <a:cubicBezTo>
                    <a:pt x="217" y="242"/>
                    <a:pt x="209" y="241"/>
                    <a:pt x="204" y="238"/>
                  </a:cubicBezTo>
                  <a:cubicBezTo>
                    <a:pt x="203" y="237"/>
                    <a:pt x="203" y="236"/>
                    <a:pt x="202" y="236"/>
                  </a:cubicBezTo>
                  <a:cubicBezTo>
                    <a:pt x="201" y="235"/>
                    <a:pt x="199" y="234"/>
                    <a:pt x="198" y="234"/>
                  </a:cubicBezTo>
                  <a:cubicBezTo>
                    <a:pt x="196" y="233"/>
                    <a:pt x="195" y="232"/>
                    <a:pt x="193" y="231"/>
                  </a:cubicBezTo>
                  <a:cubicBezTo>
                    <a:pt x="190" y="228"/>
                    <a:pt x="183" y="229"/>
                    <a:pt x="182" y="224"/>
                  </a:cubicBezTo>
                  <a:cubicBezTo>
                    <a:pt x="180" y="219"/>
                    <a:pt x="182" y="214"/>
                    <a:pt x="181" y="209"/>
                  </a:cubicBezTo>
                  <a:cubicBezTo>
                    <a:pt x="177" y="210"/>
                    <a:pt x="172" y="209"/>
                    <a:pt x="168" y="210"/>
                  </a:cubicBezTo>
                  <a:cubicBezTo>
                    <a:pt x="167" y="211"/>
                    <a:pt x="165" y="211"/>
                    <a:pt x="164" y="213"/>
                  </a:cubicBezTo>
                  <a:cubicBezTo>
                    <a:pt x="163" y="214"/>
                    <a:pt x="164" y="215"/>
                    <a:pt x="163" y="216"/>
                  </a:cubicBezTo>
                  <a:cubicBezTo>
                    <a:pt x="161" y="218"/>
                    <a:pt x="157" y="218"/>
                    <a:pt x="155" y="218"/>
                  </a:cubicBezTo>
                  <a:cubicBezTo>
                    <a:pt x="151" y="218"/>
                    <a:pt x="145" y="220"/>
                    <a:pt x="145" y="224"/>
                  </a:cubicBezTo>
                  <a:cubicBezTo>
                    <a:pt x="148" y="225"/>
                    <a:pt x="148" y="225"/>
                    <a:pt x="150" y="226"/>
                  </a:cubicBezTo>
                  <a:cubicBezTo>
                    <a:pt x="152" y="228"/>
                    <a:pt x="155" y="229"/>
                    <a:pt x="157" y="229"/>
                  </a:cubicBezTo>
                  <a:cubicBezTo>
                    <a:pt x="158" y="229"/>
                    <a:pt x="159" y="229"/>
                    <a:pt x="160" y="229"/>
                  </a:cubicBezTo>
                  <a:cubicBezTo>
                    <a:pt x="161" y="229"/>
                    <a:pt x="161" y="230"/>
                    <a:pt x="162" y="230"/>
                  </a:cubicBezTo>
                  <a:cubicBezTo>
                    <a:pt x="165" y="231"/>
                    <a:pt x="167" y="230"/>
                    <a:pt x="169" y="231"/>
                  </a:cubicBezTo>
                  <a:cubicBezTo>
                    <a:pt x="170" y="232"/>
                    <a:pt x="172" y="233"/>
                    <a:pt x="172" y="234"/>
                  </a:cubicBezTo>
                  <a:cubicBezTo>
                    <a:pt x="173" y="235"/>
                    <a:pt x="172" y="237"/>
                    <a:pt x="172" y="239"/>
                  </a:cubicBezTo>
                  <a:cubicBezTo>
                    <a:pt x="173" y="241"/>
                    <a:pt x="177" y="241"/>
                    <a:pt x="180" y="242"/>
                  </a:cubicBezTo>
                  <a:cubicBezTo>
                    <a:pt x="182" y="243"/>
                    <a:pt x="189" y="246"/>
                    <a:pt x="189" y="249"/>
                  </a:cubicBezTo>
                  <a:cubicBezTo>
                    <a:pt x="189" y="250"/>
                    <a:pt x="188" y="252"/>
                    <a:pt x="186" y="253"/>
                  </a:cubicBezTo>
                  <a:cubicBezTo>
                    <a:pt x="184" y="254"/>
                    <a:pt x="178" y="254"/>
                    <a:pt x="177" y="252"/>
                  </a:cubicBezTo>
                  <a:cubicBezTo>
                    <a:pt x="176" y="252"/>
                    <a:pt x="177" y="250"/>
                    <a:pt x="176" y="249"/>
                  </a:cubicBezTo>
                  <a:cubicBezTo>
                    <a:pt x="175" y="248"/>
                    <a:pt x="175" y="247"/>
                    <a:pt x="174" y="246"/>
                  </a:cubicBezTo>
                  <a:cubicBezTo>
                    <a:pt x="170" y="244"/>
                    <a:pt x="167" y="241"/>
                    <a:pt x="164" y="239"/>
                  </a:cubicBezTo>
                  <a:cubicBezTo>
                    <a:pt x="163" y="238"/>
                    <a:pt x="161" y="237"/>
                    <a:pt x="160" y="236"/>
                  </a:cubicBezTo>
                  <a:cubicBezTo>
                    <a:pt x="158" y="234"/>
                    <a:pt x="157" y="234"/>
                    <a:pt x="154" y="233"/>
                  </a:cubicBezTo>
                  <a:cubicBezTo>
                    <a:pt x="151" y="232"/>
                    <a:pt x="148" y="229"/>
                    <a:pt x="145" y="228"/>
                  </a:cubicBezTo>
                  <a:cubicBezTo>
                    <a:pt x="142" y="228"/>
                    <a:pt x="132" y="227"/>
                    <a:pt x="133" y="223"/>
                  </a:cubicBezTo>
                  <a:cubicBezTo>
                    <a:pt x="133" y="219"/>
                    <a:pt x="139" y="221"/>
                    <a:pt x="141" y="221"/>
                  </a:cubicBezTo>
                  <a:cubicBezTo>
                    <a:pt x="145" y="222"/>
                    <a:pt x="146" y="221"/>
                    <a:pt x="149" y="219"/>
                  </a:cubicBezTo>
                  <a:cubicBezTo>
                    <a:pt x="152" y="217"/>
                    <a:pt x="157" y="217"/>
                    <a:pt x="161" y="215"/>
                  </a:cubicBezTo>
                  <a:cubicBezTo>
                    <a:pt x="157" y="216"/>
                    <a:pt x="157" y="209"/>
                    <a:pt x="157" y="207"/>
                  </a:cubicBezTo>
                  <a:cubicBezTo>
                    <a:pt x="157" y="205"/>
                    <a:pt x="156" y="205"/>
                    <a:pt x="156" y="204"/>
                  </a:cubicBezTo>
                  <a:cubicBezTo>
                    <a:pt x="155" y="202"/>
                    <a:pt x="156" y="202"/>
                    <a:pt x="155" y="200"/>
                  </a:cubicBezTo>
                  <a:cubicBezTo>
                    <a:pt x="153" y="198"/>
                    <a:pt x="150" y="196"/>
                    <a:pt x="150" y="193"/>
                  </a:cubicBezTo>
                  <a:cubicBezTo>
                    <a:pt x="151" y="191"/>
                    <a:pt x="153" y="189"/>
                    <a:pt x="154" y="188"/>
                  </a:cubicBezTo>
                  <a:cubicBezTo>
                    <a:pt x="157" y="185"/>
                    <a:pt x="161" y="186"/>
                    <a:pt x="163" y="189"/>
                  </a:cubicBezTo>
                  <a:cubicBezTo>
                    <a:pt x="165" y="192"/>
                    <a:pt x="163" y="199"/>
                    <a:pt x="166" y="201"/>
                  </a:cubicBezTo>
                  <a:cubicBezTo>
                    <a:pt x="168" y="202"/>
                    <a:pt x="174" y="199"/>
                    <a:pt x="175" y="198"/>
                  </a:cubicBezTo>
                  <a:cubicBezTo>
                    <a:pt x="178" y="197"/>
                    <a:pt x="177" y="193"/>
                    <a:pt x="175" y="192"/>
                  </a:cubicBezTo>
                  <a:cubicBezTo>
                    <a:pt x="173" y="190"/>
                    <a:pt x="171" y="189"/>
                    <a:pt x="170" y="187"/>
                  </a:cubicBezTo>
                  <a:cubicBezTo>
                    <a:pt x="169" y="185"/>
                    <a:pt x="169" y="184"/>
                    <a:pt x="168" y="182"/>
                  </a:cubicBezTo>
                  <a:cubicBezTo>
                    <a:pt x="166" y="181"/>
                    <a:pt x="164" y="179"/>
                    <a:pt x="163" y="177"/>
                  </a:cubicBezTo>
                  <a:cubicBezTo>
                    <a:pt x="161" y="175"/>
                    <a:pt x="160" y="172"/>
                    <a:pt x="158" y="170"/>
                  </a:cubicBezTo>
                  <a:cubicBezTo>
                    <a:pt x="158" y="169"/>
                    <a:pt x="157" y="169"/>
                    <a:pt x="156" y="168"/>
                  </a:cubicBezTo>
                  <a:cubicBezTo>
                    <a:pt x="156" y="167"/>
                    <a:pt x="156" y="167"/>
                    <a:pt x="155" y="166"/>
                  </a:cubicBezTo>
                  <a:cubicBezTo>
                    <a:pt x="154" y="165"/>
                    <a:pt x="151" y="166"/>
                    <a:pt x="150" y="165"/>
                  </a:cubicBezTo>
                  <a:cubicBezTo>
                    <a:pt x="149" y="165"/>
                    <a:pt x="147" y="163"/>
                    <a:pt x="146" y="162"/>
                  </a:cubicBezTo>
                  <a:cubicBezTo>
                    <a:pt x="144" y="160"/>
                    <a:pt x="143" y="158"/>
                    <a:pt x="143" y="155"/>
                  </a:cubicBezTo>
                  <a:cubicBezTo>
                    <a:pt x="142" y="152"/>
                    <a:pt x="143" y="150"/>
                    <a:pt x="143" y="148"/>
                  </a:cubicBezTo>
                  <a:cubicBezTo>
                    <a:pt x="143" y="144"/>
                    <a:pt x="143" y="143"/>
                    <a:pt x="141" y="140"/>
                  </a:cubicBezTo>
                  <a:cubicBezTo>
                    <a:pt x="139" y="138"/>
                    <a:pt x="138" y="136"/>
                    <a:pt x="137" y="133"/>
                  </a:cubicBezTo>
                  <a:cubicBezTo>
                    <a:pt x="136" y="132"/>
                    <a:pt x="135" y="131"/>
                    <a:pt x="134" y="129"/>
                  </a:cubicBezTo>
                  <a:cubicBezTo>
                    <a:pt x="131" y="126"/>
                    <a:pt x="131" y="120"/>
                    <a:pt x="132" y="116"/>
                  </a:cubicBezTo>
                  <a:cubicBezTo>
                    <a:pt x="132" y="113"/>
                    <a:pt x="135" y="111"/>
                    <a:pt x="135" y="109"/>
                  </a:cubicBezTo>
                  <a:cubicBezTo>
                    <a:pt x="135" y="107"/>
                    <a:pt x="135" y="105"/>
                    <a:pt x="135" y="104"/>
                  </a:cubicBezTo>
                  <a:cubicBezTo>
                    <a:pt x="135" y="102"/>
                    <a:pt x="136" y="97"/>
                    <a:pt x="133" y="97"/>
                  </a:cubicBezTo>
                  <a:cubicBezTo>
                    <a:pt x="135" y="91"/>
                    <a:pt x="138" y="86"/>
                    <a:pt x="144" y="83"/>
                  </a:cubicBezTo>
                  <a:cubicBezTo>
                    <a:pt x="147" y="82"/>
                    <a:pt x="155" y="79"/>
                    <a:pt x="157" y="84"/>
                  </a:cubicBezTo>
                  <a:cubicBezTo>
                    <a:pt x="157" y="86"/>
                    <a:pt x="157" y="88"/>
                    <a:pt x="157" y="90"/>
                  </a:cubicBezTo>
                  <a:cubicBezTo>
                    <a:pt x="157" y="92"/>
                    <a:pt x="158" y="93"/>
                    <a:pt x="157" y="95"/>
                  </a:cubicBezTo>
                  <a:cubicBezTo>
                    <a:pt x="157" y="95"/>
                    <a:pt x="157" y="95"/>
                    <a:pt x="156" y="96"/>
                  </a:cubicBezTo>
                  <a:cubicBezTo>
                    <a:pt x="156" y="96"/>
                    <a:pt x="155" y="96"/>
                    <a:pt x="155" y="96"/>
                  </a:cubicBezTo>
                  <a:cubicBezTo>
                    <a:pt x="153" y="101"/>
                    <a:pt x="158" y="105"/>
                    <a:pt x="162" y="106"/>
                  </a:cubicBezTo>
                  <a:cubicBezTo>
                    <a:pt x="164" y="108"/>
                    <a:pt x="166" y="108"/>
                    <a:pt x="168" y="110"/>
                  </a:cubicBezTo>
                  <a:cubicBezTo>
                    <a:pt x="170" y="112"/>
                    <a:pt x="172" y="113"/>
                    <a:pt x="173" y="115"/>
                  </a:cubicBezTo>
                  <a:cubicBezTo>
                    <a:pt x="176" y="116"/>
                    <a:pt x="177" y="116"/>
                    <a:pt x="177" y="119"/>
                  </a:cubicBezTo>
                  <a:cubicBezTo>
                    <a:pt x="177" y="123"/>
                    <a:pt x="176" y="127"/>
                    <a:pt x="175" y="131"/>
                  </a:cubicBezTo>
                  <a:cubicBezTo>
                    <a:pt x="175" y="132"/>
                    <a:pt x="175" y="135"/>
                    <a:pt x="175" y="137"/>
                  </a:cubicBezTo>
                  <a:cubicBezTo>
                    <a:pt x="176" y="138"/>
                    <a:pt x="177" y="138"/>
                    <a:pt x="178" y="138"/>
                  </a:cubicBezTo>
                  <a:cubicBezTo>
                    <a:pt x="183" y="139"/>
                    <a:pt x="189" y="140"/>
                    <a:pt x="194" y="140"/>
                  </a:cubicBezTo>
                  <a:cubicBezTo>
                    <a:pt x="194" y="136"/>
                    <a:pt x="194" y="134"/>
                    <a:pt x="190" y="133"/>
                  </a:cubicBezTo>
                  <a:cubicBezTo>
                    <a:pt x="187" y="132"/>
                    <a:pt x="186" y="132"/>
                    <a:pt x="184" y="128"/>
                  </a:cubicBezTo>
                  <a:cubicBezTo>
                    <a:pt x="183" y="125"/>
                    <a:pt x="180" y="121"/>
                    <a:pt x="180" y="118"/>
                  </a:cubicBezTo>
                  <a:cubicBezTo>
                    <a:pt x="181" y="114"/>
                    <a:pt x="183" y="116"/>
                    <a:pt x="186" y="116"/>
                  </a:cubicBezTo>
                  <a:cubicBezTo>
                    <a:pt x="187" y="117"/>
                    <a:pt x="188" y="116"/>
                    <a:pt x="190" y="117"/>
                  </a:cubicBezTo>
                  <a:cubicBezTo>
                    <a:pt x="191" y="117"/>
                    <a:pt x="192" y="119"/>
                    <a:pt x="193" y="119"/>
                  </a:cubicBezTo>
                  <a:cubicBezTo>
                    <a:pt x="195" y="121"/>
                    <a:pt x="195" y="123"/>
                    <a:pt x="196" y="124"/>
                  </a:cubicBezTo>
                  <a:cubicBezTo>
                    <a:pt x="196" y="125"/>
                    <a:pt x="197" y="126"/>
                    <a:pt x="198" y="127"/>
                  </a:cubicBezTo>
                  <a:cubicBezTo>
                    <a:pt x="200" y="130"/>
                    <a:pt x="201" y="136"/>
                    <a:pt x="204" y="137"/>
                  </a:cubicBezTo>
                  <a:cubicBezTo>
                    <a:pt x="206" y="138"/>
                    <a:pt x="212" y="137"/>
                    <a:pt x="214" y="137"/>
                  </a:cubicBezTo>
                  <a:cubicBezTo>
                    <a:pt x="215" y="136"/>
                    <a:pt x="215" y="135"/>
                    <a:pt x="214" y="134"/>
                  </a:cubicBezTo>
                  <a:cubicBezTo>
                    <a:pt x="214" y="131"/>
                    <a:pt x="214" y="132"/>
                    <a:pt x="212" y="130"/>
                  </a:cubicBezTo>
                  <a:cubicBezTo>
                    <a:pt x="210" y="128"/>
                    <a:pt x="208" y="126"/>
                    <a:pt x="205" y="123"/>
                  </a:cubicBezTo>
                  <a:cubicBezTo>
                    <a:pt x="202" y="121"/>
                    <a:pt x="194" y="118"/>
                    <a:pt x="196" y="113"/>
                  </a:cubicBezTo>
                  <a:cubicBezTo>
                    <a:pt x="199" y="107"/>
                    <a:pt x="203" y="108"/>
                    <a:pt x="208" y="110"/>
                  </a:cubicBezTo>
                  <a:cubicBezTo>
                    <a:pt x="211" y="111"/>
                    <a:pt x="214" y="111"/>
                    <a:pt x="217" y="112"/>
                  </a:cubicBezTo>
                  <a:cubicBezTo>
                    <a:pt x="219" y="112"/>
                    <a:pt x="220" y="113"/>
                    <a:pt x="221" y="114"/>
                  </a:cubicBezTo>
                  <a:cubicBezTo>
                    <a:pt x="222" y="114"/>
                    <a:pt x="222" y="115"/>
                    <a:pt x="223" y="116"/>
                  </a:cubicBezTo>
                  <a:cubicBezTo>
                    <a:pt x="225" y="117"/>
                    <a:pt x="227" y="119"/>
                    <a:pt x="228" y="121"/>
                  </a:cubicBezTo>
                  <a:cubicBezTo>
                    <a:pt x="229" y="122"/>
                    <a:pt x="230" y="125"/>
                    <a:pt x="232" y="125"/>
                  </a:cubicBezTo>
                  <a:cubicBezTo>
                    <a:pt x="232" y="126"/>
                    <a:pt x="238" y="126"/>
                    <a:pt x="238" y="125"/>
                  </a:cubicBezTo>
                  <a:cubicBezTo>
                    <a:pt x="239" y="124"/>
                    <a:pt x="239" y="123"/>
                    <a:pt x="239" y="122"/>
                  </a:cubicBezTo>
                  <a:cubicBezTo>
                    <a:pt x="238" y="122"/>
                    <a:pt x="238" y="121"/>
                    <a:pt x="238" y="121"/>
                  </a:cubicBezTo>
                  <a:cubicBezTo>
                    <a:pt x="237" y="120"/>
                    <a:pt x="237" y="119"/>
                    <a:pt x="237" y="119"/>
                  </a:cubicBezTo>
                  <a:cubicBezTo>
                    <a:pt x="235" y="116"/>
                    <a:pt x="231" y="115"/>
                    <a:pt x="229" y="113"/>
                  </a:cubicBezTo>
                  <a:cubicBezTo>
                    <a:pt x="226" y="109"/>
                    <a:pt x="223" y="107"/>
                    <a:pt x="218" y="106"/>
                  </a:cubicBezTo>
                  <a:cubicBezTo>
                    <a:pt x="215" y="105"/>
                    <a:pt x="212" y="105"/>
                    <a:pt x="210" y="104"/>
                  </a:cubicBezTo>
                  <a:cubicBezTo>
                    <a:pt x="208" y="104"/>
                    <a:pt x="208" y="103"/>
                    <a:pt x="206" y="103"/>
                  </a:cubicBezTo>
                  <a:cubicBezTo>
                    <a:pt x="205" y="101"/>
                    <a:pt x="206" y="100"/>
                    <a:pt x="207" y="98"/>
                  </a:cubicBezTo>
                  <a:cubicBezTo>
                    <a:pt x="207" y="97"/>
                    <a:pt x="207" y="96"/>
                    <a:pt x="207" y="96"/>
                  </a:cubicBezTo>
                  <a:cubicBezTo>
                    <a:pt x="207" y="94"/>
                    <a:pt x="208" y="93"/>
                    <a:pt x="210" y="92"/>
                  </a:cubicBezTo>
                  <a:cubicBezTo>
                    <a:pt x="207" y="91"/>
                    <a:pt x="208" y="88"/>
                    <a:pt x="207" y="86"/>
                  </a:cubicBezTo>
                  <a:cubicBezTo>
                    <a:pt x="205" y="84"/>
                    <a:pt x="204" y="84"/>
                    <a:pt x="202" y="83"/>
                  </a:cubicBezTo>
                  <a:cubicBezTo>
                    <a:pt x="198" y="80"/>
                    <a:pt x="203" y="75"/>
                    <a:pt x="204" y="72"/>
                  </a:cubicBezTo>
                  <a:cubicBezTo>
                    <a:pt x="205" y="70"/>
                    <a:pt x="207" y="67"/>
                    <a:pt x="209" y="68"/>
                  </a:cubicBezTo>
                  <a:cubicBezTo>
                    <a:pt x="212" y="68"/>
                    <a:pt x="212" y="70"/>
                    <a:pt x="212" y="72"/>
                  </a:cubicBezTo>
                  <a:cubicBezTo>
                    <a:pt x="213" y="75"/>
                    <a:pt x="213" y="75"/>
                    <a:pt x="217" y="76"/>
                  </a:cubicBezTo>
                  <a:cubicBezTo>
                    <a:pt x="219" y="76"/>
                    <a:pt x="220" y="76"/>
                    <a:pt x="223" y="76"/>
                  </a:cubicBezTo>
                  <a:cubicBezTo>
                    <a:pt x="225" y="75"/>
                    <a:pt x="226" y="73"/>
                    <a:pt x="228" y="72"/>
                  </a:cubicBezTo>
                  <a:cubicBezTo>
                    <a:pt x="230" y="71"/>
                    <a:pt x="232" y="70"/>
                    <a:pt x="234" y="70"/>
                  </a:cubicBezTo>
                  <a:cubicBezTo>
                    <a:pt x="237" y="68"/>
                    <a:pt x="237" y="65"/>
                    <a:pt x="239" y="62"/>
                  </a:cubicBezTo>
                  <a:cubicBezTo>
                    <a:pt x="240" y="60"/>
                    <a:pt x="241" y="59"/>
                    <a:pt x="243" y="59"/>
                  </a:cubicBezTo>
                  <a:cubicBezTo>
                    <a:pt x="245" y="59"/>
                    <a:pt x="247" y="60"/>
                    <a:pt x="249" y="61"/>
                  </a:cubicBezTo>
                  <a:cubicBezTo>
                    <a:pt x="250" y="61"/>
                    <a:pt x="251" y="61"/>
                    <a:pt x="252" y="61"/>
                  </a:cubicBezTo>
                  <a:cubicBezTo>
                    <a:pt x="255" y="61"/>
                    <a:pt x="257" y="63"/>
                    <a:pt x="259" y="63"/>
                  </a:cubicBezTo>
                  <a:cubicBezTo>
                    <a:pt x="262" y="64"/>
                    <a:pt x="267" y="63"/>
                    <a:pt x="269" y="61"/>
                  </a:cubicBezTo>
                  <a:cubicBezTo>
                    <a:pt x="271" y="59"/>
                    <a:pt x="272" y="54"/>
                    <a:pt x="275" y="53"/>
                  </a:cubicBezTo>
                  <a:cubicBezTo>
                    <a:pt x="280" y="52"/>
                    <a:pt x="279" y="56"/>
                    <a:pt x="279" y="59"/>
                  </a:cubicBezTo>
                  <a:cubicBezTo>
                    <a:pt x="278" y="62"/>
                    <a:pt x="279" y="62"/>
                    <a:pt x="282" y="63"/>
                  </a:cubicBezTo>
                  <a:cubicBezTo>
                    <a:pt x="283" y="63"/>
                    <a:pt x="284" y="65"/>
                    <a:pt x="285" y="66"/>
                  </a:cubicBezTo>
                  <a:cubicBezTo>
                    <a:pt x="288" y="68"/>
                    <a:pt x="293" y="70"/>
                    <a:pt x="297" y="70"/>
                  </a:cubicBezTo>
                  <a:cubicBezTo>
                    <a:pt x="303" y="70"/>
                    <a:pt x="309" y="70"/>
                    <a:pt x="315" y="70"/>
                  </a:cubicBezTo>
                  <a:cubicBezTo>
                    <a:pt x="317" y="70"/>
                    <a:pt x="318" y="70"/>
                    <a:pt x="320" y="71"/>
                  </a:cubicBezTo>
                  <a:cubicBezTo>
                    <a:pt x="323" y="72"/>
                    <a:pt x="326" y="73"/>
                    <a:pt x="328" y="74"/>
                  </a:cubicBezTo>
                  <a:cubicBezTo>
                    <a:pt x="329" y="75"/>
                    <a:pt x="333" y="79"/>
                    <a:pt x="333" y="79"/>
                  </a:cubicBezTo>
                  <a:cubicBezTo>
                    <a:pt x="335" y="79"/>
                    <a:pt x="335" y="77"/>
                    <a:pt x="336" y="75"/>
                  </a:cubicBezTo>
                  <a:cubicBezTo>
                    <a:pt x="338" y="72"/>
                    <a:pt x="339" y="69"/>
                    <a:pt x="342" y="67"/>
                  </a:cubicBezTo>
                  <a:cubicBezTo>
                    <a:pt x="344" y="65"/>
                    <a:pt x="348" y="63"/>
                    <a:pt x="349" y="61"/>
                  </a:cubicBezTo>
                  <a:cubicBezTo>
                    <a:pt x="350" y="59"/>
                    <a:pt x="350" y="59"/>
                    <a:pt x="350" y="57"/>
                  </a:cubicBezTo>
                  <a:cubicBezTo>
                    <a:pt x="350" y="53"/>
                    <a:pt x="351" y="50"/>
                    <a:pt x="351" y="46"/>
                  </a:cubicBezTo>
                  <a:cubicBezTo>
                    <a:pt x="351" y="42"/>
                    <a:pt x="351" y="37"/>
                    <a:pt x="355" y="35"/>
                  </a:cubicBezTo>
                  <a:cubicBezTo>
                    <a:pt x="357" y="33"/>
                    <a:pt x="362" y="35"/>
                    <a:pt x="364" y="33"/>
                  </a:cubicBezTo>
                  <a:cubicBezTo>
                    <a:pt x="368" y="31"/>
                    <a:pt x="366" y="26"/>
                    <a:pt x="366" y="22"/>
                  </a:cubicBezTo>
                  <a:cubicBezTo>
                    <a:pt x="365" y="18"/>
                    <a:pt x="365" y="15"/>
                    <a:pt x="365" y="10"/>
                  </a:cubicBezTo>
                  <a:cubicBezTo>
                    <a:pt x="365" y="6"/>
                    <a:pt x="362" y="7"/>
                    <a:pt x="359" y="6"/>
                  </a:cubicBezTo>
                  <a:cubicBezTo>
                    <a:pt x="357" y="5"/>
                    <a:pt x="356" y="3"/>
                    <a:pt x="354" y="2"/>
                  </a:cubicBezTo>
                  <a:cubicBezTo>
                    <a:pt x="354" y="3"/>
                    <a:pt x="354" y="4"/>
                    <a:pt x="354" y="5"/>
                  </a:cubicBezTo>
                  <a:cubicBezTo>
                    <a:pt x="351" y="5"/>
                    <a:pt x="348" y="3"/>
                    <a:pt x="346" y="3"/>
                  </a:cubicBezTo>
                  <a:cubicBezTo>
                    <a:pt x="344" y="2"/>
                    <a:pt x="342" y="0"/>
                    <a:pt x="340" y="0"/>
                  </a:cubicBezTo>
                  <a:cubicBezTo>
                    <a:pt x="336" y="0"/>
                    <a:pt x="333" y="2"/>
                    <a:pt x="334" y="6"/>
                  </a:cubicBezTo>
                  <a:cubicBezTo>
                    <a:pt x="335" y="9"/>
                    <a:pt x="338" y="10"/>
                    <a:pt x="338" y="13"/>
                  </a:cubicBezTo>
                  <a:cubicBezTo>
                    <a:pt x="338" y="15"/>
                    <a:pt x="339" y="16"/>
                    <a:pt x="338" y="18"/>
                  </a:cubicBezTo>
                  <a:cubicBezTo>
                    <a:pt x="338" y="19"/>
                    <a:pt x="337" y="19"/>
                    <a:pt x="337" y="21"/>
                  </a:cubicBezTo>
                  <a:cubicBezTo>
                    <a:pt x="337" y="21"/>
                    <a:pt x="337" y="22"/>
                    <a:pt x="337" y="22"/>
                  </a:cubicBezTo>
                  <a:cubicBezTo>
                    <a:pt x="337" y="25"/>
                    <a:pt x="338" y="28"/>
                    <a:pt x="336" y="30"/>
                  </a:cubicBezTo>
                  <a:cubicBezTo>
                    <a:pt x="335" y="30"/>
                    <a:pt x="334" y="30"/>
                    <a:pt x="333" y="31"/>
                  </a:cubicBezTo>
                  <a:cubicBezTo>
                    <a:pt x="332" y="31"/>
                    <a:pt x="331" y="32"/>
                    <a:pt x="330" y="33"/>
                  </a:cubicBezTo>
                  <a:cubicBezTo>
                    <a:pt x="329" y="33"/>
                    <a:pt x="327" y="34"/>
                    <a:pt x="326" y="34"/>
                  </a:cubicBezTo>
                  <a:cubicBezTo>
                    <a:pt x="323" y="35"/>
                    <a:pt x="322" y="34"/>
                    <a:pt x="320" y="33"/>
                  </a:cubicBezTo>
                  <a:cubicBezTo>
                    <a:pt x="319" y="33"/>
                    <a:pt x="318" y="32"/>
                    <a:pt x="317" y="32"/>
                  </a:cubicBezTo>
                  <a:cubicBezTo>
                    <a:pt x="316" y="32"/>
                    <a:pt x="316" y="32"/>
                    <a:pt x="315" y="33"/>
                  </a:cubicBezTo>
                  <a:cubicBezTo>
                    <a:pt x="312" y="34"/>
                    <a:pt x="310" y="30"/>
                    <a:pt x="307" y="31"/>
                  </a:cubicBezTo>
                  <a:cubicBezTo>
                    <a:pt x="309" y="32"/>
                    <a:pt x="309" y="34"/>
                    <a:pt x="309" y="36"/>
                  </a:cubicBezTo>
                  <a:cubicBezTo>
                    <a:pt x="304" y="36"/>
                    <a:pt x="298" y="37"/>
                    <a:pt x="293" y="37"/>
                  </a:cubicBezTo>
                  <a:cubicBezTo>
                    <a:pt x="291" y="37"/>
                    <a:pt x="289" y="37"/>
                    <a:pt x="287" y="37"/>
                  </a:cubicBezTo>
                  <a:cubicBezTo>
                    <a:pt x="287" y="37"/>
                    <a:pt x="286" y="37"/>
                    <a:pt x="286" y="36"/>
                  </a:cubicBezTo>
                  <a:cubicBezTo>
                    <a:pt x="285" y="36"/>
                    <a:pt x="284" y="37"/>
                    <a:pt x="283" y="36"/>
                  </a:cubicBezTo>
                  <a:cubicBezTo>
                    <a:pt x="282" y="36"/>
                    <a:pt x="281" y="34"/>
                    <a:pt x="279" y="33"/>
                  </a:cubicBezTo>
                  <a:cubicBezTo>
                    <a:pt x="279" y="33"/>
                    <a:pt x="278" y="32"/>
                    <a:pt x="277" y="32"/>
                  </a:cubicBezTo>
                  <a:cubicBezTo>
                    <a:pt x="275" y="32"/>
                    <a:pt x="274" y="33"/>
                    <a:pt x="273" y="31"/>
                  </a:cubicBezTo>
                  <a:cubicBezTo>
                    <a:pt x="272" y="31"/>
                    <a:pt x="271" y="31"/>
                    <a:pt x="270" y="30"/>
                  </a:cubicBezTo>
                  <a:cubicBezTo>
                    <a:pt x="269" y="30"/>
                    <a:pt x="269" y="29"/>
                    <a:pt x="268" y="28"/>
                  </a:cubicBezTo>
                  <a:cubicBezTo>
                    <a:pt x="266" y="28"/>
                    <a:pt x="264" y="29"/>
                    <a:pt x="262" y="29"/>
                  </a:cubicBezTo>
                  <a:cubicBezTo>
                    <a:pt x="261" y="30"/>
                    <a:pt x="261" y="31"/>
                    <a:pt x="260" y="30"/>
                  </a:cubicBezTo>
                  <a:cubicBezTo>
                    <a:pt x="259" y="29"/>
                    <a:pt x="259" y="27"/>
                    <a:pt x="258" y="27"/>
                  </a:cubicBezTo>
                  <a:cubicBezTo>
                    <a:pt x="257" y="26"/>
                    <a:pt x="257" y="26"/>
                    <a:pt x="257" y="26"/>
                  </a:cubicBezTo>
                  <a:cubicBezTo>
                    <a:pt x="256" y="25"/>
                    <a:pt x="255" y="24"/>
                    <a:pt x="255" y="23"/>
                  </a:cubicBezTo>
                  <a:cubicBezTo>
                    <a:pt x="253" y="21"/>
                    <a:pt x="251" y="21"/>
                    <a:pt x="249" y="20"/>
                  </a:cubicBezTo>
                  <a:cubicBezTo>
                    <a:pt x="248" y="20"/>
                    <a:pt x="247" y="19"/>
                    <a:pt x="247" y="18"/>
                  </a:cubicBezTo>
                  <a:cubicBezTo>
                    <a:pt x="247" y="18"/>
                    <a:pt x="246" y="17"/>
                    <a:pt x="246" y="17"/>
                  </a:cubicBezTo>
                  <a:cubicBezTo>
                    <a:pt x="245" y="16"/>
                    <a:pt x="246" y="13"/>
                    <a:pt x="245" y="12"/>
                  </a:cubicBezTo>
                  <a:cubicBezTo>
                    <a:pt x="244" y="11"/>
                    <a:pt x="242" y="12"/>
                    <a:pt x="241" y="13"/>
                  </a:cubicBezTo>
                  <a:cubicBezTo>
                    <a:pt x="241" y="11"/>
                    <a:pt x="240" y="13"/>
                    <a:pt x="239" y="13"/>
                  </a:cubicBezTo>
                  <a:cubicBezTo>
                    <a:pt x="237" y="13"/>
                    <a:pt x="238" y="11"/>
                    <a:pt x="236" y="11"/>
                  </a:cubicBezTo>
                  <a:cubicBezTo>
                    <a:pt x="236" y="12"/>
                    <a:pt x="235" y="11"/>
                    <a:pt x="235" y="12"/>
                  </a:cubicBezTo>
                  <a:cubicBezTo>
                    <a:pt x="234" y="12"/>
                    <a:pt x="234" y="13"/>
                    <a:pt x="234" y="13"/>
                  </a:cubicBezTo>
                  <a:cubicBezTo>
                    <a:pt x="232" y="14"/>
                    <a:pt x="231" y="13"/>
                    <a:pt x="229" y="13"/>
                  </a:cubicBezTo>
                  <a:cubicBezTo>
                    <a:pt x="228" y="13"/>
                    <a:pt x="226" y="13"/>
                    <a:pt x="225" y="13"/>
                  </a:cubicBezTo>
                  <a:cubicBezTo>
                    <a:pt x="224" y="13"/>
                    <a:pt x="223" y="12"/>
                    <a:pt x="222" y="11"/>
                  </a:cubicBezTo>
                  <a:cubicBezTo>
                    <a:pt x="219" y="10"/>
                    <a:pt x="220" y="14"/>
                    <a:pt x="220" y="15"/>
                  </a:cubicBezTo>
                  <a:cubicBezTo>
                    <a:pt x="219" y="18"/>
                    <a:pt x="216" y="19"/>
                    <a:pt x="214" y="17"/>
                  </a:cubicBezTo>
                  <a:cubicBezTo>
                    <a:pt x="213" y="18"/>
                    <a:pt x="212" y="19"/>
                    <a:pt x="211" y="19"/>
                  </a:cubicBezTo>
                  <a:cubicBezTo>
                    <a:pt x="211" y="19"/>
                    <a:pt x="210" y="19"/>
                    <a:pt x="209" y="19"/>
                  </a:cubicBezTo>
                  <a:cubicBezTo>
                    <a:pt x="208" y="19"/>
                    <a:pt x="208" y="20"/>
                    <a:pt x="207" y="21"/>
                  </a:cubicBezTo>
                  <a:cubicBezTo>
                    <a:pt x="206" y="22"/>
                    <a:pt x="203" y="23"/>
                    <a:pt x="201" y="23"/>
                  </a:cubicBezTo>
                  <a:cubicBezTo>
                    <a:pt x="199" y="24"/>
                    <a:pt x="197" y="23"/>
                    <a:pt x="195" y="24"/>
                  </a:cubicBezTo>
                  <a:cubicBezTo>
                    <a:pt x="194" y="24"/>
                    <a:pt x="193" y="24"/>
                    <a:pt x="191" y="24"/>
                  </a:cubicBezTo>
                  <a:cubicBezTo>
                    <a:pt x="190" y="24"/>
                    <a:pt x="189" y="23"/>
                    <a:pt x="188" y="23"/>
                  </a:cubicBezTo>
                  <a:cubicBezTo>
                    <a:pt x="186" y="22"/>
                    <a:pt x="182" y="24"/>
                    <a:pt x="180" y="25"/>
                  </a:cubicBezTo>
                  <a:cubicBezTo>
                    <a:pt x="177" y="26"/>
                    <a:pt x="175" y="26"/>
                    <a:pt x="172" y="26"/>
                  </a:cubicBezTo>
                  <a:cubicBezTo>
                    <a:pt x="170" y="26"/>
                    <a:pt x="168" y="26"/>
                    <a:pt x="167" y="26"/>
                  </a:cubicBezTo>
                  <a:cubicBezTo>
                    <a:pt x="165" y="26"/>
                    <a:pt x="164" y="27"/>
                    <a:pt x="163" y="26"/>
                  </a:cubicBezTo>
                  <a:cubicBezTo>
                    <a:pt x="162" y="25"/>
                    <a:pt x="162" y="24"/>
                    <a:pt x="161" y="24"/>
                  </a:cubicBezTo>
                  <a:cubicBezTo>
                    <a:pt x="160" y="23"/>
                    <a:pt x="159" y="22"/>
                    <a:pt x="158" y="21"/>
                  </a:cubicBezTo>
                  <a:cubicBezTo>
                    <a:pt x="158" y="21"/>
                    <a:pt x="158" y="21"/>
                    <a:pt x="158" y="21"/>
                  </a:cubicBezTo>
                  <a:cubicBezTo>
                    <a:pt x="158" y="21"/>
                    <a:pt x="157" y="21"/>
                    <a:pt x="157" y="21"/>
                  </a:cubicBezTo>
                  <a:cubicBezTo>
                    <a:pt x="157" y="22"/>
                    <a:pt x="156" y="22"/>
                    <a:pt x="155" y="22"/>
                  </a:cubicBezTo>
                  <a:cubicBezTo>
                    <a:pt x="154" y="23"/>
                    <a:pt x="154" y="23"/>
                    <a:pt x="153" y="24"/>
                  </a:cubicBezTo>
                  <a:cubicBezTo>
                    <a:pt x="152" y="24"/>
                    <a:pt x="151" y="26"/>
                    <a:pt x="150" y="26"/>
                  </a:cubicBezTo>
                  <a:cubicBezTo>
                    <a:pt x="149" y="26"/>
                    <a:pt x="147" y="25"/>
                    <a:pt x="147" y="27"/>
                  </a:cubicBezTo>
                  <a:cubicBezTo>
                    <a:pt x="146" y="27"/>
                    <a:pt x="147" y="29"/>
                    <a:pt x="147" y="29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1"/>
                    <a:pt x="146" y="31"/>
                    <a:pt x="146" y="32"/>
                  </a:cubicBezTo>
                  <a:cubicBezTo>
                    <a:pt x="145" y="34"/>
                    <a:pt x="145" y="35"/>
                    <a:pt x="145" y="37"/>
                  </a:cubicBezTo>
                  <a:cubicBezTo>
                    <a:pt x="145" y="38"/>
                    <a:pt x="145" y="39"/>
                    <a:pt x="144" y="40"/>
                  </a:cubicBezTo>
                  <a:cubicBezTo>
                    <a:pt x="143" y="40"/>
                    <a:pt x="143" y="38"/>
                    <a:pt x="142" y="37"/>
                  </a:cubicBezTo>
                  <a:cubicBezTo>
                    <a:pt x="141" y="37"/>
                    <a:pt x="138" y="39"/>
                    <a:pt x="138" y="40"/>
                  </a:cubicBezTo>
                  <a:cubicBezTo>
                    <a:pt x="137" y="40"/>
                    <a:pt x="136" y="40"/>
                    <a:pt x="135" y="40"/>
                  </a:cubicBezTo>
                  <a:cubicBezTo>
                    <a:pt x="133" y="40"/>
                    <a:pt x="132" y="39"/>
                    <a:pt x="131" y="39"/>
                  </a:cubicBezTo>
                  <a:cubicBezTo>
                    <a:pt x="129" y="39"/>
                    <a:pt x="127" y="39"/>
                    <a:pt x="125" y="39"/>
                  </a:cubicBezTo>
                  <a:cubicBezTo>
                    <a:pt x="125" y="39"/>
                    <a:pt x="124" y="39"/>
                    <a:pt x="124" y="39"/>
                  </a:cubicBezTo>
                  <a:cubicBezTo>
                    <a:pt x="123" y="39"/>
                    <a:pt x="123" y="39"/>
                    <a:pt x="122" y="39"/>
                  </a:cubicBezTo>
                  <a:cubicBezTo>
                    <a:pt x="121" y="38"/>
                    <a:pt x="119" y="38"/>
                    <a:pt x="118" y="37"/>
                  </a:cubicBezTo>
                  <a:cubicBezTo>
                    <a:pt x="117" y="37"/>
                    <a:pt x="116" y="37"/>
                    <a:pt x="115" y="38"/>
                  </a:cubicBezTo>
                  <a:cubicBezTo>
                    <a:pt x="115" y="38"/>
                    <a:pt x="114" y="39"/>
                    <a:pt x="113" y="39"/>
                  </a:cubicBezTo>
                  <a:cubicBezTo>
                    <a:pt x="112" y="39"/>
                    <a:pt x="110" y="38"/>
                    <a:pt x="109" y="38"/>
                  </a:cubicBezTo>
                  <a:cubicBezTo>
                    <a:pt x="108" y="37"/>
                    <a:pt x="107" y="37"/>
                    <a:pt x="107" y="37"/>
                  </a:cubicBezTo>
                  <a:cubicBezTo>
                    <a:pt x="105" y="37"/>
                    <a:pt x="103" y="39"/>
                    <a:pt x="102" y="41"/>
                  </a:cubicBezTo>
                  <a:cubicBezTo>
                    <a:pt x="101" y="42"/>
                    <a:pt x="100" y="43"/>
                    <a:pt x="99" y="44"/>
                  </a:cubicBezTo>
                  <a:cubicBezTo>
                    <a:pt x="98" y="46"/>
                    <a:pt x="95" y="47"/>
                    <a:pt x="94" y="49"/>
                  </a:cubicBezTo>
                  <a:cubicBezTo>
                    <a:pt x="93" y="50"/>
                    <a:pt x="93" y="51"/>
                    <a:pt x="93" y="52"/>
                  </a:cubicBezTo>
                  <a:cubicBezTo>
                    <a:pt x="92" y="52"/>
                    <a:pt x="91" y="54"/>
                    <a:pt x="90" y="54"/>
                  </a:cubicBezTo>
                  <a:cubicBezTo>
                    <a:pt x="89" y="55"/>
                    <a:pt x="87" y="56"/>
                    <a:pt x="86" y="56"/>
                  </a:cubicBezTo>
                  <a:cubicBezTo>
                    <a:pt x="85" y="56"/>
                    <a:pt x="83" y="56"/>
                    <a:pt x="82" y="56"/>
                  </a:cubicBezTo>
                  <a:cubicBezTo>
                    <a:pt x="81" y="57"/>
                    <a:pt x="80" y="56"/>
                    <a:pt x="79" y="56"/>
                  </a:cubicBezTo>
                  <a:cubicBezTo>
                    <a:pt x="79" y="56"/>
                    <a:pt x="78" y="56"/>
                    <a:pt x="78" y="56"/>
                  </a:cubicBezTo>
                  <a:cubicBezTo>
                    <a:pt x="77" y="57"/>
                    <a:pt x="78" y="57"/>
                    <a:pt x="77" y="58"/>
                  </a:cubicBezTo>
                  <a:cubicBezTo>
                    <a:pt x="77" y="58"/>
                    <a:pt x="76" y="58"/>
                    <a:pt x="75" y="58"/>
                  </a:cubicBezTo>
                  <a:cubicBezTo>
                    <a:pt x="73" y="58"/>
                    <a:pt x="72" y="57"/>
                    <a:pt x="70" y="57"/>
                  </a:cubicBezTo>
                  <a:cubicBezTo>
                    <a:pt x="68" y="57"/>
                    <a:pt x="67" y="57"/>
                    <a:pt x="65" y="57"/>
                  </a:cubicBezTo>
                  <a:cubicBezTo>
                    <a:pt x="64" y="57"/>
                    <a:pt x="62" y="57"/>
                    <a:pt x="60" y="57"/>
                  </a:cubicBezTo>
                  <a:cubicBezTo>
                    <a:pt x="59" y="58"/>
                    <a:pt x="57" y="59"/>
                    <a:pt x="56" y="60"/>
                  </a:cubicBezTo>
                  <a:cubicBezTo>
                    <a:pt x="54" y="60"/>
                    <a:pt x="52" y="61"/>
                    <a:pt x="51" y="62"/>
                  </a:cubicBezTo>
                  <a:cubicBezTo>
                    <a:pt x="49" y="64"/>
                    <a:pt x="47" y="66"/>
                    <a:pt x="45" y="67"/>
                  </a:cubicBezTo>
                  <a:cubicBezTo>
                    <a:pt x="46" y="69"/>
                    <a:pt x="49" y="71"/>
                    <a:pt x="50" y="73"/>
                  </a:cubicBezTo>
                  <a:cubicBezTo>
                    <a:pt x="51" y="74"/>
                    <a:pt x="53" y="79"/>
                    <a:pt x="52" y="81"/>
                  </a:cubicBezTo>
                  <a:cubicBezTo>
                    <a:pt x="51" y="81"/>
                    <a:pt x="50" y="82"/>
                    <a:pt x="50" y="82"/>
                  </a:cubicBezTo>
                  <a:cubicBezTo>
                    <a:pt x="48" y="83"/>
                    <a:pt x="48" y="83"/>
                    <a:pt x="48" y="85"/>
                  </a:cubicBezTo>
                  <a:cubicBezTo>
                    <a:pt x="47" y="87"/>
                    <a:pt x="48" y="89"/>
                    <a:pt x="46" y="90"/>
                  </a:cubicBezTo>
                  <a:cubicBezTo>
                    <a:pt x="45" y="90"/>
                    <a:pt x="43" y="90"/>
                    <a:pt x="42" y="90"/>
                  </a:cubicBezTo>
                  <a:cubicBezTo>
                    <a:pt x="42" y="90"/>
                    <a:pt x="41" y="90"/>
                    <a:pt x="41" y="90"/>
                  </a:cubicBezTo>
                  <a:cubicBezTo>
                    <a:pt x="41" y="91"/>
                    <a:pt x="40" y="91"/>
                    <a:pt x="40" y="91"/>
                  </a:cubicBezTo>
                  <a:cubicBezTo>
                    <a:pt x="39" y="92"/>
                    <a:pt x="38" y="91"/>
                    <a:pt x="37" y="91"/>
                  </a:cubicBezTo>
                  <a:cubicBezTo>
                    <a:pt x="36" y="92"/>
                    <a:pt x="36" y="93"/>
                    <a:pt x="35" y="94"/>
                  </a:cubicBezTo>
                  <a:cubicBezTo>
                    <a:pt x="34" y="96"/>
                    <a:pt x="33" y="98"/>
                    <a:pt x="33" y="100"/>
                  </a:cubicBezTo>
                  <a:cubicBezTo>
                    <a:pt x="33" y="102"/>
                    <a:pt x="33" y="103"/>
                    <a:pt x="32" y="105"/>
                  </a:cubicBezTo>
                  <a:cubicBezTo>
                    <a:pt x="31" y="106"/>
                    <a:pt x="31" y="107"/>
                    <a:pt x="31" y="108"/>
                  </a:cubicBezTo>
                  <a:cubicBezTo>
                    <a:pt x="30" y="109"/>
                    <a:pt x="29" y="110"/>
                    <a:pt x="29" y="112"/>
                  </a:cubicBezTo>
                  <a:cubicBezTo>
                    <a:pt x="28" y="112"/>
                    <a:pt x="29" y="113"/>
                    <a:pt x="29" y="113"/>
                  </a:cubicBezTo>
                  <a:cubicBezTo>
                    <a:pt x="29" y="115"/>
                    <a:pt x="28" y="115"/>
                    <a:pt x="28" y="116"/>
                  </a:cubicBezTo>
                  <a:cubicBezTo>
                    <a:pt x="27" y="117"/>
                    <a:pt x="27" y="118"/>
                    <a:pt x="27" y="119"/>
                  </a:cubicBezTo>
                  <a:cubicBezTo>
                    <a:pt x="27" y="119"/>
                    <a:pt x="26" y="121"/>
                    <a:pt x="26" y="121"/>
                  </a:cubicBezTo>
                  <a:cubicBezTo>
                    <a:pt x="25" y="121"/>
                    <a:pt x="23" y="120"/>
                    <a:pt x="22" y="120"/>
                  </a:cubicBezTo>
                  <a:cubicBezTo>
                    <a:pt x="20" y="120"/>
                    <a:pt x="19" y="120"/>
                    <a:pt x="18" y="121"/>
                  </a:cubicBezTo>
                  <a:cubicBezTo>
                    <a:pt x="16" y="122"/>
                    <a:pt x="14" y="123"/>
                    <a:pt x="13" y="125"/>
                  </a:cubicBezTo>
                  <a:cubicBezTo>
                    <a:pt x="12" y="126"/>
                    <a:pt x="12" y="126"/>
                    <a:pt x="11" y="127"/>
                  </a:cubicBezTo>
                  <a:cubicBezTo>
                    <a:pt x="11" y="128"/>
                    <a:pt x="11" y="128"/>
                    <a:pt x="10" y="129"/>
                  </a:cubicBezTo>
                  <a:cubicBezTo>
                    <a:pt x="10" y="129"/>
                    <a:pt x="9" y="131"/>
                    <a:pt x="9" y="132"/>
                  </a:cubicBezTo>
                  <a:cubicBezTo>
                    <a:pt x="9" y="133"/>
                    <a:pt x="10" y="133"/>
                    <a:pt x="10" y="134"/>
                  </a:cubicBezTo>
                  <a:cubicBezTo>
                    <a:pt x="11" y="135"/>
                    <a:pt x="11" y="136"/>
                    <a:pt x="11" y="137"/>
                  </a:cubicBezTo>
                  <a:cubicBezTo>
                    <a:pt x="12" y="138"/>
                    <a:pt x="13" y="139"/>
                    <a:pt x="12" y="140"/>
                  </a:cubicBezTo>
                  <a:cubicBezTo>
                    <a:pt x="12" y="141"/>
                    <a:pt x="11" y="141"/>
                    <a:pt x="11" y="142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9" y="143"/>
                    <a:pt x="9" y="143"/>
                    <a:pt x="9" y="143"/>
                  </a:cubicBezTo>
                  <a:cubicBezTo>
                    <a:pt x="8" y="143"/>
                    <a:pt x="8" y="143"/>
                    <a:pt x="8" y="143"/>
                  </a:cubicBezTo>
                  <a:cubicBezTo>
                    <a:pt x="7" y="144"/>
                    <a:pt x="7" y="145"/>
                    <a:pt x="7" y="147"/>
                  </a:cubicBezTo>
                  <a:cubicBezTo>
                    <a:pt x="6" y="148"/>
                    <a:pt x="5" y="150"/>
                    <a:pt x="4" y="150"/>
                  </a:cubicBezTo>
                  <a:cubicBezTo>
                    <a:pt x="4" y="151"/>
                    <a:pt x="3" y="151"/>
                    <a:pt x="3" y="151"/>
                  </a:cubicBezTo>
                  <a:cubicBezTo>
                    <a:pt x="2" y="152"/>
                    <a:pt x="2" y="152"/>
                    <a:pt x="2" y="153"/>
                  </a:cubicBezTo>
                  <a:cubicBezTo>
                    <a:pt x="1" y="153"/>
                    <a:pt x="0" y="153"/>
                    <a:pt x="0" y="153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4" name="Freeform 44"/>
            <p:cNvSpPr>
              <a:spLocks/>
            </p:cNvSpPr>
            <p:nvPr/>
          </p:nvSpPr>
          <p:spPr bwMode="auto">
            <a:xfrm>
              <a:off x="5437188" y="6280150"/>
              <a:ext cx="52388" cy="61913"/>
            </a:xfrm>
            <a:custGeom>
              <a:avLst/>
              <a:gdLst/>
              <a:ahLst/>
              <a:cxnLst>
                <a:cxn ang="0">
                  <a:pos x="23" y="23"/>
                </a:cxn>
                <a:cxn ang="0">
                  <a:pos x="17" y="16"/>
                </a:cxn>
                <a:cxn ang="0">
                  <a:pos x="17" y="8"/>
                </a:cxn>
                <a:cxn ang="0">
                  <a:pos x="12" y="3"/>
                </a:cxn>
                <a:cxn ang="0">
                  <a:pos x="12" y="12"/>
                </a:cxn>
                <a:cxn ang="0">
                  <a:pos x="7" y="14"/>
                </a:cxn>
                <a:cxn ang="0">
                  <a:pos x="2" y="20"/>
                </a:cxn>
                <a:cxn ang="0">
                  <a:pos x="2" y="27"/>
                </a:cxn>
                <a:cxn ang="0">
                  <a:pos x="6" y="22"/>
                </a:cxn>
                <a:cxn ang="0">
                  <a:pos x="8" y="28"/>
                </a:cxn>
                <a:cxn ang="0">
                  <a:pos x="13" y="31"/>
                </a:cxn>
                <a:cxn ang="0">
                  <a:pos x="26" y="32"/>
                </a:cxn>
                <a:cxn ang="0">
                  <a:pos x="25" y="23"/>
                </a:cxn>
                <a:cxn ang="0">
                  <a:pos x="23" y="23"/>
                </a:cxn>
              </a:cxnLst>
              <a:rect l="0" t="0" r="r" b="b"/>
              <a:pathLst>
                <a:path w="28" h="33">
                  <a:moveTo>
                    <a:pt x="23" y="23"/>
                  </a:moveTo>
                  <a:cubicBezTo>
                    <a:pt x="20" y="23"/>
                    <a:pt x="18" y="18"/>
                    <a:pt x="17" y="16"/>
                  </a:cubicBezTo>
                  <a:cubicBezTo>
                    <a:pt x="17" y="13"/>
                    <a:pt x="17" y="10"/>
                    <a:pt x="17" y="8"/>
                  </a:cubicBezTo>
                  <a:cubicBezTo>
                    <a:pt x="17" y="6"/>
                    <a:pt x="15" y="0"/>
                    <a:pt x="12" y="3"/>
                  </a:cubicBezTo>
                  <a:cubicBezTo>
                    <a:pt x="10" y="5"/>
                    <a:pt x="13" y="9"/>
                    <a:pt x="12" y="12"/>
                  </a:cubicBezTo>
                  <a:cubicBezTo>
                    <a:pt x="11" y="13"/>
                    <a:pt x="9" y="14"/>
                    <a:pt x="7" y="14"/>
                  </a:cubicBezTo>
                  <a:cubicBezTo>
                    <a:pt x="4" y="15"/>
                    <a:pt x="3" y="16"/>
                    <a:pt x="2" y="20"/>
                  </a:cubicBezTo>
                  <a:cubicBezTo>
                    <a:pt x="1" y="22"/>
                    <a:pt x="0" y="27"/>
                    <a:pt x="2" y="27"/>
                  </a:cubicBezTo>
                  <a:cubicBezTo>
                    <a:pt x="5" y="27"/>
                    <a:pt x="6" y="24"/>
                    <a:pt x="6" y="22"/>
                  </a:cubicBezTo>
                  <a:cubicBezTo>
                    <a:pt x="7" y="24"/>
                    <a:pt x="7" y="27"/>
                    <a:pt x="8" y="28"/>
                  </a:cubicBezTo>
                  <a:cubicBezTo>
                    <a:pt x="9" y="30"/>
                    <a:pt x="11" y="30"/>
                    <a:pt x="13" y="31"/>
                  </a:cubicBezTo>
                  <a:cubicBezTo>
                    <a:pt x="17" y="32"/>
                    <a:pt x="22" y="33"/>
                    <a:pt x="26" y="32"/>
                  </a:cubicBezTo>
                  <a:cubicBezTo>
                    <a:pt x="27" y="30"/>
                    <a:pt x="28" y="24"/>
                    <a:pt x="25" y="23"/>
                  </a:cubicBezTo>
                  <a:lnTo>
                    <a:pt x="23" y="2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5" name="Freeform 45"/>
            <p:cNvSpPr>
              <a:spLocks/>
            </p:cNvSpPr>
            <p:nvPr/>
          </p:nvSpPr>
          <p:spPr bwMode="auto">
            <a:xfrm>
              <a:off x="5465763" y="6359525"/>
              <a:ext cx="38100" cy="42863"/>
            </a:xfrm>
            <a:custGeom>
              <a:avLst/>
              <a:gdLst/>
              <a:ahLst/>
              <a:cxnLst>
                <a:cxn ang="0">
                  <a:pos x="10" y="7"/>
                </a:cxn>
                <a:cxn ang="0">
                  <a:pos x="3" y="2"/>
                </a:cxn>
                <a:cxn ang="0">
                  <a:pos x="1" y="11"/>
                </a:cxn>
                <a:cxn ang="0">
                  <a:pos x="4" y="18"/>
                </a:cxn>
                <a:cxn ang="0">
                  <a:pos x="8" y="22"/>
                </a:cxn>
                <a:cxn ang="0">
                  <a:pos x="13" y="23"/>
                </a:cxn>
                <a:cxn ang="0">
                  <a:pos x="14" y="20"/>
                </a:cxn>
                <a:cxn ang="0">
                  <a:pos x="19" y="20"/>
                </a:cxn>
                <a:cxn ang="0">
                  <a:pos x="12" y="8"/>
                </a:cxn>
                <a:cxn ang="0">
                  <a:pos x="10" y="7"/>
                </a:cxn>
              </a:cxnLst>
              <a:rect l="0" t="0" r="r" b="b"/>
              <a:pathLst>
                <a:path w="21" h="23">
                  <a:moveTo>
                    <a:pt x="10" y="7"/>
                  </a:moveTo>
                  <a:cubicBezTo>
                    <a:pt x="8" y="5"/>
                    <a:pt x="6" y="0"/>
                    <a:pt x="3" y="2"/>
                  </a:cubicBezTo>
                  <a:cubicBezTo>
                    <a:pt x="0" y="3"/>
                    <a:pt x="1" y="9"/>
                    <a:pt x="1" y="11"/>
                  </a:cubicBezTo>
                  <a:cubicBezTo>
                    <a:pt x="2" y="13"/>
                    <a:pt x="3" y="16"/>
                    <a:pt x="4" y="18"/>
                  </a:cubicBezTo>
                  <a:cubicBezTo>
                    <a:pt x="5" y="21"/>
                    <a:pt x="5" y="21"/>
                    <a:pt x="8" y="22"/>
                  </a:cubicBezTo>
                  <a:cubicBezTo>
                    <a:pt x="9" y="22"/>
                    <a:pt x="12" y="23"/>
                    <a:pt x="13" y="23"/>
                  </a:cubicBezTo>
                  <a:cubicBezTo>
                    <a:pt x="13" y="22"/>
                    <a:pt x="13" y="21"/>
                    <a:pt x="14" y="20"/>
                  </a:cubicBezTo>
                  <a:cubicBezTo>
                    <a:pt x="16" y="20"/>
                    <a:pt x="17" y="23"/>
                    <a:pt x="19" y="20"/>
                  </a:cubicBezTo>
                  <a:cubicBezTo>
                    <a:pt x="21" y="16"/>
                    <a:pt x="15" y="10"/>
                    <a:pt x="12" y="8"/>
                  </a:cubicBezTo>
                  <a:lnTo>
                    <a:pt x="10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6" name="Freeform 46"/>
            <p:cNvSpPr>
              <a:spLocks/>
            </p:cNvSpPr>
            <p:nvPr/>
          </p:nvSpPr>
          <p:spPr bwMode="auto">
            <a:xfrm>
              <a:off x="5902325" y="6384925"/>
              <a:ext cx="31750" cy="39688"/>
            </a:xfrm>
            <a:custGeom>
              <a:avLst/>
              <a:gdLst/>
              <a:ahLst/>
              <a:cxnLst>
                <a:cxn ang="0">
                  <a:pos x="10" y="6"/>
                </a:cxn>
                <a:cxn ang="0">
                  <a:pos x="1" y="1"/>
                </a:cxn>
                <a:cxn ang="0">
                  <a:pos x="7" y="12"/>
                </a:cxn>
                <a:cxn ang="0">
                  <a:pos x="16" y="21"/>
                </a:cxn>
                <a:cxn ang="0">
                  <a:pos x="15" y="14"/>
                </a:cxn>
                <a:cxn ang="0">
                  <a:pos x="10" y="7"/>
                </a:cxn>
                <a:cxn ang="0">
                  <a:pos x="10" y="6"/>
                </a:cxn>
              </a:cxnLst>
              <a:rect l="0" t="0" r="r" b="b"/>
              <a:pathLst>
                <a:path w="17" h="21">
                  <a:moveTo>
                    <a:pt x="10" y="6"/>
                  </a:moveTo>
                  <a:cubicBezTo>
                    <a:pt x="11" y="3"/>
                    <a:pt x="5" y="0"/>
                    <a:pt x="1" y="1"/>
                  </a:cubicBezTo>
                  <a:cubicBezTo>
                    <a:pt x="0" y="5"/>
                    <a:pt x="4" y="9"/>
                    <a:pt x="7" y="12"/>
                  </a:cubicBezTo>
                  <a:cubicBezTo>
                    <a:pt x="9" y="15"/>
                    <a:pt x="13" y="20"/>
                    <a:pt x="16" y="21"/>
                  </a:cubicBezTo>
                  <a:cubicBezTo>
                    <a:pt x="17" y="19"/>
                    <a:pt x="16" y="16"/>
                    <a:pt x="15" y="14"/>
                  </a:cubicBezTo>
                  <a:cubicBezTo>
                    <a:pt x="14" y="13"/>
                    <a:pt x="12" y="8"/>
                    <a:pt x="10" y="7"/>
                  </a:cubicBezTo>
                  <a:lnTo>
                    <a:pt x="10" y="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7" name="Freeform 47"/>
            <p:cNvSpPr>
              <a:spLocks/>
            </p:cNvSpPr>
            <p:nvPr/>
          </p:nvSpPr>
          <p:spPr bwMode="auto">
            <a:xfrm>
              <a:off x="5940425" y="6432550"/>
              <a:ext cx="31750" cy="15875"/>
            </a:xfrm>
            <a:custGeom>
              <a:avLst/>
              <a:gdLst/>
              <a:ahLst/>
              <a:cxnLst>
                <a:cxn ang="0">
                  <a:pos x="10" y="3"/>
                </a:cxn>
                <a:cxn ang="0">
                  <a:pos x="1" y="1"/>
                </a:cxn>
                <a:cxn ang="0">
                  <a:pos x="11" y="8"/>
                </a:cxn>
                <a:cxn ang="0">
                  <a:pos x="7" y="1"/>
                </a:cxn>
                <a:cxn ang="0">
                  <a:pos x="10" y="3"/>
                </a:cxn>
              </a:cxnLst>
              <a:rect l="0" t="0" r="r" b="b"/>
              <a:pathLst>
                <a:path w="17" h="9">
                  <a:moveTo>
                    <a:pt x="10" y="3"/>
                  </a:moveTo>
                  <a:cubicBezTo>
                    <a:pt x="7" y="2"/>
                    <a:pt x="4" y="0"/>
                    <a:pt x="1" y="1"/>
                  </a:cubicBezTo>
                  <a:cubicBezTo>
                    <a:pt x="0" y="6"/>
                    <a:pt x="6" y="9"/>
                    <a:pt x="11" y="8"/>
                  </a:cubicBezTo>
                  <a:cubicBezTo>
                    <a:pt x="17" y="8"/>
                    <a:pt x="11" y="1"/>
                    <a:pt x="7" y="1"/>
                  </a:cubicBezTo>
                  <a:lnTo>
                    <a:pt x="10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8" name="Freeform 48"/>
            <p:cNvSpPr>
              <a:spLocks/>
            </p:cNvSpPr>
            <p:nvPr/>
          </p:nvSpPr>
          <p:spPr bwMode="auto">
            <a:xfrm>
              <a:off x="5964238" y="6497638"/>
              <a:ext cx="22225" cy="36513"/>
            </a:xfrm>
            <a:custGeom>
              <a:avLst/>
              <a:gdLst/>
              <a:ahLst/>
              <a:cxnLst>
                <a:cxn ang="0">
                  <a:pos x="12" y="1"/>
                </a:cxn>
                <a:cxn ang="0">
                  <a:pos x="1" y="3"/>
                </a:cxn>
                <a:cxn ang="0">
                  <a:pos x="1" y="10"/>
                </a:cxn>
                <a:cxn ang="0">
                  <a:pos x="11" y="19"/>
                </a:cxn>
                <a:cxn ang="0">
                  <a:pos x="12" y="5"/>
                </a:cxn>
                <a:cxn ang="0">
                  <a:pos x="12" y="1"/>
                </a:cxn>
              </a:cxnLst>
              <a:rect l="0" t="0" r="r" b="b"/>
              <a:pathLst>
                <a:path w="12" h="20">
                  <a:moveTo>
                    <a:pt x="12" y="1"/>
                  </a:moveTo>
                  <a:cubicBezTo>
                    <a:pt x="8" y="1"/>
                    <a:pt x="3" y="0"/>
                    <a:pt x="1" y="3"/>
                  </a:cubicBezTo>
                  <a:cubicBezTo>
                    <a:pt x="0" y="5"/>
                    <a:pt x="0" y="8"/>
                    <a:pt x="1" y="10"/>
                  </a:cubicBezTo>
                  <a:cubicBezTo>
                    <a:pt x="2" y="13"/>
                    <a:pt x="7" y="20"/>
                    <a:pt x="11" y="19"/>
                  </a:cubicBezTo>
                  <a:cubicBezTo>
                    <a:pt x="12" y="14"/>
                    <a:pt x="12" y="10"/>
                    <a:pt x="12" y="5"/>
                  </a:cubicBezTo>
                  <a:lnTo>
                    <a:pt x="12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9" name="Freeform 49"/>
            <p:cNvSpPr>
              <a:spLocks/>
            </p:cNvSpPr>
            <p:nvPr/>
          </p:nvSpPr>
          <p:spPr bwMode="auto">
            <a:xfrm>
              <a:off x="5929313" y="6503988"/>
              <a:ext cx="17463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0" y="11"/>
                </a:cxn>
                <a:cxn ang="0">
                  <a:pos x="8" y="14"/>
                </a:cxn>
                <a:cxn ang="0">
                  <a:pos x="9" y="4"/>
                </a:cxn>
                <a:cxn ang="0">
                  <a:pos x="10" y="0"/>
                </a:cxn>
              </a:cxnLst>
              <a:rect l="0" t="0" r="r" b="b"/>
              <a:pathLst>
                <a:path w="10" h="15">
                  <a:moveTo>
                    <a:pt x="10" y="0"/>
                  </a:moveTo>
                  <a:cubicBezTo>
                    <a:pt x="7" y="0"/>
                    <a:pt x="0" y="8"/>
                    <a:pt x="0" y="11"/>
                  </a:cubicBezTo>
                  <a:cubicBezTo>
                    <a:pt x="0" y="15"/>
                    <a:pt x="5" y="14"/>
                    <a:pt x="8" y="14"/>
                  </a:cubicBezTo>
                  <a:cubicBezTo>
                    <a:pt x="8" y="11"/>
                    <a:pt x="9" y="7"/>
                    <a:pt x="9" y="4"/>
                  </a:cubicBez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0" name="Freeform 50"/>
            <p:cNvSpPr>
              <a:spLocks/>
            </p:cNvSpPr>
            <p:nvPr/>
          </p:nvSpPr>
          <p:spPr bwMode="auto">
            <a:xfrm>
              <a:off x="5730875" y="6650038"/>
              <a:ext cx="273050" cy="58738"/>
            </a:xfrm>
            <a:custGeom>
              <a:avLst/>
              <a:gdLst/>
              <a:ahLst/>
              <a:cxnLst>
                <a:cxn ang="0">
                  <a:pos x="116" y="7"/>
                </a:cxn>
                <a:cxn ang="0">
                  <a:pos x="95" y="5"/>
                </a:cxn>
                <a:cxn ang="0">
                  <a:pos x="67" y="4"/>
                </a:cxn>
                <a:cxn ang="0">
                  <a:pos x="57" y="3"/>
                </a:cxn>
                <a:cxn ang="0">
                  <a:pos x="37" y="1"/>
                </a:cxn>
                <a:cxn ang="0">
                  <a:pos x="22" y="0"/>
                </a:cxn>
                <a:cxn ang="0">
                  <a:pos x="5" y="3"/>
                </a:cxn>
                <a:cxn ang="0">
                  <a:pos x="1" y="8"/>
                </a:cxn>
                <a:cxn ang="0">
                  <a:pos x="13" y="13"/>
                </a:cxn>
                <a:cxn ang="0">
                  <a:pos x="41" y="15"/>
                </a:cxn>
                <a:cxn ang="0">
                  <a:pos x="57" y="16"/>
                </a:cxn>
                <a:cxn ang="0">
                  <a:pos x="65" y="19"/>
                </a:cxn>
                <a:cxn ang="0">
                  <a:pos x="68" y="25"/>
                </a:cxn>
                <a:cxn ang="0">
                  <a:pos x="71" y="30"/>
                </a:cxn>
                <a:cxn ang="0">
                  <a:pos x="76" y="31"/>
                </a:cxn>
                <a:cxn ang="0">
                  <a:pos x="93" y="28"/>
                </a:cxn>
                <a:cxn ang="0">
                  <a:pos x="127" y="27"/>
                </a:cxn>
                <a:cxn ang="0">
                  <a:pos x="142" y="25"/>
                </a:cxn>
                <a:cxn ang="0">
                  <a:pos x="146" y="22"/>
                </a:cxn>
                <a:cxn ang="0">
                  <a:pos x="139" y="15"/>
                </a:cxn>
                <a:cxn ang="0">
                  <a:pos x="123" y="8"/>
                </a:cxn>
                <a:cxn ang="0">
                  <a:pos x="116" y="7"/>
                </a:cxn>
              </a:cxnLst>
              <a:rect l="0" t="0" r="r" b="b"/>
              <a:pathLst>
                <a:path w="146" h="31">
                  <a:moveTo>
                    <a:pt x="116" y="7"/>
                  </a:moveTo>
                  <a:cubicBezTo>
                    <a:pt x="109" y="5"/>
                    <a:pt x="102" y="5"/>
                    <a:pt x="95" y="5"/>
                  </a:cubicBezTo>
                  <a:cubicBezTo>
                    <a:pt x="86" y="5"/>
                    <a:pt x="77" y="4"/>
                    <a:pt x="67" y="4"/>
                  </a:cubicBezTo>
                  <a:cubicBezTo>
                    <a:pt x="64" y="3"/>
                    <a:pt x="60" y="3"/>
                    <a:pt x="57" y="3"/>
                  </a:cubicBezTo>
                  <a:cubicBezTo>
                    <a:pt x="50" y="3"/>
                    <a:pt x="44" y="1"/>
                    <a:pt x="37" y="1"/>
                  </a:cubicBezTo>
                  <a:cubicBezTo>
                    <a:pt x="32" y="0"/>
                    <a:pt x="27" y="1"/>
                    <a:pt x="22" y="0"/>
                  </a:cubicBezTo>
                  <a:cubicBezTo>
                    <a:pt x="16" y="0"/>
                    <a:pt x="10" y="0"/>
                    <a:pt x="5" y="3"/>
                  </a:cubicBezTo>
                  <a:cubicBezTo>
                    <a:pt x="3" y="4"/>
                    <a:pt x="0" y="5"/>
                    <a:pt x="1" y="8"/>
                  </a:cubicBezTo>
                  <a:cubicBezTo>
                    <a:pt x="3" y="11"/>
                    <a:pt x="11" y="12"/>
                    <a:pt x="13" y="13"/>
                  </a:cubicBezTo>
                  <a:cubicBezTo>
                    <a:pt x="22" y="14"/>
                    <a:pt x="31" y="14"/>
                    <a:pt x="41" y="15"/>
                  </a:cubicBezTo>
                  <a:cubicBezTo>
                    <a:pt x="46" y="15"/>
                    <a:pt x="52" y="15"/>
                    <a:pt x="57" y="16"/>
                  </a:cubicBezTo>
                  <a:cubicBezTo>
                    <a:pt x="59" y="17"/>
                    <a:pt x="64" y="18"/>
                    <a:pt x="65" y="19"/>
                  </a:cubicBezTo>
                  <a:cubicBezTo>
                    <a:pt x="67" y="21"/>
                    <a:pt x="67" y="23"/>
                    <a:pt x="68" y="25"/>
                  </a:cubicBezTo>
                  <a:cubicBezTo>
                    <a:pt x="68" y="27"/>
                    <a:pt x="69" y="30"/>
                    <a:pt x="71" y="30"/>
                  </a:cubicBezTo>
                  <a:cubicBezTo>
                    <a:pt x="72" y="31"/>
                    <a:pt x="75" y="31"/>
                    <a:pt x="76" y="31"/>
                  </a:cubicBezTo>
                  <a:cubicBezTo>
                    <a:pt x="82" y="30"/>
                    <a:pt x="88" y="28"/>
                    <a:pt x="93" y="28"/>
                  </a:cubicBezTo>
                  <a:cubicBezTo>
                    <a:pt x="104" y="27"/>
                    <a:pt x="116" y="27"/>
                    <a:pt x="127" y="27"/>
                  </a:cubicBezTo>
                  <a:cubicBezTo>
                    <a:pt x="132" y="27"/>
                    <a:pt x="137" y="27"/>
                    <a:pt x="142" y="25"/>
                  </a:cubicBezTo>
                  <a:cubicBezTo>
                    <a:pt x="143" y="25"/>
                    <a:pt x="145" y="23"/>
                    <a:pt x="146" y="22"/>
                  </a:cubicBezTo>
                  <a:cubicBezTo>
                    <a:pt x="146" y="19"/>
                    <a:pt x="140" y="16"/>
                    <a:pt x="139" y="15"/>
                  </a:cubicBezTo>
                  <a:cubicBezTo>
                    <a:pt x="134" y="12"/>
                    <a:pt x="129" y="10"/>
                    <a:pt x="123" y="8"/>
                  </a:cubicBezTo>
                  <a:lnTo>
                    <a:pt x="116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1" name="Freeform 51"/>
            <p:cNvSpPr>
              <a:spLocks/>
            </p:cNvSpPr>
            <p:nvPr/>
          </p:nvSpPr>
          <p:spPr bwMode="auto">
            <a:xfrm>
              <a:off x="6022975" y="6275388"/>
              <a:ext cx="39688" cy="76200"/>
            </a:xfrm>
            <a:custGeom>
              <a:avLst/>
              <a:gdLst/>
              <a:ahLst/>
              <a:cxnLst>
                <a:cxn ang="0">
                  <a:pos x="17" y="12"/>
                </a:cxn>
                <a:cxn ang="0">
                  <a:pos x="1" y="5"/>
                </a:cxn>
                <a:cxn ang="0">
                  <a:pos x="0" y="10"/>
                </a:cxn>
                <a:cxn ang="0">
                  <a:pos x="2" y="17"/>
                </a:cxn>
                <a:cxn ang="0">
                  <a:pos x="7" y="22"/>
                </a:cxn>
                <a:cxn ang="0">
                  <a:pos x="4" y="25"/>
                </a:cxn>
                <a:cxn ang="0">
                  <a:pos x="1" y="31"/>
                </a:cxn>
                <a:cxn ang="0">
                  <a:pos x="8" y="36"/>
                </a:cxn>
                <a:cxn ang="0">
                  <a:pos x="13" y="41"/>
                </a:cxn>
                <a:cxn ang="0">
                  <a:pos x="15" y="34"/>
                </a:cxn>
                <a:cxn ang="0">
                  <a:pos x="19" y="25"/>
                </a:cxn>
                <a:cxn ang="0">
                  <a:pos x="16" y="13"/>
                </a:cxn>
                <a:cxn ang="0">
                  <a:pos x="17" y="12"/>
                </a:cxn>
              </a:cxnLst>
              <a:rect l="0" t="0" r="r" b="b"/>
              <a:pathLst>
                <a:path w="22" h="41">
                  <a:moveTo>
                    <a:pt x="17" y="12"/>
                  </a:moveTo>
                  <a:cubicBezTo>
                    <a:pt x="14" y="9"/>
                    <a:pt x="6" y="0"/>
                    <a:pt x="1" y="5"/>
                  </a:cubicBezTo>
                  <a:cubicBezTo>
                    <a:pt x="0" y="7"/>
                    <a:pt x="0" y="9"/>
                    <a:pt x="0" y="10"/>
                  </a:cubicBezTo>
                  <a:cubicBezTo>
                    <a:pt x="0" y="13"/>
                    <a:pt x="1" y="15"/>
                    <a:pt x="2" y="17"/>
                  </a:cubicBezTo>
                  <a:cubicBezTo>
                    <a:pt x="3" y="18"/>
                    <a:pt x="6" y="20"/>
                    <a:pt x="7" y="22"/>
                  </a:cubicBezTo>
                  <a:cubicBezTo>
                    <a:pt x="8" y="25"/>
                    <a:pt x="6" y="24"/>
                    <a:pt x="4" y="25"/>
                  </a:cubicBezTo>
                  <a:cubicBezTo>
                    <a:pt x="1" y="26"/>
                    <a:pt x="1" y="28"/>
                    <a:pt x="1" y="31"/>
                  </a:cubicBezTo>
                  <a:cubicBezTo>
                    <a:pt x="2" y="35"/>
                    <a:pt x="5" y="34"/>
                    <a:pt x="8" y="36"/>
                  </a:cubicBezTo>
                  <a:cubicBezTo>
                    <a:pt x="10" y="38"/>
                    <a:pt x="10" y="41"/>
                    <a:pt x="13" y="41"/>
                  </a:cubicBezTo>
                  <a:cubicBezTo>
                    <a:pt x="15" y="40"/>
                    <a:pt x="15" y="36"/>
                    <a:pt x="15" y="34"/>
                  </a:cubicBezTo>
                  <a:cubicBezTo>
                    <a:pt x="15" y="29"/>
                    <a:pt x="17" y="28"/>
                    <a:pt x="19" y="25"/>
                  </a:cubicBezTo>
                  <a:cubicBezTo>
                    <a:pt x="22" y="21"/>
                    <a:pt x="22" y="14"/>
                    <a:pt x="16" y="13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2" name="Freeform 52"/>
            <p:cNvSpPr>
              <a:spLocks/>
            </p:cNvSpPr>
            <p:nvPr/>
          </p:nvSpPr>
          <p:spPr bwMode="auto">
            <a:xfrm>
              <a:off x="6022975" y="6175375"/>
              <a:ext cx="87313" cy="68263"/>
            </a:xfrm>
            <a:custGeom>
              <a:avLst/>
              <a:gdLst/>
              <a:ahLst/>
              <a:cxnLst>
                <a:cxn ang="0">
                  <a:pos x="39" y="6"/>
                </a:cxn>
                <a:cxn ang="0">
                  <a:pos x="35" y="5"/>
                </a:cxn>
                <a:cxn ang="0">
                  <a:pos x="25" y="0"/>
                </a:cxn>
                <a:cxn ang="0">
                  <a:pos x="19" y="3"/>
                </a:cxn>
                <a:cxn ang="0">
                  <a:pos x="16" y="5"/>
                </a:cxn>
                <a:cxn ang="0">
                  <a:pos x="5" y="9"/>
                </a:cxn>
                <a:cxn ang="0">
                  <a:pos x="0" y="14"/>
                </a:cxn>
                <a:cxn ang="0">
                  <a:pos x="6" y="20"/>
                </a:cxn>
                <a:cxn ang="0">
                  <a:pos x="10" y="23"/>
                </a:cxn>
                <a:cxn ang="0">
                  <a:pos x="12" y="22"/>
                </a:cxn>
                <a:cxn ang="0">
                  <a:pos x="31" y="22"/>
                </a:cxn>
                <a:cxn ang="0">
                  <a:pos x="20" y="30"/>
                </a:cxn>
                <a:cxn ang="0">
                  <a:pos x="33" y="33"/>
                </a:cxn>
                <a:cxn ang="0">
                  <a:pos x="39" y="34"/>
                </a:cxn>
                <a:cxn ang="0">
                  <a:pos x="43" y="35"/>
                </a:cxn>
                <a:cxn ang="0">
                  <a:pos x="45" y="27"/>
                </a:cxn>
                <a:cxn ang="0">
                  <a:pos x="40" y="25"/>
                </a:cxn>
                <a:cxn ang="0">
                  <a:pos x="39" y="21"/>
                </a:cxn>
                <a:cxn ang="0">
                  <a:pos x="37" y="16"/>
                </a:cxn>
                <a:cxn ang="0">
                  <a:pos x="34" y="11"/>
                </a:cxn>
                <a:cxn ang="0">
                  <a:pos x="34" y="5"/>
                </a:cxn>
                <a:cxn ang="0">
                  <a:pos x="39" y="6"/>
                </a:cxn>
              </a:cxnLst>
              <a:rect l="0" t="0" r="r" b="b"/>
              <a:pathLst>
                <a:path w="47" h="36">
                  <a:moveTo>
                    <a:pt x="39" y="6"/>
                  </a:moveTo>
                  <a:cubicBezTo>
                    <a:pt x="38" y="6"/>
                    <a:pt x="37" y="6"/>
                    <a:pt x="35" y="5"/>
                  </a:cubicBezTo>
                  <a:cubicBezTo>
                    <a:pt x="32" y="2"/>
                    <a:pt x="29" y="1"/>
                    <a:pt x="25" y="0"/>
                  </a:cubicBezTo>
                  <a:cubicBezTo>
                    <a:pt x="22" y="0"/>
                    <a:pt x="21" y="1"/>
                    <a:pt x="19" y="3"/>
                  </a:cubicBezTo>
                  <a:cubicBezTo>
                    <a:pt x="18" y="4"/>
                    <a:pt x="17" y="5"/>
                    <a:pt x="16" y="5"/>
                  </a:cubicBezTo>
                  <a:cubicBezTo>
                    <a:pt x="13" y="8"/>
                    <a:pt x="8" y="9"/>
                    <a:pt x="5" y="9"/>
                  </a:cubicBezTo>
                  <a:cubicBezTo>
                    <a:pt x="1" y="10"/>
                    <a:pt x="0" y="10"/>
                    <a:pt x="0" y="14"/>
                  </a:cubicBezTo>
                  <a:cubicBezTo>
                    <a:pt x="0" y="18"/>
                    <a:pt x="2" y="19"/>
                    <a:pt x="6" y="20"/>
                  </a:cubicBezTo>
                  <a:cubicBezTo>
                    <a:pt x="7" y="21"/>
                    <a:pt x="8" y="23"/>
                    <a:pt x="10" y="23"/>
                  </a:cubicBezTo>
                  <a:cubicBezTo>
                    <a:pt x="11" y="23"/>
                    <a:pt x="11" y="23"/>
                    <a:pt x="12" y="22"/>
                  </a:cubicBezTo>
                  <a:cubicBezTo>
                    <a:pt x="17" y="19"/>
                    <a:pt x="27" y="16"/>
                    <a:pt x="31" y="22"/>
                  </a:cubicBezTo>
                  <a:cubicBezTo>
                    <a:pt x="26" y="24"/>
                    <a:pt x="20" y="23"/>
                    <a:pt x="20" y="30"/>
                  </a:cubicBezTo>
                  <a:cubicBezTo>
                    <a:pt x="25" y="32"/>
                    <a:pt x="28" y="33"/>
                    <a:pt x="33" y="33"/>
                  </a:cubicBezTo>
                  <a:cubicBezTo>
                    <a:pt x="35" y="33"/>
                    <a:pt x="37" y="33"/>
                    <a:pt x="39" y="34"/>
                  </a:cubicBezTo>
                  <a:cubicBezTo>
                    <a:pt x="40" y="35"/>
                    <a:pt x="40" y="36"/>
                    <a:pt x="43" y="35"/>
                  </a:cubicBezTo>
                  <a:cubicBezTo>
                    <a:pt x="46" y="34"/>
                    <a:pt x="47" y="29"/>
                    <a:pt x="45" y="27"/>
                  </a:cubicBezTo>
                  <a:cubicBezTo>
                    <a:pt x="43" y="25"/>
                    <a:pt x="41" y="26"/>
                    <a:pt x="40" y="25"/>
                  </a:cubicBezTo>
                  <a:cubicBezTo>
                    <a:pt x="39" y="24"/>
                    <a:pt x="39" y="22"/>
                    <a:pt x="39" y="21"/>
                  </a:cubicBezTo>
                  <a:cubicBezTo>
                    <a:pt x="39" y="19"/>
                    <a:pt x="37" y="18"/>
                    <a:pt x="37" y="16"/>
                  </a:cubicBezTo>
                  <a:cubicBezTo>
                    <a:pt x="36" y="14"/>
                    <a:pt x="35" y="13"/>
                    <a:pt x="34" y="11"/>
                  </a:cubicBezTo>
                  <a:cubicBezTo>
                    <a:pt x="33" y="9"/>
                    <a:pt x="34" y="7"/>
                    <a:pt x="34" y="5"/>
                  </a:cubicBezTo>
                  <a:lnTo>
                    <a:pt x="39" y="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3" name="Freeform 53"/>
            <p:cNvSpPr>
              <a:spLocks/>
            </p:cNvSpPr>
            <p:nvPr/>
          </p:nvSpPr>
          <p:spPr bwMode="auto">
            <a:xfrm>
              <a:off x="6213475" y="6632575"/>
              <a:ext cx="69850" cy="68263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15" y="7"/>
                </a:cxn>
                <a:cxn ang="0">
                  <a:pos x="12" y="11"/>
                </a:cxn>
                <a:cxn ang="0">
                  <a:pos x="12" y="13"/>
                </a:cxn>
                <a:cxn ang="0">
                  <a:pos x="3" y="21"/>
                </a:cxn>
                <a:cxn ang="0">
                  <a:pos x="7" y="24"/>
                </a:cxn>
                <a:cxn ang="0">
                  <a:pos x="11" y="28"/>
                </a:cxn>
                <a:cxn ang="0">
                  <a:pos x="12" y="31"/>
                </a:cxn>
                <a:cxn ang="0">
                  <a:pos x="14" y="31"/>
                </a:cxn>
                <a:cxn ang="0">
                  <a:pos x="17" y="35"/>
                </a:cxn>
                <a:cxn ang="0">
                  <a:pos x="22" y="23"/>
                </a:cxn>
                <a:cxn ang="0">
                  <a:pos x="33" y="11"/>
                </a:cxn>
                <a:cxn ang="0">
                  <a:pos x="33" y="3"/>
                </a:cxn>
                <a:cxn ang="0">
                  <a:pos x="23" y="6"/>
                </a:cxn>
                <a:cxn ang="0">
                  <a:pos x="27" y="0"/>
                </a:cxn>
              </a:cxnLst>
              <a:rect l="0" t="0" r="r" b="b"/>
              <a:pathLst>
                <a:path w="38" h="37">
                  <a:moveTo>
                    <a:pt x="27" y="0"/>
                  </a:moveTo>
                  <a:cubicBezTo>
                    <a:pt x="23" y="2"/>
                    <a:pt x="18" y="4"/>
                    <a:pt x="15" y="7"/>
                  </a:cubicBezTo>
                  <a:cubicBezTo>
                    <a:pt x="14" y="8"/>
                    <a:pt x="13" y="9"/>
                    <a:pt x="12" y="11"/>
                  </a:cubicBezTo>
                  <a:cubicBezTo>
                    <a:pt x="12" y="12"/>
                    <a:pt x="13" y="12"/>
                    <a:pt x="12" y="13"/>
                  </a:cubicBezTo>
                  <a:cubicBezTo>
                    <a:pt x="11" y="16"/>
                    <a:pt x="0" y="17"/>
                    <a:pt x="3" y="21"/>
                  </a:cubicBezTo>
                  <a:cubicBezTo>
                    <a:pt x="4" y="22"/>
                    <a:pt x="6" y="23"/>
                    <a:pt x="7" y="24"/>
                  </a:cubicBezTo>
                  <a:cubicBezTo>
                    <a:pt x="9" y="25"/>
                    <a:pt x="9" y="25"/>
                    <a:pt x="11" y="28"/>
                  </a:cubicBezTo>
                  <a:cubicBezTo>
                    <a:pt x="11" y="29"/>
                    <a:pt x="12" y="30"/>
                    <a:pt x="12" y="31"/>
                  </a:cubicBezTo>
                  <a:cubicBezTo>
                    <a:pt x="13" y="31"/>
                    <a:pt x="14" y="31"/>
                    <a:pt x="14" y="31"/>
                  </a:cubicBezTo>
                  <a:cubicBezTo>
                    <a:pt x="15" y="33"/>
                    <a:pt x="15" y="35"/>
                    <a:pt x="17" y="35"/>
                  </a:cubicBezTo>
                  <a:cubicBezTo>
                    <a:pt x="20" y="37"/>
                    <a:pt x="22" y="25"/>
                    <a:pt x="22" y="23"/>
                  </a:cubicBezTo>
                  <a:cubicBezTo>
                    <a:pt x="24" y="18"/>
                    <a:pt x="30" y="15"/>
                    <a:pt x="33" y="11"/>
                  </a:cubicBezTo>
                  <a:cubicBezTo>
                    <a:pt x="35" y="8"/>
                    <a:pt x="38" y="4"/>
                    <a:pt x="33" y="3"/>
                  </a:cubicBezTo>
                  <a:cubicBezTo>
                    <a:pt x="31" y="2"/>
                    <a:pt x="22" y="1"/>
                    <a:pt x="23" y="6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4" name="Freeform 54"/>
            <p:cNvSpPr>
              <a:spLocks/>
            </p:cNvSpPr>
            <p:nvPr/>
          </p:nvSpPr>
          <p:spPr bwMode="auto">
            <a:xfrm>
              <a:off x="6135688" y="6553200"/>
              <a:ext cx="42863" cy="31750"/>
            </a:xfrm>
            <a:custGeom>
              <a:avLst/>
              <a:gdLst/>
              <a:ahLst/>
              <a:cxnLst>
                <a:cxn ang="0">
                  <a:pos x="21" y="2"/>
                </a:cxn>
                <a:cxn ang="0">
                  <a:pos x="5" y="7"/>
                </a:cxn>
                <a:cxn ang="0">
                  <a:pos x="3" y="15"/>
                </a:cxn>
                <a:cxn ang="0">
                  <a:pos x="18" y="5"/>
                </a:cxn>
                <a:cxn ang="0">
                  <a:pos x="22" y="3"/>
                </a:cxn>
                <a:cxn ang="0">
                  <a:pos x="23" y="0"/>
                </a:cxn>
                <a:cxn ang="0">
                  <a:pos x="21" y="2"/>
                </a:cxn>
              </a:cxnLst>
              <a:rect l="0" t="0" r="r" b="b"/>
              <a:pathLst>
                <a:path w="23" h="17">
                  <a:moveTo>
                    <a:pt x="21" y="2"/>
                  </a:moveTo>
                  <a:cubicBezTo>
                    <a:pt x="16" y="1"/>
                    <a:pt x="8" y="4"/>
                    <a:pt x="5" y="7"/>
                  </a:cubicBezTo>
                  <a:cubicBezTo>
                    <a:pt x="3" y="9"/>
                    <a:pt x="0" y="13"/>
                    <a:pt x="3" y="15"/>
                  </a:cubicBezTo>
                  <a:cubicBezTo>
                    <a:pt x="8" y="17"/>
                    <a:pt x="16" y="8"/>
                    <a:pt x="18" y="5"/>
                  </a:cubicBezTo>
                  <a:cubicBezTo>
                    <a:pt x="19" y="4"/>
                    <a:pt x="22" y="4"/>
                    <a:pt x="22" y="3"/>
                  </a:cubicBezTo>
                  <a:cubicBezTo>
                    <a:pt x="23" y="2"/>
                    <a:pt x="23" y="1"/>
                    <a:pt x="23" y="0"/>
                  </a:cubicBezTo>
                  <a:lnTo>
                    <a:pt x="21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5" name="Freeform 55"/>
            <p:cNvSpPr>
              <a:spLocks/>
            </p:cNvSpPr>
            <p:nvPr/>
          </p:nvSpPr>
          <p:spPr bwMode="auto">
            <a:xfrm>
              <a:off x="6037263" y="6432550"/>
              <a:ext cx="42863" cy="22225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4" y="7"/>
                </a:cxn>
                <a:cxn ang="0">
                  <a:pos x="2" y="11"/>
                </a:cxn>
                <a:cxn ang="0">
                  <a:pos x="9" y="11"/>
                </a:cxn>
                <a:cxn ang="0">
                  <a:pos x="19" y="9"/>
                </a:cxn>
                <a:cxn ang="0">
                  <a:pos x="23" y="0"/>
                </a:cxn>
                <a:cxn ang="0">
                  <a:pos x="17" y="0"/>
                </a:cxn>
              </a:cxnLst>
              <a:rect l="0" t="0" r="r" b="b"/>
              <a:pathLst>
                <a:path w="23" h="12">
                  <a:moveTo>
                    <a:pt x="17" y="0"/>
                  </a:moveTo>
                  <a:cubicBezTo>
                    <a:pt x="11" y="0"/>
                    <a:pt x="8" y="4"/>
                    <a:pt x="4" y="7"/>
                  </a:cubicBezTo>
                  <a:cubicBezTo>
                    <a:pt x="3" y="8"/>
                    <a:pt x="0" y="9"/>
                    <a:pt x="2" y="11"/>
                  </a:cubicBezTo>
                  <a:cubicBezTo>
                    <a:pt x="3" y="12"/>
                    <a:pt x="7" y="11"/>
                    <a:pt x="9" y="11"/>
                  </a:cubicBezTo>
                  <a:cubicBezTo>
                    <a:pt x="13" y="11"/>
                    <a:pt x="16" y="12"/>
                    <a:pt x="19" y="9"/>
                  </a:cubicBezTo>
                  <a:cubicBezTo>
                    <a:pt x="23" y="7"/>
                    <a:pt x="23" y="4"/>
                    <a:pt x="23" y="0"/>
                  </a:cubicBezTo>
                  <a:lnTo>
                    <a:pt x="1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6" name="Freeform 56"/>
            <p:cNvSpPr>
              <a:spLocks/>
            </p:cNvSpPr>
            <p:nvPr/>
          </p:nvSpPr>
          <p:spPr bwMode="auto">
            <a:xfrm>
              <a:off x="5934075" y="6078538"/>
              <a:ext cx="42863" cy="39688"/>
            </a:xfrm>
            <a:custGeom>
              <a:avLst/>
              <a:gdLst/>
              <a:ahLst/>
              <a:cxnLst>
                <a:cxn ang="0">
                  <a:pos x="19" y="5"/>
                </a:cxn>
                <a:cxn ang="0">
                  <a:pos x="20" y="3"/>
                </a:cxn>
                <a:cxn ang="0">
                  <a:pos x="17" y="1"/>
                </a:cxn>
                <a:cxn ang="0">
                  <a:pos x="14" y="1"/>
                </a:cxn>
                <a:cxn ang="0">
                  <a:pos x="13" y="3"/>
                </a:cxn>
                <a:cxn ang="0">
                  <a:pos x="6" y="1"/>
                </a:cxn>
                <a:cxn ang="0">
                  <a:pos x="3" y="3"/>
                </a:cxn>
                <a:cxn ang="0">
                  <a:pos x="2" y="13"/>
                </a:cxn>
                <a:cxn ang="0">
                  <a:pos x="14" y="11"/>
                </a:cxn>
                <a:cxn ang="0">
                  <a:pos x="21" y="17"/>
                </a:cxn>
                <a:cxn ang="0">
                  <a:pos x="22" y="9"/>
                </a:cxn>
                <a:cxn ang="0">
                  <a:pos x="18" y="5"/>
                </a:cxn>
                <a:cxn ang="0">
                  <a:pos x="19" y="5"/>
                </a:cxn>
              </a:cxnLst>
              <a:rect l="0" t="0" r="r" b="b"/>
              <a:pathLst>
                <a:path w="23" h="21">
                  <a:moveTo>
                    <a:pt x="19" y="5"/>
                  </a:moveTo>
                  <a:cubicBezTo>
                    <a:pt x="20" y="5"/>
                    <a:pt x="20" y="4"/>
                    <a:pt x="20" y="3"/>
                  </a:cubicBezTo>
                  <a:cubicBezTo>
                    <a:pt x="20" y="1"/>
                    <a:pt x="19" y="1"/>
                    <a:pt x="17" y="1"/>
                  </a:cubicBezTo>
                  <a:cubicBezTo>
                    <a:pt x="16" y="1"/>
                    <a:pt x="15" y="1"/>
                    <a:pt x="14" y="1"/>
                  </a:cubicBezTo>
                  <a:cubicBezTo>
                    <a:pt x="13" y="1"/>
                    <a:pt x="14" y="2"/>
                    <a:pt x="13" y="3"/>
                  </a:cubicBezTo>
                  <a:cubicBezTo>
                    <a:pt x="10" y="4"/>
                    <a:pt x="8" y="0"/>
                    <a:pt x="6" y="1"/>
                  </a:cubicBezTo>
                  <a:cubicBezTo>
                    <a:pt x="4" y="1"/>
                    <a:pt x="4" y="1"/>
                    <a:pt x="3" y="3"/>
                  </a:cubicBezTo>
                  <a:cubicBezTo>
                    <a:pt x="2" y="6"/>
                    <a:pt x="0" y="11"/>
                    <a:pt x="2" y="13"/>
                  </a:cubicBezTo>
                  <a:cubicBezTo>
                    <a:pt x="5" y="16"/>
                    <a:pt x="11" y="13"/>
                    <a:pt x="14" y="11"/>
                  </a:cubicBezTo>
                  <a:cubicBezTo>
                    <a:pt x="15" y="15"/>
                    <a:pt x="16" y="21"/>
                    <a:pt x="21" y="17"/>
                  </a:cubicBezTo>
                  <a:cubicBezTo>
                    <a:pt x="23" y="15"/>
                    <a:pt x="22" y="12"/>
                    <a:pt x="22" y="9"/>
                  </a:cubicBezTo>
                  <a:cubicBezTo>
                    <a:pt x="22" y="5"/>
                    <a:pt x="21" y="4"/>
                    <a:pt x="18" y="5"/>
                  </a:cubicBezTo>
                  <a:lnTo>
                    <a:pt x="19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7" name="Freeform 57"/>
            <p:cNvSpPr>
              <a:spLocks/>
            </p:cNvSpPr>
            <p:nvPr/>
          </p:nvSpPr>
          <p:spPr bwMode="auto">
            <a:xfrm>
              <a:off x="5883275" y="5954713"/>
              <a:ext cx="38100" cy="39688"/>
            </a:xfrm>
            <a:custGeom>
              <a:avLst/>
              <a:gdLst/>
              <a:ahLst/>
              <a:cxnLst>
                <a:cxn ang="0">
                  <a:pos x="16" y="2"/>
                </a:cxn>
                <a:cxn ang="0">
                  <a:pos x="5" y="1"/>
                </a:cxn>
                <a:cxn ang="0">
                  <a:pos x="1" y="12"/>
                </a:cxn>
                <a:cxn ang="0">
                  <a:pos x="15" y="17"/>
                </a:cxn>
                <a:cxn ang="0">
                  <a:pos x="14" y="4"/>
                </a:cxn>
                <a:cxn ang="0">
                  <a:pos x="16" y="2"/>
                </a:cxn>
              </a:cxnLst>
              <a:rect l="0" t="0" r="r" b="b"/>
              <a:pathLst>
                <a:path w="20" h="21">
                  <a:moveTo>
                    <a:pt x="16" y="2"/>
                  </a:moveTo>
                  <a:cubicBezTo>
                    <a:pt x="12" y="3"/>
                    <a:pt x="9" y="0"/>
                    <a:pt x="5" y="1"/>
                  </a:cubicBezTo>
                  <a:cubicBezTo>
                    <a:pt x="1" y="2"/>
                    <a:pt x="0" y="8"/>
                    <a:pt x="1" y="12"/>
                  </a:cubicBezTo>
                  <a:cubicBezTo>
                    <a:pt x="4" y="17"/>
                    <a:pt x="10" y="21"/>
                    <a:pt x="15" y="17"/>
                  </a:cubicBezTo>
                  <a:cubicBezTo>
                    <a:pt x="20" y="14"/>
                    <a:pt x="16" y="8"/>
                    <a:pt x="14" y="4"/>
                  </a:cubicBezTo>
                  <a:lnTo>
                    <a:pt x="16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8" name="Freeform 58"/>
            <p:cNvSpPr>
              <a:spLocks/>
            </p:cNvSpPr>
            <p:nvPr/>
          </p:nvSpPr>
          <p:spPr bwMode="auto">
            <a:xfrm>
              <a:off x="5981700" y="5995988"/>
              <a:ext cx="34925" cy="20638"/>
            </a:xfrm>
            <a:custGeom>
              <a:avLst/>
              <a:gdLst/>
              <a:ahLst/>
              <a:cxnLst>
                <a:cxn ang="0">
                  <a:pos x="17" y="7"/>
                </a:cxn>
                <a:cxn ang="0">
                  <a:pos x="5" y="2"/>
                </a:cxn>
                <a:cxn ang="0">
                  <a:pos x="0" y="8"/>
                </a:cxn>
                <a:cxn ang="0">
                  <a:pos x="8" y="11"/>
                </a:cxn>
                <a:cxn ang="0">
                  <a:pos x="19" y="11"/>
                </a:cxn>
                <a:cxn ang="0">
                  <a:pos x="16" y="9"/>
                </a:cxn>
                <a:cxn ang="0">
                  <a:pos x="17" y="7"/>
                </a:cxn>
              </a:cxnLst>
              <a:rect l="0" t="0" r="r" b="b"/>
              <a:pathLst>
                <a:path w="19" h="11">
                  <a:moveTo>
                    <a:pt x="17" y="7"/>
                  </a:moveTo>
                  <a:cubicBezTo>
                    <a:pt x="14" y="4"/>
                    <a:pt x="9" y="0"/>
                    <a:pt x="5" y="2"/>
                  </a:cubicBezTo>
                  <a:cubicBezTo>
                    <a:pt x="3" y="2"/>
                    <a:pt x="0" y="5"/>
                    <a:pt x="0" y="8"/>
                  </a:cubicBezTo>
                  <a:cubicBezTo>
                    <a:pt x="1" y="11"/>
                    <a:pt x="6" y="11"/>
                    <a:pt x="8" y="11"/>
                  </a:cubicBezTo>
                  <a:cubicBezTo>
                    <a:pt x="12" y="11"/>
                    <a:pt x="15" y="11"/>
                    <a:pt x="19" y="11"/>
                  </a:cubicBezTo>
                  <a:cubicBezTo>
                    <a:pt x="18" y="10"/>
                    <a:pt x="18" y="9"/>
                    <a:pt x="16" y="9"/>
                  </a:cubicBezTo>
                  <a:lnTo>
                    <a:pt x="17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9" name="Freeform 59"/>
            <p:cNvSpPr>
              <a:spLocks noEditPoints="1"/>
            </p:cNvSpPr>
            <p:nvPr/>
          </p:nvSpPr>
          <p:spPr bwMode="auto">
            <a:xfrm>
              <a:off x="6011863" y="5770563"/>
              <a:ext cx="2187575" cy="968375"/>
            </a:xfrm>
            <a:custGeom>
              <a:avLst/>
              <a:gdLst/>
              <a:ahLst/>
              <a:cxnLst>
                <a:cxn ang="0">
                  <a:pos x="135" y="37"/>
                </a:cxn>
                <a:cxn ang="0">
                  <a:pos x="102" y="10"/>
                </a:cxn>
                <a:cxn ang="0">
                  <a:pos x="53" y="16"/>
                </a:cxn>
                <a:cxn ang="0">
                  <a:pos x="54" y="38"/>
                </a:cxn>
                <a:cxn ang="0">
                  <a:pos x="19" y="104"/>
                </a:cxn>
                <a:cxn ang="0">
                  <a:pos x="59" y="122"/>
                </a:cxn>
                <a:cxn ang="0">
                  <a:pos x="74" y="124"/>
                </a:cxn>
                <a:cxn ang="0">
                  <a:pos x="113" y="111"/>
                </a:cxn>
                <a:cxn ang="0">
                  <a:pos x="104" y="96"/>
                </a:cxn>
                <a:cxn ang="0">
                  <a:pos x="141" y="88"/>
                </a:cxn>
                <a:cxn ang="0">
                  <a:pos x="187" y="95"/>
                </a:cxn>
                <a:cxn ang="0">
                  <a:pos x="311" y="435"/>
                </a:cxn>
                <a:cxn ang="0">
                  <a:pos x="1149" y="410"/>
                </a:cxn>
                <a:cxn ang="0">
                  <a:pos x="1131" y="343"/>
                </a:cxn>
                <a:cxn ang="0">
                  <a:pos x="1139" y="238"/>
                </a:cxn>
                <a:cxn ang="0">
                  <a:pos x="1079" y="167"/>
                </a:cxn>
                <a:cxn ang="0">
                  <a:pos x="1047" y="94"/>
                </a:cxn>
                <a:cxn ang="0">
                  <a:pos x="986" y="83"/>
                </a:cxn>
                <a:cxn ang="0">
                  <a:pos x="925" y="97"/>
                </a:cxn>
                <a:cxn ang="0">
                  <a:pos x="812" y="112"/>
                </a:cxn>
                <a:cxn ang="0">
                  <a:pos x="739" y="118"/>
                </a:cxn>
                <a:cxn ang="0">
                  <a:pos x="663" y="97"/>
                </a:cxn>
                <a:cxn ang="0">
                  <a:pos x="612" y="65"/>
                </a:cxn>
                <a:cxn ang="0">
                  <a:pos x="550" y="27"/>
                </a:cxn>
                <a:cxn ang="0">
                  <a:pos x="477" y="22"/>
                </a:cxn>
                <a:cxn ang="0">
                  <a:pos x="367" y="43"/>
                </a:cxn>
                <a:cxn ang="0">
                  <a:pos x="321" y="86"/>
                </a:cxn>
                <a:cxn ang="0">
                  <a:pos x="208" y="75"/>
                </a:cxn>
                <a:cxn ang="0">
                  <a:pos x="194" y="88"/>
                </a:cxn>
                <a:cxn ang="0">
                  <a:pos x="199" y="100"/>
                </a:cxn>
                <a:cxn ang="0">
                  <a:pos x="242" y="115"/>
                </a:cxn>
                <a:cxn ang="0">
                  <a:pos x="208" y="119"/>
                </a:cxn>
                <a:cxn ang="0">
                  <a:pos x="178" y="135"/>
                </a:cxn>
                <a:cxn ang="0">
                  <a:pos x="141" y="140"/>
                </a:cxn>
                <a:cxn ang="0">
                  <a:pos x="119" y="137"/>
                </a:cxn>
                <a:cxn ang="0">
                  <a:pos x="86" y="135"/>
                </a:cxn>
                <a:cxn ang="0">
                  <a:pos x="59" y="130"/>
                </a:cxn>
                <a:cxn ang="0">
                  <a:pos x="1" y="158"/>
                </a:cxn>
                <a:cxn ang="0">
                  <a:pos x="29" y="171"/>
                </a:cxn>
                <a:cxn ang="0">
                  <a:pos x="60" y="208"/>
                </a:cxn>
                <a:cxn ang="0">
                  <a:pos x="67" y="265"/>
                </a:cxn>
                <a:cxn ang="0">
                  <a:pos x="41" y="277"/>
                </a:cxn>
                <a:cxn ang="0">
                  <a:pos x="86" y="340"/>
                </a:cxn>
                <a:cxn ang="0">
                  <a:pos x="65" y="361"/>
                </a:cxn>
                <a:cxn ang="0">
                  <a:pos x="98" y="400"/>
                </a:cxn>
                <a:cxn ang="0">
                  <a:pos x="146" y="416"/>
                </a:cxn>
                <a:cxn ang="0">
                  <a:pos x="125" y="439"/>
                </a:cxn>
                <a:cxn ang="0">
                  <a:pos x="187" y="443"/>
                </a:cxn>
                <a:cxn ang="0">
                  <a:pos x="272" y="477"/>
                </a:cxn>
                <a:cxn ang="0">
                  <a:pos x="345" y="445"/>
                </a:cxn>
                <a:cxn ang="0">
                  <a:pos x="381" y="481"/>
                </a:cxn>
                <a:cxn ang="0">
                  <a:pos x="492" y="491"/>
                </a:cxn>
                <a:cxn ang="0">
                  <a:pos x="542" y="456"/>
                </a:cxn>
                <a:cxn ang="0">
                  <a:pos x="595" y="462"/>
                </a:cxn>
                <a:cxn ang="0">
                  <a:pos x="617" y="517"/>
                </a:cxn>
                <a:cxn ang="0">
                  <a:pos x="669" y="462"/>
                </a:cxn>
                <a:cxn ang="0">
                  <a:pos x="764" y="454"/>
                </a:cxn>
                <a:cxn ang="0">
                  <a:pos x="882" y="455"/>
                </a:cxn>
                <a:cxn ang="0">
                  <a:pos x="983" y="447"/>
                </a:cxn>
                <a:cxn ang="0">
                  <a:pos x="1079" y="436"/>
                </a:cxn>
              </a:cxnLst>
              <a:rect l="0" t="0" r="r" b="b"/>
              <a:pathLst>
                <a:path w="1171" h="518">
                  <a:moveTo>
                    <a:pt x="197" y="70"/>
                  </a:moveTo>
                  <a:cubicBezTo>
                    <a:pt x="193" y="69"/>
                    <a:pt x="188" y="67"/>
                    <a:pt x="184" y="66"/>
                  </a:cubicBezTo>
                  <a:cubicBezTo>
                    <a:pt x="181" y="65"/>
                    <a:pt x="178" y="66"/>
                    <a:pt x="175" y="65"/>
                  </a:cubicBezTo>
                  <a:cubicBezTo>
                    <a:pt x="172" y="65"/>
                    <a:pt x="171" y="64"/>
                    <a:pt x="168" y="63"/>
                  </a:cubicBezTo>
                  <a:cubicBezTo>
                    <a:pt x="165" y="61"/>
                    <a:pt x="164" y="62"/>
                    <a:pt x="162" y="59"/>
                  </a:cubicBezTo>
                  <a:cubicBezTo>
                    <a:pt x="161" y="58"/>
                    <a:pt x="160" y="56"/>
                    <a:pt x="159" y="55"/>
                  </a:cubicBezTo>
                  <a:cubicBezTo>
                    <a:pt x="158" y="53"/>
                    <a:pt x="156" y="54"/>
                    <a:pt x="154" y="54"/>
                  </a:cubicBezTo>
                  <a:cubicBezTo>
                    <a:pt x="152" y="53"/>
                    <a:pt x="150" y="51"/>
                    <a:pt x="148" y="49"/>
                  </a:cubicBezTo>
                  <a:cubicBezTo>
                    <a:pt x="145" y="47"/>
                    <a:pt x="142" y="48"/>
                    <a:pt x="140" y="47"/>
                  </a:cubicBezTo>
                  <a:cubicBezTo>
                    <a:pt x="135" y="45"/>
                    <a:pt x="137" y="41"/>
                    <a:pt x="135" y="37"/>
                  </a:cubicBezTo>
                  <a:cubicBezTo>
                    <a:pt x="135" y="36"/>
                    <a:pt x="134" y="35"/>
                    <a:pt x="134" y="34"/>
                  </a:cubicBezTo>
                  <a:cubicBezTo>
                    <a:pt x="134" y="32"/>
                    <a:pt x="134" y="30"/>
                    <a:pt x="134" y="28"/>
                  </a:cubicBezTo>
                  <a:cubicBezTo>
                    <a:pt x="133" y="24"/>
                    <a:pt x="131" y="23"/>
                    <a:pt x="131" y="19"/>
                  </a:cubicBezTo>
                  <a:cubicBezTo>
                    <a:pt x="131" y="16"/>
                    <a:pt x="130" y="14"/>
                    <a:pt x="128" y="11"/>
                  </a:cubicBezTo>
                  <a:cubicBezTo>
                    <a:pt x="128" y="11"/>
                    <a:pt x="127" y="11"/>
                    <a:pt x="126" y="11"/>
                  </a:cubicBezTo>
                  <a:cubicBezTo>
                    <a:pt x="123" y="12"/>
                    <a:pt x="121" y="13"/>
                    <a:pt x="118" y="13"/>
                  </a:cubicBezTo>
                  <a:cubicBezTo>
                    <a:pt x="116" y="13"/>
                    <a:pt x="114" y="14"/>
                    <a:pt x="112" y="15"/>
                  </a:cubicBezTo>
                  <a:cubicBezTo>
                    <a:pt x="111" y="15"/>
                    <a:pt x="110" y="16"/>
                    <a:pt x="108" y="16"/>
                  </a:cubicBezTo>
                  <a:cubicBezTo>
                    <a:pt x="106" y="16"/>
                    <a:pt x="107" y="16"/>
                    <a:pt x="106" y="14"/>
                  </a:cubicBezTo>
                  <a:cubicBezTo>
                    <a:pt x="105" y="13"/>
                    <a:pt x="103" y="11"/>
                    <a:pt x="102" y="10"/>
                  </a:cubicBezTo>
                  <a:cubicBezTo>
                    <a:pt x="101" y="8"/>
                    <a:pt x="101" y="8"/>
                    <a:pt x="99" y="8"/>
                  </a:cubicBezTo>
                  <a:cubicBezTo>
                    <a:pt x="98" y="7"/>
                    <a:pt x="98" y="6"/>
                    <a:pt x="97" y="6"/>
                  </a:cubicBezTo>
                  <a:cubicBezTo>
                    <a:pt x="96" y="5"/>
                    <a:pt x="95" y="6"/>
                    <a:pt x="93" y="6"/>
                  </a:cubicBezTo>
                  <a:cubicBezTo>
                    <a:pt x="90" y="6"/>
                    <a:pt x="88" y="3"/>
                    <a:pt x="86" y="2"/>
                  </a:cubicBezTo>
                  <a:cubicBezTo>
                    <a:pt x="83" y="0"/>
                    <a:pt x="82" y="3"/>
                    <a:pt x="80" y="4"/>
                  </a:cubicBezTo>
                  <a:cubicBezTo>
                    <a:pt x="76" y="6"/>
                    <a:pt x="74" y="8"/>
                    <a:pt x="71" y="10"/>
                  </a:cubicBezTo>
                  <a:cubicBezTo>
                    <a:pt x="69" y="11"/>
                    <a:pt x="69" y="11"/>
                    <a:pt x="67" y="10"/>
                  </a:cubicBezTo>
                  <a:cubicBezTo>
                    <a:pt x="66" y="10"/>
                    <a:pt x="65" y="11"/>
                    <a:pt x="64" y="11"/>
                  </a:cubicBezTo>
                  <a:cubicBezTo>
                    <a:pt x="62" y="12"/>
                    <a:pt x="60" y="12"/>
                    <a:pt x="58" y="12"/>
                  </a:cubicBezTo>
                  <a:cubicBezTo>
                    <a:pt x="57" y="13"/>
                    <a:pt x="55" y="14"/>
                    <a:pt x="53" y="16"/>
                  </a:cubicBezTo>
                  <a:cubicBezTo>
                    <a:pt x="53" y="16"/>
                    <a:pt x="53" y="17"/>
                    <a:pt x="53" y="17"/>
                  </a:cubicBezTo>
                  <a:cubicBezTo>
                    <a:pt x="52" y="18"/>
                    <a:pt x="52" y="18"/>
                    <a:pt x="51" y="19"/>
                  </a:cubicBezTo>
                  <a:cubicBezTo>
                    <a:pt x="51" y="19"/>
                    <a:pt x="50" y="19"/>
                    <a:pt x="50" y="20"/>
                  </a:cubicBezTo>
                  <a:cubicBezTo>
                    <a:pt x="50" y="20"/>
                    <a:pt x="49" y="20"/>
                    <a:pt x="50" y="21"/>
                  </a:cubicBezTo>
                  <a:cubicBezTo>
                    <a:pt x="47" y="21"/>
                    <a:pt x="47" y="21"/>
                    <a:pt x="45" y="23"/>
                  </a:cubicBezTo>
                  <a:cubicBezTo>
                    <a:pt x="44" y="24"/>
                    <a:pt x="44" y="25"/>
                    <a:pt x="43" y="27"/>
                  </a:cubicBezTo>
                  <a:cubicBezTo>
                    <a:pt x="43" y="29"/>
                    <a:pt x="43" y="31"/>
                    <a:pt x="43" y="33"/>
                  </a:cubicBezTo>
                  <a:cubicBezTo>
                    <a:pt x="43" y="32"/>
                    <a:pt x="43" y="31"/>
                    <a:pt x="43" y="30"/>
                  </a:cubicBezTo>
                  <a:cubicBezTo>
                    <a:pt x="45" y="31"/>
                    <a:pt x="46" y="33"/>
                    <a:pt x="48" y="34"/>
                  </a:cubicBezTo>
                  <a:cubicBezTo>
                    <a:pt x="51" y="35"/>
                    <a:pt x="54" y="34"/>
                    <a:pt x="54" y="38"/>
                  </a:cubicBezTo>
                  <a:cubicBezTo>
                    <a:pt x="54" y="43"/>
                    <a:pt x="54" y="46"/>
                    <a:pt x="55" y="50"/>
                  </a:cubicBezTo>
                  <a:cubicBezTo>
                    <a:pt x="55" y="54"/>
                    <a:pt x="57" y="59"/>
                    <a:pt x="53" y="61"/>
                  </a:cubicBezTo>
                  <a:cubicBezTo>
                    <a:pt x="51" y="63"/>
                    <a:pt x="46" y="61"/>
                    <a:pt x="44" y="63"/>
                  </a:cubicBezTo>
                  <a:cubicBezTo>
                    <a:pt x="40" y="65"/>
                    <a:pt x="40" y="70"/>
                    <a:pt x="40" y="74"/>
                  </a:cubicBezTo>
                  <a:cubicBezTo>
                    <a:pt x="40" y="78"/>
                    <a:pt x="39" y="81"/>
                    <a:pt x="39" y="85"/>
                  </a:cubicBezTo>
                  <a:cubicBezTo>
                    <a:pt x="39" y="87"/>
                    <a:pt x="39" y="87"/>
                    <a:pt x="38" y="89"/>
                  </a:cubicBezTo>
                  <a:cubicBezTo>
                    <a:pt x="37" y="91"/>
                    <a:pt x="33" y="93"/>
                    <a:pt x="31" y="95"/>
                  </a:cubicBezTo>
                  <a:cubicBezTo>
                    <a:pt x="28" y="97"/>
                    <a:pt x="27" y="100"/>
                    <a:pt x="25" y="103"/>
                  </a:cubicBezTo>
                  <a:cubicBezTo>
                    <a:pt x="24" y="105"/>
                    <a:pt x="24" y="107"/>
                    <a:pt x="22" y="107"/>
                  </a:cubicBezTo>
                  <a:cubicBezTo>
                    <a:pt x="22" y="107"/>
                    <a:pt x="21" y="106"/>
                    <a:pt x="19" y="104"/>
                  </a:cubicBezTo>
                  <a:cubicBezTo>
                    <a:pt x="19" y="105"/>
                    <a:pt x="19" y="106"/>
                    <a:pt x="19" y="107"/>
                  </a:cubicBezTo>
                  <a:cubicBezTo>
                    <a:pt x="20" y="108"/>
                    <a:pt x="21" y="109"/>
                    <a:pt x="21" y="111"/>
                  </a:cubicBezTo>
                  <a:cubicBezTo>
                    <a:pt x="22" y="116"/>
                    <a:pt x="22" y="120"/>
                    <a:pt x="29" y="121"/>
                  </a:cubicBezTo>
                  <a:cubicBezTo>
                    <a:pt x="35" y="122"/>
                    <a:pt x="42" y="121"/>
                    <a:pt x="48" y="121"/>
                  </a:cubicBezTo>
                  <a:cubicBezTo>
                    <a:pt x="50" y="121"/>
                    <a:pt x="51" y="121"/>
                    <a:pt x="52" y="122"/>
                  </a:cubicBezTo>
                  <a:cubicBezTo>
                    <a:pt x="51" y="121"/>
                    <a:pt x="56" y="124"/>
                    <a:pt x="56" y="123"/>
                  </a:cubicBezTo>
                  <a:cubicBezTo>
                    <a:pt x="57" y="124"/>
                    <a:pt x="57" y="126"/>
                    <a:pt x="58" y="126"/>
                  </a:cubicBezTo>
                  <a:cubicBezTo>
                    <a:pt x="58" y="126"/>
                    <a:pt x="59" y="126"/>
                    <a:pt x="59" y="126"/>
                  </a:cubicBezTo>
                  <a:cubicBezTo>
                    <a:pt x="59" y="126"/>
                    <a:pt x="59" y="126"/>
                    <a:pt x="59" y="125"/>
                  </a:cubicBezTo>
                  <a:cubicBezTo>
                    <a:pt x="59" y="124"/>
                    <a:pt x="58" y="123"/>
                    <a:pt x="59" y="122"/>
                  </a:cubicBezTo>
                  <a:cubicBezTo>
                    <a:pt x="59" y="121"/>
                    <a:pt x="59" y="121"/>
                    <a:pt x="59" y="121"/>
                  </a:cubicBezTo>
                  <a:cubicBezTo>
                    <a:pt x="60" y="122"/>
                    <a:pt x="60" y="123"/>
                    <a:pt x="61" y="123"/>
                  </a:cubicBezTo>
                  <a:cubicBezTo>
                    <a:pt x="61" y="124"/>
                    <a:pt x="61" y="125"/>
                    <a:pt x="61" y="126"/>
                  </a:cubicBezTo>
                  <a:cubicBezTo>
                    <a:pt x="62" y="126"/>
                    <a:pt x="62" y="126"/>
                    <a:pt x="62" y="126"/>
                  </a:cubicBezTo>
                  <a:cubicBezTo>
                    <a:pt x="62" y="127"/>
                    <a:pt x="62" y="127"/>
                    <a:pt x="62" y="128"/>
                  </a:cubicBezTo>
                  <a:cubicBezTo>
                    <a:pt x="62" y="128"/>
                    <a:pt x="63" y="128"/>
                    <a:pt x="63" y="128"/>
                  </a:cubicBezTo>
                  <a:cubicBezTo>
                    <a:pt x="64" y="128"/>
                    <a:pt x="64" y="128"/>
                    <a:pt x="65" y="128"/>
                  </a:cubicBezTo>
                  <a:cubicBezTo>
                    <a:pt x="66" y="128"/>
                    <a:pt x="67" y="128"/>
                    <a:pt x="68" y="128"/>
                  </a:cubicBezTo>
                  <a:cubicBezTo>
                    <a:pt x="69" y="127"/>
                    <a:pt x="70" y="126"/>
                    <a:pt x="71" y="126"/>
                  </a:cubicBezTo>
                  <a:cubicBezTo>
                    <a:pt x="72" y="125"/>
                    <a:pt x="73" y="124"/>
                    <a:pt x="74" y="124"/>
                  </a:cubicBezTo>
                  <a:cubicBezTo>
                    <a:pt x="75" y="124"/>
                    <a:pt x="76" y="124"/>
                    <a:pt x="76" y="124"/>
                  </a:cubicBezTo>
                  <a:cubicBezTo>
                    <a:pt x="77" y="123"/>
                    <a:pt x="78" y="122"/>
                    <a:pt x="79" y="121"/>
                  </a:cubicBezTo>
                  <a:cubicBezTo>
                    <a:pt x="81" y="120"/>
                    <a:pt x="84" y="119"/>
                    <a:pt x="85" y="117"/>
                  </a:cubicBezTo>
                  <a:cubicBezTo>
                    <a:pt x="85" y="116"/>
                    <a:pt x="85" y="115"/>
                    <a:pt x="86" y="114"/>
                  </a:cubicBezTo>
                  <a:cubicBezTo>
                    <a:pt x="87" y="113"/>
                    <a:pt x="90" y="112"/>
                    <a:pt x="92" y="112"/>
                  </a:cubicBezTo>
                  <a:cubicBezTo>
                    <a:pt x="93" y="112"/>
                    <a:pt x="94" y="112"/>
                    <a:pt x="95" y="112"/>
                  </a:cubicBezTo>
                  <a:cubicBezTo>
                    <a:pt x="97" y="112"/>
                    <a:pt x="100" y="112"/>
                    <a:pt x="103" y="112"/>
                  </a:cubicBezTo>
                  <a:cubicBezTo>
                    <a:pt x="104" y="112"/>
                    <a:pt x="105" y="112"/>
                    <a:pt x="106" y="112"/>
                  </a:cubicBezTo>
                  <a:cubicBezTo>
                    <a:pt x="107" y="111"/>
                    <a:pt x="107" y="111"/>
                    <a:pt x="108" y="111"/>
                  </a:cubicBezTo>
                  <a:cubicBezTo>
                    <a:pt x="109" y="110"/>
                    <a:pt x="111" y="111"/>
                    <a:pt x="113" y="111"/>
                  </a:cubicBezTo>
                  <a:cubicBezTo>
                    <a:pt x="113" y="111"/>
                    <a:pt x="114" y="111"/>
                    <a:pt x="115" y="111"/>
                  </a:cubicBezTo>
                  <a:cubicBezTo>
                    <a:pt x="117" y="113"/>
                    <a:pt x="119" y="114"/>
                    <a:pt x="121" y="115"/>
                  </a:cubicBezTo>
                  <a:cubicBezTo>
                    <a:pt x="124" y="116"/>
                    <a:pt x="127" y="117"/>
                    <a:pt x="129" y="114"/>
                  </a:cubicBezTo>
                  <a:cubicBezTo>
                    <a:pt x="130" y="112"/>
                    <a:pt x="132" y="109"/>
                    <a:pt x="132" y="107"/>
                  </a:cubicBezTo>
                  <a:cubicBezTo>
                    <a:pt x="131" y="106"/>
                    <a:pt x="130" y="105"/>
                    <a:pt x="129" y="104"/>
                  </a:cubicBezTo>
                  <a:cubicBezTo>
                    <a:pt x="128" y="104"/>
                    <a:pt x="128" y="103"/>
                    <a:pt x="127" y="102"/>
                  </a:cubicBezTo>
                  <a:cubicBezTo>
                    <a:pt x="126" y="101"/>
                    <a:pt x="125" y="101"/>
                    <a:pt x="124" y="101"/>
                  </a:cubicBezTo>
                  <a:cubicBezTo>
                    <a:pt x="121" y="101"/>
                    <a:pt x="119" y="101"/>
                    <a:pt x="117" y="100"/>
                  </a:cubicBezTo>
                  <a:cubicBezTo>
                    <a:pt x="115" y="100"/>
                    <a:pt x="113" y="99"/>
                    <a:pt x="111" y="98"/>
                  </a:cubicBezTo>
                  <a:cubicBezTo>
                    <a:pt x="109" y="98"/>
                    <a:pt x="105" y="98"/>
                    <a:pt x="104" y="96"/>
                  </a:cubicBezTo>
                  <a:cubicBezTo>
                    <a:pt x="103" y="95"/>
                    <a:pt x="104" y="94"/>
                    <a:pt x="104" y="93"/>
                  </a:cubicBezTo>
                  <a:cubicBezTo>
                    <a:pt x="105" y="92"/>
                    <a:pt x="107" y="92"/>
                    <a:pt x="108" y="92"/>
                  </a:cubicBezTo>
                  <a:cubicBezTo>
                    <a:pt x="110" y="91"/>
                    <a:pt x="112" y="91"/>
                    <a:pt x="114" y="91"/>
                  </a:cubicBezTo>
                  <a:cubicBezTo>
                    <a:pt x="116" y="91"/>
                    <a:pt x="118" y="91"/>
                    <a:pt x="120" y="91"/>
                  </a:cubicBezTo>
                  <a:cubicBezTo>
                    <a:pt x="123" y="91"/>
                    <a:pt x="125" y="92"/>
                    <a:pt x="128" y="92"/>
                  </a:cubicBezTo>
                  <a:cubicBezTo>
                    <a:pt x="129" y="92"/>
                    <a:pt x="129" y="92"/>
                    <a:pt x="130" y="91"/>
                  </a:cubicBezTo>
                  <a:cubicBezTo>
                    <a:pt x="131" y="91"/>
                    <a:pt x="132" y="90"/>
                    <a:pt x="132" y="89"/>
                  </a:cubicBezTo>
                  <a:cubicBezTo>
                    <a:pt x="132" y="88"/>
                    <a:pt x="131" y="87"/>
                    <a:pt x="132" y="87"/>
                  </a:cubicBezTo>
                  <a:cubicBezTo>
                    <a:pt x="133" y="86"/>
                    <a:pt x="135" y="87"/>
                    <a:pt x="136" y="87"/>
                  </a:cubicBezTo>
                  <a:cubicBezTo>
                    <a:pt x="138" y="87"/>
                    <a:pt x="140" y="87"/>
                    <a:pt x="141" y="88"/>
                  </a:cubicBezTo>
                  <a:cubicBezTo>
                    <a:pt x="143" y="88"/>
                    <a:pt x="145" y="88"/>
                    <a:pt x="146" y="88"/>
                  </a:cubicBezTo>
                  <a:cubicBezTo>
                    <a:pt x="150" y="87"/>
                    <a:pt x="153" y="87"/>
                    <a:pt x="156" y="88"/>
                  </a:cubicBezTo>
                  <a:cubicBezTo>
                    <a:pt x="157" y="89"/>
                    <a:pt x="158" y="90"/>
                    <a:pt x="159" y="90"/>
                  </a:cubicBezTo>
                  <a:cubicBezTo>
                    <a:pt x="160" y="91"/>
                    <a:pt x="161" y="91"/>
                    <a:pt x="162" y="92"/>
                  </a:cubicBezTo>
                  <a:cubicBezTo>
                    <a:pt x="164" y="92"/>
                    <a:pt x="166" y="93"/>
                    <a:pt x="168" y="94"/>
                  </a:cubicBezTo>
                  <a:cubicBezTo>
                    <a:pt x="171" y="95"/>
                    <a:pt x="173" y="95"/>
                    <a:pt x="175" y="96"/>
                  </a:cubicBezTo>
                  <a:cubicBezTo>
                    <a:pt x="177" y="97"/>
                    <a:pt x="178" y="96"/>
                    <a:pt x="179" y="95"/>
                  </a:cubicBezTo>
                  <a:cubicBezTo>
                    <a:pt x="180" y="95"/>
                    <a:pt x="181" y="94"/>
                    <a:pt x="183" y="94"/>
                  </a:cubicBezTo>
                  <a:cubicBezTo>
                    <a:pt x="183" y="94"/>
                    <a:pt x="184" y="95"/>
                    <a:pt x="185" y="95"/>
                  </a:cubicBezTo>
                  <a:cubicBezTo>
                    <a:pt x="185" y="95"/>
                    <a:pt x="187" y="95"/>
                    <a:pt x="187" y="95"/>
                  </a:cubicBezTo>
                  <a:cubicBezTo>
                    <a:pt x="188" y="95"/>
                    <a:pt x="188" y="94"/>
                    <a:pt x="189" y="94"/>
                  </a:cubicBezTo>
                  <a:cubicBezTo>
                    <a:pt x="189" y="93"/>
                    <a:pt x="190" y="92"/>
                    <a:pt x="191" y="92"/>
                  </a:cubicBezTo>
                  <a:cubicBezTo>
                    <a:pt x="191" y="91"/>
                    <a:pt x="191" y="91"/>
                    <a:pt x="191" y="91"/>
                  </a:cubicBezTo>
                  <a:cubicBezTo>
                    <a:pt x="192" y="90"/>
                    <a:pt x="191" y="88"/>
                    <a:pt x="191" y="87"/>
                  </a:cubicBezTo>
                  <a:cubicBezTo>
                    <a:pt x="191" y="85"/>
                    <a:pt x="192" y="84"/>
                    <a:pt x="193" y="82"/>
                  </a:cubicBezTo>
                  <a:cubicBezTo>
                    <a:pt x="194" y="80"/>
                    <a:pt x="195" y="77"/>
                    <a:pt x="195" y="75"/>
                  </a:cubicBezTo>
                  <a:cubicBezTo>
                    <a:pt x="195" y="74"/>
                    <a:pt x="196" y="72"/>
                    <a:pt x="197" y="71"/>
                  </a:cubicBezTo>
                  <a:cubicBezTo>
                    <a:pt x="197" y="71"/>
                    <a:pt x="197" y="70"/>
                    <a:pt x="197" y="70"/>
                  </a:cubicBezTo>
                  <a:moveTo>
                    <a:pt x="312" y="435"/>
                  </a:moveTo>
                  <a:cubicBezTo>
                    <a:pt x="312" y="435"/>
                    <a:pt x="311" y="435"/>
                    <a:pt x="311" y="435"/>
                  </a:cubicBezTo>
                  <a:cubicBezTo>
                    <a:pt x="311" y="435"/>
                    <a:pt x="312" y="435"/>
                    <a:pt x="312" y="435"/>
                  </a:cubicBezTo>
                  <a:moveTo>
                    <a:pt x="668" y="97"/>
                  </a:moveTo>
                  <a:cubicBezTo>
                    <a:pt x="669" y="97"/>
                    <a:pt x="670" y="97"/>
                    <a:pt x="671" y="97"/>
                  </a:cubicBezTo>
                  <a:cubicBezTo>
                    <a:pt x="670" y="97"/>
                    <a:pt x="669" y="97"/>
                    <a:pt x="668" y="97"/>
                  </a:cubicBezTo>
                  <a:cubicBezTo>
                    <a:pt x="668" y="97"/>
                    <a:pt x="668" y="97"/>
                    <a:pt x="668" y="97"/>
                  </a:cubicBezTo>
                  <a:moveTo>
                    <a:pt x="1170" y="445"/>
                  </a:moveTo>
                  <a:cubicBezTo>
                    <a:pt x="1169" y="442"/>
                    <a:pt x="1168" y="441"/>
                    <a:pt x="1165" y="439"/>
                  </a:cubicBezTo>
                  <a:cubicBezTo>
                    <a:pt x="1161" y="437"/>
                    <a:pt x="1159" y="436"/>
                    <a:pt x="1156" y="432"/>
                  </a:cubicBezTo>
                  <a:cubicBezTo>
                    <a:pt x="1151" y="428"/>
                    <a:pt x="1148" y="425"/>
                    <a:pt x="1149" y="419"/>
                  </a:cubicBezTo>
                  <a:cubicBezTo>
                    <a:pt x="1149" y="416"/>
                    <a:pt x="1149" y="413"/>
                    <a:pt x="1149" y="410"/>
                  </a:cubicBezTo>
                  <a:cubicBezTo>
                    <a:pt x="1149" y="407"/>
                    <a:pt x="1151" y="399"/>
                    <a:pt x="1149" y="396"/>
                  </a:cubicBezTo>
                  <a:cubicBezTo>
                    <a:pt x="1149" y="396"/>
                    <a:pt x="1145" y="394"/>
                    <a:pt x="1144" y="394"/>
                  </a:cubicBezTo>
                  <a:cubicBezTo>
                    <a:pt x="1142" y="393"/>
                    <a:pt x="1139" y="391"/>
                    <a:pt x="1137" y="390"/>
                  </a:cubicBezTo>
                  <a:cubicBezTo>
                    <a:pt x="1133" y="389"/>
                    <a:pt x="1131" y="391"/>
                    <a:pt x="1130" y="387"/>
                  </a:cubicBezTo>
                  <a:cubicBezTo>
                    <a:pt x="1129" y="384"/>
                    <a:pt x="1130" y="382"/>
                    <a:pt x="1132" y="380"/>
                  </a:cubicBezTo>
                  <a:cubicBezTo>
                    <a:pt x="1134" y="378"/>
                    <a:pt x="1134" y="380"/>
                    <a:pt x="1136" y="376"/>
                  </a:cubicBezTo>
                  <a:cubicBezTo>
                    <a:pt x="1138" y="372"/>
                    <a:pt x="1141" y="368"/>
                    <a:pt x="1142" y="363"/>
                  </a:cubicBezTo>
                  <a:cubicBezTo>
                    <a:pt x="1142" y="361"/>
                    <a:pt x="1143" y="354"/>
                    <a:pt x="1141" y="352"/>
                  </a:cubicBezTo>
                  <a:cubicBezTo>
                    <a:pt x="1140" y="350"/>
                    <a:pt x="1136" y="351"/>
                    <a:pt x="1134" y="351"/>
                  </a:cubicBezTo>
                  <a:cubicBezTo>
                    <a:pt x="1130" y="350"/>
                    <a:pt x="1131" y="347"/>
                    <a:pt x="1131" y="343"/>
                  </a:cubicBezTo>
                  <a:cubicBezTo>
                    <a:pt x="1131" y="339"/>
                    <a:pt x="1131" y="335"/>
                    <a:pt x="1131" y="331"/>
                  </a:cubicBezTo>
                  <a:cubicBezTo>
                    <a:pt x="1131" y="322"/>
                    <a:pt x="1128" y="312"/>
                    <a:pt x="1124" y="302"/>
                  </a:cubicBezTo>
                  <a:cubicBezTo>
                    <a:pt x="1123" y="299"/>
                    <a:pt x="1120" y="295"/>
                    <a:pt x="1119" y="291"/>
                  </a:cubicBezTo>
                  <a:cubicBezTo>
                    <a:pt x="1116" y="283"/>
                    <a:pt x="1122" y="275"/>
                    <a:pt x="1120" y="268"/>
                  </a:cubicBezTo>
                  <a:cubicBezTo>
                    <a:pt x="1118" y="267"/>
                    <a:pt x="1114" y="268"/>
                    <a:pt x="1111" y="266"/>
                  </a:cubicBezTo>
                  <a:cubicBezTo>
                    <a:pt x="1106" y="263"/>
                    <a:pt x="1111" y="262"/>
                    <a:pt x="1115" y="261"/>
                  </a:cubicBezTo>
                  <a:cubicBezTo>
                    <a:pt x="1119" y="261"/>
                    <a:pt x="1126" y="261"/>
                    <a:pt x="1128" y="257"/>
                  </a:cubicBezTo>
                  <a:cubicBezTo>
                    <a:pt x="1129" y="256"/>
                    <a:pt x="1129" y="255"/>
                    <a:pt x="1129" y="253"/>
                  </a:cubicBezTo>
                  <a:cubicBezTo>
                    <a:pt x="1130" y="252"/>
                    <a:pt x="1132" y="250"/>
                    <a:pt x="1133" y="248"/>
                  </a:cubicBezTo>
                  <a:cubicBezTo>
                    <a:pt x="1135" y="245"/>
                    <a:pt x="1136" y="241"/>
                    <a:pt x="1139" y="238"/>
                  </a:cubicBezTo>
                  <a:cubicBezTo>
                    <a:pt x="1140" y="237"/>
                    <a:pt x="1142" y="236"/>
                    <a:pt x="1144" y="235"/>
                  </a:cubicBezTo>
                  <a:cubicBezTo>
                    <a:pt x="1146" y="234"/>
                    <a:pt x="1149" y="232"/>
                    <a:pt x="1151" y="230"/>
                  </a:cubicBezTo>
                  <a:cubicBezTo>
                    <a:pt x="1147" y="228"/>
                    <a:pt x="1144" y="226"/>
                    <a:pt x="1140" y="224"/>
                  </a:cubicBezTo>
                  <a:cubicBezTo>
                    <a:pt x="1140" y="224"/>
                    <a:pt x="1133" y="222"/>
                    <a:pt x="1133" y="221"/>
                  </a:cubicBezTo>
                  <a:cubicBezTo>
                    <a:pt x="1131" y="220"/>
                    <a:pt x="1131" y="218"/>
                    <a:pt x="1130" y="216"/>
                  </a:cubicBezTo>
                  <a:cubicBezTo>
                    <a:pt x="1125" y="213"/>
                    <a:pt x="1119" y="214"/>
                    <a:pt x="1113" y="214"/>
                  </a:cubicBezTo>
                  <a:cubicBezTo>
                    <a:pt x="1104" y="213"/>
                    <a:pt x="1096" y="206"/>
                    <a:pt x="1090" y="201"/>
                  </a:cubicBezTo>
                  <a:cubicBezTo>
                    <a:pt x="1084" y="195"/>
                    <a:pt x="1083" y="190"/>
                    <a:pt x="1081" y="181"/>
                  </a:cubicBezTo>
                  <a:cubicBezTo>
                    <a:pt x="1080" y="178"/>
                    <a:pt x="1079" y="177"/>
                    <a:pt x="1078" y="175"/>
                  </a:cubicBezTo>
                  <a:cubicBezTo>
                    <a:pt x="1077" y="172"/>
                    <a:pt x="1078" y="169"/>
                    <a:pt x="1079" y="167"/>
                  </a:cubicBezTo>
                  <a:cubicBezTo>
                    <a:pt x="1081" y="161"/>
                    <a:pt x="1085" y="154"/>
                    <a:pt x="1084" y="148"/>
                  </a:cubicBezTo>
                  <a:cubicBezTo>
                    <a:pt x="1084" y="146"/>
                    <a:pt x="1083" y="144"/>
                    <a:pt x="1082" y="142"/>
                  </a:cubicBezTo>
                  <a:cubicBezTo>
                    <a:pt x="1082" y="141"/>
                    <a:pt x="1079" y="138"/>
                    <a:pt x="1078" y="136"/>
                  </a:cubicBezTo>
                  <a:cubicBezTo>
                    <a:pt x="1077" y="134"/>
                    <a:pt x="1072" y="133"/>
                    <a:pt x="1072" y="131"/>
                  </a:cubicBezTo>
                  <a:cubicBezTo>
                    <a:pt x="1068" y="125"/>
                    <a:pt x="1082" y="122"/>
                    <a:pt x="1080" y="116"/>
                  </a:cubicBezTo>
                  <a:cubicBezTo>
                    <a:pt x="1072" y="114"/>
                    <a:pt x="1065" y="111"/>
                    <a:pt x="1057" y="108"/>
                  </a:cubicBezTo>
                  <a:cubicBezTo>
                    <a:pt x="1056" y="107"/>
                    <a:pt x="1054" y="107"/>
                    <a:pt x="1052" y="107"/>
                  </a:cubicBezTo>
                  <a:cubicBezTo>
                    <a:pt x="1051" y="106"/>
                    <a:pt x="1051" y="106"/>
                    <a:pt x="1049" y="105"/>
                  </a:cubicBezTo>
                  <a:cubicBezTo>
                    <a:pt x="1047" y="104"/>
                    <a:pt x="1045" y="104"/>
                    <a:pt x="1045" y="101"/>
                  </a:cubicBezTo>
                  <a:cubicBezTo>
                    <a:pt x="1045" y="98"/>
                    <a:pt x="1047" y="96"/>
                    <a:pt x="1047" y="94"/>
                  </a:cubicBezTo>
                  <a:cubicBezTo>
                    <a:pt x="1044" y="93"/>
                    <a:pt x="1039" y="96"/>
                    <a:pt x="1037" y="94"/>
                  </a:cubicBezTo>
                  <a:cubicBezTo>
                    <a:pt x="1036" y="93"/>
                    <a:pt x="1035" y="90"/>
                    <a:pt x="1034" y="89"/>
                  </a:cubicBezTo>
                  <a:cubicBezTo>
                    <a:pt x="1032" y="87"/>
                    <a:pt x="1028" y="87"/>
                    <a:pt x="1027" y="85"/>
                  </a:cubicBezTo>
                  <a:cubicBezTo>
                    <a:pt x="1025" y="84"/>
                    <a:pt x="1026" y="82"/>
                    <a:pt x="1025" y="80"/>
                  </a:cubicBezTo>
                  <a:cubicBezTo>
                    <a:pt x="1023" y="77"/>
                    <a:pt x="1017" y="76"/>
                    <a:pt x="1014" y="75"/>
                  </a:cubicBezTo>
                  <a:cubicBezTo>
                    <a:pt x="1012" y="74"/>
                    <a:pt x="1008" y="72"/>
                    <a:pt x="1006" y="73"/>
                  </a:cubicBezTo>
                  <a:cubicBezTo>
                    <a:pt x="1005" y="75"/>
                    <a:pt x="1006" y="80"/>
                    <a:pt x="1006" y="81"/>
                  </a:cubicBezTo>
                  <a:cubicBezTo>
                    <a:pt x="1003" y="82"/>
                    <a:pt x="1000" y="81"/>
                    <a:pt x="996" y="81"/>
                  </a:cubicBezTo>
                  <a:cubicBezTo>
                    <a:pt x="995" y="81"/>
                    <a:pt x="992" y="81"/>
                    <a:pt x="990" y="81"/>
                  </a:cubicBezTo>
                  <a:cubicBezTo>
                    <a:pt x="988" y="82"/>
                    <a:pt x="988" y="83"/>
                    <a:pt x="986" y="83"/>
                  </a:cubicBezTo>
                  <a:cubicBezTo>
                    <a:pt x="985" y="82"/>
                    <a:pt x="983" y="82"/>
                    <a:pt x="982" y="81"/>
                  </a:cubicBezTo>
                  <a:cubicBezTo>
                    <a:pt x="981" y="81"/>
                    <a:pt x="979" y="79"/>
                    <a:pt x="978" y="79"/>
                  </a:cubicBezTo>
                  <a:cubicBezTo>
                    <a:pt x="976" y="78"/>
                    <a:pt x="973" y="79"/>
                    <a:pt x="970" y="79"/>
                  </a:cubicBezTo>
                  <a:cubicBezTo>
                    <a:pt x="969" y="79"/>
                    <a:pt x="968" y="79"/>
                    <a:pt x="967" y="79"/>
                  </a:cubicBezTo>
                  <a:cubicBezTo>
                    <a:pt x="965" y="79"/>
                    <a:pt x="966" y="80"/>
                    <a:pt x="964" y="80"/>
                  </a:cubicBezTo>
                  <a:cubicBezTo>
                    <a:pt x="962" y="82"/>
                    <a:pt x="959" y="83"/>
                    <a:pt x="955" y="83"/>
                  </a:cubicBezTo>
                  <a:cubicBezTo>
                    <a:pt x="953" y="82"/>
                    <a:pt x="951" y="81"/>
                    <a:pt x="949" y="81"/>
                  </a:cubicBezTo>
                  <a:cubicBezTo>
                    <a:pt x="945" y="80"/>
                    <a:pt x="942" y="81"/>
                    <a:pt x="938" y="81"/>
                  </a:cubicBezTo>
                  <a:cubicBezTo>
                    <a:pt x="939" y="86"/>
                    <a:pt x="930" y="93"/>
                    <a:pt x="926" y="96"/>
                  </a:cubicBezTo>
                  <a:cubicBezTo>
                    <a:pt x="926" y="97"/>
                    <a:pt x="926" y="97"/>
                    <a:pt x="925" y="97"/>
                  </a:cubicBezTo>
                  <a:cubicBezTo>
                    <a:pt x="923" y="98"/>
                    <a:pt x="921" y="98"/>
                    <a:pt x="920" y="99"/>
                  </a:cubicBezTo>
                  <a:cubicBezTo>
                    <a:pt x="919" y="99"/>
                    <a:pt x="918" y="101"/>
                    <a:pt x="917" y="102"/>
                  </a:cubicBezTo>
                  <a:cubicBezTo>
                    <a:pt x="916" y="102"/>
                    <a:pt x="914" y="103"/>
                    <a:pt x="913" y="104"/>
                  </a:cubicBezTo>
                  <a:cubicBezTo>
                    <a:pt x="910" y="105"/>
                    <a:pt x="907" y="106"/>
                    <a:pt x="904" y="107"/>
                  </a:cubicBezTo>
                  <a:cubicBezTo>
                    <a:pt x="901" y="109"/>
                    <a:pt x="897" y="110"/>
                    <a:pt x="893" y="110"/>
                  </a:cubicBezTo>
                  <a:cubicBezTo>
                    <a:pt x="886" y="110"/>
                    <a:pt x="879" y="110"/>
                    <a:pt x="874" y="115"/>
                  </a:cubicBezTo>
                  <a:cubicBezTo>
                    <a:pt x="870" y="119"/>
                    <a:pt x="866" y="120"/>
                    <a:pt x="862" y="122"/>
                  </a:cubicBezTo>
                  <a:cubicBezTo>
                    <a:pt x="854" y="125"/>
                    <a:pt x="848" y="121"/>
                    <a:pt x="841" y="118"/>
                  </a:cubicBezTo>
                  <a:cubicBezTo>
                    <a:pt x="833" y="115"/>
                    <a:pt x="824" y="117"/>
                    <a:pt x="816" y="115"/>
                  </a:cubicBezTo>
                  <a:cubicBezTo>
                    <a:pt x="814" y="114"/>
                    <a:pt x="813" y="113"/>
                    <a:pt x="812" y="112"/>
                  </a:cubicBezTo>
                  <a:cubicBezTo>
                    <a:pt x="810" y="112"/>
                    <a:pt x="809" y="113"/>
                    <a:pt x="808" y="113"/>
                  </a:cubicBezTo>
                  <a:cubicBezTo>
                    <a:pt x="806" y="112"/>
                    <a:pt x="804" y="111"/>
                    <a:pt x="802" y="111"/>
                  </a:cubicBezTo>
                  <a:cubicBezTo>
                    <a:pt x="801" y="111"/>
                    <a:pt x="800" y="111"/>
                    <a:pt x="799" y="111"/>
                  </a:cubicBezTo>
                  <a:cubicBezTo>
                    <a:pt x="798" y="111"/>
                    <a:pt x="798" y="113"/>
                    <a:pt x="796" y="113"/>
                  </a:cubicBezTo>
                  <a:cubicBezTo>
                    <a:pt x="794" y="114"/>
                    <a:pt x="789" y="113"/>
                    <a:pt x="786" y="113"/>
                  </a:cubicBezTo>
                  <a:cubicBezTo>
                    <a:pt x="780" y="113"/>
                    <a:pt x="777" y="114"/>
                    <a:pt x="771" y="116"/>
                  </a:cubicBezTo>
                  <a:cubicBezTo>
                    <a:pt x="768" y="118"/>
                    <a:pt x="765" y="117"/>
                    <a:pt x="762" y="118"/>
                  </a:cubicBezTo>
                  <a:cubicBezTo>
                    <a:pt x="759" y="118"/>
                    <a:pt x="757" y="121"/>
                    <a:pt x="754" y="121"/>
                  </a:cubicBezTo>
                  <a:cubicBezTo>
                    <a:pt x="753" y="121"/>
                    <a:pt x="752" y="121"/>
                    <a:pt x="752" y="121"/>
                  </a:cubicBezTo>
                  <a:cubicBezTo>
                    <a:pt x="748" y="120"/>
                    <a:pt x="743" y="119"/>
                    <a:pt x="739" y="118"/>
                  </a:cubicBezTo>
                  <a:cubicBezTo>
                    <a:pt x="736" y="116"/>
                    <a:pt x="735" y="114"/>
                    <a:pt x="731" y="113"/>
                  </a:cubicBezTo>
                  <a:cubicBezTo>
                    <a:pt x="729" y="112"/>
                    <a:pt x="726" y="113"/>
                    <a:pt x="723" y="112"/>
                  </a:cubicBezTo>
                  <a:cubicBezTo>
                    <a:pt x="720" y="112"/>
                    <a:pt x="719" y="111"/>
                    <a:pt x="717" y="108"/>
                  </a:cubicBezTo>
                  <a:cubicBezTo>
                    <a:pt x="714" y="105"/>
                    <a:pt x="710" y="100"/>
                    <a:pt x="706" y="99"/>
                  </a:cubicBezTo>
                  <a:cubicBezTo>
                    <a:pt x="704" y="98"/>
                    <a:pt x="701" y="99"/>
                    <a:pt x="698" y="99"/>
                  </a:cubicBezTo>
                  <a:cubicBezTo>
                    <a:pt x="695" y="98"/>
                    <a:pt x="692" y="97"/>
                    <a:pt x="689" y="97"/>
                  </a:cubicBezTo>
                  <a:cubicBezTo>
                    <a:pt x="683" y="97"/>
                    <a:pt x="677" y="97"/>
                    <a:pt x="671" y="97"/>
                  </a:cubicBezTo>
                  <a:cubicBezTo>
                    <a:pt x="672" y="98"/>
                    <a:pt x="673" y="98"/>
                    <a:pt x="674" y="99"/>
                  </a:cubicBezTo>
                  <a:cubicBezTo>
                    <a:pt x="672" y="99"/>
                    <a:pt x="670" y="98"/>
                    <a:pt x="668" y="97"/>
                  </a:cubicBezTo>
                  <a:cubicBezTo>
                    <a:pt x="666" y="97"/>
                    <a:pt x="665" y="97"/>
                    <a:pt x="663" y="97"/>
                  </a:cubicBezTo>
                  <a:cubicBezTo>
                    <a:pt x="665" y="97"/>
                    <a:pt x="666" y="97"/>
                    <a:pt x="668" y="97"/>
                  </a:cubicBezTo>
                  <a:cubicBezTo>
                    <a:pt x="665" y="96"/>
                    <a:pt x="662" y="94"/>
                    <a:pt x="659" y="92"/>
                  </a:cubicBezTo>
                  <a:cubicBezTo>
                    <a:pt x="655" y="90"/>
                    <a:pt x="653" y="89"/>
                    <a:pt x="653" y="84"/>
                  </a:cubicBezTo>
                  <a:cubicBezTo>
                    <a:pt x="652" y="80"/>
                    <a:pt x="652" y="80"/>
                    <a:pt x="648" y="81"/>
                  </a:cubicBezTo>
                  <a:cubicBezTo>
                    <a:pt x="646" y="81"/>
                    <a:pt x="640" y="81"/>
                    <a:pt x="640" y="84"/>
                  </a:cubicBezTo>
                  <a:cubicBezTo>
                    <a:pt x="638" y="84"/>
                    <a:pt x="634" y="84"/>
                    <a:pt x="632" y="84"/>
                  </a:cubicBezTo>
                  <a:cubicBezTo>
                    <a:pt x="629" y="83"/>
                    <a:pt x="625" y="81"/>
                    <a:pt x="623" y="80"/>
                  </a:cubicBezTo>
                  <a:cubicBezTo>
                    <a:pt x="618" y="79"/>
                    <a:pt x="620" y="80"/>
                    <a:pt x="619" y="78"/>
                  </a:cubicBezTo>
                  <a:cubicBezTo>
                    <a:pt x="617" y="76"/>
                    <a:pt x="618" y="71"/>
                    <a:pt x="616" y="69"/>
                  </a:cubicBezTo>
                  <a:cubicBezTo>
                    <a:pt x="615" y="67"/>
                    <a:pt x="613" y="68"/>
                    <a:pt x="612" y="65"/>
                  </a:cubicBezTo>
                  <a:cubicBezTo>
                    <a:pt x="611" y="64"/>
                    <a:pt x="610" y="62"/>
                    <a:pt x="610" y="60"/>
                  </a:cubicBezTo>
                  <a:cubicBezTo>
                    <a:pt x="610" y="55"/>
                    <a:pt x="612" y="46"/>
                    <a:pt x="609" y="41"/>
                  </a:cubicBezTo>
                  <a:cubicBezTo>
                    <a:pt x="606" y="38"/>
                    <a:pt x="602" y="38"/>
                    <a:pt x="598" y="38"/>
                  </a:cubicBezTo>
                  <a:cubicBezTo>
                    <a:pt x="596" y="39"/>
                    <a:pt x="596" y="39"/>
                    <a:pt x="594" y="40"/>
                  </a:cubicBezTo>
                  <a:cubicBezTo>
                    <a:pt x="592" y="41"/>
                    <a:pt x="591" y="42"/>
                    <a:pt x="589" y="43"/>
                  </a:cubicBezTo>
                  <a:cubicBezTo>
                    <a:pt x="588" y="44"/>
                    <a:pt x="587" y="45"/>
                    <a:pt x="586" y="46"/>
                  </a:cubicBezTo>
                  <a:cubicBezTo>
                    <a:pt x="582" y="49"/>
                    <a:pt x="571" y="46"/>
                    <a:pt x="566" y="46"/>
                  </a:cubicBezTo>
                  <a:cubicBezTo>
                    <a:pt x="564" y="46"/>
                    <a:pt x="563" y="46"/>
                    <a:pt x="561" y="46"/>
                  </a:cubicBezTo>
                  <a:cubicBezTo>
                    <a:pt x="559" y="44"/>
                    <a:pt x="557" y="38"/>
                    <a:pt x="555" y="36"/>
                  </a:cubicBezTo>
                  <a:cubicBezTo>
                    <a:pt x="552" y="33"/>
                    <a:pt x="549" y="32"/>
                    <a:pt x="550" y="27"/>
                  </a:cubicBezTo>
                  <a:cubicBezTo>
                    <a:pt x="550" y="24"/>
                    <a:pt x="552" y="22"/>
                    <a:pt x="550" y="20"/>
                  </a:cubicBezTo>
                  <a:cubicBezTo>
                    <a:pt x="548" y="19"/>
                    <a:pt x="543" y="19"/>
                    <a:pt x="541" y="19"/>
                  </a:cubicBezTo>
                  <a:cubicBezTo>
                    <a:pt x="539" y="20"/>
                    <a:pt x="538" y="23"/>
                    <a:pt x="536" y="24"/>
                  </a:cubicBezTo>
                  <a:cubicBezTo>
                    <a:pt x="533" y="25"/>
                    <a:pt x="527" y="27"/>
                    <a:pt x="523" y="27"/>
                  </a:cubicBezTo>
                  <a:cubicBezTo>
                    <a:pt x="520" y="27"/>
                    <a:pt x="519" y="26"/>
                    <a:pt x="516" y="25"/>
                  </a:cubicBezTo>
                  <a:cubicBezTo>
                    <a:pt x="513" y="25"/>
                    <a:pt x="510" y="25"/>
                    <a:pt x="508" y="24"/>
                  </a:cubicBezTo>
                  <a:cubicBezTo>
                    <a:pt x="505" y="24"/>
                    <a:pt x="502" y="22"/>
                    <a:pt x="499" y="23"/>
                  </a:cubicBezTo>
                  <a:cubicBezTo>
                    <a:pt x="496" y="23"/>
                    <a:pt x="495" y="24"/>
                    <a:pt x="491" y="25"/>
                  </a:cubicBezTo>
                  <a:cubicBezTo>
                    <a:pt x="490" y="25"/>
                    <a:pt x="487" y="25"/>
                    <a:pt x="486" y="25"/>
                  </a:cubicBezTo>
                  <a:cubicBezTo>
                    <a:pt x="482" y="25"/>
                    <a:pt x="480" y="23"/>
                    <a:pt x="477" y="22"/>
                  </a:cubicBezTo>
                  <a:cubicBezTo>
                    <a:pt x="469" y="21"/>
                    <a:pt x="462" y="20"/>
                    <a:pt x="454" y="20"/>
                  </a:cubicBezTo>
                  <a:cubicBezTo>
                    <a:pt x="447" y="20"/>
                    <a:pt x="437" y="19"/>
                    <a:pt x="430" y="21"/>
                  </a:cubicBezTo>
                  <a:cubicBezTo>
                    <a:pt x="426" y="22"/>
                    <a:pt x="422" y="23"/>
                    <a:pt x="418" y="25"/>
                  </a:cubicBezTo>
                  <a:cubicBezTo>
                    <a:pt x="416" y="27"/>
                    <a:pt x="413" y="27"/>
                    <a:pt x="411" y="28"/>
                  </a:cubicBezTo>
                  <a:cubicBezTo>
                    <a:pt x="411" y="28"/>
                    <a:pt x="408" y="29"/>
                    <a:pt x="408" y="29"/>
                  </a:cubicBezTo>
                  <a:cubicBezTo>
                    <a:pt x="406" y="30"/>
                    <a:pt x="403" y="30"/>
                    <a:pt x="400" y="30"/>
                  </a:cubicBezTo>
                  <a:cubicBezTo>
                    <a:pt x="398" y="31"/>
                    <a:pt x="395" y="30"/>
                    <a:pt x="393" y="31"/>
                  </a:cubicBezTo>
                  <a:cubicBezTo>
                    <a:pt x="389" y="32"/>
                    <a:pt x="386" y="34"/>
                    <a:pt x="383" y="35"/>
                  </a:cubicBezTo>
                  <a:cubicBezTo>
                    <a:pt x="380" y="36"/>
                    <a:pt x="378" y="37"/>
                    <a:pt x="375" y="39"/>
                  </a:cubicBezTo>
                  <a:cubicBezTo>
                    <a:pt x="373" y="41"/>
                    <a:pt x="370" y="41"/>
                    <a:pt x="367" y="43"/>
                  </a:cubicBezTo>
                  <a:cubicBezTo>
                    <a:pt x="365" y="45"/>
                    <a:pt x="365" y="45"/>
                    <a:pt x="362" y="46"/>
                  </a:cubicBezTo>
                  <a:cubicBezTo>
                    <a:pt x="361" y="46"/>
                    <a:pt x="360" y="46"/>
                    <a:pt x="358" y="46"/>
                  </a:cubicBezTo>
                  <a:cubicBezTo>
                    <a:pt x="355" y="47"/>
                    <a:pt x="356" y="47"/>
                    <a:pt x="354" y="49"/>
                  </a:cubicBezTo>
                  <a:cubicBezTo>
                    <a:pt x="353" y="51"/>
                    <a:pt x="351" y="52"/>
                    <a:pt x="350" y="55"/>
                  </a:cubicBezTo>
                  <a:cubicBezTo>
                    <a:pt x="348" y="59"/>
                    <a:pt x="351" y="63"/>
                    <a:pt x="347" y="66"/>
                  </a:cubicBezTo>
                  <a:cubicBezTo>
                    <a:pt x="346" y="67"/>
                    <a:pt x="343" y="67"/>
                    <a:pt x="341" y="68"/>
                  </a:cubicBezTo>
                  <a:cubicBezTo>
                    <a:pt x="340" y="69"/>
                    <a:pt x="340" y="71"/>
                    <a:pt x="339" y="72"/>
                  </a:cubicBezTo>
                  <a:cubicBezTo>
                    <a:pt x="338" y="74"/>
                    <a:pt x="336" y="74"/>
                    <a:pt x="335" y="76"/>
                  </a:cubicBezTo>
                  <a:cubicBezTo>
                    <a:pt x="333" y="78"/>
                    <a:pt x="335" y="81"/>
                    <a:pt x="334" y="84"/>
                  </a:cubicBezTo>
                  <a:cubicBezTo>
                    <a:pt x="332" y="88"/>
                    <a:pt x="324" y="86"/>
                    <a:pt x="321" y="86"/>
                  </a:cubicBezTo>
                  <a:cubicBezTo>
                    <a:pt x="319" y="86"/>
                    <a:pt x="314" y="85"/>
                    <a:pt x="312" y="86"/>
                  </a:cubicBezTo>
                  <a:cubicBezTo>
                    <a:pt x="310" y="87"/>
                    <a:pt x="309" y="89"/>
                    <a:pt x="307" y="89"/>
                  </a:cubicBezTo>
                  <a:cubicBezTo>
                    <a:pt x="304" y="91"/>
                    <a:pt x="302" y="91"/>
                    <a:pt x="299" y="90"/>
                  </a:cubicBezTo>
                  <a:cubicBezTo>
                    <a:pt x="295" y="88"/>
                    <a:pt x="292" y="86"/>
                    <a:pt x="288" y="85"/>
                  </a:cubicBezTo>
                  <a:cubicBezTo>
                    <a:pt x="282" y="83"/>
                    <a:pt x="274" y="85"/>
                    <a:pt x="269" y="81"/>
                  </a:cubicBezTo>
                  <a:cubicBezTo>
                    <a:pt x="266" y="79"/>
                    <a:pt x="266" y="78"/>
                    <a:pt x="262" y="80"/>
                  </a:cubicBezTo>
                  <a:cubicBezTo>
                    <a:pt x="259" y="82"/>
                    <a:pt x="255" y="81"/>
                    <a:pt x="251" y="81"/>
                  </a:cubicBezTo>
                  <a:cubicBezTo>
                    <a:pt x="243" y="81"/>
                    <a:pt x="234" y="83"/>
                    <a:pt x="226" y="81"/>
                  </a:cubicBezTo>
                  <a:cubicBezTo>
                    <a:pt x="223" y="81"/>
                    <a:pt x="221" y="79"/>
                    <a:pt x="218" y="77"/>
                  </a:cubicBezTo>
                  <a:cubicBezTo>
                    <a:pt x="214" y="76"/>
                    <a:pt x="211" y="76"/>
                    <a:pt x="208" y="75"/>
                  </a:cubicBezTo>
                  <a:cubicBezTo>
                    <a:pt x="205" y="74"/>
                    <a:pt x="202" y="72"/>
                    <a:pt x="200" y="71"/>
                  </a:cubicBezTo>
                  <a:cubicBezTo>
                    <a:pt x="200" y="71"/>
                    <a:pt x="200" y="71"/>
                    <a:pt x="200" y="72"/>
                  </a:cubicBezTo>
                  <a:cubicBezTo>
                    <a:pt x="200" y="72"/>
                    <a:pt x="199" y="73"/>
                    <a:pt x="199" y="74"/>
                  </a:cubicBezTo>
                  <a:cubicBezTo>
                    <a:pt x="198" y="74"/>
                    <a:pt x="198" y="75"/>
                    <a:pt x="198" y="76"/>
                  </a:cubicBezTo>
                  <a:cubicBezTo>
                    <a:pt x="197" y="78"/>
                    <a:pt x="197" y="80"/>
                    <a:pt x="195" y="82"/>
                  </a:cubicBezTo>
                  <a:cubicBezTo>
                    <a:pt x="195" y="82"/>
                    <a:pt x="195" y="82"/>
                    <a:pt x="194" y="83"/>
                  </a:cubicBezTo>
                  <a:cubicBezTo>
                    <a:pt x="194" y="83"/>
                    <a:pt x="195" y="83"/>
                    <a:pt x="195" y="83"/>
                  </a:cubicBezTo>
                  <a:cubicBezTo>
                    <a:pt x="194" y="84"/>
                    <a:pt x="194" y="84"/>
                    <a:pt x="194" y="84"/>
                  </a:cubicBezTo>
                  <a:cubicBezTo>
                    <a:pt x="194" y="85"/>
                    <a:pt x="194" y="85"/>
                    <a:pt x="194" y="86"/>
                  </a:cubicBezTo>
                  <a:cubicBezTo>
                    <a:pt x="194" y="87"/>
                    <a:pt x="194" y="87"/>
                    <a:pt x="194" y="88"/>
                  </a:cubicBezTo>
                  <a:cubicBezTo>
                    <a:pt x="194" y="90"/>
                    <a:pt x="194" y="92"/>
                    <a:pt x="194" y="94"/>
                  </a:cubicBezTo>
                  <a:cubicBezTo>
                    <a:pt x="194" y="95"/>
                    <a:pt x="194" y="96"/>
                    <a:pt x="194" y="96"/>
                  </a:cubicBezTo>
                  <a:cubicBezTo>
                    <a:pt x="195" y="98"/>
                    <a:pt x="198" y="99"/>
                    <a:pt x="199" y="100"/>
                  </a:cubicBezTo>
                  <a:cubicBezTo>
                    <a:pt x="199" y="100"/>
                    <a:pt x="200" y="100"/>
                    <a:pt x="201" y="101"/>
                  </a:cubicBezTo>
                  <a:cubicBezTo>
                    <a:pt x="199" y="100"/>
                    <a:pt x="199" y="100"/>
                    <a:pt x="199" y="100"/>
                  </a:cubicBezTo>
                  <a:cubicBezTo>
                    <a:pt x="199" y="99"/>
                    <a:pt x="199" y="99"/>
                    <a:pt x="198" y="99"/>
                  </a:cubicBezTo>
                  <a:cubicBezTo>
                    <a:pt x="198" y="99"/>
                    <a:pt x="198" y="99"/>
                    <a:pt x="197" y="98"/>
                  </a:cubicBezTo>
                  <a:cubicBezTo>
                    <a:pt x="197" y="98"/>
                    <a:pt x="196" y="98"/>
                    <a:pt x="196" y="97"/>
                  </a:cubicBezTo>
                  <a:cubicBezTo>
                    <a:pt x="196" y="97"/>
                    <a:pt x="196" y="97"/>
                    <a:pt x="195" y="97"/>
                  </a:cubicBezTo>
                  <a:cubicBezTo>
                    <a:pt x="199" y="100"/>
                    <a:pt x="199" y="100"/>
                    <a:pt x="199" y="100"/>
                  </a:cubicBezTo>
                  <a:cubicBezTo>
                    <a:pt x="200" y="100"/>
                    <a:pt x="200" y="100"/>
                    <a:pt x="201" y="100"/>
                  </a:cubicBezTo>
                  <a:cubicBezTo>
                    <a:pt x="204" y="100"/>
                    <a:pt x="206" y="103"/>
                    <a:pt x="209" y="105"/>
                  </a:cubicBezTo>
                  <a:cubicBezTo>
                    <a:pt x="209" y="106"/>
                    <a:pt x="210" y="106"/>
                    <a:pt x="211" y="106"/>
                  </a:cubicBezTo>
                  <a:cubicBezTo>
                    <a:pt x="212" y="106"/>
                    <a:pt x="213" y="106"/>
                    <a:pt x="215" y="107"/>
                  </a:cubicBezTo>
                  <a:cubicBezTo>
                    <a:pt x="216" y="107"/>
                    <a:pt x="218" y="108"/>
                    <a:pt x="219" y="108"/>
                  </a:cubicBezTo>
                  <a:cubicBezTo>
                    <a:pt x="222" y="110"/>
                    <a:pt x="225" y="112"/>
                    <a:pt x="228" y="113"/>
                  </a:cubicBezTo>
                  <a:cubicBezTo>
                    <a:pt x="230" y="114"/>
                    <a:pt x="231" y="114"/>
                    <a:pt x="233" y="114"/>
                  </a:cubicBezTo>
                  <a:cubicBezTo>
                    <a:pt x="237" y="114"/>
                    <a:pt x="241" y="113"/>
                    <a:pt x="245" y="113"/>
                  </a:cubicBezTo>
                  <a:cubicBezTo>
                    <a:pt x="246" y="114"/>
                    <a:pt x="247" y="114"/>
                    <a:pt x="248" y="115"/>
                  </a:cubicBezTo>
                  <a:cubicBezTo>
                    <a:pt x="246" y="115"/>
                    <a:pt x="244" y="115"/>
                    <a:pt x="242" y="115"/>
                  </a:cubicBezTo>
                  <a:cubicBezTo>
                    <a:pt x="241" y="115"/>
                    <a:pt x="240" y="115"/>
                    <a:pt x="239" y="115"/>
                  </a:cubicBezTo>
                  <a:cubicBezTo>
                    <a:pt x="237" y="115"/>
                    <a:pt x="235" y="115"/>
                    <a:pt x="233" y="116"/>
                  </a:cubicBezTo>
                  <a:cubicBezTo>
                    <a:pt x="232" y="117"/>
                    <a:pt x="232" y="118"/>
                    <a:pt x="232" y="119"/>
                  </a:cubicBezTo>
                  <a:cubicBezTo>
                    <a:pt x="231" y="122"/>
                    <a:pt x="227" y="119"/>
                    <a:pt x="225" y="118"/>
                  </a:cubicBezTo>
                  <a:cubicBezTo>
                    <a:pt x="225" y="118"/>
                    <a:pt x="224" y="117"/>
                    <a:pt x="224" y="117"/>
                  </a:cubicBezTo>
                  <a:cubicBezTo>
                    <a:pt x="223" y="118"/>
                    <a:pt x="222" y="118"/>
                    <a:pt x="222" y="118"/>
                  </a:cubicBezTo>
                  <a:cubicBezTo>
                    <a:pt x="221" y="118"/>
                    <a:pt x="220" y="119"/>
                    <a:pt x="219" y="118"/>
                  </a:cubicBezTo>
                  <a:cubicBezTo>
                    <a:pt x="217" y="118"/>
                    <a:pt x="216" y="118"/>
                    <a:pt x="214" y="118"/>
                  </a:cubicBezTo>
                  <a:cubicBezTo>
                    <a:pt x="212" y="117"/>
                    <a:pt x="212" y="116"/>
                    <a:pt x="210" y="117"/>
                  </a:cubicBezTo>
                  <a:cubicBezTo>
                    <a:pt x="210" y="117"/>
                    <a:pt x="208" y="118"/>
                    <a:pt x="208" y="119"/>
                  </a:cubicBezTo>
                  <a:cubicBezTo>
                    <a:pt x="208" y="119"/>
                    <a:pt x="208" y="120"/>
                    <a:pt x="208" y="120"/>
                  </a:cubicBezTo>
                  <a:cubicBezTo>
                    <a:pt x="207" y="121"/>
                    <a:pt x="208" y="121"/>
                    <a:pt x="207" y="121"/>
                  </a:cubicBezTo>
                  <a:cubicBezTo>
                    <a:pt x="206" y="121"/>
                    <a:pt x="206" y="121"/>
                    <a:pt x="205" y="121"/>
                  </a:cubicBezTo>
                  <a:cubicBezTo>
                    <a:pt x="201" y="120"/>
                    <a:pt x="195" y="119"/>
                    <a:pt x="191" y="122"/>
                  </a:cubicBezTo>
                  <a:cubicBezTo>
                    <a:pt x="191" y="122"/>
                    <a:pt x="191" y="122"/>
                    <a:pt x="191" y="122"/>
                  </a:cubicBezTo>
                  <a:cubicBezTo>
                    <a:pt x="192" y="123"/>
                    <a:pt x="191" y="124"/>
                    <a:pt x="191" y="125"/>
                  </a:cubicBezTo>
                  <a:cubicBezTo>
                    <a:pt x="191" y="126"/>
                    <a:pt x="189" y="126"/>
                    <a:pt x="188" y="126"/>
                  </a:cubicBezTo>
                  <a:cubicBezTo>
                    <a:pt x="186" y="127"/>
                    <a:pt x="183" y="126"/>
                    <a:pt x="181" y="127"/>
                  </a:cubicBezTo>
                  <a:cubicBezTo>
                    <a:pt x="178" y="128"/>
                    <a:pt x="182" y="131"/>
                    <a:pt x="183" y="132"/>
                  </a:cubicBezTo>
                  <a:cubicBezTo>
                    <a:pt x="183" y="134"/>
                    <a:pt x="179" y="135"/>
                    <a:pt x="178" y="135"/>
                  </a:cubicBezTo>
                  <a:cubicBezTo>
                    <a:pt x="176" y="135"/>
                    <a:pt x="176" y="134"/>
                    <a:pt x="175" y="134"/>
                  </a:cubicBezTo>
                  <a:cubicBezTo>
                    <a:pt x="173" y="133"/>
                    <a:pt x="170" y="134"/>
                    <a:pt x="168" y="133"/>
                  </a:cubicBezTo>
                  <a:cubicBezTo>
                    <a:pt x="167" y="132"/>
                    <a:pt x="166" y="131"/>
                    <a:pt x="166" y="130"/>
                  </a:cubicBezTo>
                  <a:cubicBezTo>
                    <a:pt x="166" y="130"/>
                    <a:pt x="164" y="127"/>
                    <a:pt x="163" y="127"/>
                  </a:cubicBezTo>
                  <a:cubicBezTo>
                    <a:pt x="163" y="127"/>
                    <a:pt x="161" y="128"/>
                    <a:pt x="161" y="129"/>
                  </a:cubicBezTo>
                  <a:cubicBezTo>
                    <a:pt x="159" y="130"/>
                    <a:pt x="157" y="131"/>
                    <a:pt x="156" y="133"/>
                  </a:cubicBezTo>
                  <a:cubicBezTo>
                    <a:pt x="153" y="134"/>
                    <a:pt x="152" y="136"/>
                    <a:pt x="150" y="137"/>
                  </a:cubicBezTo>
                  <a:cubicBezTo>
                    <a:pt x="149" y="138"/>
                    <a:pt x="148" y="138"/>
                    <a:pt x="148" y="138"/>
                  </a:cubicBezTo>
                  <a:cubicBezTo>
                    <a:pt x="147" y="139"/>
                    <a:pt x="146" y="139"/>
                    <a:pt x="145" y="140"/>
                  </a:cubicBezTo>
                  <a:cubicBezTo>
                    <a:pt x="143" y="140"/>
                    <a:pt x="143" y="140"/>
                    <a:pt x="141" y="140"/>
                  </a:cubicBezTo>
                  <a:cubicBezTo>
                    <a:pt x="140" y="139"/>
                    <a:pt x="140" y="139"/>
                    <a:pt x="138" y="140"/>
                  </a:cubicBezTo>
                  <a:cubicBezTo>
                    <a:pt x="137" y="140"/>
                    <a:pt x="136" y="140"/>
                    <a:pt x="134" y="140"/>
                  </a:cubicBezTo>
                  <a:cubicBezTo>
                    <a:pt x="134" y="140"/>
                    <a:pt x="133" y="140"/>
                    <a:pt x="133" y="140"/>
                  </a:cubicBezTo>
                  <a:cubicBezTo>
                    <a:pt x="132" y="140"/>
                    <a:pt x="132" y="138"/>
                    <a:pt x="132" y="138"/>
                  </a:cubicBezTo>
                  <a:cubicBezTo>
                    <a:pt x="133" y="136"/>
                    <a:pt x="134" y="134"/>
                    <a:pt x="133" y="132"/>
                  </a:cubicBezTo>
                  <a:cubicBezTo>
                    <a:pt x="133" y="130"/>
                    <a:pt x="131" y="129"/>
                    <a:pt x="129" y="129"/>
                  </a:cubicBezTo>
                  <a:cubicBezTo>
                    <a:pt x="127" y="129"/>
                    <a:pt x="126" y="129"/>
                    <a:pt x="125" y="129"/>
                  </a:cubicBezTo>
                  <a:cubicBezTo>
                    <a:pt x="122" y="129"/>
                    <a:pt x="118" y="127"/>
                    <a:pt x="115" y="128"/>
                  </a:cubicBezTo>
                  <a:cubicBezTo>
                    <a:pt x="113" y="129"/>
                    <a:pt x="113" y="132"/>
                    <a:pt x="114" y="134"/>
                  </a:cubicBezTo>
                  <a:cubicBezTo>
                    <a:pt x="115" y="136"/>
                    <a:pt x="116" y="136"/>
                    <a:pt x="119" y="137"/>
                  </a:cubicBezTo>
                  <a:cubicBezTo>
                    <a:pt x="121" y="137"/>
                    <a:pt x="125" y="140"/>
                    <a:pt x="126" y="143"/>
                  </a:cubicBezTo>
                  <a:cubicBezTo>
                    <a:pt x="126" y="145"/>
                    <a:pt x="123" y="146"/>
                    <a:pt x="121" y="147"/>
                  </a:cubicBezTo>
                  <a:cubicBezTo>
                    <a:pt x="118" y="147"/>
                    <a:pt x="114" y="145"/>
                    <a:pt x="111" y="144"/>
                  </a:cubicBezTo>
                  <a:cubicBezTo>
                    <a:pt x="110" y="144"/>
                    <a:pt x="109" y="143"/>
                    <a:pt x="107" y="143"/>
                  </a:cubicBezTo>
                  <a:cubicBezTo>
                    <a:pt x="105" y="143"/>
                    <a:pt x="102" y="144"/>
                    <a:pt x="100" y="143"/>
                  </a:cubicBezTo>
                  <a:cubicBezTo>
                    <a:pt x="98" y="143"/>
                    <a:pt x="95" y="141"/>
                    <a:pt x="93" y="140"/>
                  </a:cubicBezTo>
                  <a:cubicBezTo>
                    <a:pt x="93" y="139"/>
                    <a:pt x="92" y="138"/>
                    <a:pt x="92" y="137"/>
                  </a:cubicBezTo>
                  <a:cubicBezTo>
                    <a:pt x="91" y="136"/>
                    <a:pt x="92" y="136"/>
                    <a:pt x="91" y="135"/>
                  </a:cubicBezTo>
                  <a:cubicBezTo>
                    <a:pt x="91" y="135"/>
                    <a:pt x="90" y="133"/>
                    <a:pt x="89" y="132"/>
                  </a:cubicBezTo>
                  <a:cubicBezTo>
                    <a:pt x="88" y="132"/>
                    <a:pt x="87" y="134"/>
                    <a:pt x="86" y="135"/>
                  </a:cubicBezTo>
                  <a:cubicBezTo>
                    <a:pt x="86" y="135"/>
                    <a:pt x="85" y="135"/>
                    <a:pt x="85" y="135"/>
                  </a:cubicBezTo>
                  <a:cubicBezTo>
                    <a:pt x="84" y="135"/>
                    <a:pt x="84" y="135"/>
                    <a:pt x="83" y="135"/>
                  </a:cubicBezTo>
                  <a:cubicBezTo>
                    <a:pt x="81" y="136"/>
                    <a:pt x="78" y="136"/>
                    <a:pt x="76" y="136"/>
                  </a:cubicBezTo>
                  <a:cubicBezTo>
                    <a:pt x="74" y="135"/>
                    <a:pt x="72" y="135"/>
                    <a:pt x="71" y="135"/>
                  </a:cubicBezTo>
                  <a:cubicBezTo>
                    <a:pt x="69" y="135"/>
                    <a:pt x="68" y="136"/>
                    <a:pt x="66" y="136"/>
                  </a:cubicBezTo>
                  <a:cubicBezTo>
                    <a:pt x="64" y="137"/>
                    <a:pt x="63" y="138"/>
                    <a:pt x="60" y="137"/>
                  </a:cubicBezTo>
                  <a:cubicBezTo>
                    <a:pt x="59" y="137"/>
                    <a:pt x="58" y="138"/>
                    <a:pt x="58" y="136"/>
                  </a:cubicBezTo>
                  <a:cubicBezTo>
                    <a:pt x="58" y="136"/>
                    <a:pt x="58" y="135"/>
                    <a:pt x="58" y="134"/>
                  </a:cubicBezTo>
                  <a:cubicBezTo>
                    <a:pt x="58" y="134"/>
                    <a:pt x="59" y="133"/>
                    <a:pt x="59" y="132"/>
                  </a:cubicBezTo>
                  <a:cubicBezTo>
                    <a:pt x="59" y="132"/>
                    <a:pt x="59" y="131"/>
                    <a:pt x="59" y="130"/>
                  </a:cubicBezTo>
                  <a:cubicBezTo>
                    <a:pt x="59" y="130"/>
                    <a:pt x="59" y="130"/>
                    <a:pt x="59" y="129"/>
                  </a:cubicBezTo>
                  <a:cubicBezTo>
                    <a:pt x="57" y="130"/>
                    <a:pt x="55" y="130"/>
                    <a:pt x="54" y="131"/>
                  </a:cubicBezTo>
                  <a:cubicBezTo>
                    <a:pt x="52" y="132"/>
                    <a:pt x="51" y="132"/>
                    <a:pt x="49" y="133"/>
                  </a:cubicBezTo>
                  <a:cubicBezTo>
                    <a:pt x="48" y="134"/>
                    <a:pt x="47" y="136"/>
                    <a:pt x="46" y="136"/>
                  </a:cubicBezTo>
                  <a:cubicBezTo>
                    <a:pt x="42" y="138"/>
                    <a:pt x="34" y="136"/>
                    <a:pt x="30" y="136"/>
                  </a:cubicBezTo>
                  <a:cubicBezTo>
                    <a:pt x="27" y="136"/>
                    <a:pt x="20" y="135"/>
                    <a:pt x="17" y="137"/>
                  </a:cubicBezTo>
                  <a:cubicBezTo>
                    <a:pt x="15" y="138"/>
                    <a:pt x="16" y="139"/>
                    <a:pt x="16" y="140"/>
                  </a:cubicBezTo>
                  <a:cubicBezTo>
                    <a:pt x="15" y="142"/>
                    <a:pt x="15" y="145"/>
                    <a:pt x="14" y="147"/>
                  </a:cubicBezTo>
                  <a:cubicBezTo>
                    <a:pt x="11" y="150"/>
                    <a:pt x="8" y="150"/>
                    <a:pt x="5" y="151"/>
                  </a:cubicBezTo>
                  <a:cubicBezTo>
                    <a:pt x="2" y="152"/>
                    <a:pt x="0" y="155"/>
                    <a:pt x="1" y="158"/>
                  </a:cubicBezTo>
                  <a:cubicBezTo>
                    <a:pt x="4" y="164"/>
                    <a:pt x="6" y="158"/>
                    <a:pt x="8" y="156"/>
                  </a:cubicBezTo>
                  <a:cubicBezTo>
                    <a:pt x="9" y="155"/>
                    <a:pt x="11" y="154"/>
                    <a:pt x="12" y="154"/>
                  </a:cubicBezTo>
                  <a:cubicBezTo>
                    <a:pt x="14" y="153"/>
                    <a:pt x="19" y="150"/>
                    <a:pt x="21" y="150"/>
                  </a:cubicBezTo>
                  <a:cubicBezTo>
                    <a:pt x="21" y="151"/>
                    <a:pt x="23" y="152"/>
                    <a:pt x="25" y="153"/>
                  </a:cubicBezTo>
                  <a:cubicBezTo>
                    <a:pt x="26" y="153"/>
                    <a:pt x="29" y="153"/>
                    <a:pt x="30" y="154"/>
                  </a:cubicBezTo>
                  <a:cubicBezTo>
                    <a:pt x="32" y="156"/>
                    <a:pt x="28" y="161"/>
                    <a:pt x="29" y="163"/>
                  </a:cubicBezTo>
                  <a:cubicBezTo>
                    <a:pt x="32" y="165"/>
                    <a:pt x="39" y="157"/>
                    <a:pt x="38" y="166"/>
                  </a:cubicBezTo>
                  <a:cubicBezTo>
                    <a:pt x="37" y="169"/>
                    <a:pt x="37" y="167"/>
                    <a:pt x="34" y="168"/>
                  </a:cubicBezTo>
                  <a:cubicBezTo>
                    <a:pt x="33" y="169"/>
                    <a:pt x="32" y="169"/>
                    <a:pt x="32" y="170"/>
                  </a:cubicBezTo>
                  <a:cubicBezTo>
                    <a:pt x="31" y="171"/>
                    <a:pt x="30" y="171"/>
                    <a:pt x="29" y="171"/>
                  </a:cubicBezTo>
                  <a:cubicBezTo>
                    <a:pt x="27" y="172"/>
                    <a:pt x="27" y="170"/>
                    <a:pt x="26" y="173"/>
                  </a:cubicBezTo>
                  <a:cubicBezTo>
                    <a:pt x="26" y="175"/>
                    <a:pt x="26" y="180"/>
                    <a:pt x="27" y="182"/>
                  </a:cubicBezTo>
                  <a:cubicBezTo>
                    <a:pt x="27" y="187"/>
                    <a:pt x="29" y="194"/>
                    <a:pt x="26" y="198"/>
                  </a:cubicBezTo>
                  <a:cubicBezTo>
                    <a:pt x="25" y="201"/>
                    <a:pt x="25" y="201"/>
                    <a:pt x="24" y="204"/>
                  </a:cubicBezTo>
                  <a:cubicBezTo>
                    <a:pt x="24" y="205"/>
                    <a:pt x="25" y="207"/>
                    <a:pt x="24" y="208"/>
                  </a:cubicBezTo>
                  <a:cubicBezTo>
                    <a:pt x="26" y="209"/>
                    <a:pt x="29" y="209"/>
                    <a:pt x="31" y="209"/>
                  </a:cubicBezTo>
                  <a:cubicBezTo>
                    <a:pt x="34" y="210"/>
                    <a:pt x="35" y="211"/>
                    <a:pt x="38" y="211"/>
                  </a:cubicBezTo>
                  <a:cubicBezTo>
                    <a:pt x="41" y="211"/>
                    <a:pt x="46" y="212"/>
                    <a:pt x="48" y="211"/>
                  </a:cubicBezTo>
                  <a:cubicBezTo>
                    <a:pt x="51" y="210"/>
                    <a:pt x="51" y="209"/>
                    <a:pt x="53" y="208"/>
                  </a:cubicBezTo>
                  <a:cubicBezTo>
                    <a:pt x="55" y="208"/>
                    <a:pt x="58" y="208"/>
                    <a:pt x="60" y="208"/>
                  </a:cubicBezTo>
                  <a:cubicBezTo>
                    <a:pt x="64" y="208"/>
                    <a:pt x="68" y="208"/>
                    <a:pt x="73" y="208"/>
                  </a:cubicBezTo>
                  <a:cubicBezTo>
                    <a:pt x="74" y="213"/>
                    <a:pt x="61" y="217"/>
                    <a:pt x="58" y="220"/>
                  </a:cubicBezTo>
                  <a:cubicBezTo>
                    <a:pt x="55" y="222"/>
                    <a:pt x="52" y="226"/>
                    <a:pt x="54" y="229"/>
                  </a:cubicBezTo>
                  <a:cubicBezTo>
                    <a:pt x="55" y="232"/>
                    <a:pt x="60" y="233"/>
                    <a:pt x="61" y="235"/>
                  </a:cubicBezTo>
                  <a:cubicBezTo>
                    <a:pt x="62" y="237"/>
                    <a:pt x="63" y="239"/>
                    <a:pt x="63" y="241"/>
                  </a:cubicBezTo>
                  <a:cubicBezTo>
                    <a:pt x="65" y="244"/>
                    <a:pt x="63" y="248"/>
                    <a:pt x="64" y="252"/>
                  </a:cubicBezTo>
                  <a:cubicBezTo>
                    <a:pt x="65" y="253"/>
                    <a:pt x="66" y="256"/>
                    <a:pt x="66" y="256"/>
                  </a:cubicBezTo>
                  <a:cubicBezTo>
                    <a:pt x="68" y="257"/>
                    <a:pt x="69" y="256"/>
                    <a:pt x="70" y="257"/>
                  </a:cubicBezTo>
                  <a:cubicBezTo>
                    <a:pt x="71" y="258"/>
                    <a:pt x="72" y="259"/>
                    <a:pt x="72" y="261"/>
                  </a:cubicBezTo>
                  <a:cubicBezTo>
                    <a:pt x="72" y="265"/>
                    <a:pt x="70" y="264"/>
                    <a:pt x="67" y="265"/>
                  </a:cubicBezTo>
                  <a:cubicBezTo>
                    <a:pt x="66" y="266"/>
                    <a:pt x="65" y="268"/>
                    <a:pt x="64" y="269"/>
                  </a:cubicBezTo>
                  <a:cubicBezTo>
                    <a:pt x="62" y="270"/>
                    <a:pt x="60" y="270"/>
                    <a:pt x="59" y="273"/>
                  </a:cubicBezTo>
                  <a:cubicBezTo>
                    <a:pt x="58" y="277"/>
                    <a:pt x="64" y="286"/>
                    <a:pt x="66" y="288"/>
                  </a:cubicBezTo>
                  <a:cubicBezTo>
                    <a:pt x="68" y="290"/>
                    <a:pt x="69" y="290"/>
                    <a:pt x="70" y="291"/>
                  </a:cubicBezTo>
                  <a:cubicBezTo>
                    <a:pt x="70" y="292"/>
                    <a:pt x="72" y="296"/>
                    <a:pt x="72" y="297"/>
                  </a:cubicBezTo>
                  <a:cubicBezTo>
                    <a:pt x="72" y="303"/>
                    <a:pt x="60" y="299"/>
                    <a:pt x="57" y="299"/>
                  </a:cubicBezTo>
                  <a:cubicBezTo>
                    <a:pt x="52" y="299"/>
                    <a:pt x="50" y="298"/>
                    <a:pt x="49" y="293"/>
                  </a:cubicBezTo>
                  <a:cubicBezTo>
                    <a:pt x="48" y="291"/>
                    <a:pt x="49" y="289"/>
                    <a:pt x="49" y="287"/>
                  </a:cubicBezTo>
                  <a:cubicBezTo>
                    <a:pt x="48" y="285"/>
                    <a:pt x="47" y="284"/>
                    <a:pt x="46" y="283"/>
                  </a:cubicBezTo>
                  <a:cubicBezTo>
                    <a:pt x="45" y="280"/>
                    <a:pt x="46" y="275"/>
                    <a:pt x="41" y="277"/>
                  </a:cubicBezTo>
                  <a:cubicBezTo>
                    <a:pt x="35" y="280"/>
                    <a:pt x="37" y="289"/>
                    <a:pt x="39" y="293"/>
                  </a:cubicBezTo>
                  <a:cubicBezTo>
                    <a:pt x="40" y="295"/>
                    <a:pt x="41" y="297"/>
                    <a:pt x="40" y="299"/>
                  </a:cubicBezTo>
                  <a:cubicBezTo>
                    <a:pt x="40" y="302"/>
                    <a:pt x="36" y="301"/>
                    <a:pt x="35" y="302"/>
                  </a:cubicBezTo>
                  <a:cubicBezTo>
                    <a:pt x="34" y="305"/>
                    <a:pt x="37" y="310"/>
                    <a:pt x="40" y="310"/>
                  </a:cubicBezTo>
                  <a:cubicBezTo>
                    <a:pt x="40" y="314"/>
                    <a:pt x="48" y="315"/>
                    <a:pt x="51" y="315"/>
                  </a:cubicBezTo>
                  <a:cubicBezTo>
                    <a:pt x="54" y="315"/>
                    <a:pt x="56" y="315"/>
                    <a:pt x="58" y="316"/>
                  </a:cubicBezTo>
                  <a:cubicBezTo>
                    <a:pt x="60" y="317"/>
                    <a:pt x="60" y="320"/>
                    <a:pt x="62" y="320"/>
                  </a:cubicBezTo>
                  <a:cubicBezTo>
                    <a:pt x="67" y="322"/>
                    <a:pt x="71" y="321"/>
                    <a:pt x="75" y="326"/>
                  </a:cubicBezTo>
                  <a:cubicBezTo>
                    <a:pt x="78" y="329"/>
                    <a:pt x="81" y="332"/>
                    <a:pt x="82" y="336"/>
                  </a:cubicBezTo>
                  <a:cubicBezTo>
                    <a:pt x="85" y="336"/>
                    <a:pt x="85" y="337"/>
                    <a:pt x="86" y="340"/>
                  </a:cubicBezTo>
                  <a:cubicBezTo>
                    <a:pt x="87" y="343"/>
                    <a:pt x="90" y="347"/>
                    <a:pt x="89" y="350"/>
                  </a:cubicBezTo>
                  <a:cubicBezTo>
                    <a:pt x="86" y="357"/>
                    <a:pt x="73" y="350"/>
                    <a:pt x="70" y="348"/>
                  </a:cubicBezTo>
                  <a:cubicBezTo>
                    <a:pt x="67" y="346"/>
                    <a:pt x="68" y="344"/>
                    <a:pt x="63" y="344"/>
                  </a:cubicBezTo>
                  <a:cubicBezTo>
                    <a:pt x="62" y="344"/>
                    <a:pt x="59" y="344"/>
                    <a:pt x="57" y="344"/>
                  </a:cubicBezTo>
                  <a:cubicBezTo>
                    <a:pt x="57" y="345"/>
                    <a:pt x="56" y="346"/>
                    <a:pt x="55" y="347"/>
                  </a:cubicBezTo>
                  <a:cubicBezTo>
                    <a:pt x="55" y="347"/>
                    <a:pt x="53" y="348"/>
                    <a:pt x="52" y="348"/>
                  </a:cubicBezTo>
                  <a:cubicBezTo>
                    <a:pt x="51" y="349"/>
                    <a:pt x="47" y="351"/>
                    <a:pt x="48" y="353"/>
                  </a:cubicBezTo>
                  <a:cubicBezTo>
                    <a:pt x="50" y="356"/>
                    <a:pt x="52" y="354"/>
                    <a:pt x="54" y="355"/>
                  </a:cubicBezTo>
                  <a:cubicBezTo>
                    <a:pt x="56" y="355"/>
                    <a:pt x="57" y="358"/>
                    <a:pt x="59" y="359"/>
                  </a:cubicBezTo>
                  <a:cubicBezTo>
                    <a:pt x="61" y="360"/>
                    <a:pt x="62" y="361"/>
                    <a:pt x="65" y="361"/>
                  </a:cubicBezTo>
                  <a:cubicBezTo>
                    <a:pt x="68" y="362"/>
                    <a:pt x="69" y="362"/>
                    <a:pt x="71" y="364"/>
                  </a:cubicBezTo>
                  <a:cubicBezTo>
                    <a:pt x="73" y="365"/>
                    <a:pt x="74" y="366"/>
                    <a:pt x="75" y="367"/>
                  </a:cubicBezTo>
                  <a:cubicBezTo>
                    <a:pt x="77" y="368"/>
                    <a:pt x="78" y="370"/>
                    <a:pt x="79" y="371"/>
                  </a:cubicBezTo>
                  <a:cubicBezTo>
                    <a:pt x="80" y="371"/>
                    <a:pt x="81" y="371"/>
                    <a:pt x="82" y="371"/>
                  </a:cubicBezTo>
                  <a:cubicBezTo>
                    <a:pt x="83" y="371"/>
                    <a:pt x="84" y="374"/>
                    <a:pt x="84" y="375"/>
                  </a:cubicBezTo>
                  <a:cubicBezTo>
                    <a:pt x="86" y="380"/>
                    <a:pt x="82" y="386"/>
                    <a:pt x="89" y="387"/>
                  </a:cubicBezTo>
                  <a:cubicBezTo>
                    <a:pt x="94" y="388"/>
                    <a:pt x="96" y="382"/>
                    <a:pt x="101" y="384"/>
                  </a:cubicBezTo>
                  <a:cubicBezTo>
                    <a:pt x="104" y="385"/>
                    <a:pt x="108" y="392"/>
                    <a:pt x="108" y="396"/>
                  </a:cubicBezTo>
                  <a:cubicBezTo>
                    <a:pt x="107" y="400"/>
                    <a:pt x="102" y="405"/>
                    <a:pt x="98" y="402"/>
                  </a:cubicBezTo>
                  <a:cubicBezTo>
                    <a:pt x="98" y="402"/>
                    <a:pt x="98" y="401"/>
                    <a:pt x="98" y="400"/>
                  </a:cubicBezTo>
                  <a:cubicBezTo>
                    <a:pt x="97" y="399"/>
                    <a:pt x="95" y="401"/>
                    <a:pt x="94" y="400"/>
                  </a:cubicBezTo>
                  <a:cubicBezTo>
                    <a:pt x="93" y="400"/>
                    <a:pt x="93" y="399"/>
                    <a:pt x="93" y="398"/>
                  </a:cubicBezTo>
                  <a:cubicBezTo>
                    <a:pt x="91" y="397"/>
                    <a:pt x="90" y="397"/>
                    <a:pt x="88" y="398"/>
                  </a:cubicBezTo>
                  <a:cubicBezTo>
                    <a:pt x="85" y="399"/>
                    <a:pt x="86" y="401"/>
                    <a:pt x="85" y="403"/>
                  </a:cubicBezTo>
                  <a:cubicBezTo>
                    <a:pt x="84" y="406"/>
                    <a:pt x="82" y="404"/>
                    <a:pt x="85" y="407"/>
                  </a:cubicBezTo>
                  <a:cubicBezTo>
                    <a:pt x="88" y="410"/>
                    <a:pt x="92" y="412"/>
                    <a:pt x="96" y="412"/>
                  </a:cubicBezTo>
                  <a:cubicBezTo>
                    <a:pt x="105" y="412"/>
                    <a:pt x="114" y="411"/>
                    <a:pt x="123" y="412"/>
                  </a:cubicBezTo>
                  <a:cubicBezTo>
                    <a:pt x="125" y="412"/>
                    <a:pt x="128" y="412"/>
                    <a:pt x="130" y="413"/>
                  </a:cubicBezTo>
                  <a:cubicBezTo>
                    <a:pt x="133" y="413"/>
                    <a:pt x="137" y="412"/>
                    <a:pt x="140" y="413"/>
                  </a:cubicBezTo>
                  <a:cubicBezTo>
                    <a:pt x="142" y="414"/>
                    <a:pt x="144" y="416"/>
                    <a:pt x="146" y="416"/>
                  </a:cubicBezTo>
                  <a:cubicBezTo>
                    <a:pt x="147" y="417"/>
                    <a:pt x="149" y="416"/>
                    <a:pt x="150" y="416"/>
                  </a:cubicBezTo>
                  <a:cubicBezTo>
                    <a:pt x="149" y="422"/>
                    <a:pt x="139" y="415"/>
                    <a:pt x="139" y="423"/>
                  </a:cubicBezTo>
                  <a:cubicBezTo>
                    <a:pt x="138" y="423"/>
                    <a:pt x="138" y="424"/>
                    <a:pt x="137" y="424"/>
                  </a:cubicBezTo>
                  <a:cubicBezTo>
                    <a:pt x="135" y="425"/>
                    <a:pt x="134" y="425"/>
                    <a:pt x="132" y="425"/>
                  </a:cubicBezTo>
                  <a:cubicBezTo>
                    <a:pt x="129" y="426"/>
                    <a:pt x="126" y="425"/>
                    <a:pt x="124" y="425"/>
                  </a:cubicBezTo>
                  <a:cubicBezTo>
                    <a:pt x="121" y="426"/>
                    <a:pt x="121" y="428"/>
                    <a:pt x="118" y="429"/>
                  </a:cubicBezTo>
                  <a:cubicBezTo>
                    <a:pt x="112" y="432"/>
                    <a:pt x="106" y="425"/>
                    <a:pt x="101" y="427"/>
                  </a:cubicBezTo>
                  <a:cubicBezTo>
                    <a:pt x="98" y="428"/>
                    <a:pt x="96" y="431"/>
                    <a:pt x="96" y="433"/>
                  </a:cubicBezTo>
                  <a:cubicBezTo>
                    <a:pt x="97" y="439"/>
                    <a:pt x="102" y="438"/>
                    <a:pt x="106" y="438"/>
                  </a:cubicBezTo>
                  <a:cubicBezTo>
                    <a:pt x="113" y="438"/>
                    <a:pt x="119" y="440"/>
                    <a:pt x="125" y="439"/>
                  </a:cubicBezTo>
                  <a:cubicBezTo>
                    <a:pt x="127" y="438"/>
                    <a:pt x="134" y="436"/>
                    <a:pt x="134" y="440"/>
                  </a:cubicBezTo>
                  <a:cubicBezTo>
                    <a:pt x="133" y="442"/>
                    <a:pt x="130" y="442"/>
                    <a:pt x="128" y="444"/>
                  </a:cubicBezTo>
                  <a:cubicBezTo>
                    <a:pt x="130" y="448"/>
                    <a:pt x="143" y="452"/>
                    <a:pt x="147" y="448"/>
                  </a:cubicBezTo>
                  <a:cubicBezTo>
                    <a:pt x="150" y="444"/>
                    <a:pt x="144" y="435"/>
                    <a:pt x="149" y="433"/>
                  </a:cubicBezTo>
                  <a:cubicBezTo>
                    <a:pt x="150" y="432"/>
                    <a:pt x="156" y="433"/>
                    <a:pt x="157" y="434"/>
                  </a:cubicBezTo>
                  <a:cubicBezTo>
                    <a:pt x="159" y="434"/>
                    <a:pt x="160" y="436"/>
                    <a:pt x="162" y="436"/>
                  </a:cubicBezTo>
                  <a:cubicBezTo>
                    <a:pt x="164" y="436"/>
                    <a:pt x="165" y="435"/>
                    <a:pt x="166" y="436"/>
                  </a:cubicBezTo>
                  <a:cubicBezTo>
                    <a:pt x="170" y="438"/>
                    <a:pt x="169" y="443"/>
                    <a:pt x="174" y="443"/>
                  </a:cubicBezTo>
                  <a:cubicBezTo>
                    <a:pt x="176" y="443"/>
                    <a:pt x="180" y="441"/>
                    <a:pt x="181" y="439"/>
                  </a:cubicBezTo>
                  <a:cubicBezTo>
                    <a:pt x="183" y="439"/>
                    <a:pt x="186" y="441"/>
                    <a:pt x="187" y="443"/>
                  </a:cubicBezTo>
                  <a:cubicBezTo>
                    <a:pt x="190" y="445"/>
                    <a:pt x="189" y="446"/>
                    <a:pt x="190" y="449"/>
                  </a:cubicBezTo>
                  <a:cubicBezTo>
                    <a:pt x="191" y="456"/>
                    <a:pt x="195" y="458"/>
                    <a:pt x="200" y="462"/>
                  </a:cubicBezTo>
                  <a:cubicBezTo>
                    <a:pt x="202" y="463"/>
                    <a:pt x="204" y="464"/>
                    <a:pt x="206" y="466"/>
                  </a:cubicBezTo>
                  <a:cubicBezTo>
                    <a:pt x="207" y="467"/>
                    <a:pt x="207" y="468"/>
                    <a:pt x="208" y="470"/>
                  </a:cubicBezTo>
                  <a:cubicBezTo>
                    <a:pt x="211" y="475"/>
                    <a:pt x="213" y="481"/>
                    <a:pt x="217" y="486"/>
                  </a:cubicBezTo>
                  <a:cubicBezTo>
                    <a:pt x="221" y="492"/>
                    <a:pt x="225" y="494"/>
                    <a:pt x="232" y="495"/>
                  </a:cubicBezTo>
                  <a:cubicBezTo>
                    <a:pt x="236" y="495"/>
                    <a:pt x="240" y="495"/>
                    <a:pt x="243" y="495"/>
                  </a:cubicBezTo>
                  <a:cubicBezTo>
                    <a:pt x="248" y="494"/>
                    <a:pt x="250" y="491"/>
                    <a:pt x="254" y="489"/>
                  </a:cubicBezTo>
                  <a:cubicBezTo>
                    <a:pt x="257" y="487"/>
                    <a:pt x="259" y="485"/>
                    <a:pt x="262" y="483"/>
                  </a:cubicBezTo>
                  <a:cubicBezTo>
                    <a:pt x="265" y="481"/>
                    <a:pt x="269" y="479"/>
                    <a:pt x="272" y="477"/>
                  </a:cubicBezTo>
                  <a:cubicBezTo>
                    <a:pt x="274" y="476"/>
                    <a:pt x="272" y="474"/>
                    <a:pt x="275" y="475"/>
                  </a:cubicBezTo>
                  <a:cubicBezTo>
                    <a:pt x="277" y="475"/>
                    <a:pt x="279" y="480"/>
                    <a:pt x="282" y="477"/>
                  </a:cubicBezTo>
                  <a:cubicBezTo>
                    <a:pt x="286" y="475"/>
                    <a:pt x="283" y="463"/>
                    <a:pt x="283" y="459"/>
                  </a:cubicBezTo>
                  <a:cubicBezTo>
                    <a:pt x="284" y="452"/>
                    <a:pt x="288" y="444"/>
                    <a:pt x="291" y="438"/>
                  </a:cubicBezTo>
                  <a:cubicBezTo>
                    <a:pt x="293" y="433"/>
                    <a:pt x="295" y="431"/>
                    <a:pt x="300" y="433"/>
                  </a:cubicBezTo>
                  <a:cubicBezTo>
                    <a:pt x="304" y="435"/>
                    <a:pt x="307" y="435"/>
                    <a:pt x="311" y="435"/>
                  </a:cubicBezTo>
                  <a:cubicBezTo>
                    <a:pt x="309" y="435"/>
                    <a:pt x="307" y="434"/>
                    <a:pt x="307" y="432"/>
                  </a:cubicBezTo>
                  <a:cubicBezTo>
                    <a:pt x="312" y="431"/>
                    <a:pt x="313" y="433"/>
                    <a:pt x="316" y="436"/>
                  </a:cubicBezTo>
                  <a:cubicBezTo>
                    <a:pt x="319" y="438"/>
                    <a:pt x="323" y="439"/>
                    <a:pt x="327" y="440"/>
                  </a:cubicBezTo>
                  <a:cubicBezTo>
                    <a:pt x="333" y="441"/>
                    <a:pt x="339" y="444"/>
                    <a:pt x="345" y="445"/>
                  </a:cubicBezTo>
                  <a:cubicBezTo>
                    <a:pt x="349" y="447"/>
                    <a:pt x="351" y="449"/>
                    <a:pt x="355" y="451"/>
                  </a:cubicBezTo>
                  <a:cubicBezTo>
                    <a:pt x="359" y="453"/>
                    <a:pt x="362" y="454"/>
                    <a:pt x="365" y="457"/>
                  </a:cubicBezTo>
                  <a:cubicBezTo>
                    <a:pt x="368" y="459"/>
                    <a:pt x="368" y="461"/>
                    <a:pt x="369" y="464"/>
                  </a:cubicBezTo>
                  <a:cubicBezTo>
                    <a:pt x="369" y="464"/>
                    <a:pt x="371" y="466"/>
                    <a:pt x="371" y="467"/>
                  </a:cubicBezTo>
                  <a:cubicBezTo>
                    <a:pt x="371" y="467"/>
                    <a:pt x="371" y="468"/>
                    <a:pt x="371" y="468"/>
                  </a:cubicBezTo>
                  <a:cubicBezTo>
                    <a:pt x="371" y="470"/>
                    <a:pt x="372" y="470"/>
                    <a:pt x="373" y="471"/>
                  </a:cubicBezTo>
                  <a:cubicBezTo>
                    <a:pt x="372" y="470"/>
                    <a:pt x="375" y="474"/>
                    <a:pt x="374" y="473"/>
                  </a:cubicBezTo>
                  <a:cubicBezTo>
                    <a:pt x="375" y="475"/>
                    <a:pt x="377" y="474"/>
                    <a:pt x="378" y="476"/>
                  </a:cubicBezTo>
                  <a:cubicBezTo>
                    <a:pt x="378" y="476"/>
                    <a:pt x="378" y="477"/>
                    <a:pt x="379" y="478"/>
                  </a:cubicBezTo>
                  <a:cubicBezTo>
                    <a:pt x="379" y="479"/>
                    <a:pt x="380" y="480"/>
                    <a:pt x="381" y="481"/>
                  </a:cubicBezTo>
                  <a:cubicBezTo>
                    <a:pt x="383" y="483"/>
                    <a:pt x="384" y="484"/>
                    <a:pt x="385" y="486"/>
                  </a:cubicBezTo>
                  <a:cubicBezTo>
                    <a:pt x="387" y="487"/>
                    <a:pt x="390" y="489"/>
                    <a:pt x="392" y="491"/>
                  </a:cubicBezTo>
                  <a:cubicBezTo>
                    <a:pt x="394" y="493"/>
                    <a:pt x="394" y="496"/>
                    <a:pt x="398" y="497"/>
                  </a:cubicBezTo>
                  <a:cubicBezTo>
                    <a:pt x="403" y="499"/>
                    <a:pt x="408" y="501"/>
                    <a:pt x="413" y="502"/>
                  </a:cubicBezTo>
                  <a:cubicBezTo>
                    <a:pt x="417" y="504"/>
                    <a:pt x="419" y="504"/>
                    <a:pt x="424" y="503"/>
                  </a:cubicBezTo>
                  <a:cubicBezTo>
                    <a:pt x="429" y="502"/>
                    <a:pt x="433" y="500"/>
                    <a:pt x="438" y="500"/>
                  </a:cubicBezTo>
                  <a:cubicBezTo>
                    <a:pt x="447" y="500"/>
                    <a:pt x="456" y="500"/>
                    <a:pt x="465" y="500"/>
                  </a:cubicBezTo>
                  <a:cubicBezTo>
                    <a:pt x="472" y="500"/>
                    <a:pt x="479" y="501"/>
                    <a:pt x="486" y="500"/>
                  </a:cubicBezTo>
                  <a:cubicBezTo>
                    <a:pt x="490" y="500"/>
                    <a:pt x="490" y="498"/>
                    <a:pt x="491" y="495"/>
                  </a:cubicBezTo>
                  <a:cubicBezTo>
                    <a:pt x="492" y="493"/>
                    <a:pt x="491" y="493"/>
                    <a:pt x="492" y="491"/>
                  </a:cubicBezTo>
                  <a:cubicBezTo>
                    <a:pt x="492" y="490"/>
                    <a:pt x="495" y="489"/>
                    <a:pt x="496" y="488"/>
                  </a:cubicBezTo>
                  <a:cubicBezTo>
                    <a:pt x="498" y="485"/>
                    <a:pt x="500" y="483"/>
                    <a:pt x="501" y="480"/>
                  </a:cubicBezTo>
                  <a:cubicBezTo>
                    <a:pt x="503" y="478"/>
                    <a:pt x="502" y="479"/>
                    <a:pt x="504" y="477"/>
                  </a:cubicBezTo>
                  <a:cubicBezTo>
                    <a:pt x="505" y="476"/>
                    <a:pt x="507" y="474"/>
                    <a:pt x="508" y="473"/>
                  </a:cubicBezTo>
                  <a:cubicBezTo>
                    <a:pt x="512" y="470"/>
                    <a:pt x="519" y="473"/>
                    <a:pt x="520" y="465"/>
                  </a:cubicBezTo>
                  <a:cubicBezTo>
                    <a:pt x="520" y="463"/>
                    <a:pt x="519" y="459"/>
                    <a:pt x="521" y="457"/>
                  </a:cubicBezTo>
                  <a:cubicBezTo>
                    <a:pt x="522" y="455"/>
                    <a:pt x="523" y="455"/>
                    <a:pt x="525" y="454"/>
                  </a:cubicBezTo>
                  <a:cubicBezTo>
                    <a:pt x="527" y="453"/>
                    <a:pt x="526" y="452"/>
                    <a:pt x="528" y="451"/>
                  </a:cubicBezTo>
                  <a:cubicBezTo>
                    <a:pt x="531" y="450"/>
                    <a:pt x="535" y="452"/>
                    <a:pt x="537" y="454"/>
                  </a:cubicBezTo>
                  <a:cubicBezTo>
                    <a:pt x="539" y="455"/>
                    <a:pt x="540" y="456"/>
                    <a:pt x="542" y="456"/>
                  </a:cubicBezTo>
                  <a:cubicBezTo>
                    <a:pt x="544" y="457"/>
                    <a:pt x="546" y="456"/>
                    <a:pt x="547" y="456"/>
                  </a:cubicBezTo>
                  <a:cubicBezTo>
                    <a:pt x="550" y="457"/>
                    <a:pt x="551" y="459"/>
                    <a:pt x="554" y="461"/>
                  </a:cubicBezTo>
                  <a:cubicBezTo>
                    <a:pt x="558" y="464"/>
                    <a:pt x="561" y="464"/>
                    <a:pt x="565" y="466"/>
                  </a:cubicBezTo>
                  <a:cubicBezTo>
                    <a:pt x="565" y="466"/>
                    <a:pt x="568" y="467"/>
                    <a:pt x="568" y="467"/>
                  </a:cubicBezTo>
                  <a:cubicBezTo>
                    <a:pt x="570" y="468"/>
                    <a:pt x="571" y="468"/>
                    <a:pt x="573" y="469"/>
                  </a:cubicBezTo>
                  <a:cubicBezTo>
                    <a:pt x="574" y="469"/>
                    <a:pt x="575" y="470"/>
                    <a:pt x="576" y="470"/>
                  </a:cubicBezTo>
                  <a:cubicBezTo>
                    <a:pt x="579" y="471"/>
                    <a:pt x="582" y="470"/>
                    <a:pt x="585" y="470"/>
                  </a:cubicBezTo>
                  <a:cubicBezTo>
                    <a:pt x="588" y="470"/>
                    <a:pt x="589" y="470"/>
                    <a:pt x="591" y="468"/>
                  </a:cubicBezTo>
                  <a:cubicBezTo>
                    <a:pt x="592" y="467"/>
                    <a:pt x="591" y="465"/>
                    <a:pt x="592" y="464"/>
                  </a:cubicBezTo>
                  <a:cubicBezTo>
                    <a:pt x="593" y="462"/>
                    <a:pt x="594" y="463"/>
                    <a:pt x="595" y="462"/>
                  </a:cubicBezTo>
                  <a:cubicBezTo>
                    <a:pt x="598" y="462"/>
                    <a:pt x="600" y="461"/>
                    <a:pt x="602" y="459"/>
                  </a:cubicBezTo>
                  <a:cubicBezTo>
                    <a:pt x="605" y="458"/>
                    <a:pt x="607" y="457"/>
                    <a:pt x="610" y="456"/>
                  </a:cubicBezTo>
                  <a:cubicBezTo>
                    <a:pt x="614" y="455"/>
                    <a:pt x="621" y="451"/>
                    <a:pt x="624" y="457"/>
                  </a:cubicBezTo>
                  <a:cubicBezTo>
                    <a:pt x="625" y="460"/>
                    <a:pt x="623" y="462"/>
                    <a:pt x="621" y="464"/>
                  </a:cubicBezTo>
                  <a:cubicBezTo>
                    <a:pt x="619" y="467"/>
                    <a:pt x="619" y="470"/>
                    <a:pt x="616" y="472"/>
                  </a:cubicBezTo>
                  <a:cubicBezTo>
                    <a:pt x="612" y="474"/>
                    <a:pt x="608" y="475"/>
                    <a:pt x="605" y="477"/>
                  </a:cubicBezTo>
                  <a:cubicBezTo>
                    <a:pt x="601" y="479"/>
                    <a:pt x="601" y="480"/>
                    <a:pt x="601" y="484"/>
                  </a:cubicBezTo>
                  <a:cubicBezTo>
                    <a:pt x="601" y="491"/>
                    <a:pt x="605" y="495"/>
                    <a:pt x="608" y="500"/>
                  </a:cubicBezTo>
                  <a:cubicBezTo>
                    <a:pt x="609" y="503"/>
                    <a:pt x="611" y="507"/>
                    <a:pt x="613" y="510"/>
                  </a:cubicBezTo>
                  <a:cubicBezTo>
                    <a:pt x="614" y="512"/>
                    <a:pt x="614" y="515"/>
                    <a:pt x="617" y="517"/>
                  </a:cubicBezTo>
                  <a:cubicBezTo>
                    <a:pt x="619" y="518"/>
                    <a:pt x="624" y="518"/>
                    <a:pt x="627" y="518"/>
                  </a:cubicBezTo>
                  <a:cubicBezTo>
                    <a:pt x="631" y="518"/>
                    <a:pt x="632" y="514"/>
                    <a:pt x="634" y="511"/>
                  </a:cubicBezTo>
                  <a:cubicBezTo>
                    <a:pt x="636" y="508"/>
                    <a:pt x="637" y="504"/>
                    <a:pt x="640" y="503"/>
                  </a:cubicBezTo>
                  <a:cubicBezTo>
                    <a:pt x="643" y="502"/>
                    <a:pt x="646" y="503"/>
                    <a:pt x="648" y="503"/>
                  </a:cubicBezTo>
                  <a:cubicBezTo>
                    <a:pt x="650" y="502"/>
                    <a:pt x="654" y="502"/>
                    <a:pt x="655" y="500"/>
                  </a:cubicBezTo>
                  <a:cubicBezTo>
                    <a:pt x="657" y="497"/>
                    <a:pt x="652" y="493"/>
                    <a:pt x="651" y="490"/>
                  </a:cubicBezTo>
                  <a:cubicBezTo>
                    <a:pt x="650" y="488"/>
                    <a:pt x="650" y="483"/>
                    <a:pt x="651" y="481"/>
                  </a:cubicBezTo>
                  <a:cubicBezTo>
                    <a:pt x="651" y="477"/>
                    <a:pt x="654" y="475"/>
                    <a:pt x="655" y="472"/>
                  </a:cubicBezTo>
                  <a:cubicBezTo>
                    <a:pt x="657" y="469"/>
                    <a:pt x="657" y="466"/>
                    <a:pt x="661" y="464"/>
                  </a:cubicBezTo>
                  <a:cubicBezTo>
                    <a:pt x="663" y="463"/>
                    <a:pt x="666" y="462"/>
                    <a:pt x="669" y="462"/>
                  </a:cubicBezTo>
                  <a:cubicBezTo>
                    <a:pt x="672" y="462"/>
                    <a:pt x="675" y="462"/>
                    <a:pt x="678" y="462"/>
                  </a:cubicBezTo>
                  <a:cubicBezTo>
                    <a:pt x="679" y="463"/>
                    <a:pt x="680" y="464"/>
                    <a:pt x="682" y="464"/>
                  </a:cubicBezTo>
                  <a:cubicBezTo>
                    <a:pt x="683" y="465"/>
                    <a:pt x="685" y="464"/>
                    <a:pt x="686" y="464"/>
                  </a:cubicBezTo>
                  <a:cubicBezTo>
                    <a:pt x="689" y="465"/>
                    <a:pt x="691" y="465"/>
                    <a:pt x="694" y="466"/>
                  </a:cubicBezTo>
                  <a:cubicBezTo>
                    <a:pt x="696" y="466"/>
                    <a:pt x="698" y="467"/>
                    <a:pt x="701" y="467"/>
                  </a:cubicBezTo>
                  <a:cubicBezTo>
                    <a:pt x="703" y="467"/>
                    <a:pt x="706" y="467"/>
                    <a:pt x="708" y="467"/>
                  </a:cubicBezTo>
                  <a:cubicBezTo>
                    <a:pt x="714" y="467"/>
                    <a:pt x="719" y="465"/>
                    <a:pt x="724" y="464"/>
                  </a:cubicBezTo>
                  <a:cubicBezTo>
                    <a:pt x="730" y="464"/>
                    <a:pt x="735" y="460"/>
                    <a:pt x="741" y="459"/>
                  </a:cubicBezTo>
                  <a:cubicBezTo>
                    <a:pt x="744" y="457"/>
                    <a:pt x="749" y="457"/>
                    <a:pt x="752" y="456"/>
                  </a:cubicBezTo>
                  <a:cubicBezTo>
                    <a:pt x="756" y="455"/>
                    <a:pt x="759" y="453"/>
                    <a:pt x="764" y="454"/>
                  </a:cubicBezTo>
                  <a:cubicBezTo>
                    <a:pt x="767" y="454"/>
                    <a:pt x="771" y="457"/>
                    <a:pt x="774" y="459"/>
                  </a:cubicBezTo>
                  <a:cubicBezTo>
                    <a:pt x="780" y="462"/>
                    <a:pt x="786" y="466"/>
                    <a:pt x="793" y="467"/>
                  </a:cubicBezTo>
                  <a:cubicBezTo>
                    <a:pt x="799" y="468"/>
                    <a:pt x="806" y="468"/>
                    <a:pt x="813" y="468"/>
                  </a:cubicBezTo>
                  <a:cubicBezTo>
                    <a:pt x="824" y="468"/>
                    <a:pt x="834" y="467"/>
                    <a:pt x="845" y="467"/>
                  </a:cubicBezTo>
                  <a:cubicBezTo>
                    <a:pt x="850" y="467"/>
                    <a:pt x="852" y="466"/>
                    <a:pt x="857" y="465"/>
                  </a:cubicBezTo>
                  <a:cubicBezTo>
                    <a:pt x="859" y="464"/>
                    <a:pt x="861" y="463"/>
                    <a:pt x="863" y="462"/>
                  </a:cubicBezTo>
                  <a:cubicBezTo>
                    <a:pt x="865" y="462"/>
                    <a:pt x="866" y="462"/>
                    <a:pt x="868" y="462"/>
                  </a:cubicBezTo>
                  <a:cubicBezTo>
                    <a:pt x="869" y="462"/>
                    <a:pt x="871" y="461"/>
                    <a:pt x="872" y="460"/>
                  </a:cubicBezTo>
                  <a:cubicBezTo>
                    <a:pt x="873" y="459"/>
                    <a:pt x="874" y="459"/>
                    <a:pt x="875" y="459"/>
                  </a:cubicBezTo>
                  <a:cubicBezTo>
                    <a:pt x="878" y="458"/>
                    <a:pt x="880" y="456"/>
                    <a:pt x="882" y="455"/>
                  </a:cubicBezTo>
                  <a:cubicBezTo>
                    <a:pt x="886" y="452"/>
                    <a:pt x="888" y="449"/>
                    <a:pt x="893" y="449"/>
                  </a:cubicBezTo>
                  <a:cubicBezTo>
                    <a:pt x="901" y="449"/>
                    <a:pt x="909" y="449"/>
                    <a:pt x="917" y="448"/>
                  </a:cubicBezTo>
                  <a:cubicBezTo>
                    <a:pt x="925" y="448"/>
                    <a:pt x="937" y="447"/>
                    <a:pt x="945" y="448"/>
                  </a:cubicBezTo>
                  <a:cubicBezTo>
                    <a:pt x="947" y="449"/>
                    <a:pt x="948" y="450"/>
                    <a:pt x="950" y="451"/>
                  </a:cubicBezTo>
                  <a:cubicBezTo>
                    <a:pt x="952" y="452"/>
                    <a:pt x="954" y="451"/>
                    <a:pt x="957" y="451"/>
                  </a:cubicBezTo>
                  <a:cubicBezTo>
                    <a:pt x="959" y="451"/>
                    <a:pt x="961" y="451"/>
                    <a:pt x="962" y="451"/>
                  </a:cubicBezTo>
                  <a:cubicBezTo>
                    <a:pt x="963" y="449"/>
                    <a:pt x="964" y="449"/>
                    <a:pt x="965" y="449"/>
                  </a:cubicBezTo>
                  <a:cubicBezTo>
                    <a:pt x="964" y="450"/>
                    <a:pt x="963" y="450"/>
                    <a:pt x="962" y="451"/>
                  </a:cubicBezTo>
                  <a:cubicBezTo>
                    <a:pt x="962" y="452"/>
                    <a:pt x="962" y="455"/>
                    <a:pt x="963" y="456"/>
                  </a:cubicBezTo>
                  <a:cubicBezTo>
                    <a:pt x="970" y="455"/>
                    <a:pt x="976" y="450"/>
                    <a:pt x="983" y="447"/>
                  </a:cubicBezTo>
                  <a:cubicBezTo>
                    <a:pt x="985" y="446"/>
                    <a:pt x="988" y="445"/>
                    <a:pt x="990" y="444"/>
                  </a:cubicBezTo>
                  <a:cubicBezTo>
                    <a:pt x="992" y="443"/>
                    <a:pt x="994" y="441"/>
                    <a:pt x="996" y="441"/>
                  </a:cubicBezTo>
                  <a:cubicBezTo>
                    <a:pt x="1001" y="440"/>
                    <a:pt x="999" y="442"/>
                    <a:pt x="1001" y="445"/>
                  </a:cubicBezTo>
                  <a:cubicBezTo>
                    <a:pt x="1003" y="448"/>
                    <a:pt x="1008" y="448"/>
                    <a:pt x="1011" y="449"/>
                  </a:cubicBezTo>
                  <a:cubicBezTo>
                    <a:pt x="1013" y="449"/>
                    <a:pt x="1016" y="450"/>
                    <a:pt x="1018" y="449"/>
                  </a:cubicBezTo>
                  <a:cubicBezTo>
                    <a:pt x="1021" y="448"/>
                    <a:pt x="1026" y="444"/>
                    <a:pt x="1026" y="441"/>
                  </a:cubicBezTo>
                  <a:cubicBezTo>
                    <a:pt x="1029" y="441"/>
                    <a:pt x="1032" y="439"/>
                    <a:pt x="1035" y="437"/>
                  </a:cubicBezTo>
                  <a:cubicBezTo>
                    <a:pt x="1038" y="436"/>
                    <a:pt x="1039" y="435"/>
                    <a:pt x="1043" y="435"/>
                  </a:cubicBezTo>
                  <a:cubicBezTo>
                    <a:pt x="1050" y="435"/>
                    <a:pt x="1057" y="435"/>
                    <a:pt x="1064" y="435"/>
                  </a:cubicBezTo>
                  <a:cubicBezTo>
                    <a:pt x="1068" y="435"/>
                    <a:pt x="1074" y="435"/>
                    <a:pt x="1079" y="436"/>
                  </a:cubicBezTo>
                  <a:cubicBezTo>
                    <a:pt x="1081" y="436"/>
                    <a:pt x="1082" y="438"/>
                    <a:pt x="1084" y="439"/>
                  </a:cubicBezTo>
                  <a:cubicBezTo>
                    <a:pt x="1087" y="441"/>
                    <a:pt x="1089" y="441"/>
                    <a:pt x="1092" y="441"/>
                  </a:cubicBezTo>
                  <a:cubicBezTo>
                    <a:pt x="1098" y="440"/>
                    <a:pt x="1103" y="441"/>
                    <a:pt x="1109" y="441"/>
                  </a:cubicBezTo>
                  <a:cubicBezTo>
                    <a:pt x="1113" y="441"/>
                    <a:pt x="1118" y="440"/>
                    <a:pt x="1122" y="441"/>
                  </a:cubicBezTo>
                  <a:cubicBezTo>
                    <a:pt x="1128" y="442"/>
                    <a:pt x="1130" y="447"/>
                    <a:pt x="1132" y="452"/>
                  </a:cubicBezTo>
                  <a:cubicBezTo>
                    <a:pt x="1135" y="457"/>
                    <a:pt x="1137" y="469"/>
                    <a:pt x="1144" y="468"/>
                  </a:cubicBezTo>
                  <a:cubicBezTo>
                    <a:pt x="1149" y="467"/>
                    <a:pt x="1151" y="462"/>
                    <a:pt x="1154" y="459"/>
                  </a:cubicBezTo>
                  <a:cubicBezTo>
                    <a:pt x="1157" y="457"/>
                    <a:pt x="1159" y="455"/>
                    <a:pt x="1162" y="453"/>
                  </a:cubicBezTo>
                  <a:cubicBezTo>
                    <a:pt x="1167" y="451"/>
                    <a:pt x="1171" y="453"/>
                    <a:pt x="1170" y="445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0" name="Freeform 60"/>
            <p:cNvSpPr>
              <a:spLocks/>
            </p:cNvSpPr>
            <p:nvPr/>
          </p:nvSpPr>
          <p:spPr bwMode="auto">
            <a:xfrm>
              <a:off x="4605338" y="623888"/>
              <a:ext cx="1301750" cy="3043238"/>
            </a:xfrm>
            <a:custGeom>
              <a:avLst/>
              <a:gdLst/>
              <a:ahLst/>
              <a:cxnLst>
                <a:cxn ang="0">
                  <a:pos x="16" y="1348"/>
                </a:cxn>
                <a:cxn ang="0">
                  <a:pos x="39" y="1406"/>
                </a:cxn>
                <a:cxn ang="0">
                  <a:pos x="65" y="1460"/>
                </a:cxn>
                <a:cxn ang="0">
                  <a:pos x="92" y="1509"/>
                </a:cxn>
                <a:cxn ang="0">
                  <a:pos x="77" y="1543"/>
                </a:cxn>
                <a:cxn ang="0">
                  <a:pos x="98" y="1574"/>
                </a:cxn>
                <a:cxn ang="0">
                  <a:pos x="94" y="1619"/>
                </a:cxn>
                <a:cxn ang="0">
                  <a:pos x="174" y="1598"/>
                </a:cxn>
                <a:cxn ang="0">
                  <a:pos x="197" y="1550"/>
                </a:cxn>
                <a:cxn ang="0">
                  <a:pos x="256" y="1552"/>
                </a:cxn>
                <a:cxn ang="0">
                  <a:pos x="290" y="1530"/>
                </a:cxn>
                <a:cxn ang="0">
                  <a:pos x="323" y="1440"/>
                </a:cxn>
                <a:cxn ang="0">
                  <a:pos x="291" y="1465"/>
                </a:cxn>
                <a:cxn ang="0">
                  <a:pos x="306" y="1384"/>
                </a:cxn>
                <a:cxn ang="0">
                  <a:pos x="313" y="1309"/>
                </a:cxn>
                <a:cxn ang="0">
                  <a:pos x="368" y="1274"/>
                </a:cxn>
                <a:cxn ang="0">
                  <a:pos x="405" y="1223"/>
                </a:cxn>
                <a:cxn ang="0">
                  <a:pos x="423" y="1177"/>
                </a:cxn>
                <a:cxn ang="0">
                  <a:pos x="411" y="1135"/>
                </a:cxn>
                <a:cxn ang="0">
                  <a:pos x="374" y="1103"/>
                </a:cxn>
                <a:cxn ang="0">
                  <a:pos x="335" y="1060"/>
                </a:cxn>
                <a:cxn ang="0">
                  <a:pos x="330" y="993"/>
                </a:cxn>
                <a:cxn ang="0">
                  <a:pos x="343" y="889"/>
                </a:cxn>
                <a:cxn ang="0">
                  <a:pos x="385" y="832"/>
                </a:cxn>
                <a:cxn ang="0">
                  <a:pos x="390" y="802"/>
                </a:cxn>
                <a:cxn ang="0">
                  <a:pos x="466" y="744"/>
                </a:cxn>
                <a:cxn ang="0">
                  <a:pos x="529" y="678"/>
                </a:cxn>
                <a:cxn ang="0">
                  <a:pos x="535" y="588"/>
                </a:cxn>
                <a:cxn ang="0">
                  <a:pos x="570" y="518"/>
                </a:cxn>
                <a:cxn ang="0">
                  <a:pos x="603" y="480"/>
                </a:cxn>
                <a:cxn ang="0">
                  <a:pos x="665" y="465"/>
                </a:cxn>
                <a:cxn ang="0">
                  <a:pos x="684" y="410"/>
                </a:cxn>
                <a:cxn ang="0">
                  <a:pos x="669" y="276"/>
                </a:cxn>
                <a:cxn ang="0">
                  <a:pos x="664" y="221"/>
                </a:cxn>
                <a:cxn ang="0">
                  <a:pos x="642" y="140"/>
                </a:cxn>
                <a:cxn ang="0">
                  <a:pos x="591" y="84"/>
                </a:cxn>
                <a:cxn ang="0">
                  <a:pos x="525" y="28"/>
                </a:cxn>
                <a:cxn ang="0">
                  <a:pos x="485" y="12"/>
                </a:cxn>
                <a:cxn ang="0">
                  <a:pos x="478" y="95"/>
                </a:cxn>
                <a:cxn ang="0">
                  <a:pos x="379" y="78"/>
                </a:cxn>
                <a:cxn ang="0">
                  <a:pos x="349" y="151"/>
                </a:cxn>
                <a:cxn ang="0">
                  <a:pos x="288" y="188"/>
                </a:cxn>
                <a:cxn ang="0">
                  <a:pos x="267" y="249"/>
                </a:cxn>
                <a:cxn ang="0">
                  <a:pos x="250" y="327"/>
                </a:cxn>
                <a:cxn ang="0">
                  <a:pos x="178" y="415"/>
                </a:cxn>
                <a:cxn ang="0">
                  <a:pos x="174" y="490"/>
                </a:cxn>
                <a:cxn ang="0">
                  <a:pos x="151" y="582"/>
                </a:cxn>
                <a:cxn ang="0">
                  <a:pos x="155" y="665"/>
                </a:cxn>
                <a:cxn ang="0">
                  <a:pos x="76" y="696"/>
                </a:cxn>
                <a:cxn ang="0">
                  <a:pos x="46" y="775"/>
                </a:cxn>
                <a:cxn ang="0">
                  <a:pos x="45" y="822"/>
                </a:cxn>
                <a:cxn ang="0">
                  <a:pos x="54" y="944"/>
                </a:cxn>
                <a:cxn ang="0">
                  <a:pos x="90" y="1011"/>
                </a:cxn>
                <a:cxn ang="0">
                  <a:pos x="61" y="1039"/>
                </a:cxn>
                <a:cxn ang="0">
                  <a:pos x="70" y="1128"/>
                </a:cxn>
                <a:cxn ang="0">
                  <a:pos x="36" y="1187"/>
                </a:cxn>
                <a:cxn ang="0">
                  <a:pos x="16" y="1270"/>
                </a:cxn>
              </a:cxnLst>
              <a:rect l="0" t="0" r="r" b="b"/>
              <a:pathLst>
                <a:path w="696" h="1628">
                  <a:moveTo>
                    <a:pt x="2" y="1255"/>
                  </a:moveTo>
                  <a:cubicBezTo>
                    <a:pt x="1" y="1264"/>
                    <a:pt x="0" y="1275"/>
                    <a:pt x="2" y="1284"/>
                  </a:cubicBezTo>
                  <a:cubicBezTo>
                    <a:pt x="3" y="1292"/>
                    <a:pt x="5" y="1298"/>
                    <a:pt x="4" y="1306"/>
                  </a:cubicBezTo>
                  <a:cubicBezTo>
                    <a:pt x="4" y="1308"/>
                    <a:pt x="4" y="1310"/>
                    <a:pt x="5" y="1312"/>
                  </a:cubicBezTo>
                  <a:cubicBezTo>
                    <a:pt x="6" y="1314"/>
                    <a:pt x="8" y="1315"/>
                    <a:pt x="9" y="1317"/>
                  </a:cubicBezTo>
                  <a:cubicBezTo>
                    <a:pt x="10" y="1319"/>
                    <a:pt x="9" y="1321"/>
                    <a:pt x="8" y="1324"/>
                  </a:cubicBezTo>
                  <a:cubicBezTo>
                    <a:pt x="8" y="1327"/>
                    <a:pt x="8" y="1330"/>
                    <a:pt x="8" y="1333"/>
                  </a:cubicBezTo>
                  <a:cubicBezTo>
                    <a:pt x="9" y="1339"/>
                    <a:pt x="14" y="1342"/>
                    <a:pt x="16" y="1348"/>
                  </a:cubicBezTo>
                  <a:cubicBezTo>
                    <a:pt x="18" y="1350"/>
                    <a:pt x="19" y="1357"/>
                    <a:pt x="20" y="1359"/>
                  </a:cubicBezTo>
                  <a:cubicBezTo>
                    <a:pt x="20" y="1357"/>
                    <a:pt x="20" y="1356"/>
                    <a:pt x="21" y="1354"/>
                  </a:cubicBezTo>
                  <a:cubicBezTo>
                    <a:pt x="23" y="1353"/>
                    <a:pt x="30" y="1355"/>
                    <a:pt x="32" y="1356"/>
                  </a:cubicBezTo>
                  <a:cubicBezTo>
                    <a:pt x="36" y="1358"/>
                    <a:pt x="33" y="1360"/>
                    <a:pt x="30" y="1361"/>
                  </a:cubicBezTo>
                  <a:cubicBezTo>
                    <a:pt x="28" y="1362"/>
                    <a:pt x="27" y="1362"/>
                    <a:pt x="27" y="1365"/>
                  </a:cubicBezTo>
                  <a:cubicBezTo>
                    <a:pt x="25" y="1372"/>
                    <a:pt x="27" y="1379"/>
                    <a:pt x="31" y="1384"/>
                  </a:cubicBezTo>
                  <a:cubicBezTo>
                    <a:pt x="34" y="1388"/>
                    <a:pt x="34" y="1394"/>
                    <a:pt x="35" y="1398"/>
                  </a:cubicBezTo>
                  <a:cubicBezTo>
                    <a:pt x="36" y="1401"/>
                    <a:pt x="37" y="1404"/>
                    <a:pt x="39" y="1406"/>
                  </a:cubicBezTo>
                  <a:cubicBezTo>
                    <a:pt x="40" y="1407"/>
                    <a:pt x="40" y="1407"/>
                    <a:pt x="41" y="1407"/>
                  </a:cubicBezTo>
                  <a:cubicBezTo>
                    <a:pt x="43" y="1408"/>
                    <a:pt x="44" y="1410"/>
                    <a:pt x="47" y="1410"/>
                  </a:cubicBezTo>
                  <a:cubicBezTo>
                    <a:pt x="48" y="1415"/>
                    <a:pt x="49" y="1420"/>
                    <a:pt x="49" y="1425"/>
                  </a:cubicBezTo>
                  <a:cubicBezTo>
                    <a:pt x="51" y="1426"/>
                    <a:pt x="54" y="1426"/>
                    <a:pt x="55" y="1427"/>
                  </a:cubicBezTo>
                  <a:cubicBezTo>
                    <a:pt x="57" y="1429"/>
                    <a:pt x="56" y="1432"/>
                    <a:pt x="57" y="1434"/>
                  </a:cubicBezTo>
                  <a:cubicBezTo>
                    <a:pt x="57" y="1438"/>
                    <a:pt x="59" y="1441"/>
                    <a:pt x="60" y="1445"/>
                  </a:cubicBezTo>
                  <a:cubicBezTo>
                    <a:pt x="61" y="1448"/>
                    <a:pt x="60" y="1452"/>
                    <a:pt x="62" y="1455"/>
                  </a:cubicBezTo>
                  <a:cubicBezTo>
                    <a:pt x="63" y="1457"/>
                    <a:pt x="64" y="1459"/>
                    <a:pt x="65" y="1460"/>
                  </a:cubicBezTo>
                  <a:cubicBezTo>
                    <a:pt x="67" y="1462"/>
                    <a:pt x="67" y="1464"/>
                    <a:pt x="68" y="1466"/>
                  </a:cubicBezTo>
                  <a:cubicBezTo>
                    <a:pt x="70" y="1470"/>
                    <a:pt x="73" y="1474"/>
                    <a:pt x="75" y="1479"/>
                  </a:cubicBezTo>
                  <a:cubicBezTo>
                    <a:pt x="75" y="1474"/>
                    <a:pt x="79" y="1474"/>
                    <a:pt x="81" y="1478"/>
                  </a:cubicBezTo>
                  <a:cubicBezTo>
                    <a:pt x="82" y="1479"/>
                    <a:pt x="82" y="1483"/>
                    <a:pt x="83" y="1484"/>
                  </a:cubicBezTo>
                  <a:cubicBezTo>
                    <a:pt x="83" y="1487"/>
                    <a:pt x="83" y="1490"/>
                    <a:pt x="85" y="1493"/>
                  </a:cubicBezTo>
                  <a:cubicBezTo>
                    <a:pt x="86" y="1495"/>
                    <a:pt x="88" y="1497"/>
                    <a:pt x="89" y="1498"/>
                  </a:cubicBezTo>
                  <a:cubicBezTo>
                    <a:pt x="91" y="1501"/>
                    <a:pt x="89" y="1500"/>
                    <a:pt x="91" y="1500"/>
                  </a:cubicBezTo>
                  <a:cubicBezTo>
                    <a:pt x="91" y="1503"/>
                    <a:pt x="90" y="1507"/>
                    <a:pt x="92" y="1509"/>
                  </a:cubicBezTo>
                  <a:cubicBezTo>
                    <a:pt x="93" y="1510"/>
                    <a:pt x="101" y="1514"/>
                    <a:pt x="97" y="1517"/>
                  </a:cubicBezTo>
                  <a:cubicBezTo>
                    <a:pt x="93" y="1512"/>
                    <a:pt x="87" y="1515"/>
                    <a:pt x="85" y="1521"/>
                  </a:cubicBezTo>
                  <a:cubicBezTo>
                    <a:pt x="84" y="1523"/>
                    <a:pt x="84" y="1525"/>
                    <a:pt x="85" y="1527"/>
                  </a:cubicBezTo>
                  <a:cubicBezTo>
                    <a:pt x="86" y="1531"/>
                    <a:pt x="95" y="1535"/>
                    <a:pt x="92" y="1540"/>
                  </a:cubicBezTo>
                  <a:cubicBezTo>
                    <a:pt x="90" y="1540"/>
                    <a:pt x="87" y="1541"/>
                    <a:pt x="85" y="1540"/>
                  </a:cubicBezTo>
                  <a:cubicBezTo>
                    <a:pt x="82" y="1539"/>
                    <a:pt x="83" y="1537"/>
                    <a:pt x="82" y="1534"/>
                  </a:cubicBezTo>
                  <a:cubicBezTo>
                    <a:pt x="81" y="1533"/>
                    <a:pt x="76" y="1535"/>
                    <a:pt x="75" y="1537"/>
                  </a:cubicBezTo>
                  <a:cubicBezTo>
                    <a:pt x="74" y="1539"/>
                    <a:pt x="76" y="1541"/>
                    <a:pt x="77" y="1543"/>
                  </a:cubicBezTo>
                  <a:cubicBezTo>
                    <a:pt x="78" y="1545"/>
                    <a:pt x="79" y="1547"/>
                    <a:pt x="81" y="1549"/>
                  </a:cubicBezTo>
                  <a:cubicBezTo>
                    <a:pt x="82" y="1550"/>
                    <a:pt x="83" y="1551"/>
                    <a:pt x="83" y="1551"/>
                  </a:cubicBezTo>
                  <a:cubicBezTo>
                    <a:pt x="84" y="1553"/>
                    <a:pt x="85" y="1554"/>
                    <a:pt x="86" y="1555"/>
                  </a:cubicBezTo>
                  <a:cubicBezTo>
                    <a:pt x="88" y="1556"/>
                    <a:pt x="92" y="1554"/>
                    <a:pt x="91" y="1558"/>
                  </a:cubicBezTo>
                  <a:cubicBezTo>
                    <a:pt x="90" y="1560"/>
                    <a:pt x="88" y="1559"/>
                    <a:pt x="88" y="1562"/>
                  </a:cubicBezTo>
                  <a:cubicBezTo>
                    <a:pt x="87" y="1563"/>
                    <a:pt x="88" y="1566"/>
                    <a:pt x="89" y="1568"/>
                  </a:cubicBezTo>
                  <a:cubicBezTo>
                    <a:pt x="90" y="1570"/>
                    <a:pt x="88" y="1569"/>
                    <a:pt x="91" y="1571"/>
                  </a:cubicBezTo>
                  <a:cubicBezTo>
                    <a:pt x="93" y="1572"/>
                    <a:pt x="96" y="1573"/>
                    <a:pt x="98" y="1574"/>
                  </a:cubicBezTo>
                  <a:cubicBezTo>
                    <a:pt x="104" y="1578"/>
                    <a:pt x="99" y="1583"/>
                    <a:pt x="98" y="1589"/>
                  </a:cubicBezTo>
                  <a:cubicBezTo>
                    <a:pt x="98" y="1591"/>
                    <a:pt x="98" y="1594"/>
                    <a:pt x="99" y="1596"/>
                  </a:cubicBezTo>
                  <a:cubicBezTo>
                    <a:pt x="100" y="1598"/>
                    <a:pt x="101" y="1598"/>
                    <a:pt x="102" y="1601"/>
                  </a:cubicBezTo>
                  <a:cubicBezTo>
                    <a:pt x="103" y="1606"/>
                    <a:pt x="98" y="1606"/>
                    <a:pt x="94" y="1606"/>
                  </a:cubicBezTo>
                  <a:cubicBezTo>
                    <a:pt x="91" y="1606"/>
                    <a:pt x="89" y="1605"/>
                    <a:pt x="88" y="1609"/>
                  </a:cubicBezTo>
                  <a:cubicBezTo>
                    <a:pt x="87" y="1611"/>
                    <a:pt x="87" y="1615"/>
                    <a:pt x="89" y="1617"/>
                  </a:cubicBezTo>
                  <a:cubicBezTo>
                    <a:pt x="90" y="1617"/>
                    <a:pt x="91" y="1617"/>
                    <a:pt x="92" y="1617"/>
                  </a:cubicBezTo>
                  <a:cubicBezTo>
                    <a:pt x="93" y="1617"/>
                    <a:pt x="93" y="1618"/>
                    <a:pt x="94" y="1619"/>
                  </a:cubicBezTo>
                  <a:cubicBezTo>
                    <a:pt x="95" y="1620"/>
                    <a:pt x="99" y="1620"/>
                    <a:pt x="100" y="1621"/>
                  </a:cubicBezTo>
                  <a:cubicBezTo>
                    <a:pt x="107" y="1623"/>
                    <a:pt x="114" y="1624"/>
                    <a:pt x="121" y="1626"/>
                  </a:cubicBezTo>
                  <a:cubicBezTo>
                    <a:pt x="123" y="1627"/>
                    <a:pt x="125" y="1628"/>
                    <a:pt x="127" y="1627"/>
                  </a:cubicBezTo>
                  <a:cubicBezTo>
                    <a:pt x="131" y="1626"/>
                    <a:pt x="133" y="1624"/>
                    <a:pt x="138" y="1624"/>
                  </a:cubicBezTo>
                  <a:cubicBezTo>
                    <a:pt x="143" y="1624"/>
                    <a:pt x="148" y="1625"/>
                    <a:pt x="153" y="1624"/>
                  </a:cubicBezTo>
                  <a:cubicBezTo>
                    <a:pt x="157" y="1624"/>
                    <a:pt x="160" y="1622"/>
                    <a:pt x="163" y="1619"/>
                  </a:cubicBezTo>
                  <a:cubicBezTo>
                    <a:pt x="167" y="1616"/>
                    <a:pt x="172" y="1611"/>
                    <a:pt x="173" y="1606"/>
                  </a:cubicBezTo>
                  <a:cubicBezTo>
                    <a:pt x="174" y="1605"/>
                    <a:pt x="174" y="1599"/>
                    <a:pt x="174" y="1598"/>
                  </a:cubicBezTo>
                  <a:cubicBezTo>
                    <a:pt x="173" y="1595"/>
                    <a:pt x="172" y="1595"/>
                    <a:pt x="170" y="1594"/>
                  </a:cubicBezTo>
                  <a:cubicBezTo>
                    <a:pt x="166" y="1592"/>
                    <a:pt x="162" y="1591"/>
                    <a:pt x="164" y="1585"/>
                  </a:cubicBezTo>
                  <a:cubicBezTo>
                    <a:pt x="165" y="1581"/>
                    <a:pt x="168" y="1577"/>
                    <a:pt x="171" y="1575"/>
                  </a:cubicBezTo>
                  <a:cubicBezTo>
                    <a:pt x="174" y="1572"/>
                    <a:pt x="179" y="1572"/>
                    <a:pt x="180" y="1568"/>
                  </a:cubicBezTo>
                  <a:cubicBezTo>
                    <a:pt x="181" y="1566"/>
                    <a:pt x="180" y="1564"/>
                    <a:pt x="180" y="1562"/>
                  </a:cubicBezTo>
                  <a:cubicBezTo>
                    <a:pt x="180" y="1560"/>
                    <a:pt x="183" y="1553"/>
                    <a:pt x="185" y="1553"/>
                  </a:cubicBezTo>
                  <a:cubicBezTo>
                    <a:pt x="185" y="1556"/>
                    <a:pt x="196" y="1562"/>
                    <a:pt x="198" y="1559"/>
                  </a:cubicBezTo>
                  <a:cubicBezTo>
                    <a:pt x="200" y="1556"/>
                    <a:pt x="195" y="1553"/>
                    <a:pt x="197" y="1550"/>
                  </a:cubicBezTo>
                  <a:cubicBezTo>
                    <a:pt x="199" y="1547"/>
                    <a:pt x="203" y="1547"/>
                    <a:pt x="206" y="1546"/>
                  </a:cubicBezTo>
                  <a:cubicBezTo>
                    <a:pt x="206" y="1545"/>
                    <a:pt x="206" y="1545"/>
                    <a:pt x="207" y="1545"/>
                  </a:cubicBezTo>
                  <a:cubicBezTo>
                    <a:pt x="208" y="1545"/>
                    <a:pt x="209" y="1545"/>
                    <a:pt x="209" y="1545"/>
                  </a:cubicBezTo>
                  <a:cubicBezTo>
                    <a:pt x="212" y="1545"/>
                    <a:pt x="213" y="1545"/>
                    <a:pt x="216" y="1544"/>
                  </a:cubicBezTo>
                  <a:cubicBezTo>
                    <a:pt x="220" y="1543"/>
                    <a:pt x="224" y="1543"/>
                    <a:pt x="228" y="1542"/>
                  </a:cubicBezTo>
                  <a:cubicBezTo>
                    <a:pt x="233" y="1540"/>
                    <a:pt x="236" y="1539"/>
                    <a:pt x="240" y="1544"/>
                  </a:cubicBezTo>
                  <a:cubicBezTo>
                    <a:pt x="243" y="1549"/>
                    <a:pt x="243" y="1556"/>
                    <a:pt x="250" y="1554"/>
                  </a:cubicBezTo>
                  <a:cubicBezTo>
                    <a:pt x="252" y="1554"/>
                    <a:pt x="254" y="1553"/>
                    <a:pt x="256" y="1552"/>
                  </a:cubicBezTo>
                  <a:cubicBezTo>
                    <a:pt x="257" y="1552"/>
                    <a:pt x="259" y="1553"/>
                    <a:pt x="261" y="1552"/>
                  </a:cubicBezTo>
                  <a:cubicBezTo>
                    <a:pt x="261" y="1550"/>
                    <a:pt x="263" y="1548"/>
                    <a:pt x="264" y="1546"/>
                  </a:cubicBezTo>
                  <a:cubicBezTo>
                    <a:pt x="265" y="1545"/>
                    <a:pt x="267" y="1543"/>
                    <a:pt x="268" y="1540"/>
                  </a:cubicBezTo>
                  <a:cubicBezTo>
                    <a:pt x="270" y="1536"/>
                    <a:pt x="272" y="1533"/>
                    <a:pt x="274" y="1529"/>
                  </a:cubicBezTo>
                  <a:cubicBezTo>
                    <a:pt x="276" y="1524"/>
                    <a:pt x="277" y="1519"/>
                    <a:pt x="278" y="1515"/>
                  </a:cubicBezTo>
                  <a:cubicBezTo>
                    <a:pt x="279" y="1512"/>
                    <a:pt x="282" y="1502"/>
                    <a:pt x="286" y="1502"/>
                  </a:cubicBezTo>
                  <a:cubicBezTo>
                    <a:pt x="289" y="1503"/>
                    <a:pt x="289" y="1512"/>
                    <a:pt x="290" y="1515"/>
                  </a:cubicBezTo>
                  <a:cubicBezTo>
                    <a:pt x="291" y="1520"/>
                    <a:pt x="291" y="1524"/>
                    <a:pt x="290" y="1530"/>
                  </a:cubicBezTo>
                  <a:cubicBezTo>
                    <a:pt x="290" y="1533"/>
                    <a:pt x="288" y="1543"/>
                    <a:pt x="290" y="1545"/>
                  </a:cubicBezTo>
                  <a:cubicBezTo>
                    <a:pt x="292" y="1543"/>
                    <a:pt x="294" y="1541"/>
                    <a:pt x="295" y="1539"/>
                  </a:cubicBezTo>
                  <a:cubicBezTo>
                    <a:pt x="296" y="1536"/>
                    <a:pt x="296" y="1533"/>
                    <a:pt x="297" y="1530"/>
                  </a:cubicBezTo>
                  <a:cubicBezTo>
                    <a:pt x="298" y="1524"/>
                    <a:pt x="300" y="1520"/>
                    <a:pt x="301" y="1514"/>
                  </a:cubicBezTo>
                  <a:cubicBezTo>
                    <a:pt x="303" y="1507"/>
                    <a:pt x="306" y="1500"/>
                    <a:pt x="309" y="1493"/>
                  </a:cubicBezTo>
                  <a:cubicBezTo>
                    <a:pt x="313" y="1485"/>
                    <a:pt x="317" y="1476"/>
                    <a:pt x="320" y="1467"/>
                  </a:cubicBezTo>
                  <a:cubicBezTo>
                    <a:pt x="321" y="1462"/>
                    <a:pt x="322" y="1456"/>
                    <a:pt x="323" y="1451"/>
                  </a:cubicBezTo>
                  <a:cubicBezTo>
                    <a:pt x="323" y="1448"/>
                    <a:pt x="323" y="1444"/>
                    <a:pt x="323" y="1440"/>
                  </a:cubicBezTo>
                  <a:cubicBezTo>
                    <a:pt x="323" y="1438"/>
                    <a:pt x="324" y="1430"/>
                    <a:pt x="320" y="1433"/>
                  </a:cubicBezTo>
                  <a:cubicBezTo>
                    <a:pt x="318" y="1434"/>
                    <a:pt x="317" y="1439"/>
                    <a:pt x="316" y="1441"/>
                  </a:cubicBezTo>
                  <a:cubicBezTo>
                    <a:pt x="315" y="1444"/>
                    <a:pt x="314" y="1446"/>
                    <a:pt x="312" y="1449"/>
                  </a:cubicBezTo>
                  <a:cubicBezTo>
                    <a:pt x="310" y="1454"/>
                    <a:pt x="308" y="1458"/>
                    <a:pt x="306" y="1462"/>
                  </a:cubicBezTo>
                  <a:cubicBezTo>
                    <a:pt x="304" y="1465"/>
                    <a:pt x="303" y="1469"/>
                    <a:pt x="303" y="1473"/>
                  </a:cubicBezTo>
                  <a:cubicBezTo>
                    <a:pt x="302" y="1475"/>
                    <a:pt x="302" y="1480"/>
                    <a:pt x="300" y="1482"/>
                  </a:cubicBezTo>
                  <a:cubicBezTo>
                    <a:pt x="299" y="1483"/>
                    <a:pt x="294" y="1486"/>
                    <a:pt x="293" y="1485"/>
                  </a:cubicBezTo>
                  <a:cubicBezTo>
                    <a:pt x="289" y="1484"/>
                    <a:pt x="290" y="1469"/>
                    <a:pt x="291" y="1465"/>
                  </a:cubicBezTo>
                  <a:cubicBezTo>
                    <a:pt x="292" y="1460"/>
                    <a:pt x="293" y="1456"/>
                    <a:pt x="293" y="1451"/>
                  </a:cubicBezTo>
                  <a:cubicBezTo>
                    <a:pt x="292" y="1450"/>
                    <a:pt x="292" y="1449"/>
                    <a:pt x="292" y="1447"/>
                  </a:cubicBezTo>
                  <a:cubicBezTo>
                    <a:pt x="292" y="1444"/>
                    <a:pt x="293" y="1440"/>
                    <a:pt x="295" y="1437"/>
                  </a:cubicBezTo>
                  <a:cubicBezTo>
                    <a:pt x="297" y="1435"/>
                    <a:pt x="299" y="1436"/>
                    <a:pt x="300" y="1433"/>
                  </a:cubicBezTo>
                  <a:cubicBezTo>
                    <a:pt x="301" y="1430"/>
                    <a:pt x="301" y="1426"/>
                    <a:pt x="302" y="1423"/>
                  </a:cubicBezTo>
                  <a:cubicBezTo>
                    <a:pt x="302" y="1414"/>
                    <a:pt x="301" y="1406"/>
                    <a:pt x="302" y="1397"/>
                  </a:cubicBezTo>
                  <a:cubicBezTo>
                    <a:pt x="303" y="1394"/>
                    <a:pt x="303" y="1391"/>
                    <a:pt x="304" y="1388"/>
                  </a:cubicBezTo>
                  <a:cubicBezTo>
                    <a:pt x="304" y="1387"/>
                    <a:pt x="305" y="1386"/>
                    <a:pt x="306" y="1384"/>
                  </a:cubicBezTo>
                  <a:cubicBezTo>
                    <a:pt x="306" y="1382"/>
                    <a:pt x="306" y="1379"/>
                    <a:pt x="307" y="1376"/>
                  </a:cubicBezTo>
                  <a:cubicBezTo>
                    <a:pt x="308" y="1369"/>
                    <a:pt x="310" y="1363"/>
                    <a:pt x="309" y="1356"/>
                  </a:cubicBezTo>
                  <a:cubicBezTo>
                    <a:pt x="309" y="1353"/>
                    <a:pt x="308" y="1349"/>
                    <a:pt x="309" y="1345"/>
                  </a:cubicBezTo>
                  <a:cubicBezTo>
                    <a:pt x="310" y="1341"/>
                    <a:pt x="317" y="1337"/>
                    <a:pt x="312" y="1332"/>
                  </a:cubicBezTo>
                  <a:cubicBezTo>
                    <a:pt x="310" y="1329"/>
                    <a:pt x="308" y="1330"/>
                    <a:pt x="309" y="1326"/>
                  </a:cubicBezTo>
                  <a:cubicBezTo>
                    <a:pt x="309" y="1325"/>
                    <a:pt x="310" y="1322"/>
                    <a:pt x="311" y="1321"/>
                  </a:cubicBezTo>
                  <a:cubicBezTo>
                    <a:pt x="313" y="1318"/>
                    <a:pt x="318" y="1317"/>
                    <a:pt x="316" y="1313"/>
                  </a:cubicBezTo>
                  <a:cubicBezTo>
                    <a:pt x="315" y="1311"/>
                    <a:pt x="313" y="1310"/>
                    <a:pt x="313" y="1309"/>
                  </a:cubicBezTo>
                  <a:cubicBezTo>
                    <a:pt x="312" y="1307"/>
                    <a:pt x="314" y="1306"/>
                    <a:pt x="314" y="1304"/>
                  </a:cubicBezTo>
                  <a:cubicBezTo>
                    <a:pt x="316" y="1300"/>
                    <a:pt x="315" y="1298"/>
                    <a:pt x="319" y="1298"/>
                  </a:cubicBezTo>
                  <a:cubicBezTo>
                    <a:pt x="322" y="1297"/>
                    <a:pt x="323" y="1297"/>
                    <a:pt x="325" y="1296"/>
                  </a:cubicBezTo>
                  <a:cubicBezTo>
                    <a:pt x="328" y="1294"/>
                    <a:pt x="330" y="1290"/>
                    <a:pt x="333" y="1288"/>
                  </a:cubicBezTo>
                  <a:cubicBezTo>
                    <a:pt x="336" y="1285"/>
                    <a:pt x="342" y="1286"/>
                    <a:pt x="346" y="1283"/>
                  </a:cubicBezTo>
                  <a:cubicBezTo>
                    <a:pt x="351" y="1280"/>
                    <a:pt x="352" y="1271"/>
                    <a:pt x="357" y="1268"/>
                  </a:cubicBezTo>
                  <a:cubicBezTo>
                    <a:pt x="357" y="1271"/>
                    <a:pt x="357" y="1277"/>
                    <a:pt x="361" y="1278"/>
                  </a:cubicBezTo>
                  <a:cubicBezTo>
                    <a:pt x="363" y="1278"/>
                    <a:pt x="367" y="1275"/>
                    <a:pt x="368" y="1274"/>
                  </a:cubicBezTo>
                  <a:cubicBezTo>
                    <a:pt x="369" y="1271"/>
                    <a:pt x="367" y="1267"/>
                    <a:pt x="368" y="1264"/>
                  </a:cubicBezTo>
                  <a:cubicBezTo>
                    <a:pt x="376" y="1264"/>
                    <a:pt x="387" y="1267"/>
                    <a:pt x="393" y="1262"/>
                  </a:cubicBezTo>
                  <a:cubicBezTo>
                    <a:pt x="394" y="1262"/>
                    <a:pt x="394" y="1260"/>
                    <a:pt x="395" y="1260"/>
                  </a:cubicBezTo>
                  <a:cubicBezTo>
                    <a:pt x="397" y="1259"/>
                    <a:pt x="399" y="1258"/>
                    <a:pt x="401" y="1257"/>
                  </a:cubicBezTo>
                  <a:cubicBezTo>
                    <a:pt x="403" y="1256"/>
                    <a:pt x="409" y="1254"/>
                    <a:pt x="407" y="1250"/>
                  </a:cubicBezTo>
                  <a:cubicBezTo>
                    <a:pt x="403" y="1249"/>
                    <a:pt x="399" y="1250"/>
                    <a:pt x="395" y="1248"/>
                  </a:cubicBezTo>
                  <a:cubicBezTo>
                    <a:pt x="395" y="1240"/>
                    <a:pt x="386" y="1235"/>
                    <a:pt x="388" y="1226"/>
                  </a:cubicBezTo>
                  <a:cubicBezTo>
                    <a:pt x="392" y="1225"/>
                    <a:pt x="407" y="1233"/>
                    <a:pt x="405" y="1223"/>
                  </a:cubicBezTo>
                  <a:cubicBezTo>
                    <a:pt x="398" y="1220"/>
                    <a:pt x="389" y="1218"/>
                    <a:pt x="392" y="1208"/>
                  </a:cubicBezTo>
                  <a:cubicBezTo>
                    <a:pt x="393" y="1204"/>
                    <a:pt x="401" y="1205"/>
                    <a:pt x="405" y="1206"/>
                  </a:cubicBezTo>
                  <a:cubicBezTo>
                    <a:pt x="412" y="1207"/>
                    <a:pt x="408" y="1204"/>
                    <a:pt x="410" y="1199"/>
                  </a:cubicBezTo>
                  <a:cubicBezTo>
                    <a:pt x="411" y="1196"/>
                    <a:pt x="411" y="1196"/>
                    <a:pt x="414" y="1195"/>
                  </a:cubicBezTo>
                  <a:cubicBezTo>
                    <a:pt x="416" y="1194"/>
                    <a:pt x="420" y="1194"/>
                    <a:pt x="423" y="1192"/>
                  </a:cubicBezTo>
                  <a:cubicBezTo>
                    <a:pt x="425" y="1190"/>
                    <a:pt x="426" y="1190"/>
                    <a:pt x="424" y="1187"/>
                  </a:cubicBezTo>
                  <a:cubicBezTo>
                    <a:pt x="424" y="1186"/>
                    <a:pt x="422" y="1185"/>
                    <a:pt x="421" y="1185"/>
                  </a:cubicBezTo>
                  <a:cubicBezTo>
                    <a:pt x="421" y="1183"/>
                    <a:pt x="422" y="1178"/>
                    <a:pt x="423" y="1177"/>
                  </a:cubicBezTo>
                  <a:cubicBezTo>
                    <a:pt x="425" y="1176"/>
                    <a:pt x="428" y="1178"/>
                    <a:pt x="430" y="1176"/>
                  </a:cubicBezTo>
                  <a:cubicBezTo>
                    <a:pt x="434" y="1174"/>
                    <a:pt x="433" y="1169"/>
                    <a:pt x="432" y="1166"/>
                  </a:cubicBezTo>
                  <a:cubicBezTo>
                    <a:pt x="431" y="1163"/>
                    <a:pt x="430" y="1161"/>
                    <a:pt x="428" y="1159"/>
                  </a:cubicBezTo>
                  <a:cubicBezTo>
                    <a:pt x="427" y="1159"/>
                    <a:pt x="426" y="1158"/>
                    <a:pt x="426" y="1157"/>
                  </a:cubicBezTo>
                  <a:cubicBezTo>
                    <a:pt x="422" y="1155"/>
                    <a:pt x="419" y="1155"/>
                    <a:pt x="417" y="1151"/>
                  </a:cubicBezTo>
                  <a:cubicBezTo>
                    <a:pt x="416" y="1148"/>
                    <a:pt x="417" y="1145"/>
                    <a:pt x="416" y="1143"/>
                  </a:cubicBezTo>
                  <a:cubicBezTo>
                    <a:pt x="416" y="1142"/>
                    <a:pt x="414" y="1141"/>
                    <a:pt x="413" y="1140"/>
                  </a:cubicBezTo>
                  <a:cubicBezTo>
                    <a:pt x="412" y="1139"/>
                    <a:pt x="412" y="1137"/>
                    <a:pt x="411" y="1135"/>
                  </a:cubicBezTo>
                  <a:cubicBezTo>
                    <a:pt x="410" y="1134"/>
                    <a:pt x="408" y="1134"/>
                    <a:pt x="408" y="1133"/>
                  </a:cubicBezTo>
                  <a:cubicBezTo>
                    <a:pt x="407" y="1131"/>
                    <a:pt x="408" y="1127"/>
                    <a:pt x="407" y="1125"/>
                  </a:cubicBezTo>
                  <a:cubicBezTo>
                    <a:pt x="407" y="1122"/>
                    <a:pt x="406" y="1122"/>
                    <a:pt x="404" y="1120"/>
                  </a:cubicBezTo>
                  <a:cubicBezTo>
                    <a:pt x="403" y="1119"/>
                    <a:pt x="400" y="1118"/>
                    <a:pt x="399" y="1117"/>
                  </a:cubicBezTo>
                  <a:cubicBezTo>
                    <a:pt x="399" y="1116"/>
                    <a:pt x="399" y="1114"/>
                    <a:pt x="399" y="1113"/>
                  </a:cubicBezTo>
                  <a:cubicBezTo>
                    <a:pt x="398" y="1108"/>
                    <a:pt x="394" y="1099"/>
                    <a:pt x="389" y="1098"/>
                  </a:cubicBezTo>
                  <a:cubicBezTo>
                    <a:pt x="389" y="1102"/>
                    <a:pt x="390" y="1109"/>
                    <a:pt x="385" y="1110"/>
                  </a:cubicBezTo>
                  <a:cubicBezTo>
                    <a:pt x="381" y="1111"/>
                    <a:pt x="377" y="1106"/>
                    <a:pt x="374" y="1103"/>
                  </a:cubicBezTo>
                  <a:cubicBezTo>
                    <a:pt x="371" y="1099"/>
                    <a:pt x="368" y="1096"/>
                    <a:pt x="366" y="1091"/>
                  </a:cubicBezTo>
                  <a:cubicBezTo>
                    <a:pt x="365" y="1089"/>
                    <a:pt x="364" y="1087"/>
                    <a:pt x="361" y="1088"/>
                  </a:cubicBezTo>
                  <a:cubicBezTo>
                    <a:pt x="361" y="1089"/>
                    <a:pt x="361" y="1093"/>
                    <a:pt x="360" y="1094"/>
                  </a:cubicBezTo>
                  <a:cubicBezTo>
                    <a:pt x="357" y="1095"/>
                    <a:pt x="354" y="1089"/>
                    <a:pt x="353" y="1088"/>
                  </a:cubicBezTo>
                  <a:cubicBezTo>
                    <a:pt x="351" y="1084"/>
                    <a:pt x="353" y="1083"/>
                    <a:pt x="348" y="1083"/>
                  </a:cubicBezTo>
                  <a:cubicBezTo>
                    <a:pt x="344" y="1083"/>
                    <a:pt x="338" y="1081"/>
                    <a:pt x="336" y="1076"/>
                  </a:cubicBezTo>
                  <a:cubicBezTo>
                    <a:pt x="334" y="1070"/>
                    <a:pt x="341" y="1072"/>
                    <a:pt x="341" y="1068"/>
                  </a:cubicBezTo>
                  <a:cubicBezTo>
                    <a:pt x="341" y="1064"/>
                    <a:pt x="336" y="1063"/>
                    <a:pt x="335" y="1060"/>
                  </a:cubicBezTo>
                  <a:cubicBezTo>
                    <a:pt x="334" y="1057"/>
                    <a:pt x="334" y="1054"/>
                    <a:pt x="334" y="1051"/>
                  </a:cubicBezTo>
                  <a:cubicBezTo>
                    <a:pt x="334" y="1047"/>
                    <a:pt x="333" y="1044"/>
                    <a:pt x="332" y="1041"/>
                  </a:cubicBezTo>
                  <a:cubicBezTo>
                    <a:pt x="331" y="1040"/>
                    <a:pt x="331" y="1040"/>
                    <a:pt x="330" y="1039"/>
                  </a:cubicBezTo>
                  <a:cubicBezTo>
                    <a:pt x="330" y="1038"/>
                    <a:pt x="330" y="1037"/>
                    <a:pt x="330" y="1036"/>
                  </a:cubicBezTo>
                  <a:cubicBezTo>
                    <a:pt x="330" y="1034"/>
                    <a:pt x="330" y="1032"/>
                    <a:pt x="330" y="1029"/>
                  </a:cubicBezTo>
                  <a:cubicBezTo>
                    <a:pt x="330" y="1024"/>
                    <a:pt x="330" y="1018"/>
                    <a:pt x="330" y="1013"/>
                  </a:cubicBezTo>
                  <a:cubicBezTo>
                    <a:pt x="330" y="1009"/>
                    <a:pt x="330" y="1006"/>
                    <a:pt x="329" y="1003"/>
                  </a:cubicBezTo>
                  <a:cubicBezTo>
                    <a:pt x="329" y="1000"/>
                    <a:pt x="330" y="996"/>
                    <a:pt x="330" y="993"/>
                  </a:cubicBezTo>
                  <a:cubicBezTo>
                    <a:pt x="331" y="988"/>
                    <a:pt x="330" y="983"/>
                    <a:pt x="330" y="979"/>
                  </a:cubicBezTo>
                  <a:cubicBezTo>
                    <a:pt x="330" y="977"/>
                    <a:pt x="330" y="974"/>
                    <a:pt x="330" y="973"/>
                  </a:cubicBezTo>
                  <a:cubicBezTo>
                    <a:pt x="331" y="969"/>
                    <a:pt x="336" y="969"/>
                    <a:pt x="338" y="966"/>
                  </a:cubicBezTo>
                  <a:cubicBezTo>
                    <a:pt x="343" y="960"/>
                    <a:pt x="342" y="946"/>
                    <a:pt x="342" y="938"/>
                  </a:cubicBezTo>
                  <a:cubicBezTo>
                    <a:pt x="342" y="930"/>
                    <a:pt x="340" y="920"/>
                    <a:pt x="342" y="912"/>
                  </a:cubicBezTo>
                  <a:cubicBezTo>
                    <a:pt x="343" y="909"/>
                    <a:pt x="344" y="907"/>
                    <a:pt x="344" y="903"/>
                  </a:cubicBezTo>
                  <a:cubicBezTo>
                    <a:pt x="344" y="901"/>
                    <a:pt x="343" y="899"/>
                    <a:pt x="342" y="897"/>
                  </a:cubicBezTo>
                  <a:cubicBezTo>
                    <a:pt x="342" y="895"/>
                    <a:pt x="342" y="890"/>
                    <a:pt x="343" y="889"/>
                  </a:cubicBezTo>
                  <a:cubicBezTo>
                    <a:pt x="345" y="887"/>
                    <a:pt x="350" y="888"/>
                    <a:pt x="352" y="888"/>
                  </a:cubicBezTo>
                  <a:cubicBezTo>
                    <a:pt x="356" y="887"/>
                    <a:pt x="356" y="886"/>
                    <a:pt x="358" y="882"/>
                  </a:cubicBezTo>
                  <a:cubicBezTo>
                    <a:pt x="360" y="877"/>
                    <a:pt x="362" y="872"/>
                    <a:pt x="365" y="867"/>
                  </a:cubicBezTo>
                  <a:cubicBezTo>
                    <a:pt x="365" y="865"/>
                    <a:pt x="366" y="861"/>
                    <a:pt x="368" y="860"/>
                  </a:cubicBezTo>
                  <a:cubicBezTo>
                    <a:pt x="368" y="859"/>
                    <a:pt x="369" y="859"/>
                    <a:pt x="370" y="858"/>
                  </a:cubicBezTo>
                  <a:cubicBezTo>
                    <a:pt x="372" y="857"/>
                    <a:pt x="374" y="853"/>
                    <a:pt x="374" y="851"/>
                  </a:cubicBezTo>
                  <a:cubicBezTo>
                    <a:pt x="375" y="848"/>
                    <a:pt x="375" y="845"/>
                    <a:pt x="377" y="841"/>
                  </a:cubicBezTo>
                  <a:cubicBezTo>
                    <a:pt x="378" y="839"/>
                    <a:pt x="382" y="834"/>
                    <a:pt x="385" y="832"/>
                  </a:cubicBezTo>
                  <a:cubicBezTo>
                    <a:pt x="387" y="832"/>
                    <a:pt x="388" y="833"/>
                    <a:pt x="389" y="832"/>
                  </a:cubicBezTo>
                  <a:cubicBezTo>
                    <a:pt x="389" y="831"/>
                    <a:pt x="391" y="828"/>
                    <a:pt x="391" y="827"/>
                  </a:cubicBezTo>
                  <a:cubicBezTo>
                    <a:pt x="392" y="825"/>
                    <a:pt x="393" y="822"/>
                    <a:pt x="393" y="819"/>
                  </a:cubicBezTo>
                  <a:cubicBezTo>
                    <a:pt x="393" y="817"/>
                    <a:pt x="391" y="815"/>
                    <a:pt x="392" y="812"/>
                  </a:cubicBezTo>
                  <a:cubicBezTo>
                    <a:pt x="392" y="811"/>
                    <a:pt x="393" y="812"/>
                    <a:pt x="393" y="811"/>
                  </a:cubicBezTo>
                  <a:cubicBezTo>
                    <a:pt x="393" y="809"/>
                    <a:pt x="393" y="809"/>
                    <a:pt x="393" y="808"/>
                  </a:cubicBezTo>
                  <a:cubicBezTo>
                    <a:pt x="392" y="806"/>
                    <a:pt x="392" y="804"/>
                    <a:pt x="391" y="803"/>
                  </a:cubicBezTo>
                  <a:cubicBezTo>
                    <a:pt x="391" y="802"/>
                    <a:pt x="390" y="802"/>
                    <a:pt x="390" y="802"/>
                  </a:cubicBezTo>
                  <a:cubicBezTo>
                    <a:pt x="395" y="801"/>
                    <a:pt x="400" y="800"/>
                    <a:pt x="404" y="798"/>
                  </a:cubicBezTo>
                  <a:cubicBezTo>
                    <a:pt x="407" y="796"/>
                    <a:pt x="407" y="795"/>
                    <a:pt x="409" y="793"/>
                  </a:cubicBezTo>
                  <a:cubicBezTo>
                    <a:pt x="415" y="783"/>
                    <a:pt x="422" y="775"/>
                    <a:pt x="431" y="768"/>
                  </a:cubicBezTo>
                  <a:cubicBezTo>
                    <a:pt x="434" y="766"/>
                    <a:pt x="437" y="764"/>
                    <a:pt x="440" y="761"/>
                  </a:cubicBezTo>
                  <a:cubicBezTo>
                    <a:pt x="443" y="759"/>
                    <a:pt x="445" y="756"/>
                    <a:pt x="448" y="753"/>
                  </a:cubicBezTo>
                  <a:cubicBezTo>
                    <a:pt x="451" y="750"/>
                    <a:pt x="452" y="750"/>
                    <a:pt x="456" y="752"/>
                  </a:cubicBezTo>
                  <a:cubicBezTo>
                    <a:pt x="458" y="752"/>
                    <a:pt x="459" y="753"/>
                    <a:pt x="461" y="753"/>
                  </a:cubicBezTo>
                  <a:cubicBezTo>
                    <a:pt x="464" y="752"/>
                    <a:pt x="464" y="746"/>
                    <a:pt x="466" y="744"/>
                  </a:cubicBezTo>
                  <a:cubicBezTo>
                    <a:pt x="471" y="740"/>
                    <a:pt x="476" y="739"/>
                    <a:pt x="481" y="736"/>
                  </a:cubicBezTo>
                  <a:cubicBezTo>
                    <a:pt x="484" y="735"/>
                    <a:pt x="487" y="731"/>
                    <a:pt x="490" y="730"/>
                  </a:cubicBezTo>
                  <a:cubicBezTo>
                    <a:pt x="493" y="729"/>
                    <a:pt x="497" y="731"/>
                    <a:pt x="500" y="732"/>
                  </a:cubicBezTo>
                  <a:cubicBezTo>
                    <a:pt x="503" y="732"/>
                    <a:pt x="507" y="732"/>
                    <a:pt x="510" y="732"/>
                  </a:cubicBezTo>
                  <a:cubicBezTo>
                    <a:pt x="513" y="732"/>
                    <a:pt x="514" y="733"/>
                    <a:pt x="515" y="729"/>
                  </a:cubicBezTo>
                  <a:cubicBezTo>
                    <a:pt x="517" y="725"/>
                    <a:pt x="518" y="719"/>
                    <a:pt x="518" y="715"/>
                  </a:cubicBezTo>
                  <a:cubicBezTo>
                    <a:pt x="519" y="706"/>
                    <a:pt x="520" y="697"/>
                    <a:pt x="523" y="689"/>
                  </a:cubicBezTo>
                  <a:cubicBezTo>
                    <a:pt x="525" y="685"/>
                    <a:pt x="527" y="681"/>
                    <a:pt x="529" y="678"/>
                  </a:cubicBezTo>
                  <a:cubicBezTo>
                    <a:pt x="530" y="675"/>
                    <a:pt x="530" y="672"/>
                    <a:pt x="532" y="670"/>
                  </a:cubicBezTo>
                  <a:cubicBezTo>
                    <a:pt x="533" y="668"/>
                    <a:pt x="535" y="667"/>
                    <a:pt x="536" y="665"/>
                  </a:cubicBezTo>
                  <a:cubicBezTo>
                    <a:pt x="538" y="663"/>
                    <a:pt x="538" y="661"/>
                    <a:pt x="540" y="659"/>
                  </a:cubicBezTo>
                  <a:cubicBezTo>
                    <a:pt x="544" y="655"/>
                    <a:pt x="548" y="651"/>
                    <a:pt x="552" y="647"/>
                  </a:cubicBezTo>
                  <a:cubicBezTo>
                    <a:pt x="557" y="641"/>
                    <a:pt x="556" y="634"/>
                    <a:pt x="554" y="627"/>
                  </a:cubicBezTo>
                  <a:cubicBezTo>
                    <a:pt x="553" y="624"/>
                    <a:pt x="551" y="618"/>
                    <a:pt x="547" y="619"/>
                  </a:cubicBezTo>
                  <a:cubicBezTo>
                    <a:pt x="546" y="612"/>
                    <a:pt x="540" y="605"/>
                    <a:pt x="537" y="599"/>
                  </a:cubicBezTo>
                  <a:cubicBezTo>
                    <a:pt x="536" y="595"/>
                    <a:pt x="535" y="592"/>
                    <a:pt x="535" y="588"/>
                  </a:cubicBezTo>
                  <a:cubicBezTo>
                    <a:pt x="536" y="581"/>
                    <a:pt x="541" y="575"/>
                    <a:pt x="544" y="569"/>
                  </a:cubicBezTo>
                  <a:cubicBezTo>
                    <a:pt x="546" y="566"/>
                    <a:pt x="551" y="563"/>
                    <a:pt x="551" y="559"/>
                  </a:cubicBezTo>
                  <a:cubicBezTo>
                    <a:pt x="552" y="558"/>
                    <a:pt x="551" y="556"/>
                    <a:pt x="552" y="555"/>
                  </a:cubicBezTo>
                  <a:cubicBezTo>
                    <a:pt x="552" y="551"/>
                    <a:pt x="553" y="547"/>
                    <a:pt x="554" y="543"/>
                  </a:cubicBezTo>
                  <a:cubicBezTo>
                    <a:pt x="556" y="540"/>
                    <a:pt x="558" y="537"/>
                    <a:pt x="558" y="533"/>
                  </a:cubicBezTo>
                  <a:cubicBezTo>
                    <a:pt x="558" y="531"/>
                    <a:pt x="558" y="529"/>
                    <a:pt x="559" y="527"/>
                  </a:cubicBezTo>
                  <a:cubicBezTo>
                    <a:pt x="559" y="526"/>
                    <a:pt x="562" y="524"/>
                    <a:pt x="563" y="523"/>
                  </a:cubicBezTo>
                  <a:cubicBezTo>
                    <a:pt x="565" y="521"/>
                    <a:pt x="566" y="518"/>
                    <a:pt x="570" y="518"/>
                  </a:cubicBezTo>
                  <a:cubicBezTo>
                    <a:pt x="571" y="518"/>
                    <a:pt x="572" y="518"/>
                    <a:pt x="573" y="518"/>
                  </a:cubicBezTo>
                  <a:cubicBezTo>
                    <a:pt x="576" y="517"/>
                    <a:pt x="582" y="517"/>
                    <a:pt x="584" y="516"/>
                  </a:cubicBezTo>
                  <a:cubicBezTo>
                    <a:pt x="586" y="514"/>
                    <a:pt x="584" y="509"/>
                    <a:pt x="587" y="507"/>
                  </a:cubicBezTo>
                  <a:cubicBezTo>
                    <a:pt x="588" y="506"/>
                    <a:pt x="589" y="507"/>
                    <a:pt x="590" y="507"/>
                  </a:cubicBezTo>
                  <a:cubicBezTo>
                    <a:pt x="592" y="507"/>
                    <a:pt x="592" y="506"/>
                    <a:pt x="593" y="505"/>
                  </a:cubicBezTo>
                  <a:cubicBezTo>
                    <a:pt x="596" y="503"/>
                    <a:pt x="598" y="502"/>
                    <a:pt x="599" y="499"/>
                  </a:cubicBezTo>
                  <a:cubicBezTo>
                    <a:pt x="599" y="498"/>
                    <a:pt x="599" y="495"/>
                    <a:pt x="600" y="494"/>
                  </a:cubicBezTo>
                  <a:cubicBezTo>
                    <a:pt x="601" y="489"/>
                    <a:pt x="603" y="485"/>
                    <a:pt x="603" y="480"/>
                  </a:cubicBezTo>
                  <a:cubicBezTo>
                    <a:pt x="604" y="474"/>
                    <a:pt x="602" y="468"/>
                    <a:pt x="603" y="462"/>
                  </a:cubicBezTo>
                  <a:cubicBezTo>
                    <a:pt x="606" y="461"/>
                    <a:pt x="607" y="465"/>
                    <a:pt x="610" y="465"/>
                  </a:cubicBezTo>
                  <a:cubicBezTo>
                    <a:pt x="615" y="465"/>
                    <a:pt x="612" y="460"/>
                    <a:pt x="615" y="460"/>
                  </a:cubicBezTo>
                  <a:cubicBezTo>
                    <a:pt x="621" y="469"/>
                    <a:pt x="632" y="472"/>
                    <a:pt x="642" y="467"/>
                  </a:cubicBezTo>
                  <a:cubicBezTo>
                    <a:pt x="643" y="467"/>
                    <a:pt x="643" y="467"/>
                    <a:pt x="644" y="467"/>
                  </a:cubicBezTo>
                  <a:cubicBezTo>
                    <a:pt x="645" y="466"/>
                    <a:pt x="645" y="465"/>
                    <a:pt x="646" y="464"/>
                  </a:cubicBezTo>
                  <a:cubicBezTo>
                    <a:pt x="648" y="462"/>
                    <a:pt x="651" y="463"/>
                    <a:pt x="653" y="463"/>
                  </a:cubicBezTo>
                  <a:cubicBezTo>
                    <a:pt x="657" y="463"/>
                    <a:pt x="661" y="464"/>
                    <a:pt x="665" y="465"/>
                  </a:cubicBezTo>
                  <a:cubicBezTo>
                    <a:pt x="668" y="466"/>
                    <a:pt x="670" y="467"/>
                    <a:pt x="672" y="468"/>
                  </a:cubicBezTo>
                  <a:cubicBezTo>
                    <a:pt x="676" y="468"/>
                    <a:pt x="675" y="467"/>
                    <a:pt x="677" y="465"/>
                  </a:cubicBezTo>
                  <a:cubicBezTo>
                    <a:pt x="676" y="465"/>
                    <a:pt x="680" y="463"/>
                    <a:pt x="680" y="463"/>
                  </a:cubicBezTo>
                  <a:cubicBezTo>
                    <a:pt x="682" y="462"/>
                    <a:pt x="685" y="460"/>
                    <a:pt x="687" y="460"/>
                  </a:cubicBezTo>
                  <a:cubicBezTo>
                    <a:pt x="690" y="459"/>
                    <a:pt x="692" y="460"/>
                    <a:pt x="694" y="459"/>
                  </a:cubicBezTo>
                  <a:cubicBezTo>
                    <a:pt x="694" y="458"/>
                    <a:pt x="695" y="456"/>
                    <a:pt x="695" y="455"/>
                  </a:cubicBezTo>
                  <a:cubicBezTo>
                    <a:pt x="696" y="450"/>
                    <a:pt x="695" y="444"/>
                    <a:pt x="694" y="439"/>
                  </a:cubicBezTo>
                  <a:cubicBezTo>
                    <a:pt x="691" y="429"/>
                    <a:pt x="690" y="419"/>
                    <a:pt x="684" y="410"/>
                  </a:cubicBezTo>
                  <a:cubicBezTo>
                    <a:pt x="682" y="406"/>
                    <a:pt x="679" y="405"/>
                    <a:pt x="677" y="401"/>
                  </a:cubicBezTo>
                  <a:cubicBezTo>
                    <a:pt x="676" y="398"/>
                    <a:pt x="677" y="394"/>
                    <a:pt x="677" y="391"/>
                  </a:cubicBezTo>
                  <a:cubicBezTo>
                    <a:pt x="677" y="387"/>
                    <a:pt x="676" y="384"/>
                    <a:pt x="677" y="380"/>
                  </a:cubicBezTo>
                  <a:cubicBezTo>
                    <a:pt x="677" y="376"/>
                    <a:pt x="679" y="374"/>
                    <a:pt x="681" y="371"/>
                  </a:cubicBezTo>
                  <a:cubicBezTo>
                    <a:pt x="684" y="365"/>
                    <a:pt x="683" y="359"/>
                    <a:pt x="684" y="353"/>
                  </a:cubicBezTo>
                  <a:cubicBezTo>
                    <a:pt x="686" y="345"/>
                    <a:pt x="689" y="337"/>
                    <a:pt x="687" y="328"/>
                  </a:cubicBezTo>
                  <a:cubicBezTo>
                    <a:pt x="686" y="320"/>
                    <a:pt x="682" y="312"/>
                    <a:pt x="677" y="305"/>
                  </a:cubicBezTo>
                  <a:cubicBezTo>
                    <a:pt x="672" y="296"/>
                    <a:pt x="669" y="286"/>
                    <a:pt x="669" y="276"/>
                  </a:cubicBezTo>
                  <a:cubicBezTo>
                    <a:pt x="669" y="273"/>
                    <a:pt x="668" y="267"/>
                    <a:pt x="670" y="265"/>
                  </a:cubicBezTo>
                  <a:cubicBezTo>
                    <a:pt x="671" y="263"/>
                    <a:pt x="673" y="264"/>
                    <a:pt x="673" y="262"/>
                  </a:cubicBezTo>
                  <a:cubicBezTo>
                    <a:pt x="674" y="259"/>
                    <a:pt x="673" y="255"/>
                    <a:pt x="672" y="253"/>
                  </a:cubicBezTo>
                  <a:cubicBezTo>
                    <a:pt x="672" y="249"/>
                    <a:pt x="671" y="246"/>
                    <a:pt x="670" y="243"/>
                  </a:cubicBezTo>
                  <a:cubicBezTo>
                    <a:pt x="670" y="241"/>
                    <a:pt x="670" y="240"/>
                    <a:pt x="669" y="239"/>
                  </a:cubicBezTo>
                  <a:cubicBezTo>
                    <a:pt x="667" y="238"/>
                    <a:pt x="663" y="239"/>
                    <a:pt x="661" y="237"/>
                  </a:cubicBezTo>
                  <a:cubicBezTo>
                    <a:pt x="659" y="236"/>
                    <a:pt x="658" y="233"/>
                    <a:pt x="657" y="230"/>
                  </a:cubicBezTo>
                  <a:cubicBezTo>
                    <a:pt x="656" y="225"/>
                    <a:pt x="661" y="224"/>
                    <a:pt x="664" y="221"/>
                  </a:cubicBezTo>
                  <a:cubicBezTo>
                    <a:pt x="666" y="218"/>
                    <a:pt x="666" y="214"/>
                    <a:pt x="666" y="211"/>
                  </a:cubicBezTo>
                  <a:cubicBezTo>
                    <a:pt x="665" y="204"/>
                    <a:pt x="662" y="199"/>
                    <a:pt x="662" y="192"/>
                  </a:cubicBezTo>
                  <a:cubicBezTo>
                    <a:pt x="662" y="188"/>
                    <a:pt x="662" y="184"/>
                    <a:pt x="662" y="180"/>
                  </a:cubicBezTo>
                  <a:cubicBezTo>
                    <a:pt x="662" y="178"/>
                    <a:pt x="663" y="176"/>
                    <a:pt x="663" y="174"/>
                  </a:cubicBezTo>
                  <a:cubicBezTo>
                    <a:pt x="665" y="169"/>
                    <a:pt x="668" y="167"/>
                    <a:pt x="667" y="162"/>
                  </a:cubicBezTo>
                  <a:cubicBezTo>
                    <a:pt x="660" y="161"/>
                    <a:pt x="659" y="153"/>
                    <a:pt x="656" y="148"/>
                  </a:cubicBezTo>
                  <a:cubicBezTo>
                    <a:pt x="654" y="145"/>
                    <a:pt x="653" y="143"/>
                    <a:pt x="649" y="142"/>
                  </a:cubicBezTo>
                  <a:cubicBezTo>
                    <a:pt x="647" y="141"/>
                    <a:pt x="645" y="140"/>
                    <a:pt x="642" y="140"/>
                  </a:cubicBezTo>
                  <a:cubicBezTo>
                    <a:pt x="641" y="137"/>
                    <a:pt x="642" y="133"/>
                    <a:pt x="641" y="129"/>
                  </a:cubicBezTo>
                  <a:cubicBezTo>
                    <a:pt x="641" y="128"/>
                    <a:pt x="642" y="125"/>
                    <a:pt x="641" y="123"/>
                  </a:cubicBezTo>
                  <a:cubicBezTo>
                    <a:pt x="639" y="122"/>
                    <a:pt x="634" y="121"/>
                    <a:pt x="632" y="120"/>
                  </a:cubicBezTo>
                  <a:cubicBezTo>
                    <a:pt x="629" y="119"/>
                    <a:pt x="628" y="120"/>
                    <a:pt x="627" y="117"/>
                  </a:cubicBezTo>
                  <a:cubicBezTo>
                    <a:pt x="626" y="115"/>
                    <a:pt x="625" y="114"/>
                    <a:pt x="624" y="112"/>
                  </a:cubicBezTo>
                  <a:cubicBezTo>
                    <a:pt x="621" y="106"/>
                    <a:pt x="616" y="100"/>
                    <a:pt x="613" y="95"/>
                  </a:cubicBezTo>
                  <a:cubicBezTo>
                    <a:pt x="609" y="90"/>
                    <a:pt x="607" y="89"/>
                    <a:pt x="602" y="86"/>
                  </a:cubicBezTo>
                  <a:cubicBezTo>
                    <a:pt x="598" y="85"/>
                    <a:pt x="595" y="84"/>
                    <a:pt x="591" y="84"/>
                  </a:cubicBezTo>
                  <a:cubicBezTo>
                    <a:pt x="589" y="84"/>
                    <a:pt x="588" y="84"/>
                    <a:pt x="587" y="83"/>
                  </a:cubicBezTo>
                  <a:cubicBezTo>
                    <a:pt x="585" y="82"/>
                    <a:pt x="583" y="80"/>
                    <a:pt x="582" y="78"/>
                  </a:cubicBezTo>
                  <a:cubicBezTo>
                    <a:pt x="579" y="76"/>
                    <a:pt x="577" y="74"/>
                    <a:pt x="574" y="72"/>
                  </a:cubicBezTo>
                  <a:cubicBezTo>
                    <a:pt x="570" y="69"/>
                    <a:pt x="568" y="69"/>
                    <a:pt x="563" y="68"/>
                  </a:cubicBezTo>
                  <a:cubicBezTo>
                    <a:pt x="559" y="67"/>
                    <a:pt x="555" y="62"/>
                    <a:pt x="552" y="59"/>
                  </a:cubicBezTo>
                  <a:cubicBezTo>
                    <a:pt x="549" y="54"/>
                    <a:pt x="547" y="50"/>
                    <a:pt x="542" y="47"/>
                  </a:cubicBezTo>
                  <a:cubicBezTo>
                    <a:pt x="538" y="44"/>
                    <a:pt x="537" y="39"/>
                    <a:pt x="534" y="35"/>
                  </a:cubicBezTo>
                  <a:cubicBezTo>
                    <a:pt x="531" y="32"/>
                    <a:pt x="528" y="30"/>
                    <a:pt x="525" y="28"/>
                  </a:cubicBezTo>
                  <a:cubicBezTo>
                    <a:pt x="523" y="26"/>
                    <a:pt x="522" y="24"/>
                    <a:pt x="519" y="22"/>
                  </a:cubicBezTo>
                  <a:cubicBezTo>
                    <a:pt x="516" y="19"/>
                    <a:pt x="513" y="17"/>
                    <a:pt x="510" y="14"/>
                  </a:cubicBezTo>
                  <a:cubicBezTo>
                    <a:pt x="508" y="11"/>
                    <a:pt x="505" y="8"/>
                    <a:pt x="504" y="5"/>
                  </a:cubicBezTo>
                  <a:cubicBezTo>
                    <a:pt x="503" y="4"/>
                    <a:pt x="503" y="2"/>
                    <a:pt x="502" y="1"/>
                  </a:cubicBezTo>
                  <a:cubicBezTo>
                    <a:pt x="502" y="1"/>
                    <a:pt x="502" y="0"/>
                    <a:pt x="502" y="0"/>
                  </a:cubicBezTo>
                  <a:cubicBezTo>
                    <a:pt x="500" y="0"/>
                    <a:pt x="498" y="0"/>
                    <a:pt x="497" y="1"/>
                  </a:cubicBezTo>
                  <a:cubicBezTo>
                    <a:pt x="494" y="1"/>
                    <a:pt x="481" y="1"/>
                    <a:pt x="480" y="4"/>
                  </a:cubicBezTo>
                  <a:cubicBezTo>
                    <a:pt x="482" y="6"/>
                    <a:pt x="483" y="10"/>
                    <a:pt x="485" y="12"/>
                  </a:cubicBezTo>
                  <a:cubicBezTo>
                    <a:pt x="487" y="17"/>
                    <a:pt x="490" y="22"/>
                    <a:pt x="493" y="26"/>
                  </a:cubicBezTo>
                  <a:cubicBezTo>
                    <a:pt x="498" y="33"/>
                    <a:pt x="500" y="39"/>
                    <a:pt x="500" y="47"/>
                  </a:cubicBezTo>
                  <a:cubicBezTo>
                    <a:pt x="500" y="54"/>
                    <a:pt x="497" y="56"/>
                    <a:pt x="492" y="60"/>
                  </a:cubicBezTo>
                  <a:cubicBezTo>
                    <a:pt x="487" y="64"/>
                    <a:pt x="483" y="67"/>
                    <a:pt x="478" y="70"/>
                  </a:cubicBezTo>
                  <a:cubicBezTo>
                    <a:pt x="475" y="72"/>
                    <a:pt x="470" y="73"/>
                    <a:pt x="468" y="76"/>
                  </a:cubicBezTo>
                  <a:cubicBezTo>
                    <a:pt x="471" y="78"/>
                    <a:pt x="484" y="81"/>
                    <a:pt x="484" y="85"/>
                  </a:cubicBezTo>
                  <a:cubicBezTo>
                    <a:pt x="484" y="86"/>
                    <a:pt x="481" y="88"/>
                    <a:pt x="481" y="89"/>
                  </a:cubicBezTo>
                  <a:cubicBezTo>
                    <a:pt x="480" y="91"/>
                    <a:pt x="480" y="92"/>
                    <a:pt x="478" y="95"/>
                  </a:cubicBezTo>
                  <a:cubicBezTo>
                    <a:pt x="478" y="96"/>
                    <a:pt x="475" y="100"/>
                    <a:pt x="474" y="101"/>
                  </a:cubicBezTo>
                  <a:cubicBezTo>
                    <a:pt x="472" y="102"/>
                    <a:pt x="471" y="101"/>
                    <a:pt x="469" y="101"/>
                  </a:cubicBezTo>
                  <a:cubicBezTo>
                    <a:pt x="462" y="100"/>
                    <a:pt x="456" y="98"/>
                    <a:pt x="449" y="94"/>
                  </a:cubicBezTo>
                  <a:cubicBezTo>
                    <a:pt x="444" y="91"/>
                    <a:pt x="438" y="92"/>
                    <a:pt x="432" y="91"/>
                  </a:cubicBezTo>
                  <a:cubicBezTo>
                    <a:pt x="423" y="89"/>
                    <a:pt x="414" y="87"/>
                    <a:pt x="405" y="84"/>
                  </a:cubicBezTo>
                  <a:cubicBezTo>
                    <a:pt x="403" y="83"/>
                    <a:pt x="399" y="83"/>
                    <a:pt x="397" y="82"/>
                  </a:cubicBezTo>
                  <a:cubicBezTo>
                    <a:pt x="394" y="81"/>
                    <a:pt x="393" y="80"/>
                    <a:pt x="391" y="80"/>
                  </a:cubicBezTo>
                  <a:cubicBezTo>
                    <a:pt x="387" y="80"/>
                    <a:pt x="382" y="81"/>
                    <a:pt x="379" y="78"/>
                  </a:cubicBezTo>
                  <a:cubicBezTo>
                    <a:pt x="380" y="83"/>
                    <a:pt x="380" y="89"/>
                    <a:pt x="380" y="94"/>
                  </a:cubicBezTo>
                  <a:cubicBezTo>
                    <a:pt x="380" y="117"/>
                    <a:pt x="380" y="117"/>
                    <a:pt x="380" y="117"/>
                  </a:cubicBezTo>
                  <a:cubicBezTo>
                    <a:pt x="380" y="119"/>
                    <a:pt x="380" y="123"/>
                    <a:pt x="380" y="124"/>
                  </a:cubicBezTo>
                  <a:cubicBezTo>
                    <a:pt x="379" y="126"/>
                    <a:pt x="378" y="128"/>
                    <a:pt x="378" y="129"/>
                  </a:cubicBezTo>
                  <a:cubicBezTo>
                    <a:pt x="377" y="132"/>
                    <a:pt x="375" y="134"/>
                    <a:pt x="373" y="137"/>
                  </a:cubicBezTo>
                  <a:cubicBezTo>
                    <a:pt x="371" y="142"/>
                    <a:pt x="368" y="147"/>
                    <a:pt x="366" y="151"/>
                  </a:cubicBezTo>
                  <a:cubicBezTo>
                    <a:pt x="365" y="153"/>
                    <a:pt x="365" y="155"/>
                    <a:pt x="364" y="157"/>
                  </a:cubicBezTo>
                  <a:cubicBezTo>
                    <a:pt x="359" y="155"/>
                    <a:pt x="354" y="152"/>
                    <a:pt x="349" y="151"/>
                  </a:cubicBezTo>
                  <a:cubicBezTo>
                    <a:pt x="345" y="149"/>
                    <a:pt x="343" y="147"/>
                    <a:pt x="340" y="146"/>
                  </a:cubicBezTo>
                  <a:cubicBezTo>
                    <a:pt x="336" y="144"/>
                    <a:pt x="329" y="144"/>
                    <a:pt x="325" y="145"/>
                  </a:cubicBezTo>
                  <a:cubicBezTo>
                    <a:pt x="322" y="146"/>
                    <a:pt x="319" y="149"/>
                    <a:pt x="317" y="151"/>
                  </a:cubicBezTo>
                  <a:cubicBezTo>
                    <a:pt x="313" y="153"/>
                    <a:pt x="311" y="155"/>
                    <a:pt x="308" y="159"/>
                  </a:cubicBezTo>
                  <a:cubicBezTo>
                    <a:pt x="305" y="163"/>
                    <a:pt x="302" y="168"/>
                    <a:pt x="299" y="172"/>
                  </a:cubicBezTo>
                  <a:cubicBezTo>
                    <a:pt x="298" y="173"/>
                    <a:pt x="295" y="175"/>
                    <a:pt x="295" y="177"/>
                  </a:cubicBezTo>
                  <a:cubicBezTo>
                    <a:pt x="292" y="178"/>
                    <a:pt x="292" y="181"/>
                    <a:pt x="291" y="183"/>
                  </a:cubicBezTo>
                  <a:cubicBezTo>
                    <a:pt x="290" y="185"/>
                    <a:pt x="289" y="186"/>
                    <a:pt x="288" y="188"/>
                  </a:cubicBezTo>
                  <a:cubicBezTo>
                    <a:pt x="289" y="187"/>
                    <a:pt x="290" y="187"/>
                    <a:pt x="290" y="187"/>
                  </a:cubicBezTo>
                  <a:cubicBezTo>
                    <a:pt x="289" y="188"/>
                    <a:pt x="289" y="190"/>
                    <a:pt x="288" y="192"/>
                  </a:cubicBezTo>
                  <a:cubicBezTo>
                    <a:pt x="287" y="195"/>
                    <a:pt x="285" y="199"/>
                    <a:pt x="284" y="202"/>
                  </a:cubicBezTo>
                  <a:cubicBezTo>
                    <a:pt x="282" y="207"/>
                    <a:pt x="280" y="211"/>
                    <a:pt x="279" y="216"/>
                  </a:cubicBezTo>
                  <a:cubicBezTo>
                    <a:pt x="279" y="220"/>
                    <a:pt x="278" y="223"/>
                    <a:pt x="274" y="224"/>
                  </a:cubicBezTo>
                  <a:cubicBezTo>
                    <a:pt x="269" y="227"/>
                    <a:pt x="268" y="229"/>
                    <a:pt x="267" y="234"/>
                  </a:cubicBezTo>
                  <a:cubicBezTo>
                    <a:pt x="266" y="237"/>
                    <a:pt x="266" y="239"/>
                    <a:pt x="266" y="243"/>
                  </a:cubicBezTo>
                  <a:cubicBezTo>
                    <a:pt x="266" y="245"/>
                    <a:pt x="266" y="247"/>
                    <a:pt x="267" y="249"/>
                  </a:cubicBezTo>
                  <a:cubicBezTo>
                    <a:pt x="268" y="253"/>
                    <a:pt x="268" y="256"/>
                    <a:pt x="269" y="259"/>
                  </a:cubicBezTo>
                  <a:cubicBezTo>
                    <a:pt x="269" y="261"/>
                    <a:pt x="271" y="263"/>
                    <a:pt x="272" y="265"/>
                  </a:cubicBezTo>
                  <a:cubicBezTo>
                    <a:pt x="272" y="266"/>
                    <a:pt x="272" y="268"/>
                    <a:pt x="272" y="270"/>
                  </a:cubicBezTo>
                  <a:cubicBezTo>
                    <a:pt x="272" y="272"/>
                    <a:pt x="274" y="275"/>
                    <a:pt x="275" y="278"/>
                  </a:cubicBezTo>
                  <a:cubicBezTo>
                    <a:pt x="276" y="282"/>
                    <a:pt x="277" y="294"/>
                    <a:pt x="273" y="297"/>
                  </a:cubicBezTo>
                  <a:cubicBezTo>
                    <a:pt x="269" y="299"/>
                    <a:pt x="265" y="300"/>
                    <a:pt x="261" y="303"/>
                  </a:cubicBezTo>
                  <a:cubicBezTo>
                    <a:pt x="258" y="306"/>
                    <a:pt x="256" y="310"/>
                    <a:pt x="256" y="314"/>
                  </a:cubicBezTo>
                  <a:cubicBezTo>
                    <a:pt x="255" y="319"/>
                    <a:pt x="252" y="323"/>
                    <a:pt x="250" y="327"/>
                  </a:cubicBezTo>
                  <a:cubicBezTo>
                    <a:pt x="247" y="335"/>
                    <a:pt x="243" y="344"/>
                    <a:pt x="239" y="352"/>
                  </a:cubicBezTo>
                  <a:cubicBezTo>
                    <a:pt x="237" y="357"/>
                    <a:pt x="236" y="360"/>
                    <a:pt x="231" y="363"/>
                  </a:cubicBezTo>
                  <a:cubicBezTo>
                    <a:pt x="227" y="366"/>
                    <a:pt x="224" y="368"/>
                    <a:pt x="225" y="374"/>
                  </a:cubicBezTo>
                  <a:cubicBezTo>
                    <a:pt x="225" y="379"/>
                    <a:pt x="233" y="388"/>
                    <a:pt x="230" y="394"/>
                  </a:cubicBezTo>
                  <a:cubicBezTo>
                    <a:pt x="228" y="397"/>
                    <a:pt x="223" y="396"/>
                    <a:pt x="220" y="398"/>
                  </a:cubicBezTo>
                  <a:cubicBezTo>
                    <a:pt x="215" y="401"/>
                    <a:pt x="215" y="408"/>
                    <a:pt x="209" y="410"/>
                  </a:cubicBezTo>
                  <a:cubicBezTo>
                    <a:pt x="206" y="412"/>
                    <a:pt x="201" y="413"/>
                    <a:pt x="197" y="414"/>
                  </a:cubicBezTo>
                  <a:cubicBezTo>
                    <a:pt x="193" y="415"/>
                    <a:pt x="181" y="412"/>
                    <a:pt x="178" y="415"/>
                  </a:cubicBezTo>
                  <a:cubicBezTo>
                    <a:pt x="178" y="415"/>
                    <a:pt x="178" y="416"/>
                    <a:pt x="178" y="416"/>
                  </a:cubicBezTo>
                  <a:cubicBezTo>
                    <a:pt x="178" y="418"/>
                    <a:pt x="178" y="422"/>
                    <a:pt x="178" y="422"/>
                  </a:cubicBezTo>
                  <a:cubicBezTo>
                    <a:pt x="179" y="428"/>
                    <a:pt x="180" y="435"/>
                    <a:pt x="181" y="441"/>
                  </a:cubicBezTo>
                  <a:cubicBezTo>
                    <a:pt x="182" y="449"/>
                    <a:pt x="186" y="456"/>
                    <a:pt x="184" y="463"/>
                  </a:cubicBezTo>
                  <a:cubicBezTo>
                    <a:pt x="184" y="466"/>
                    <a:pt x="184" y="467"/>
                    <a:pt x="183" y="469"/>
                  </a:cubicBezTo>
                  <a:cubicBezTo>
                    <a:pt x="182" y="470"/>
                    <a:pt x="181" y="471"/>
                    <a:pt x="180" y="471"/>
                  </a:cubicBezTo>
                  <a:cubicBezTo>
                    <a:pt x="179" y="473"/>
                    <a:pt x="179" y="475"/>
                    <a:pt x="178" y="477"/>
                  </a:cubicBezTo>
                  <a:cubicBezTo>
                    <a:pt x="177" y="481"/>
                    <a:pt x="174" y="485"/>
                    <a:pt x="174" y="490"/>
                  </a:cubicBezTo>
                  <a:cubicBezTo>
                    <a:pt x="173" y="496"/>
                    <a:pt x="174" y="502"/>
                    <a:pt x="175" y="508"/>
                  </a:cubicBezTo>
                  <a:cubicBezTo>
                    <a:pt x="175" y="513"/>
                    <a:pt x="175" y="518"/>
                    <a:pt x="175" y="524"/>
                  </a:cubicBezTo>
                  <a:cubicBezTo>
                    <a:pt x="175" y="530"/>
                    <a:pt x="175" y="531"/>
                    <a:pt x="171" y="534"/>
                  </a:cubicBezTo>
                  <a:cubicBezTo>
                    <a:pt x="168" y="536"/>
                    <a:pt x="166" y="540"/>
                    <a:pt x="165" y="543"/>
                  </a:cubicBezTo>
                  <a:cubicBezTo>
                    <a:pt x="163" y="547"/>
                    <a:pt x="162" y="552"/>
                    <a:pt x="160" y="556"/>
                  </a:cubicBezTo>
                  <a:cubicBezTo>
                    <a:pt x="157" y="561"/>
                    <a:pt x="157" y="567"/>
                    <a:pt x="154" y="570"/>
                  </a:cubicBezTo>
                  <a:cubicBezTo>
                    <a:pt x="153" y="572"/>
                    <a:pt x="153" y="574"/>
                    <a:pt x="152" y="576"/>
                  </a:cubicBezTo>
                  <a:cubicBezTo>
                    <a:pt x="151" y="578"/>
                    <a:pt x="151" y="580"/>
                    <a:pt x="151" y="582"/>
                  </a:cubicBezTo>
                  <a:cubicBezTo>
                    <a:pt x="150" y="586"/>
                    <a:pt x="149" y="590"/>
                    <a:pt x="147" y="593"/>
                  </a:cubicBezTo>
                  <a:cubicBezTo>
                    <a:pt x="145" y="598"/>
                    <a:pt x="142" y="602"/>
                    <a:pt x="139" y="606"/>
                  </a:cubicBezTo>
                  <a:cubicBezTo>
                    <a:pt x="137" y="609"/>
                    <a:pt x="135" y="612"/>
                    <a:pt x="134" y="615"/>
                  </a:cubicBezTo>
                  <a:cubicBezTo>
                    <a:pt x="137" y="616"/>
                    <a:pt x="138" y="618"/>
                    <a:pt x="140" y="620"/>
                  </a:cubicBezTo>
                  <a:cubicBezTo>
                    <a:pt x="143" y="621"/>
                    <a:pt x="145" y="622"/>
                    <a:pt x="148" y="624"/>
                  </a:cubicBezTo>
                  <a:cubicBezTo>
                    <a:pt x="153" y="628"/>
                    <a:pt x="151" y="636"/>
                    <a:pt x="151" y="642"/>
                  </a:cubicBezTo>
                  <a:cubicBezTo>
                    <a:pt x="151" y="646"/>
                    <a:pt x="151" y="650"/>
                    <a:pt x="151" y="653"/>
                  </a:cubicBezTo>
                  <a:cubicBezTo>
                    <a:pt x="152" y="657"/>
                    <a:pt x="154" y="661"/>
                    <a:pt x="155" y="665"/>
                  </a:cubicBezTo>
                  <a:cubicBezTo>
                    <a:pt x="155" y="669"/>
                    <a:pt x="154" y="672"/>
                    <a:pt x="152" y="676"/>
                  </a:cubicBezTo>
                  <a:cubicBezTo>
                    <a:pt x="151" y="679"/>
                    <a:pt x="150" y="684"/>
                    <a:pt x="148" y="687"/>
                  </a:cubicBezTo>
                  <a:cubicBezTo>
                    <a:pt x="144" y="685"/>
                    <a:pt x="138" y="685"/>
                    <a:pt x="134" y="684"/>
                  </a:cubicBezTo>
                  <a:cubicBezTo>
                    <a:pt x="128" y="684"/>
                    <a:pt x="123" y="683"/>
                    <a:pt x="117" y="682"/>
                  </a:cubicBezTo>
                  <a:cubicBezTo>
                    <a:pt x="112" y="682"/>
                    <a:pt x="108" y="683"/>
                    <a:pt x="103" y="683"/>
                  </a:cubicBezTo>
                  <a:cubicBezTo>
                    <a:pt x="98" y="683"/>
                    <a:pt x="94" y="684"/>
                    <a:pt x="89" y="686"/>
                  </a:cubicBezTo>
                  <a:cubicBezTo>
                    <a:pt x="85" y="688"/>
                    <a:pt x="84" y="692"/>
                    <a:pt x="81" y="694"/>
                  </a:cubicBezTo>
                  <a:cubicBezTo>
                    <a:pt x="80" y="695"/>
                    <a:pt x="78" y="695"/>
                    <a:pt x="76" y="696"/>
                  </a:cubicBezTo>
                  <a:cubicBezTo>
                    <a:pt x="74" y="697"/>
                    <a:pt x="73" y="699"/>
                    <a:pt x="71" y="700"/>
                  </a:cubicBezTo>
                  <a:cubicBezTo>
                    <a:pt x="70" y="702"/>
                    <a:pt x="70" y="703"/>
                    <a:pt x="68" y="705"/>
                  </a:cubicBezTo>
                  <a:cubicBezTo>
                    <a:pt x="67" y="706"/>
                    <a:pt x="67" y="708"/>
                    <a:pt x="67" y="710"/>
                  </a:cubicBezTo>
                  <a:cubicBezTo>
                    <a:pt x="66" y="712"/>
                    <a:pt x="65" y="715"/>
                    <a:pt x="64" y="718"/>
                  </a:cubicBezTo>
                  <a:cubicBezTo>
                    <a:pt x="63" y="722"/>
                    <a:pt x="60" y="727"/>
                    <a:pt x="57" y="731"/>
                  </a:cubicBezTo>
                  <a:cubicBezTo>
                    <a:pt x="54" y="736"/>
                    <a:pt x="49" y="738"/>
                    <a:pt x="48" y="745"/>
                  </a:cubicBezTo>
                  <a:cubicBezTo>
                    <a:pt x="48" y="749"/>
                    <a:pt x="48" y="753"/>
                    <a:pt x="48" y="757"/>
                  </a:cubicBezTo>
                  <a:cubicBezTo>
                    <a:pt x="48" y="762"/>
                    <a:pt x="49" y="770"/>
                    <a:pt x="46" y="775"/>
                  </a:cubicBezTo>
                  <a:cubicBezTo>
                    <a:pt x="45" y="777"/>
                    <a:pt x="44" y="778"/>
                    <a:pt x="44" y="780"/>
                  </a:cubicBezTo>
                  <a:cubicBezTo>
                    <a:pt x="44" y="782"/>
                    <a:pt x="45" y="784"/>
                    <a:pt x="45" y="786"/>
                  </a:cubicBezTo>
                  <a:cubicBezTo>
                    <a:pt x="47" y="789"/>
                    <a:pt x="48" y="792"/>
                    <a:pt x="49" y="795"/>
                  </a:cubicBezTo>
                  <a:cubicBezTo>
                    <a:pt x="50" y="799"/>
                    <a:pt x="50" y="803"/>
                    <a:pt x="52" y="807"/>
                  </a:cubicBezTo>
                  <a:cubicBezTo>
                    <a:pt x="53" y="809"/>
                    <a:pt x="54" y="810"/>
                    <a:pt x="53" y="812"/>
                  </a:cubicBezTo>
                  <a:cubicBezTo>
                    <a:pt x="53" y="814"/>
                    <a:pt x="50" y="816"/>
                    <a:pt x="49" y="817"/>
                  </a:cubicBezTo>
                  <a:cubicBezTo>
                    <a:pt x="48" y="818"/>
                    <a:pt x="48" y="820"/>
                    <a:pt x="47" y="821"/>
                  </a:cubicBezTo>
                  <a:cubicBezTo>
                    <a:pt x="47" y="822"/>
                    <a:pt x="45" y="821"/>
                    <a:pt x="45" y="822"/>
                  </a:cubicBezTo>
                  <a:cubicBezTo>
                    <a:pt x="44" y="824"/>
                    <a:pt x="45" y="828"/>
                    <a:pt x="45" y="830"/>
                  </a:cubicBezTo>
                  <a:cubicBezTo>
                    <a:pt x="45" y="836"/>
                    <a:pt x="45" y="841"/>
                    <a:pt x="45" y="847"/>
                  </a:cubicBezTo>
                  <a:cubicBezTo>
                    <a:pt x="45" y="851"/>
                    <a:pt x="44" y="855"/>
                    <a:pt x="43" y="860"/>
                  </a:cubicBezTo>
                  <a:cubicBezTo>
                    <a:pt x="43" y="863"/>
                    <a:pt x="44" y="863"/>
                    <a:pt x="45" y="866"/>
                  </a:cubicBezTo>
                  <a:cubicBezTo>
                    <a:pt x="49" y="872"/>
                    <a:pt x="52" y="879"/>
                    <a:pt x="55" y="886"/>
                  </a:cubicBezTo>
                  <a:cubicBezTo>
                    <a:pt x="56" y="888"/>
                    <a:pt x="57" y="890"/>
                    <a:pt x="57" y="892"/>
                  </a:cubicBezTo>
                  <a:cubicBezTo>
                    <a:pt x="58" y="896"/>
                    <a:pt x="57" y="900"/>
                    <a:pt x="57" y="904"/>
                  </a:cubicBezTo>
                  <a:cubicBezTo>
                    <a:pt x="57" y="918"/>
                    <a:pt x="57" y="931"/>
                    <a:pt x="54" y="944"/>
                  </a:cubicBezTo>
                  <a:cubicBezTo>
                    <a:pt x="53" y="950"/>
                    <a:pt x="48" y="958"/>
                    <a:pt x="51" y="964"/>
                  </a:cubicBezTo>
                  <a:cubicBezTo>
                    <a:pt x="53" y="968"/>
                    <a:pt x="58" y="969"/>
                    <a:pt x="61" y="971"/>
                  </a:cubicBezTo>
                  <a:cubicBezTo>
                    <a:pt x="64" y="973"/>
                    <a:pt x="65" y="976"/>
                    <a:pt x="68" y="979"/>
                  </a:cubicBezTo>
                  <a:cubicBezTo>
                    <a:pt x="72" y="983"/>
                    <a:pt x="80" y="979"/>
                    <a:pt x="84" y="985"/>
                  </a:cubicBezTo>
                  <a:cubicBezTo>
                    <a:pt x="85" y="985"/>
                    <a:pt x="84" y="987"/>
                    <a:pt x="85" y="987"/>
                  </a:cubicBezTo>
                  <a:cubicBezTo>
                    <a:pt x="86" y="989"/>
                    <a:pt x="87" y="989"/>
                    <a:pt x="88" y="990"/>
                  </a:cubicBezTo>
                  <a:cubicBezTo>
                    <a:pt x="90" y="992"/>
                    <a:pt x="93" y="998"/>
                    <a:pt x="96" y="999"/>
                  </a:cubicBezTo>
                  <a:cubicBezTo>
                    <a:pt x="97" y="1003"/>
                    <a:pt x="92" y="1008"/>
                    <a:pt x="90" y="1011"/>
                  </a:cubicBezTo>
                  <a:cubicBezTo>
                    <a:pt x="88" y="1016"/>
                    <a:pt x="86" y="1021"/>
                    <a:pt x="84" y="1026"/>
                  </a:cubicBezTo>
                  <a:cubicBezTo>
                    <a:pt x="82" y="1029"/>
                    <a:pt x="82" y="1028"/>
                    <a:pt x="82" y="1030"/>
                  </a:cubicBezTo>
                  <a:cubicBezTo>
                    <a:pt x="81" y="1032"/>
                    <a:pt x="82" y="1032"/>
                    <a:pt x="81" y="1034"/>
                  </a:cubicBezTo>
                  <a:cubicBezTo>
                    <a:pt x="80" y="1034"/>
                    <a:pt x="79" y="1035"/>
                    <a:pt x="77" y="1035"/>
                  </a:cubicBezTo>
                  <a:cubicBezTo>
                    <a:pt x="76" y="1035"/>
                    <a:pt x="76" y="1035"/>
                    <a:pt x="76" y="1036"/>
                  </a:cubicBezTo>
                  <a:cubicBezTo>
                    <a:pt x="75" y="1036"/>
                    <a:pt x="74" y="1036"/>
                    <a:pt x="73" y="1037"/>
                  </a:cubicBezTo>
                  <a:cubicBezTo>
                    <a:pt x="71" y="1038"/>
                    <a:pt x="69" y="1039"/>
                    <a:pt x="66" y="1039"/>
                  </a:cubicBezTo>
                  <a:cubicBezTo>
                    <a:pt x="64" y="1040"/>
                    <a:pt x="63" y="1039"/>
                    <a:pt x="61" y="1039"/>
                  </a:cubicBezTo>
                  <a:cubicBezTo>
                    <a:pt x="60" y="1042"/>
                    <a:pt x="62" y="1048"/>
                    <a:pt x="62" y="1051"/>
                  </a:cubicBezTo>
                  <a:cubicBezTo>
                    <a:pt x="63" y="1055"/>
                    <a:pt x="64" y="1059"/>
                    <a:pt x="65" y="1063"/>
                  </a:cubicBezTo>
                  <a:cubicBezTo>
                    <a:pt x="68" y="1075"/>
                    <a:pt x="76" y="1084"/>
                    <a:pt x="78" y="1096"/>
                  </a:cubicBezTo>
                  <a:cubicBezTo>
                    <a:pt x="78" y="1099"/>
                    <a:pt x="79" y="1102"/>
                    <a:pt x="78" y="1105"/>
                  </a:cubicBezTo>
                  <a:cubicBezTo>
                    <a:pt x="78" y="1107"/>
                    <a:pt x="77" y="1108"/>
                    <a:pt x="75" y="1111"/>
                  </a:cubicBezTo>
                  <a:cubicBezTo>
                    <a:pt x="72" y="1116"/>
                    <a:pt x="67" y="1122"/>
                    <a:pt x="65" y="1129"/>
                  </a:cubicBezTo>
                  <a:cubicBezTo>
                    <a:pt x="66" y="1128"/>
                    <a:pt x="67" y="1128"/>
                    <a:pt x="67" y="1128"/>
                  </a:cubicBezTo>
                  <a:cubicBezTo>
                    <a:pt x="68" y="1127"/>
                    <a:pt x="69" y="1126"/>
                    <a:pt x="70" y="1128"/>
                  </a:cubicBezTo>
                  <a:cubicBezTo>
                    <a:pt x="69" y="1128"/>
                    <a:pt x="68" y="1128"/>
                    <a:pt x="67" y="1128"/>
                  </a:cubicBezTo>
                  <a:cubicBezTo>
                    <a:pt x="67" y="1129"/>
                    <a:pt x="67" y="1131"/>
                    <a:pt x="67" y="1131"/>
                  </a:cubicBezTo>
                  <a:cubicBezTo>
                    <a:pt x="66" y="1134"/>
                    <a:pt x="64" y="1135"/>
                    <a:pt x="63" y="1138"/>
                  </a:cubicBezTo>
                  <a:cubicBezTo>
                    <a:pt x="61" y="1143"/>
                    <a:pt x="62" y="1150"/>
                    <a:pt x="60" y="1154"/>
                  </a:cubicBezTo>
                  <a:cubicBezTo>
                    <a:pt x="57" y="1158"/>
                    <a:pt x="52" y="1161"/>
                    <a:pt x="49" y="1162"/>
                  </a:cubicBezTo>
                  <a:cubicBezTo>
                    <a:pt x="44" y="1164"/>
                    <a:pt x="41" y="1169"/>
                    <a:pt x="35" y="1169"/>
                  </a:cubicBezTo>
                  <a:cubicBezTo>
                    <a:pt x="34" y="1173"/>
                    <a:pt x="39" y="1177"/>
                    <a:pt x="39" y="1181"/>
                  </a:cubicBezTo>
                  <a:cubicBezTo>
                    <a:pt x="38" y="1184"/>
                    <a:pt x="38" y="1185"/>
                    <a:pt x="36" y="1187"/>
                  </a:cubicBezTo>
                  <a:cubicBezTo>
                    <a:pt x="35" y="1189"/>
                    <a:pt x="31" y="1192"/>
                    <a:pt x="30" y="1195"/>
                  </a:cubicBezTo>
                  <a:cubicBezTo>
                    <a:pt x="30" y="1197"/>
                    <a:pt x="30" y="1200"/>
                    <a:pt x="30" y="1202"/>
                  </a:cubicBezTo>
                  <a:cubicBezTo>
                    <a:pt x="30" y="1210"/>
                    <a:pt x="33" y="1218"/>
                    <a:pt x="33" y="1226"/>
                  </a:cubicBezTo>
                  <a:cubicBezTo>
                    <a:pt x="33" y="1235"/>
                    <a:pt x="33" y="1244"/>
                    <a:pt x="30" y="1253"/>
                  </a:cubicBezTo>
                  <a:cubicBezTo>
                    <a:pt x="29" y="1258"/>
                    <a:pt x="30" y="1262"/>
                    <a:pt x="29" y="1266"/>
                  </a:cubicBezTo>
                  <a:cubicBezTo>
                    <a:pt x="28" y="1270"/>
                    <a:pt x="26" y="1274"/>
                    <a:pt x="21" y="1273"/>
                  </a:cubicBezTo>
                  <a:cubicBezTo>
                    <a:pt x="20" y="1273"/>
                    <a:pt x="21" y="1271"/>
                    <a:pt x="19" y="1271"/>
                  </a:cubicBezTo>
                  <a:cubicBezTo>
                    <a:pt x="18" y="1270"/>
                    <a:pt x="17" y="1270"/>
                    <a:pt x="16" y="1270"/>
                  </a:cubicBezTo>
                  <a:cubicBezTo>
                    <a:pt x="13" y="1268"/>
                    <a:pt x="13" y="1265"/>
                    <a:pt x="12" y="1262"/>
                  </a:cubicBezTo>
                  <a:cubicBezTo>
                    <a:pt x="11" y="1259"/>
                    <a:pt x="11" y="1253"/>
                    <a:pt x="8" y="1252"/>
                  </a:cubicBezTo>
                  <a:cubicBezTo>
                    <a:pt x="6" y="1251"/>
                    <a:pt x="3" y="1253"/>
                    <a:pt x="2" y="1254"/>
                  </a:cubicBezTo>
                  <a:cubicBezTo>
                    <a:pt x="2" y="1254"/>
                    <a:pt x="2" y="1255"/>
                    <a:pt x="2" y="125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1" name="Freeform 61"/>
            <p:cNvSpPr>
              <a:spLocks/>
            </p:cNvSpPr>
            <p:nvPr/>
          </p:nvSpPr>
          <p:spPr bwMode="auto">
            <a:xfrm>
              <a:off x="5310188" y="3175000"/>
              <a:ext cx="106363" cy="204788"/>
            </a:xfrm>
            <a:custGeom>
              <a:avLst/>
              <a:gdLst/>
              <a:ahLst/>
              <a:cxnLst>
                <a:cxn ang="0">
                  <a:pos x="55" y="10"/>
                </a:cxn>
                <a:cxn ang="0">
                  <a:pos x="55" y="23"/>
                </a:cxn>
                <a:cxn ang="0">
                  <a:pos x="49" y="25"/>
                </a:cxn>
                <a:cxn ang="0">
                  <a:pos x="46" y="27"/>
                </a:cxn>
                <a:cxn ang="0">
                  <a:pos x="43" y="28"/>
                </a:cxn>
                <a:cxn ang="0">
                  <a:pos x="42" y="39"/>
                </a:cxn>
                <a:cxn ang="0">
                  <a:pos x="42" y="51"/>
                </a:cxn>
                <a:cxn ang="0">
                  <a:pos x="46" y="54"/>
                </a:cxn>
                <a:cxn ang="0">
                  <a:pos x="44" y="61"/>
                </a:cxn>
                <a:cxn ang="0">
                  <a:pos x="39" y="64"/>
                </a:cxn>
                <a:cxn ang="0">
                  <a:pos x="39" y="68"/>
                </a:cxn>
                <a:cxn ang="0">
                  <a:pos x="38" y="72"/>
                </a:cxn>
                <a:cxn ang="0">
                  <a:pos x="35" y="79"/>
                </a:cxn>
                <a:cxn ang="0">
                  <a:pos x="29" y="84"/>
                </a:cxn>
                <a:cxn ang="0">
                  <a:pos x="24" y="87"/>
                </a:cxn>
                <a:cxn ang="0">
                  <a:pos x="18" y="92"/>
                </a:cxn>
                <a:cxn ang="0">
                  <a:pos x="15" y="98"/>
                </a:cxn>
                <a:cxn ang="0">
                  <a:pos x="6" y="107"/>
                </a:cxn>
                <a:cxn ang="0">
                  <a:pos x="4" y="105"/>
                </a:cxn>
                <a:cxn ang="0">
                  <a:pos x="5" y="101"/>
                </a:cxn>
                <a:cxn ang="0">
                  <a:pos x="7" y="94"/>
                </a:cxn>
                <a:cxn ang="0">
                  <a:pos x="4" y="86"/>
                </a:cxn>
                <a:cxn ang="0">
                  <a:pos x="1" y="77"/>
                </a:cxn>
                <a:cxn ang="0">
                  <a:pos x="1" y="67"/>
                </a:cxn>
                <a:cxn ang="0">
                  <a:pos x="3" y="59"/>
                </a:cxn>
                <a:cxn ang="0">
                  <a:pos x="2" y="45"/>
                </a:cxn>
                <a:cxn ang="0">
                  <a:pos x="7" y="41"/>
                </a:cxn>
                <a:cxn ang="0">
                  <a:pos x="13" y="35"/>
                </a:cxn>
                <a:cxn ang="0">
                  <a:pos x="13" y="22"/>
                </a:cxn>
                <a:cxn ang="0">
                  <a:pos x="37" y="5"/>
                </a:cxn>
                <a:cxn ang="0">
                  <a:pos x="42" y="6"/>
                </a:cxn>
                <a:cxn ang="0">
                  <a:pos x="47" y="3"/>
                </a:cxn>
                <a:cxn ang="0">
                  <a:pos x="55" y="6"/>
                </a:cxn>
                <a:cxn ang="0">
                  <a:pos x="55" y="10"/>
                </a:cxn>
              </a:cxnLst>
              <a:rect l="0" t="0" r="r" b="b"/>
              <a:pathLst>
                <a:path w="57" h="109">
                  <a:moveTo>
                    <a:pt x="55" y="10"/>
                  </a:moveTo>
                  <a:cubicBezTo>
                    <a:pt x="55" y="13"/>
                    <a:pt x="57" y="20"/>
                    <a:pt x="55" y="23"/>
                  </a:cubicBezTo>
                  <a:cubicBezTo>
                    <a:pt x="54" y="26"/>
                    <a:pt x="51" y="24"/>
                    <a:pt x="49" y="25"/>
                  </a:cubicBezTo>
                  <a:cubicBezTo>
                    <a:pt x="48" y="26"/>
                    <a:pt x="46" y="27"/>
                    <a:pt x="46" y="27"/>
                  </a:cubicBezTo>
                  <a:cubicBezTo>
                    <a:pt x="44" y="27"/>
                    <a:pt x="45" y="26"/>
                    <a:pt x="43" y="28"/>
                  </a:cubicBezTo>
                  <a:cubicBezTo>
                    <a:pt x="39" y="31"/>
                    <a:pt x="42" y="36"/>
                    <a:pt x="42" y="39"/>
                  </a:cubicBezTo>
                  <a:cubicBezTo>
                    <a:pt x="42" y="43"/>
                    <a:pt x="40" y="47"/>
                    <a:pt x="42" y="51"/>
                  </a:cubicBezTo>
                  <a:cubicBezTo>
                    <a:pt x="43" y="53"/>
                    <a:pt x="45" y="52"/>
                    <a:pt x="46" y="54"/>
                  </a:cubicBezTo>
                  <a:cubicBezTo>
                    <a:pt x="48" y="55"/>
                    <a:pt x="45" y="59"/>
                    <a:pt x="44" y="61"/>
                  </a:cubicBezTo>
                  <a:cubicBezTo>
                    <a:pt x="43" y="62"/>
                    <a:pt x="40" y="62"/>
                    <a:pt x="39" y="64"/>
                  </a:cubicBezTo>
                  <a:cubicBezTo>
                    <a:pt x="38" y="65"/>
                    <a:pt x="39" y="67"/>
                    <a:pt x="39" y="68"/>
                  </a:cubicBezTo>
                  <a:cubicBezTo>
                    <a:pt x="39" y="69"/>
                    <a:pt x="38" y="70"/>
                    <a:pt x="38" y="72"/>
                  </a:cubicBezTo>
                  <a:cubicBezTo>
                    <a:pt x="37" y="74"/>
                    <a:pt x="37" y="77"/>
                    <a:pt x="35" y="79"/>
                  </a:cubicBezTo>
                  <a:cubicBezTo>
                    <a:pt x="34" y="81"/>
                    <a:pt x="31" y="83"/>
                    <a:pt x="29" y="84"/>
                  </a:cubicBezTo>
                  <a:cubicBezTo>
                    <a:pt x="27" y="86"/>
                    <a:pt x="26" y="86"/>
                    <a:pt x="24" y="87"/>
                  </a:cubicBezTo>
                  <a:cubicBezTo>
                    <a:pt x="21" y="88"/>
                    <a:pt x="20" y="90"/>
                    <a:pt x="18" y="92"/>
                  </a:cubicBezTo>
                  <a:cubicBezTo>
                    <a:pt x="14" y="94"/>
                    <a:pt x="15" y="94"/>
                    <a:pt x="15" y="98"/>
                  </a:cubicBezTo>
                  <a:cubicBezTo>
                    <a:pt x="15" y="102"/>
                    <a:pt x="12" y="109"/>
                    <a:pt x="6" y="107"/>
                  </a:cubicBezTo>
                  <a:cubicBezTo>
                    <a:pt x="4" y="106"/>
                    <a:pt x="5" y="108"/>
                    <a:pt x="4" y="105"/>
                  </a:cubicBezTo>
                  <a:cubicBezTo>
                    <a:pt x="3" y="103"/>
                    <a:pt x="4" y="102"/>
                    <a:pt x="5" y="101"/>
                  </a:cubicBezTo>
                  <a:cubicBezTo>
                    <a:pt x="6" y="98"/>
                    <a:pt x="7" y="97"/>
                    <a:pt x="7" y="94"/>
                  </a:cubicBezTo>
                  <a:cubicBezTo>
                    <a:pt x="8" y="91"/>
                    <a:pt x="6" y="89"/>
                    <a:pt x="4" y="86"/>
                  </a:cubicBezTo>
                  <a:cubicBezTo>
                    <a:pt x="3" y="83"/>
                    <a:pt x="2" y="80"/>
                    <a:pt x="1" y="77"/>
                  </a:cubicBezTo>
                  <a:cubicBezTo>
                    <a:pt x="1" y="74"/>
                    <a:pt x="0" y="71"/>
                    <a:pt x="1" y="67"/>
                  </a:cubicBezTo>
                  <a:cubicBezTo>
                    <a:pt x="1" y="64"/>
                    <a:pt x="3" y="62"/>
                    <a:pt x="3" y="59"/>
                  </a:cubicBezTo>
                  <a:cubicBezTo>
                    <a:pt x="2" y="55"/>
                    <a:pt x="0" y="48"/>
                    <a:pt x="2" y="45"/>
                  </a:cubicBezTo>
                  <a:cubicBezTo>
                    <a:pt x="4" y="43"/>
                    <a:pt x="6" y="42"/>
                    <a:pt x="7" y="41"/>
                  </a:cubicBezTo>
                  <a:cubicBezTo>
                    <a:pt x="9" y="39"/>
                    <a:pt x="11" y="37"/>
                    <a:pt x="13" y="35"/>
                  </a:cubicBezTo>
                  <a:cubicBezTo>
                    <a:pt x="16" y="32"/>
                    <a:pt x="14" y="27"/>
                    <a:pt x="13" y="22"/>
                  </a:cubicBezTo>
                  <a:cubicBezTo>
                    <a:pt x="7" y="8"/>
                    <a:pt x="37" y="17"/>
                    <a:pt x="37" y="5"/>
                  </a:cubicBezTo>
                  <a:cubicBezTo>
                    <a:pt x="39" y="4"/>
                    <a:pt x="40" y="6"/>
                    <a:pt x="42" y="6"/>
                  </a:cubicBezTo>
                  <a:cubicBezTo>
                    <a:pt x="45" y="6"/>
                    <a:pt x="45" y="5"/>
                    <a:pt x="47" y="3"/>
                  </a:cubicBezTo>
                  <a:cubicBezTo>
                    <a:pt x="51" y="0"/>
                    <a:pt x="55" y="1"/>
                    <a:pt x="55" y="6"/>
                  </a:cubicBezTo>
                  <a:lnTo>
                    <a:pt x="55" y="1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2" name="Freeform 62"/>
            <p:cNvSpPr>
              <a:spLocks noEditPoints="1"/>
            </p:cNvSpPr>
            <p:nvPr/>
          </p:nvSpPr>
          <p:spPr bwMode="auto">
            <a:xfrm>
              <a:off x="5534025" y="330200"/>
              <a:ext cx="1131888" cy="2497138"/>
            </a:xfrm>
            <a:custGeom>
              <a:avLst/>
              <a:gdLst/>
              <a:ahLst/>
              <a:cxnLst>
                <a:cxn ang="0">
                  <a:pos x="479" y="128"/>
                </a:cxn>
                <a:cxn ang="0">
                  <a:pos x="589" y="963"/>
                </a:cxn>
                <a:cxn ang="0">
                  <a:pos x="528" y="880"/>
                </a:cxn>
                <a:cxn ang="0">
                  <a:pos x="530" y="815"/>
                </a:cxn>
                <a:cxn ang="0">
                  <a:pos x="520" y="761"/>
                </a:cxn>
                <a:cxn ang="0">
                  <a:pos x="501" y="712"/>
                </a:cxn>
                <a:cxn ang="0">
                  <a:pos x="502" y="654"/>
                </a:cxn>
                <a:cxn ang="0">
                  <a:pos x="513" y="378"/>
                </a:cxn>
                <a:cxn ang="0">
                  <a:pos x="491" y="323"/>
                </a:cxn>
                <a:cxn ang="0">
                  <a:pos x="441" y="261"/>
                </a:cxn>
                <a:cxn ang="0">
                  <a:pos x="437" y="185"/>
                </a:cxn>
                <a:cxn ang="0">
                  <a:pos x="458" y="162"/>
                </a:cxn>
                <a:cxn ang="0">
                  <a:pos x="452" y="133"/>
                </a:cxn>
                <a:cxn ang="0">
                  <a:pos x="471" y="84"/>
                </a:cxn>
                <a:cxn ang="0">
                  <a:pos x="434" y="45"/>
                </a:cxn>
                <a:cxn ang="0">
                  <a:pos x="414" y="17"/>
                </a:cxn>
                <a:cxn ang="0">
                  <a:pos x="393" y="3"/>
                </a:cxn>
                <a:cxn ang="0">
                  <a:pos x="374" y="14"/>
                </a:cxn>
                <a:cxn ang="0">
                  <a:pos x="339" y="26"/>
                </a:cxn>
                <a:cxn ang="0">
                  <a:pos x="306" y="64"/>
                </a:cxn>
                <a:cxn ang="0">
                  <a:pos x="292" y="86"/>
                </a:cxn>
                <a:cxn ang="0">
                  <a:pos x="287" y="167"/>
                </a:cxn>
                <a:cxn ang="0">
                  <a:pos x="271" y="186"/>
                </a:cxn>
                <a:cxn ang="0">
                  <a:pos x="256" y="203"/>
                </a:cxn>
                <a:cxn ang="0">
                  <a:pos x="248" y="210"/>
                </a:cxn>
                <a:cxn ang="0">
                  <a:pos x="232" y="220"/>
                </a:cxn>
                <a:cxn ang="0">
                  <a:pos x="200" y="203"/>
                </a:cxn>
                <a:cxn ang="0">
                  <a:pos x="172" y="215"/>
                </a:cxn>
                <a:cxn ang="0">
                  <a:pos x="142" y="217"/>
                </a:cxn>
                <a:cxn ang="0">
                  <a:pos x="105" y="211"/>
                </a:cxn>
                <a:cxn ang="0">
                  <a:pos x="93" y="174"/>
                </a:cxn>
                <a:cxn ang="0">
                  <a:pos x="67" y="135"/>
                </a:cxn>
                <a:cxn ang="0">
                  <a:pos x="34" y="151"/>
                </a:cxn>
                <a:cxn ang="0">
                  <a:pos x="0" y="158"/>
                </a:cxn>
                <a:cxn ang="0">
                  <a:pos x="22" y="179"/>
                </a:cxn>
                <a:cxn ang="0">
                  <a:pos x="66" y="225"/>
                </a:cxn>
                <a:cxn ang="0">
                  <a:pos x="105" y="243"/>
                </a:cxn>
                <a:cxn ang="0">
                  <a:pos x="144" y="280"/>
                </a:cxn>
                <a:cxn ang="0">
                  <a:pos x="170" y="319"/>
                </a:cxn>
                <a:cxn ang="0">
                  <a:pos x="167" y="378"/>
                </a:cxn>
                <a:cxn ang="0">
                  <a:pos x="175" y="410"/>
                </a:cxn>
                <a:cxn ang="0">
                  <a:pos x="190" y="485"/>
                </a:cxn>
                <a:cxn ang="0">
                  <a:pos x="180" y="558"/>
                </a:cxn>
                <a:cxn ang="0">
                  <a:pos x="196" y="616"/>
                </a:cxn>
                <a:cxn ang="0">
                  <a:pos x="262" y="666"/>
                </a:cxn>
                <a:cxn ang="0">
                  <a:pos x="261" y="726"/>
                </a:cxn>
                <a:cxn ang="0">
                  <a:pos x="222" y="758"/>
                </a:cxn>
                <a:cxn ang="0">
                  <a:pos x="164" y="841"/>
                </a:cxn>
                <a:cxn ang="0">
                  <a:pos x="124" y="871"/>
                </a:cxn>
                <a:cxn ang="0">
                  <a:pos x="96" y="932"/>
                </a:cxn>
                <a:cxn ang="0">
                  <a:pos x="50" y="969"/>
                </a:cxn>
                <a:cxn ang="0">
                  <a:pos x="43" y="1013"/>
                </a:cxn>
                <a:cxn ang="0">
                  <a:pos x="60" y="1098"/>
                </a:cxn>
                <a:cxn ang="0">
                  <a:pos x="61" y="1178"/>
                </a:cxn>
                <a:cxn ang="0">
                  <a:pos x="50" y="1251"/>
                </a:cxn>
                <a:cxn ang="0">
                  <a:pos x="87" y="1294"/>
                </a:cxn>
                <a:cxn ang="0">
                  <a:pos x="130" y="1311"/>
                </a:cxn>
                <a:cxn ang="0">
                  <a:pos x="167" y="1328"/>
                </a:cxn>
                <a:cxn ang="0">
                  <a:pos x="210" y="1302"/>
                </a:cxn>
                <a:cxn ang="0">
                  <a:pos x="282" y="1292"/>
                </a:cxn>
                <a:cxn ang="0">
                  <a:pos x="347" y="1265"/>
                </a:cxn>
                <a:cxn ang="0">
                  <a:pos x="401" y="1244"/>
                </a:cxn>
                <a:cxn ang="0">
                  <a:pos x="494" y="1162"/>
                </a:cxn>
              </a:cxnLst>
              <a:rect l="0" t="0" r="r" b="b"/>
              <a:pathLst>
                <a:path w="605" h="1336">
                  <a:moveTo>
                    <a:pt x="477" y="135"/>
                  </a:moveTo>
                  <a:cubicBezTo>
                    <a:pt x="480" y="130"/>
                    <a:pt x="483" y="125"/>
                    <a:pt x="486" y="120"/>
                  </a:cubicBezTo>
                  <a:cubicBezTo>
                    <a:pt x="484" y="120"/>
                    <a:pt x="483" y="120"/>
                    <a:pt x="481" y="121"/>
                  </a:cubicBezTo>
                  <a:cubicBezTo>
                    <a:pt x="480" y="122"/>
                    <a:pt x="479" y="123"/>
                    <a:pt x="478" y="124"/>
                  </a:cubicBezTo>
                  <a:cubicBezTo>
                    <a:pt x="478" y="125"/>
                    <a:pt x="479" y="127"/>
                    <a:pt x="479" y="128"/>
                  </a:cubicBezTo>
                  <a:cubicBezTo>
                    <a:pt x="478" y="130"/>
                    <a:pt x="478" y="133"/>
                    <a:pt x="477" y="135"/>
                  </a:cubicBezTo>
                  <a:moveTo>
                    <a:pt x="603" y="991"/>
                  </a:moveTo>
                  <a:cubicBezTo>
                    <a:pt x="603" y="988"/>
                    <a:pt x="602" y="986"/>
                    <a:pt x="600" y="983"/>
                  </a:cubicBezTo>
                  <a:cubicBezTo>
                    <a:pt x="598" y="979"/>
                    <a:pt x="595" y="976"/>
                    <a:pt x="594" y="972"/>
                  </a:cubicBezTo>
                  <a:cubicBezTo>
                    <a:pt x="592" y="968"/>
                    <a:pt x="592" y="967"/>
                    <a:pt x="589" y="963"/>
                  </a:cubicBezTo>
                  <a:cubicBezTo>
                    <a:pt x="586" y="959"/>
                    <a:pt x="584" y="953"/>
                    <a:pt x="583" y="949"/>
                  </a:cubicBezTo>
                  <a:cubicBezTo>
                    <a:pt x="580" y="942"/>
                    <a:pt x="576" y="936"/>
                    <a:pt x="573" y="929"/>
                  </a:cubicBezTo>
                  <a:cubicBezTo>
                    <a:pt x="566" y="917"/>
                    <a:pt x="553" y="908"/>
                    <a:pt x="544" y="898"/>
                  </a:cubicBezTo>
                  <a:cubicBezTo>
                    <a:pt x="541" y="893"/>
                    <a:pt x="537" y="891"/>
                    <a:pt x="533" y="887"/>
                  </a:cubicBezTo>
                  <a:cubicBezTo>
                    <a:pt x="530" y="885"/>
                    <a:pt x="528" y="884"/>
                    <a:pt x="528" y="880"/>
                  </a:cubicBezTo>
                  <a:cubicBezTo>
                    <a:pt x="527" y="878"/>
                    <a:pt x="529" y="874"/>
                    <a:pt x="529" y="872"/>
                  </a:cubicBezTo>
                  <a:cubicBezTo>
                    <a:pt x="529" y="868"/>
                    <a:pt x="529" y="865"/>
                    <a:pt x="530" y="862"/>
                  </a:cubicBezTo>
                  <a:cubicBezTo>
                    <a:pt x="533" y="852"/>
                    <a:pt x="530" y="841"/>
                    <a:pt x="535" y="832"/>
                  </a:cubicBezTo>
                  <a:cubicBezTo>
                    <a:pt x="540" y="821"/>
                    <a:pt x="535" y="834"/>
                    <a:pt x="532" y="823"/>
                  </a:cubicBezTo>
                  <a:cubicBezTo>
                    <a:pt x="531" y="821"/>
                    <a:pt x="531" y="818"/>
                    <a:pt x="530" y="815"/>
                  </a:cubicBezTo>
                  <a:cubicBezTo>
                    <a:pt x="526" y="806"/>
                    <a:pt x="519" y="800"/>
                    <a:pt x="514" y="792"/>
                  </a:cubicBezTo>
                  <a:cubicBezTo>
                    <a:pt x="513" y="791"/>
                    <a:pt x="513" y="789"/>
                    <a:pt x="512" y="788"/>
                  </a:cubicBezTo>
                  <a:cubicBezTo>
                    <a:pt x="511" y="786"/>
                    <a:pt x="510" y="789"/>
                    <a:pt x="510" y="786"/>
                  </a:cubicBezTo>
                  <a:cubicBezTo>
                    <a:pt x="509" y="783"/>
                    <a:pt x="513" y="780"/>
                    <a:pt x="514" y="778"/>
                  </a:cubicBezTo>
                  <a:cubicBezTo>
                    <a:pt x="517" y="772"/>
                    <a:pt x="518" y="766"/>
                    <a:pt x="520" y="761"/>
                  </a:cubicBezTo>
                  <a:cubicBezTo>
                    <a:pt x="521" y="759"/>
                    <a:pt x="524" y="758"/>
                    <a:pt x="522" y="755"/>
                  </a:cubicBezTo>
                  <a:cubicBezTo>
                    <a:pt x="519" y="750"/>
                    <a:pt x="509" y="749"/>
                    <a:pt x="504" y="746"/>
                  </a:cubicBezTo>
                  <a:cubicBezTo>
                    <a:pt x="500" y="742"/>
                    <a:pt x="497" y="738"/>
                    <a:pt x="495" y="733"/>
                  </a:cubicBezTo>
                  <a:cubicBezTo>
                    <a:pt x="493" y="729"/>
                    <a:pt x="492" y="719"/>
                    <a:pt x="494" y="714"/>
                  </a:cubicBezTo>
                  <a:cubicBezTo>
                    <a:pt x="495" y="710"/>
                    <a:pt x="497" y="713"/>
                    <a:pt x="501" y="712"/>
                  </a:cubicBezTo>
                  <a:cubicBezTo>
                    <a:pt x="505" y="711"/>
                    <a:pt x="503" y="710"/>
                    <a:pt x="505" y="708"/>
                  </a:cubicBezTo>
                  <a:cubicBezTo>
                    <a:pt x="509" y="703"/>
                    <a:pt x="510" y="699"/>
                    <a:pt x="505" y="693"/>
                  </a:cubicBezTo>
                  <a:cubicBezTo>
                    <a:pt x="502" y="691"/>
                    <a:pt x="500" y="691"/>
                    <a:pt x="499" y="688"/>
                  </a:cubicBezTo>
                  <a:cubicBezTo>
                    <a:pt x="497" y="685"/>
                    <a:pt x="499" y="679"/>
                    <a:pt x="499" y="676"/>
                  </a:cubicBezTo>
                  <a:cubicBezTo>
                    <a:pt x="499" y="668"/>
                    <a:pt x="498" y="661"/>
                    <a:pt x="502" y="654"/>
                  </a:cubicBezTo>
                  <a:cubicBezTo>
                    <a:pt x="504" y="651"/>
                    <a:pt x="504" y="652"/>
                    <a:pt x="505" y="649"/>
                  </a:cubicBezTo>
                  <a:cubicBezTo>
                    <a:pt x="505" y="646"/>
                    <a:pt x="504" y="643"/>
                    <a:pt x="506" y="640"/>
                  </a:cubicBezTo>
                  <a:cubicBezTo>
                    <a:pt x="512" y="633"/>
                    <a:pt x="530" y="647"/>
                    <a:pt x="516" y="607"/>
                  </a:cubicBezTo>
                  <a:cubicBezTo>
                    <a:pt x="514" y="599"/>
                    <a:pt x="460" y="469"/>
                    <a:pt x="462" y="461"/>
                  </a:cubicBezTo>
                  <a:cubicBezTo>
                    <a:pt x="464" y="455"/>
                    <a:pt x="508" y="393"/>
                    <a:pt x="513" y="378"/>
                  </a:cubicBezTo>
                  <a:cubicBezTo>
                    <a:pt x="515" y="372"/>
                    <a:pt x="519" y="366"/>
                    <a:pt x="515" y="359"/>
                  </a:cubicBezTo>
                  <a:cubicBezTo>
                    <a:pt x="514" y="357"/>
                    <a:pt x="511" y="355"/>
                    <a:pt x="509" y="353"/>
                  </a:cubicBezTo>
                  <a:cubicBezTo>
                    <a:pt x="507" y="351"/>
                    <a:pt x="506" y="349"/>
                    <a:pt x="504" y="346"/>
                  </a:cubicBezTo>
                  <a:cubicBezTo>
                    <a:pt x="503" y="343"/>
                    <a:pt x="500" y="340"/>
                    <a:pt x="498" y="337"/>
                  </a:cubicBezTo>
                  <a:cubicBezTo>
                    <a:pt x="496" y="332"/>
                    <a:pt x="493" y="327"/>
                    <a:pt x="491" y="323"/>
                  </a:cubicBezTo>
                  <a:cubicBezTo>
                    <a:pt x="488" y="316"/>
                    <a:pt x="484" y="312"/>
                    <a:pt x="479" y="307"/>
                  </a:cubicBezTo>
                  <a:cubicBezTo>
                    <a:pt x="476" y="304"/>
                    <a:pt x="477" y="304"/>
                    <a:pt x="472" y="302"/>
                  </a:cubicBezTo>
                  <a:cubicBezTo>
                    <a:pt x="470" y="301"/>
                    <a:pt x="468" y="299"/>
                    <a:pt x="466" y="297"/>
                  </a:cubicBezTo>
                  <a:cubicBezTo>
                    <a:pt x="458" y="292"/>
                    <a:pt x="449" y="293"/>
                    <a:pt x="444" y="284"/>
                  </a:cubicBezTo>
                  <a:cubicBezTo>
                    <a:pt x="440" y="277"/>
                    <a:pt x="441" y="269"/>
                    <a:pt x="441" y="261"/>
                  </a:cubicBezTo>
                  <a:cubicBezTo>
                    <a:pt x="441" y="252"/>
                    <a:pt x="441" y="243"/>
                    <a:pt x="441" y="235"/>
                  </a:cubicBezTo>
                  <a:cubicBezTo>
                    <a:pt x="441" y="226"/>
                    <a:pt x="443" y="219"/>
                    <a:pt x="444" y="211"/>
                  </a:cubicBezTo>
                  <a:cubicBezTo>
                    <a:pt x="446" y="203"/>
                    <a:pt x="445" y="194"/>
                    <a:pt x="449" y="188"/>
                  </a:cubicBezTo>
                  <a:cubicBezTo>
                    <a:pt x="447" y="188"/>
                    <a:pt x="447" y="188"/>
                    <a:pt x="447" y="188"/>
                  </a:cubicBezTo>
                  <a:cubicBezTo>
                    <a:pt x="443" y="188"/>
                    <a:pt x="434" y="189"/>
                    <a:pt x="437" y="185"/>
                  </a:cubicBezTo>
                  <a:cubicBezTo>
                    <a:pt x="436" y="185"/>
                    <a:pt x="442" y="181"/>
                    <a:pt x="442" y="181"/>
                  </a:cubicBezTo>
                  <a:cubicBezTo>
                    <a:pt x="446" y="180"/>
                    <a:pt x="445" y="182"/>
                    <a:pt x="448" y="178"/>
                  </a:cubicBezTo>
                  <a:cubicBezTo>
                    <a:pt x="452" y="174"/>
                    <a:pt x="457" y="171"/>
                    <a:pt x="460" y="166"/>
                  </a:cubicBezTo>
                  <a:cubicBezTo>
                    <a:pt x="461" y="165"/>
                    <a:pt x="462" y="164"/>
                    <a:pt x="462" y="163"/>
                  </a:cubicBezTo>
                  <a:cubicBezTo>
                    <a:pt x="461" y="163"/>
                    <a:pt x="459" y="164"/>
                    <a:pt x="458" y="162"/>
                  </a:cubicBezTo>
                  <a:cubicBezTo>
                    <a:pt x="456" y="161"/>
                    <a:pt x="455" y="159"/>
                    <a:pt x="454" y="158"/>
                  </a:cubicBezTo>
                  <a:cubicBezTo>
                    <a:pt x="453" y="156"/>
                    <a:pt x="452" y="154"/>
                    <a:pt x="451" y="152"/>
                  </a:cubicBezTo>
                  <a:cubicBezTo>
                    <a:pt x="450" y="150"/>
                    <a:pt x="450" y="148"/>
                    <a:pt x="449" y="147"/>
                  </a:cubicBezTo>
                  <a:cubicBezTo>
                    <a:pt x="447" y="143"/>
                    <a:pt x="448" y="140"/>
                    <a:pt x="450" y="136"/>
                  </a:cubicBezTo>
                  <a:cubicBezTo>
                    <a:pt x="450" y="135"/>
                    <a:pt x="451" y="134"/>
                    <a:pt x="452" y="133"/>
                  </a:cubicBezTo>
                  <a:cubicBezTo>
                    <a:pt x="454" y="130"/>
                    <a:pt x="455" y="127"/>
                    <a:pt x="456" y="125"/>
                  </a:cubicBezTo>
                  <a:cubicBezTo>
                    <a:pt x="460" y="118"/>
                    <a:pt x="463" y="112"/>
                    <a:pt x="467" y="107"/>
                  </a:cubicBezTo>
                  <a:cubicBezTo>
                    <a:pt x="469" y="104"/>
                    <a:pt x="470" y="102"/>
                    <a:pt x="472" y="100"/>
                  </a:cubicBezTo>
                  <a:cubicBezTo>
                    <a:pt x="473" y="98"/>
                    <a:pt x="474" y="96"/>
                    <a:pt x="474" y="94"/>
                  </a:cubicBezTo>
                  <a:cubicBezTo>
                    <a:pt x="474" y="91"/>
                    <a:pt x="472" y="87"/>
                    <a:pt x="471" y="84"/>
                  </a:cubicBezTo>
                  <a:cubicBezTo>
                    <a:pt x="469" y="80"/>
                    <a:pt x="468" y="77"/>
                    <a:pt x="467" y="73"/>
                  </a:cubicBezTo>
                  <a:cubicBezTo>
                    <a:pt x="466" y="72"/>
                    <a:pt x="466" y="70"/>
                    <a:pt x="466" y="69"/>
                  </a:cubicBezTo>
                  <a:cubicBezTo>
                    <a:pt x="465" y="67"/>
                    <a:pt x="464" y="66"/>
                    <a:pt x="462" y="65"/>
                  </a:cubicBezTo>
                  <a:cubicBezTo>
                    <a:pt x="458" y="63"/>
                    <a:pt x="456" y="59"/>
                    <a:pt x="452" y="56"/>
                  </a:cubicBezTo>
                  <a:cubicBezTo>
                    <a:pt x="447" y="51"/>
                    <a:pt x="441" y="48"/>
                    <a:pt x="434" y="45"/>
                  </a:cubicBezTo>
                  <a:cubicBezTo>
                    <a:pt x="432" y="43"/>
                    <a:pt x="431" y="42"/>
                    <a:pt x="430" y="40"/>
                  </a:cubicBezTo>
                  <a:cubicBezTo>
                    <a:pt x="429" y="39"/>
                    <a:pt x="428" y="37"/>
                    <a:pt x="428" y="36"/>
                  </a:cubicBezTo>
                  <a:cubicBezTo>
                    <a:pt x="426" y="34"/>
                    <a:pt x="425" y="32"/>
                    <a:pt x="423" y="29"/>
                  </a:cubicBezTo>
                  <a:cubicBezTo>
                    <a:pt x="422" y="26"/>
                    <a:pt x="419" y="24"/>
                    <a:pt x="417" y="21"/>
                  </a:cubicBezTo>
                  <a:cubicBezTo>
                    <a:pt x="417" y="21"/>
                    <a:pt x="415" y="18"/>
                    <a:pt x="414" y="17"/>
                  </a:cubicBezTo>
                  <a:cubicBezTo>
                    <a:pt x="412" y="16"/>
                    <a:pt x="410" y="17"/>
                    <a:pt x="409" y="14"/>
                  </a:cubicBezTo>
                  <a:cubicBezTo>
                    <a:pt x="408" y="13"/>
                    <a:pt x="409" y="10"/>
                    <a:pt x="409" y="9"/>
                  </a:cubicBezTo>
                  <a:cubicBezTo>
                    <a:pt x="409" y="8"/>
                    <a:pt x="408" y="5"/>
                    <a:pt x="407" y="5"/>
                  </a:cubicBezTo>
                  <a:cubicBezTo>
                    <a:pt x="405" y="2"/>
                    <a:pt x="408" y="4"/>
                    <a:pt x="404" y="3"/>
                  </a:cubicBezTo>
                  <a:cubicBezTo>
                    <a:pt x="401" y="3"/>
                    <a:pt x="397" y="5"/>
                    <a:pt x="393" y="3"/>
                  </a:cubicBezTo>
                  <a:cubicBezTo>
                    <a:pt x="392" y="2"/>
                    <a:pt x="392" y="1"/>
                    <a:pt x="390" y="0"/>
                  </a:cubicBezTo>
                  <a:cubicBezTo>
                    <a:pt x="389" y="1"/>
                    <a:pt x="388" y="1"/>
                    <a:pt x="387" y="1"/>
                  </a:cubicBezTo>
                  <a:cubicBezTo>
                    <a:pt x="386" y="1"/>
                    <a:pt x="385" y="2"/>
                    <a:pt x="385" y="2"/>
                  </a:cubicBezTo>
                  <a:cubicBezTo>
                    <a:pt x="382" y="4"/>
                    <a:pt x="381" y="7"/>
                    <a:pt x="379" y="9"/>
                  </a:cubicBezTo>
                  <a:cubicBezTo>
                    <a:pt x="377" y="11"/>
                    <a:pt x="375" y="12"/>
                    <a:pt x="374" y="14"/>
                  </a:cubicBezTo>
                  <a:cubicBezTo>
                    <a:pt x="371" y="17"/>
                    <a:pt x="372" y="21"/>
                    <a:pt x="371" y="25"/>
                  </a:cubicBezTo>
                  <a:cubicBezTo>
                    <a:pt x="368" y="26"/>
                    <a:pt x="365" y="26"/>
                    <a:pt x="362" y="27"/>
                  </a:cubicBezTo>
                  <a:cubicBezTo>
                    <a:pt x="359" y="27"/>
                    <a:pt x="355" y="29"/>
                    <a:pt x="352" y="28"/>
                  </a:cubicBezTo>
                  <a:cubicBezTo>
                    <a:pt x="352" y="28"/>
                    <a:pt x="352" y="26"/>
                    <a:pt x="352" y="26"/>
                  </a:cubicBezTo>
                  <a:cubicBezTo>
                    <a:pt x="348" y="25"/>
                    <a:pt x="343" y="26"/>
                    <a:pt x="339" y="26"/>
                  </a:cubicBezTo>
                  <a:cubicBezTo>
                    <a:pt x="335" y="26"/>
                    <a:pt x="330" y="25"/>
                    <a:pt x="326" y="27"/>
                  </a:cubicBezTo>
                  <a:cubicBezTo>
                    <a:pt x="321" y="30"/>
                    <a:pt x="315" y="36"/>
                    <a:pt x="312" y="41"/>
                  </a:cubicBezTo>
                  <a:cubicBezTo>
                    <a:pt x="311" y="43"/>
                    <a:pt x="311" y="46"/>
                    <a:pt x="309" y="48"/>
                  </a:cubicBezTo>
                  <a:cubicBezTo>
                    <a:pt x="308" y="49"/>
                    <a:pt x="307" y="50"/>
                    <a:pt x="307" y="52"/>
                  </a:cubicBezTo>
                  <a:cubicBezTo>
                    <a:pt x="306" y="56"/>
                    <a:pt x="309" y="61"/>
                    <a:pt x="306" y="64"/>
                  </a:cubicBezTo>
                  <a:cubicBezTo>
                    <a:pt x="303" y="67"/>
                    <a:pt x="297" y="65"/>
                    <a:pt x="295" y="69"/>
                  </a:cubicBezTo>
                  <a:cubicBezTo>
                    <a:pt x="294" y="70"/>
                    <a:pt x="294" y="71"/>
                    <a:pt x="294" y="72"/>
                  </a:cubicBezTo>
                  <a:cubicBezTo>
                    <a:pt x="293" y="73"/>
                    <a:pt x="293" y="73"/>
                    <a:pt x="293" y="74"/>
                  </a:cubicBezTo>
                  <a:cubicBezTo>
                    <a:pt x="292" y="75"/>
                    <a:pt x="293" y="77"/>
                    <a:pt x="293" y="78"/>
                  </a:cubicBezTo>
                  <a:cubicBezTo>
                    <a:pt x="293" y="80"/>
                    <a:pt x="292" y="83"/>
                    <a:pt x="292" y="86"/>
                  </a:cubicBezTo>
                  <a:cubicBezTo>
                    <a:pt x="291" y="91"/>
                    <a:pt x="292" y="97"/>
                    <a:pt x="290" y="102"/>
                  </a:cubicBezTo>
                  <a:cubicBezTo>
                    <a:pt x="289" y="107"/>
                    <a:pt x="288" y="110"/>
                    <a:pt x="288" y="115"/>
                  </a:cubicBezTo>
                  <a:cubicBezTo>
                    <a:pt x="288" y="121"/>
                    <a:pt x="288" y="128"/>
                    <a:pt x="288" y="135"/>
                  </a:cubicBezTo>
                  <a:cubicBezTo>
                    <a:pt x="288" y="143"/>
                    <a:pt x="288" y="152"/>
                    <a:pt x="288" y="160"/>
                  </a:cubicBezTo>
                  <a:cubicBezTo>
                    <a:pt x="288" y="164"/>
                    <a:pt x="288" y="165"/>
                    <a:pt x="287" y="167"/>
                  </a:cubicBezTo>
                  <a:cubicBezTo>
                    <a:pt x="286" y="169"/>
                    <a:pt x="285" y="169"/>
                    <a:pt x="284" y="170"/>
                  </a:cubicBezTo>
                  <a:cubicBezTo>
                    <a:pt x="283" y="172"/>
                    <a:pt x="282" y="175"/>
                    <a:pt x="281" y="177"/>
                  </a:cubicBezTo>
                  <a:cubicBezTo>
                    <a:pt x="280" y="178"/>
                    <a:pt x="279" y="180"/>
                    <a:pt x="278" y="183"/>
                  </a:cubicBezTo>
                  <a:cubicBezTo>
                    <a:pt x="278" y="184"/>
                    <a:pt x="279" y="185"/>
                    <a:pt x="278" y="187"/>
                  </a:cubicBezTo>
                  <a:cubicBezTo>
                    <a:pt x="275" y="187"/>
                    <a:pt x="274" y="186"/>
                    <a:pt x="271" y="186"/>
                  </a:cubicBezTo>
                  <a:cubicBezTo>
                    <a:pt x="268" y="185"/>
                    <a:pt x="268" y="185"/>
                    <a:pt x="266" y="189"/>
                  </a:cubicBezTo>
                  <a:cubicBezTo>
                    <a:pt x="265" y="192"/>
                    <a:pt x="265" y="194"/>
                    <a:pt x="263" y="196"/>
                  </a:cubicBezTo>
                  <a:cubicBezTo>
                    <a:pt x="263" y="196"/>
                    <a:pt x="260" y="198"/>
                    <a:pt x="260" y="198"/>
                  </a:cubicBezTo>
                  <a:cubicBezTo>
                    <a:pt x="260" y="199"/>
                    <a:pt x="259" y="200"/>
                    <a:pt x="258" y="201"/>
                  </a:cubicBezTo>
                  <a:cubicBezTo>
                    <a:pt x="257" y="202"/>
                    <a:pt x="256" y="201"/>
                    <a:pt x="256" y="203"/>
                  </a:cubicBezTo>
                  <a:cubicBezTo>
                    <a:pt x="255" y="203"/>
                    <a:pt x="255" y="202"/>
                    <a:pt x="255" y="201"/>
                  </a:cubicBezTo>
                  <a:cubicBezTo>
                    <a:pt x="254" y="201"/>
                    <a:pt x="254" y="199"/>
                    <a:pt x="252" y="198"/>
                  </a:cubicBezTo>
                  <a:cubicBezTo>
                    <a:pt x="249" y="195"/>
                    <a:pt x="244" y="196"/>
                    <a:pt x="241" y="195"/>
                  </a:cubicBezTo>
                  <a:cubicBezTo>
                    <a:pt x="243" y="198"/>
                    <a:pt x="250" y="201"/>
                    <a:pt x="254" y="201"/>
                  </a:cubicBezTo>
                  <a:cubicBezTo>
                    <a:pt x="252" y="203"/>
                    <a:pt x="249" y="207"/>
                    <a:pt x="248" y="210"/>
                  </a:cubicBezTo>
                  <a:cubicBezTo>
                    <a:pt x="247" y="214"/>
                    <a:pt x="255" y="224"/>
                    <a:pt x="249" y="227"/>
                  </a:cubicBezTo>
                  <a:cubicBezTo>
                    <a:pt x="247" y="228"/>
                    <a:pt x="245" y="226"/>
                    <a:pt x="243" y="228"/>
                  </a:cubicBezTo>
                  <a:cubicBezTo>
                    <a:pt x="241" y="229"/>
                    <a:pt x="241" y="231"/>
                    <a:pt x="239" y="232"/>
                  </a:cubicBezTo>
                  <a:cubicBezTo>
                    <a:pt x="236" y="232"/>
                    <a:pt x="237" y="226"/>
                    <a:pt x="235" y="224"/>
                  </a:cubicBezTo>
                  <a:cubicBezTo>
                    <a:pt x="234" y="223"/>
                    <a:pt x="234" y="221"/>
                    <a:pt x="232" y="220"/>
                  </a:cubicBezTo>
                  <a:cubicBezTo>
                    <a:pt x="229" y="219"/>
                    <a:pt x="225" y="217"/>
                    <a:pt x="222" y="216"/>
                  </a:cubicBezTo>
                  <a:cubicBezTo>
                    <a:pt x="220" y="215"/>
                    <a:pt x="218" y="215"/>
                    <a:pt x="217" y="214"/>
                  </a:cubicBezTo>
                  <a:cubicBezTo>
                    <a:pt x="216" y="213"/>
                    <a:pt x="215" y="213"/>
                    <a:pt x="214" y="213"/>
                  </a:cubicBezTo>
                  <a:cubicBezTo>
                    <a:pt x="214" y="212"/>
                    <a:pt x="213" y="212"/>
                    <a:pt x="213" y="211"/>
                  </a:cubicBezTo>
                  <a:cubicBezTo>
                    <a:pt x="209" y="208"/>
                    <a:pt x="204" y="206"/>
                    <a:pt x="200" y="203"/>
                  </a:cubicBezTo>
                  <a:cubicBezTo>
                    <a:pt x="195" y="200"/>
                    <a:pt x="190" y="196"/>
                    <a:pt x="184" y="196"/>
                  </a:cubicBezTo>
                  <a:cubicBezTo>
                    <a:pt x="183" y="198"/>
                    <a:pt x="183" y="200"/>
                    <a:pt x="182" y="202"/>
                  </a:cubicBezTo>
                  <a:cubicBezTo>
                    <a:pt x="181" y="203"/>
                    <a:pt x="179" y="205"/>
                    <a:pt x="178" y="206"/>
                  </a:cubicBezTo>
                  <a:cubicBezTo>
                    <a:pt x="176" y="209"/>
                    <a:pt x="176" y="212"/>
                    <a:pt x="175" y="214"/>
                  </a:cubicBezTo>
                  <a:cubicBezTo>
                    <a:pt x="174" y="215"/>
                    <a:pt x="172" y="214"/>
                    <a:pt x="172" y="215"/>
                  </a:cubicBezTo>
                  <a:cubicBezTo>
                    <a:pt x="172" y="216"/>
                    <a:pt x="172" y="217"/>
                    <a:pt x="172" y="217"/>
                  </a:cubicBezTo>
                  <a:cubicBezTo>
                    <a:pt x="170" y="220"/>
                    <a:pt x="172" y="220"/>
                    <a:pt x="169" y="220"/>
                  </a:cubicBezTo>
                  <a:cubicBezTo>
                    <a:pt x="167" y="220"/>
                    <a:pt x="165" y="220"/>
                    <a:pt x="163" y="220"/>
                  </a:cubicBezTo>
                  <a:cubicBezTo>
                    <a:pt x="159" y="220"/>
                    <a:pt x="154" y="224"/>
                    <a:pt x="150" y="223"/>
                  </a:cubicBezTo>
                  <a:cubicBezTo>
                    <a:pt x="146" y="222"/>
                    <a:pt x="146" y="219"/>
                    <a:pt x="142" y="217"/>
                  </a:cubicBezTo>
                  <a:cubicBezTo>
                    <a:pt x="140" y="217"/>
                    <a:pt x="137" y="217"/>
                    <a:pt x="135" y="217"/>
                  </a:cubicBezTo>
                  <a:cubicBezTo>
                    <a:pt x="133" y="217"/>
                    <a:pt x="132" y="216"/>
                    <a:pt x="130" y="215"/>
                  </a:cubicBezTo>
                  <a:cubicBezTo>
                    <a:pt x="125" y="213"/>
                    <a:pt x="121" y="212"/>
                    <a:pt x="115" y="211"/>
                  </a:cubicBezTo>
                  <a:cubicBezTo>
                    <a:pt x="114" y="210"/>
                    <a:pt x="112" y="210"/>
                    <a:pt x="110" y="210"/>
                  </a:cubicBezTo>
                  <a:cubicBezTo>
                    <a:pt x="108" y="210"/>
                    <a:pt x="107" y="211"/>
                    <a:pt x="105" y="211"/>
                  </a:cubicBezTo>
                  <a:cubicBezTo>
                    <a:pt x="104" y="204"/>
                    <a:pt x="105" y="196"/>
                    <a:pt x="104" y="189"/>
                  </a:cubicBezTo>
                  <a:cubicBezTo>
                    <a:pt x="103" y="186"/>
                    <a:pt x="103" y="188"/>
                    <a:pt x="101" y="186"/>
                  </a:cubicBezTo>
                  <a:cubicBezTo>
                    <a:pt x="100" y="185"/>
                    <a:pt x="100" y="184"/>
                    <a:pt x="99" y="183"/>
                  </a:cubicBezTo>
                  <a:cubicBezTo>
                    <a:pt x="99" y="181"/>
                    <a:pt x="97" y="180"/>
                    <a:pt x="96" y="178"/>
                  </a:cubicBezTo>
                  <a:cubicBezTo>
                    <a:pt x="95" y="177"/>
                    <a:pt x="94" y="175"/>
                    <a:pt x="93" y="174"/>
                  </a:cubicBezTo>
                  <a:cubicBezTo>
                    <a:pt x="91" y="171"/>
                    <a:pt x="88" y="167"/>
                    <a:pt x="85" y="164"/>
                  </a:cubicBezTo>
                  <a:cubicBezTo>
                    <a:pt x="83" y="162"/>
                    <a:pt x="81" y="160"/>
                    <a:pt x="79" y="157"/>
                  </a:cubicBezTo>
                  <a:cubicBezTo>
                    <a:pt x="76" y="153"/>
                    <a:pt x="74" y="148"/>
                    <a:pt x="73" y="144"/>
                  </a:cubicBezTo>
                  <a:cubicBezTo>
                    <a:pt x="72" y="142"/>
                    <a:pt x="72" y="141"/>
                    <a:pt x="71" y="139"/>
                  </a:cubicBezTo>
                  <a:cubicBezTo>
                    <a:pt x="70" y="138"/>
                    <a:pt x="68" y="137"/>
                    <a:pt x="67" y="135"/>
                  </a:cubicBezTo>
                  <a:cubicBezTo>
                    <a:pt x="66" y="133"/>
                    <a:pt x="66" y="129"/>
                    <a:pt x="64" y="127"/>
                  </a:cubicBezTo>
                  <a:cubicBezTo>
                    <a:pt x="62" y="125"/>
                    <a:pt x="57" y="126"/>
                    <a:pt x="55" y="126"/>
                  </a:cubicBezTo>
                  <a:cubicBezTo>
                    <a:pt x="49" y="126"/>
                    <a:pt x="44" y="129"/>
                    <a:pt x="39" y="130"/>
                  </a:cubicBezTo>
                  <a:cubicBezTo>
                    <a:pt x="34" y="132"/>
                    <a:pt x="27" y="134"/>
                    <a:pt x="30" y="141"/>
                  </a:cubicBezTo>
                  <a:cubicBezTo>
                    <a:pt x="31" y="144"/>
                    <a:pt x="33" y="146"/>
                    <a:pt x="34" y="151"/>
                  </a:cubicBezTo>
                  <a:cubicBezTo>
                    <a:pt x="34" y="154"/>
                    <a:pt x="34" y="158"/>
                    <a:pt x="34" y="161"/>
                  </a:cubicBezTo>
                  <a:cubicBezTo>
                    <a:pt x="31" y="160"/>
                    <a:pt x="28" y="158"/>
                    <a:pt x="25" y="157"/>
                  </a:cubicBezTo>
                  <a:cubicBezTo>
                    <a:pt x="23" y="156"/>
                    <a:pt x="19" y="153"/>
                    <a:pt x="17" y="154"/>
                  </a:cubicBezTo>
                  <a:cubicBezTo>
                    <a:pt x="17" y="154"/>
                    <a:pt x="17" y="155"/>
                    <a:pt x="17" y="156"/>
                  </a:cubicBezTo>
                  <a:cubicBezTo>
                    <a:pt x="11" y="157"/>
                    <a:pt x="5" y="157"/>
                    <a:pt x="0" y="158"/>
                  </a:cubicBezTo>
                  <a:cubicBezTo>
                    <a:pt x="1" y="157"/>
                    <a:pt x="3" y="157"/>
                    <a:pt x="5" y="157"/>
                  </a:cubicBezTo>
                  <a:cubicBezTo>
                    <a:pt x="5" y="157"/>
                    <a:pt x="5" y="158"/>
                    <a:pt x="5" y="158"/>
                  </a:cubicBezTo>
                  <a:cubicBezTo>
                    <a:pt x="6" y="159"/>
                    <a:pt x="6" y="161"/>
                    <a:pt x="7" y="162"/>
                  </a:cubicBezTo>
                  <a:cubicBezTo>
                    <a:pt x="8" y="165"/>
                    <a:pt x="11" y="168"/>
                    <a:pt x="13" y="171"/>
                  </a:cubicBezTo>
                  <a:cubicBezTo>
                    <a:pt x="16" y="174"/>
                    <a:pt x="19" y="176"/>
                    <a:pt x="22" y="179"/>
                  </a:cubicBezTo>
                  <a:cubicBezTo>
                    <a:pt x="25" y="181"/>
                    <a:pt x="26" y="183"/>
                    <a:pt x="28" y="185"/>
                  </a:cubicBezTo>
                  <a:cubicBezTo>
                    <a:pt x="31" y="187"/>
                    <a:pt x="34" y="189"/>
                    <a:pt x="37" y="192"/>
                  </a:cubicBezTo>
                  <a:cubicBezTo>
                    <a:pt x="40" y="196"/>
                    <a:pt x="41" y="201"/>
                    <a:pt x="45" y="204"/>
                  </a:cubicBezTo>
                  <a:cubicBezTo>
                    <a:pt x="50" y="207"/>
                    <a:pt x="52" y="211"/>
                    <a:pt x="55" y="216"/>
                  </a:cubicBezTo>
                  <a:cubicBezTo>
                    <a:pt x="58" y="219"/>
                    <a:pt x="62" y="224"/>
                    <a:pt x="66" y="225"/>
                  </a:cubicBezTo>
                  <a:cubicBezTo>
                    <a:pt x="71" y="226"/>
                    <a:pt x="73" y="226"/>
                    <a:pt x="77" y="229"/>
                  </a:cubicBezTo>
                  <a:cubicBezTo>
                    <a:pt x="80" y="231"/>
                    <a:pt x="82" y="233"/>
                    <a:pt x="85" y="235"/>
                  </a:cubicBezTo>
                  <a:cubicBezTo>
                    <a:pt x="86" y="237"/>
                    <a:pt x="88" y="239"/>
                    <a:pt x="90" y="240"/>
                  </a:cubicBezTo>
                  <a:cubicBezTo>
                    <a:pt x="91" y="241"/>
                    <a:pt x="92" y="241"/>
                    <a:pt x="94" y="241"/>
                  </a:cubicBezTo>
                  <a:cubicBezTo>
                    <a:pt x="98" y="241"/>
                    <a:pt x="101" y="242"/>
                    <a:pt x="105" y="243"/>
                  </a:cubicBezTo>
                  <a:cubicBezTo>
                    <a:pt x="110" y="246"/>
                    <a:pt x="112" y="247"/>
                    <a:pt x="116" y="252"/>
                  </a:cubicBezTo>
                  <a:cubicBezTo>
                    <a:pt x="119" y="257"/>
                    <a:pt x="124" y="263"/>
                    <a:pt x="127" y="269"/>
                  </a:cubicBezTo>
                  <a:cubicBezTo>
                    <a:pt x="128" y="271"/>
                    <a:pt x="129" y="272"/>
                    <a:pt x="130" y="274"/>
                  </a:cubicBezTo>
                  <a:cubicBezTo>
                    <a:pt x="131" y="277"/>
                    <a:pt x="132" y="276"/>
                    <a:pt x="135" y="277"/>
                  </a:cubicBezTo>
                  <a:cubicBezTo>
                    <a:pt x="137" y="278"/>
                    <a:pt x="142" y="279"/>
                    <a:pt x="144" y="280"/>
                  </a:cubicBezTo>
                  <a:cubicBezTo>
                    <a:pt x="145" y="282"/>
                    <a:pt x="144" y="285"/>
                    <a:pt x="144" y="286"/>
                  </a:cubicBezTo>
                  <a:cubicBezTo>
                    <a:pt x="145" y="290"/>
                    <a:pt x="144" y="294"/>
                    <a:pt x="145" y="297"/>
                  </a:cubicBezTo>
                  <a:cubicBezTo>
                    <a:pt x="148" y="297"/>
                    <a:pt x="150" y="298"/>
                    <a:pt x="152" y="299"/>
                  </a:cubicBezTo>
                  <a:cubicBezTo>
                    <a:pt x="156" y="300"/>
                    <a:pt x="157" y="302"/>
                    <a:pt x="159" y="305"/>
                  </a:cubicBezTo>
                  <a:cubicBezTo>
                    <a:pt x="162" y="310"/>
                    <a:pt x="163" y="318"/>
                    <a:pt x="170" y="319"/>
                  </a:cubicBezTo>
                  <a:cubicBezTo>
                    <a:pt x="171" y="324"/>
                    <a:pt x="168" y="326"/>
                    <a:pt x="166" y="331"/>
                  </a:cubicBezTo>
                  <a:cubicBezTo>
                    <a:pt x="166" y="333"/>
                    <a:pt x="165" y="335"/>
                    <a:pt x="165" y="337"/>
                  </a:cubicBezTo>
                  <a:cubicBezTo>
                    <a:pt x="165" y="341"/>
                    <a:pt x="165" y="345"/>
                    <a:pt x="165" y="349"/>
                  </a:cubicBezTo>
                  <a:cubicBezTo>
                    <a:pt x="165" y="356"/>
                    <a:pt x="168" y="361"/>
                    <a:pt x="169" y="368"/>
                  </a:cubicBezTo>
                  <a:cubicBezTo>
                    <a:pt x="169" y="371"/>
                    <a:pt x="169" y="375"/>
                    <a:pt x="167" y="378"/>
                  </a:cubicBezTo>
                  <a:cubicBezTo>
                    <a:pt x="164" y="381"/>
                    <a:pt x="159" y="382"/>
                    <a:pt x="160" y="387"/>
                  </a:cubicBezTo>
                  <a:cubicBezTo>
                    <a:pt x="161" y="390"/>
                    <a:pt x="162" y="393"/>
                    <a:pt x="164" y="394"/>
                  </a:cubicBezTo>
                  <a:cubicBezTo>
                    <a:pt x="166" y="396"/>
                    <a:pt x="170" y="395"/>
                    <a:pt x="172" y="396"/>
                  </a:cubicBezTo>
                  <a:cubicBezTo>
                    <a:pt x="173" y="397"/>
                    <a:pt x="173" y="398"/>
                    <a:pt x="173" y="400"/>
                  </a:cubicBezTo>
                  <a:cubicBezTo>
                    <a:pt x="174" y="403"/>
                    <a:pt x="175" y="406"/>
                    <a:pt x="175" y="410"/>
                  </a:cubicBezTo>
                  <a:cubicBezTo>
                    <a:pt x="176" y="412"/>
                    <a:pt x="177" y="416"/>
                    <a:pt x="176" y="419"/>
                  </a:cubicBezTo>
                  <a:cubicBezTo>
                    <a:pt x="176" y="421"/>
                    <a:pt x="174" y="420"/>
                    <a:pt x="173" y="422"/>
                  </a:cubicBezTo>
                  <a:cubicBezTo>
                    <a:pt x="171" y="424"/>
                    <a:pt x="172" y="430"/>
                    <a:pt x="172" y="433"/>
                  </a:cubicBezTo>
                  <a:cubicBezTo>
                    <a:pt x="172" y="443"/>
                    <a:pt x="175" y="453"/>
                    <a:pt x="180" y="462"/>
                  </a:cubicBezTo>
                  <a:cubicBezTo>
                    <a:pt x="185" y="469"/>
                    <a:pt x="189" y="477"/>
                    <a:pt x="190" y="485"/>
                  </a:cubicBezTo>
                  <a:cubicBezTo>
                    <a:pt x="192" y="494"/>
                    <a:pt x="189" y="502"/>
                    <a:pt x="187" y="510"/>
                  </a:cubicBezTo>
                  <a:cubicBezTo>
                    <a:pt x="186" y="516"/>
                    <a:pt x="187" y="522"/>
                    <a:pt x="184" y="528"/>
                  </a:cubicBezTo>
                  <a:cubicBezTo>
                    <a:pt x="182" y="531"/>
                    <a:pt x="180" y="533"/>
                    <a:pt x="180" y="537"/>
                  </a:cubicBezTo>
                  <a:cubicBezTo>
                    <a:pt x="179" y="541"/>
                    <a:pt x="180" y="544"/>
                    <a:pt x="180" y="548"/>
                  </a:cubicBezTo>
                  <a:cubicBezTo>
                    <a:pt x="180" y="551"/>
                    <a:pt x="179" y="555"/>
                    <a:pt x="180" y="558"/>
                  </a:cubicBezTo>
                  <a:cubicBezTo>
                    <a:pt x="182" y="562"/>
                    <a:pt x="185" y="563"/>
                    <a:pt x="187" y="567"/>
                  </a:cubicBezTo>
                  <a:cubicBezTo>
                    <a:pt x="193" y="576"/>
                    <a:pt x="194" y="586"/>
                    <a:pt x="197" y="596"/>
                  </a:cubicBezTo>
                  <a:cubicBezTo>
                    <a:pt x="198" y="601"/>
                    <a:pt x="199" y="607"/>
                    <a:pt x="198" y="612"/>
                  </a:cubicBezTo>
                  <a:cubicBezTo>
                    <a:pt x="198" y="613"/>
                    <a:pt x="197" y="615"/>
                    <a:pt x="197" y="616"/>
                  </a:cubicBezTo>
                  <a:cubicBezTo>
                    <a:pt x="197" y="616"/>
                    <a:pt x="197" y="616"/>
                    <a:pt x="196" y="616"/>
                  </a:cubicBezTo>
                  <a:cubicBezTo>
                    <a:pt x="199" y="619"/>
                    <a:pt x="202" y="620"/>
                    <a:pt x="205" y="620"/>
                  </a:cubicBezTo>
                  <a:cubicBezTo>
                    <a:pt x="205" y="630"/>
                    <a:pt x="221" y="632"/>
                    <a:pt x="228" y="634"/>
                  </a:cubicBezTo>
                  <a:cubicBezTo>
                    <a:pt x="234" y="636"/>
                    <a:pt x="242" y="639"/>
                    <a:pt x="247" y="644"/>
                  </a:cubicBezTo>
                  <a:cubicBezTo>
                    <a:pt x="252" y="648"/>
                    <a:pt x="255" y="654"/>
                    <a:pt x="258" y="659"/>
                  </a:cubicBezTo>
                  <a:cubicBezTo>
                    <a:pt x="259" y="661"/>
                    <a:pt x="260" y="664"/>
                    <a:pt x="262" y="666"/>
                  </a:cubicBezTo>
                  <a:cubicBezTo>
                    <a:pt x="263" y="667"/>
                    <a:pt x="265" y="667"/>
                    <a:pt x="266" y="667"/>
                  </a:cubicBezTo>
                  <a:cubicBezTo>
                    <a:pt x="270" y="674"/>
                    <a:pt x="265" y="686"/>
                    <a:pt x="264" y="693"/>
                  </a:cubicBezTo>
                  <a:cubicBezTo>
                    <a:pt x="264" y="698"/>
                    <a:pt x="264" y="702"/>
                    <a:pt x="267" y="706"/>
                  </a:cubicBezTo>
                  <a:cubicBezTo>
                    <a:pt x="269" y="711"/>
                    <a:pt x="276" y="716"/>
                    <a:pt x="274" y="723"/>
                  </a:cubicBezTo>
                  <a:cubicBezTo>
                    <a:pt x="271" y="723"/>
                    <a:pt x="263" y="723"/>
                    <a:pt x="261" y="726"/>
                  </a:cubicBezTo>
                  <a:cubicBezTo>
                    <a:pt x="264" y="728"/>
                    <a:pt x="271" y="735"/>
                    <a:pt x="267" y="738"/>
                  </a:cubicBezTo>
                  <a:cubicBezTo>
                    <a:pt x="263" y="735"/>
                    <a:pt x="261" y="733"/>
                    <a:pt x="256" y="735"/>
                  </a:cubicBezTo>
                  <a:cubicBezTo>
                    <a:pt x="251" y="737"/>
                    <a:pt x="250" y="741"/>
                    <a:pt x="246" y="743"/>
                  </a:cubicBezTo>
                  <a:cubicBezTo>
                    <a:pt x="239" y="746"/>
                    <a:pt x="228" y="739"/>
                    <a:pt x="224" y="749"/>
                  </a:cubicBezTo>
                  <a:cubicBezTo>
                    <a:pt x="223" y="752"/>
                    <a:pt x="224" y="755"/>
                    <a:pt x="222" y="758"/>
                  </a:cubicBezTo>
                  <a:cubicBezTo>
                    <a:pt x="221" y="763"/>
                    <a:pt x="217" y="763"/>
                    <a:pt x="214" y="767"/>
                  </a:cubicBezTo>
                  <a:cubicBezTo>
                    <a:pt x="208" y="774"/>
                    <a:pt x="201" y="783"/>
                    <a:pt x="195" y="791"/>
                  </a:cubicBezTo>
                  <a:cubicBezTo>
                    <a:pt x="187" y="802"/>
                    <a:pt x="180" y="816"/>
                    <a:pt x="171" y="826"/>
                  </a:cubicBezTo>
                  <a:cubicBezTo>
                    <a:pt x="169" y="828"/>
                    <a:pt x="167" y="830"/>
                    <a:pt x="166" y="833"/>
                  </a:cubicBezTo>
                  <a:cubicBezTo>
                    <a:pt x="165" y="836"/>
                    <a:pt x="168" y="840"/>
                    <a:pt x="164" y="841"/>
                  </a:cubicBezTo>
                  <a:cubicBezTo>
                    <a:pt x="160" y="843"/>
                    <a:pt x="158" y="839"/>
                    <a:pt x="155" y="841"/>
                  </a:cubicBezTo>
                  <a:cubicBezTo>
                    <a:pt x="151" y="844"/>
                    <a:pt x="146" y="853"/>
                    <a:pt x="145" y="857"/>
                  </a:cubicBezTo>
                  <a:cubicBezTo>
                    <a:pt x="144" y="862"/>
                    <a:pt x="147" y="868"/>
                    <a:pt x="140" y="869"/>
                  </a:cubicBezTo>
                  <a:cubicBezTo>
                    <a:pt x="134" y="870"/>
                    <a:pt x="133" y="864"/>
                    <a:pt x="128" y="863"/>
                  </a:cubicBezTo>
                  <a:cubicBezTo>
                    <a:pt x="127" y="866"/>
                    <a:pt x="125" y="868"/>
                    <a:pt x="124" y="871"/>
                  </a:cubicBezTo>
                  <a:cubicBezTo>
                    <a:pt x="124" y="874"/>
                    <a:pt x="125" y="877"/>
                    <a:pt x="124" y="881"/>
                  </a:cubicBezTo>
                  <a:cubicBezTo>
                    <a:pt x="124" y="884"/>
                    <a:pt x="124" y="885"/>
                    <a:pt x="122" y="887"/>
                  </a:cubicBezTo>
                  <a:cubicBezTo>
                    <a:pt x="119" y="890"/>
                    <a:pt x="112" y="890"/>
                    <a:pt x="109" y="893"/>
                  </a:cubicBezTo>
                  <a:cubicBezTo>
                    <a:pt x="105" y="898"/>
                    <a:pt x="109" y="905"/>
                    <a:pt x="111" y="910"/>
                  </a:cubicBezTo>
                  <a:cubicBezTo>
                    <a:pt x="116" y="919"/>
                    <a:pt x="105" y="929"/>
                    <a:pt x="96" y="932"/>
                  </a:cubicBezTo>
                  <a:cubicBezTo>
                    <a:pt x="93" y="930"/>
                    <a:pt x="89" y="931"/>
                    <a:pt x="86" y="931"/>
                  </a:cubicBezTo>
                  <a:cubicBezTo>
                    <a:pt x="82" y="931"/>
                    <a:pt x="78" y="929"/>
                    <a:pt x="75" y="929"/>
                  </a:cubicBezTo>
                  <a:cubicBezTo>
                    <a:pt x="65" y="928"/>
                    <a:pt x="66" y="935"/>
                    <a:pt x="66" y="943"/>
                  </a:cubicBezTo>
                  <a:cubicBezTo>
                    <a:pt x="66" y="949"/>
                    <a:pt x="67" y="964"/>
                    <a:pt x="62" y="967"/>
                  </a:cubicBezTo>
                  <a:cubicBezTo>
                    <a:pt x="58" y="970"/>
                    <a:pt x="54" y="967"/>
                    <a:pt x="50" y="969"/>
                  </a:cubicBezTo>
                  <a:cubicBezTo>
                    <a:pt x="43" y="972"/>
                    <a:pt x="42" y="986"/>
                    <a:pt x="43" y="994"/>
                  </a:cubicBezTo>
                  <a:cubicBezTo>
                    <a:pt x="43" y="994"/>
                    <a:pt x="43" y="994"/>
                    <a:pt x="43" y="995"/>
                  </a:cubicBezTo>
                  <a:cubicBezTo>
                    <a:pt x="43" y="994"/>
                    <a:pt x="43" y="994"/>
                    <a:pt x="43" y="994"/>
                  </a:cubicBezTo>
                  <a:cubicBezTo>
                    <a:pt x="43" y="993"/>
                    <a:pt x="42" y="993"/>
                    <a:pt x="42" y="993"/>
                  </a:cubicBezTo>
                  <a:cubicBezTo>
                    <a:pt x="39" y="997"/>
                    <a:pt x="41" y="1008"/>
                    <a:pt x="43" y="1013"/>
                  </a:cubicBezTo>
                  <a:cubicBezTo>
                    <a:pt x="46" y="1025"/>
                    <a:pt x="59" y="1035"/>
                    <a:pt x="55" y="1049"/>
                  </a:cubicBezTo>
                  <a:cubicBezTo>
                    <a:pt x="53" y="1054"/>
                    <a:pt x="51" y="1056"/>
                    <a:pt x="52" y="1061"/>
                  </a:cubicBezTo>
                  <a:cubicBezTo>
                    <a:pt x="53" y="1066"/>
                    <a:pt x="54" y="1070"/>
                    <a:pt x="54" y="1075"/>
                  </a:cubicBezTo>
                  <a:cubicBezTo>
                    <a:pt x="54" y="1082"/>
                    <a:pt x="52" y="1095"/>
                    <a:pt x="56" y="1101"/>
                  </a:cubicBezTo>
                  <a:cubicBezTo>
                    <a:pt x="58" y="1101"/>
                    <a:pt x="60" y="1099"/>
                    <a:pt x="60" y="1098"/>
                  </a:cubicBezTo>
                  <a:cubicBezTo>
                    <a:pt x="58" y="1105"/>
                    <a:pt x="54" y="1112"/>
                    <a:pt x="55" y="1120"/>
                  </a:cubicBezTo>
                  <a:cubicBezTo>
                    <a:pt x="56" y="1127"/>
                    <a:pt x="61" y="1131"/>
                    <a:pt x="64" y="1137"/>
                  </a:cubicBezTo>
                  <a:cubicBezTo>
                    <a:pt x="68" y="1142"/>
                    <a:pt x="70" y="1145"/>
                    <a:pt x="68" y="1152"/>
                  </a:cubicBezTo>
                  <a:cubicBezTo>
                    <a:pt x="67" y="1156"/>
                    <a:pt x="64" y="1158"/>
                    <a:pt x="62" y="1162"/>
                  </a:cubicBezTo>
                  <a:cubicBezTo>
                    <a:pt x="60" y="1166"/>
                    <a:pt x="61" y="1173"/>
                    <a:pt x="61" y="1178"/>
                  </a:cubicBezTo>
                  <a:cubicBezTo>
                    <a:pt x="61" y="1180"/>
                    <a:pt x="62" y="1183"/>
                    <a:pt x="61" y="1185"/>
                  </a:cubicBezTo>
                  <a:cubicBezTo>
                    <a:pt x="60" y="1192"/>
                    <a:pt x="55" y="1197"/>
                    <a:pt x="55" y="1204"/>
                  </a:cubicBezTo>
                  <a:cubicBezTo>
                    <a:pt x="55" y="1210"/>
                    <a:pt x="57" y="1216"/>
                    <a:pt x="56" y="1221"/>
                  </a:cubicBezTo>
                  <a:cubicBezTo>
                    <a:pt x="55" y="1228"/>
                    <a:pt x="49" y="1232"/>
                    <a:pt x="47" y="1238"/>
                  </a:cubicBezTo>
                  <a:cubicBezTo>
                    <a:pt x="46" y="1243"/>
                    <a:pt x="47" y="1247"/>
                    <a:pt x="50" y="1251"/>
                  </a:cubicBezTo>
                  <a:cubicBezTo>
                    <a:pt x="53" y="1257"/>
                    <a:pt x="54" y="1254"/>
                    <a:pt x="59" y="1251"/>
                  </a:cubicBezTo>
                  <a:cubicBezTo>
                    <a:pt x="64" y="1249"/>
                    <a:pt x="68" y="1248"/>
                    <a:pt x="70" y="1253"/>
                  </a:cubicBezTo>
                  <a:cubicBezTo>
                    <a:pt x="73" y="1260"/>
                    <a:pt x="66" y="1266"/>
                    <a:pt x="65" y="1272"/>
                  </a:cubicBezTo>
                  <a:cubicBezTo>
                    <a:pt x="71" y="1275"/>
                    <a:pt x="76" y="1277"/>
                    <a:pt x="80" y="1282"/>
                  </a:cubicBezTo>
                  <a:cubicBezTo>
                    <a:pt x="84" y="1285"/>
                    <a:pt x="84" y="1292"/>
                    <a:pt x="87" y="1294"/>
                  </a:cubicBezTo>
                  <a:cubicBezTo>
                    <a:pt x="92" y="1288"/>
                    <a:pt x="97" y="1281"/>
                    <a:pt x="106" y="1280"/>
                  </a:cubicBezTo>
                  <a:cubicBezTo>
                    <a:pt x="113" y="1279"/>
                    <a:pt x="112" y="1282"/>
                    <a:pt x="114" y="1288"/>
                  </a:cubicBezTo>
                  <a:cubicBezTo>
                    <a:pt x="114" y="1291"/>
                    <a:pt x="117" y="1310"/>
                    <a:pt x="122" y="1309"/>
                  </a:cubicBezTo>
                  <a:cubicBezTo>
                    <a:pt x="125" y="1308"/>
                    <a:pt x="126" y="1302"/>
                    <a:pt x="129" y="1303"/>
                  </a:cubicBezTo>
                  <a:cubicBezTo>
                    <a:pt x="130" y="1306"/>
                    <a:pt x="129" y="1309"/>
                    <a:pt x="130" y="1311"/>
                  </a:cubicBezTo>
                  <a:cubicBezTo>
                    <a:pt x="134" y="1308"/>
                    <a:pt x="141" y="1303"/>
                    <a:pt x="146" y="1303"/>
                  </a:cubicBezTo>
                  <a:cubicBezTo>
                    <a:pt x="144" y="1307"/>
                    <a:pt x="134" y="1311"/>
                    <a:pt x="134" y="1316"/>
                  </a:cubicBezTo>
                  <a:cubicBezTo>
                    <a:pt x="135" y="1318"/>
                    <a:pt x="139" y="1322"/>
                    <a:pt x="140" y="1325"/>
                  </a:cubicBezTo>
                  <a:cubicBezTo>
                    <a:pt x="145" y="1336"/>
                    <a:pt x="151" y="1324"/>
                    <a:pt x="157" y="1319"/>
                  </a:cubicBezTo>
                  <a:cubicBezTo>
                    <a:pt x="161" y="1323"/>
                    <a:pt x="162" y="1327"/>
                    <a:pt x="167" y="1328"/>
                  </a:cubicBezTo>
                  <a:cubicBezTo>
                    <a:pt x="173" y="1328"/>
                    <a:pt x="175" y="1322"/>
                    <a:pt x="180" y="1319"/>
                  </a:cubicBezTo>
                  <a:cubicBezTo>
                    <a:pt x="186" y="1314"/>
                    <a:pt x="191" y="1311"/>
                    <a:pt x="199" y="1310"/>
                  </a:cubicBezTo>
                  <a:cubicBezTo>
                    <a:pt x="203" y="1309"/>
                    <a:pt x="209" y="1306"/>
                    <a:pt x="210" y="1302"/>
                  </a:cubicBezTo>
                  <a:cubicBezTo>
                    <a:pt x="210" y="1301"/>
                    <a:pt x="210" y="1301"/>
                    <a:pt x="211" y="1301"/>
                  </a:cubicBezTo>
                  <a:cubicBezTo>
                    <a:pt x="211" y="1301"/>
                    <a:pt x="210" y="1301"/>
                    <a:pt x="210" y="1302"/>
                  </a:cubicBezTo>
                  <a:cubicBezTo>
                    <a:pt x="213" y="1303"/>
                    <a:pt x="233" y="1303"/>
                    <a:pt x="240" y="1295"/>
                  </a:cubicBezTo>
                  <a:cubicBezTo>
                    <a:pt x="244" y="1296"/>
                    <a:pt x="249" y="1299"/>
                    <a:pt x="253" y="1297"/>
                  </a:cubicBezTo>
                  <a:cubicBezTo>
                    <a:pt x="257" y="1296"/>
                    <a:pt x="259" y="1289"/>
                    <a:pt x="263" y="1288"/>
                  </a:cubicBezTo>
                  <a:cubicBezTo>
                    <a:pt x="265" y="1287"/>
                    <a:pt x="266" y="1289"/>
                    <a:pt x="268" y="1290"/>
                  </a:cubicBezTo>
                  <a:cubicBezTo>
                    <a:pt x="272" y="1291"/>
                    <a:pt x="277" y="1291"/>
                    <a:pt x="282" y="1292"/>
                  </a:cubicBezTo>
                  <a:cubicBezTo>
                    <a:pt x="284" y="1293"/>
                    <a:pt x="291" y="1294"/>
                    <a:pt x="293" y="1291"/>
                  </a:cubicBezTo>
                  <a:cubicBezTo>
                    <a:pt x="295" y="1288"/>
                    <a:pt x="293" y="1275"/>
                    <a:pt x="293" y="1272"/>
                  </a:cubicBezTo>
                  <a:cubicBezTo>
                    <a:pt x="293" y="1267"/>
                    <a:pt x="292" y="1265"/>
                    <a:pt x="297" y="1263"/>
                  </a:cubicBezTo>
                  <a:cubicBezTo>
                    <a:pt x="303" y="1261"/>
                    <a:pt x="309" y="1266"/>
                    <a:pt x="314" y="1268"/>
                  </a:cubicBezTo>
                  <a:cubicBezTo>
                    <a:pt x="323" y="1270"/>
                    <a:pt x="338" y="1269"/>
                    <a:pt x="347" y="1265"/>
                  </a:cubicBezTo>
                  <a:cubicBezTo>
                    <a:pt x="352" y="1264"/>
                    <a:pt x="355" y="1259"/>
                    <a:pt x="359" y="1257"/>
                  </a:cubicBezTo>
                  <a:cubicBezTo>
                    <a:pt x="363" y="1256"/>
                    <a:pt x="370" y="1257"/>
                    <a:pt x="374" y="1257"/>
                  </a:cubicBezTo>
                  <a:cubicBezTo>
                    <a:pt x="382" y="1256"/>
                    <a:pt x="390" y="1255"/>
                    <a:pt x="398" y="1253"/>
                  </a:cubicBezTo>
                  <a:cubicBezTo>
                    <a:pt x="397" y="1251"/>
                    <a:pt x="399" y="1250"/>
                    <a:pt x="400" y="1248"/>
                  </a:cubicBezTo>
                  <a:cubicBezTo>
                    <a:pt x="401" y="1247"/>
                    <a:pt x="400" y="1246"/>
                    <a:pt x="401" y="1244"/>
                  </a:cubicBezTo>
                  <a:cubicBezTo>
                    <a:pt x="404" y="1242"/>
                    <a:pt x="409" y="1240"/>
                    <a:pt x="412" y="1239"/>
                  </a:cubicBezTo>
                  <a:cubicBezTo>
                    <a:pt x="423" y="1233"/>
                    <a:pt x="430" y="1223"/>
                    <a:pt x="439" y="1216"/>
                  </a:cubicBezTo>
                  <a:cubicBezTo>
                    <a:pt x="445" y="1211"/>
                    <a:pt x="451" y="1207"/>
                    <a:pt x="456" y="1201"/>
                  </a:cubicBezTo>
                  <a:cubicBezTo>
                    <a:pt x="462" y="1196"/>
                    <a:pt x="467" y="1190"/>
                    <a:pt x="472" y="1184"/>
                  </a:cubicBezTo>
                  <a:cubicBezTo>
                    <a:pt x="480" y="1177"/>
                    <a:pt x="488" y="1170"/>
                    <a:pt x="494" y="1162"/>
                  </a:cubicBezTo>
                  <a:cubicBezTo>
                    <a:pt x="498" y="1156"/>
                    <a:pt x="501" y="1149"/>
                    <a:pt x="505" y="1143"/>
                  </a:cubicBezTo>
                  <a:cubicBezTo>
                    <a:pt x="520" y="1121"/>
                    <a:pt x="533" y="1097"/>
                    <a:pt x="546" y="1073"/>
                  </a:cubicBezTo>
                  <a:cubicBezTo>
                    <a:pt x="555" y="1054"/>
                    <a:pt x="569" y="1034"/>
                    <a:pt x="586" y="1019"/>
                  </a:cubicBezTo>
                  <a:cubicBezTo>
                    <a:pt x="594" y="1012"/>
                    <a:pt x="605" y="1004"/>
                    <a:pt x="603" y="991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3" name="Freeform 63"/>
            <p:cNvSpPr>
              <a:spLocks noEditPoints="1"/>
            </p:cNvSpPr>
            <p:nvPr/>
          </p:nvSpPr>
          <p:spPr bwMode="auto">
            <a:xfrm>
              <a:off x="2730500" y="3097213"/>
              <a:ext cx="850900" cy="1528763"/>
            </a:xfrm>
            <a:custGeom>
              <a:avLst/>
              <a:gdLst/>
              <a:ahLst/>
              <a:cxnLst>
                <a:cxn ang="0">
                  <a:pos x="416" y="555"/>
                </a:cxn>
                <a:cxn ang="0">
                  <a:pos x="363" y="502"/>
                </a:cxn>
                <a:cxn ang="0">
                  <a:pos x="302" y="396"/>
                </a:cxn>
                <a:cxn ang="0">
                  <a:pos x="260" y="298"/>
                </a:cxn>
                <a:cxn ang="0">
                  <a:pos x="170" y="270"/>
                </a:cxn>
                <a:cxn ang="0">
                  <a:pos x="230" y="236"/>
                </a:cxn>
                <a:cxn ang="0">
                  <a:pos x="246" y="155"/>
                </a:cxn>
                <a:cxn ang="0">
                  <a:pos x="184" y="99"/>
                </a:cxn>
                <a:cxn ang="0">
                  <a:pos x="139" y="117"/>
                </a:cxn>
                <a:cxn ang="0">
                  <a:pos x="157" y="88"/>
                </a:cxn>
                <a:cxn ang="0">
                  <a:pos x="158" y="69"/>
                </a:cxn>
                <a:cxn ang="0">
                  <a:pos x="198" y="27"/>
                </a:cxn>
                <a:cxn ang="0">
                  <a:pos x="183" y="3"/>
                </a:cxn>
                <a:cxn ang="0">
                  <a:pos x="136" y="16"/>
                </a:cxn>
                <a:cxn ang="0">
                  <a:pos x="109" y="24"/>
                </a:cxn>
                <a:cxn ang="0">
                  <a:pos x="89" y="25"/>
                </a:cxn>
                <a:cxn ang="0">
                  <a:pos x="78" y="63"/>
                </a:cxn>
                <a:cxn ang="0">
                  <a:pos x="72" y="84"/>
                </a:cxn>
                <a:cxn ang="0">
                  <a:pos x="50" y="91"/>
                </a:cxn>
                <a:cxn ang="0">
                  <a:pos x="59" y="121"/>
                </a:cxn>
                <a:cxn ang="0">
                  <a:pos x="66" y="137"/>
                </a:cxn>
                <a:cxn ang="0">
                  <a:pos x="46" y="148"/>
                </a:cxn>
                <a:cxn ang="0">
                  <a:pos x="33" y="129"/>
                </a:cxn>
                <a:cxn ang="0">
                  <a:pos x="9" y="116"/>
                </a:cxn>
                <a:cxn ang="0">
                  <a:pos x="12" y="136"/>
                </a:cxn>
                <a:cxn ang="0">
                  <a:pos x="42" y="159"/>
                </a:cxn>
                <a:cxn ang="0">
                  <a:pos x="64" y="164"/>
                </a:cxn>
                <a:cxn ang="0">
                  <a:pos x="48" y="183"/>
                </a:cxn>
                <a:cxn ang="0">
                  <a:pos x="32" y="205"/>
                </a:cxn>
                <a:cxn ang="0">
                  <a:pos x="50" y="220"/>
                </a:cxn>
                <a:cxn ang="0">
                  <a:pos x="26" y="221"/>
                </a:cxn>
                <a:cxn ang="0">
                  <a:pos x="18" y="239"/>
                </a:cxn>
                <a:cxn ang="0">
                  <a:pos x="67" y="218"/>
                </a:cxn>
                <a:cxn ang="0">
                  <a:pos x="79" y="206"/>
                </a:cxn>
                <a:cxn ang="0">
                  <a:pos x="64" y="258"/>
                </a:cxn>
                <a:cxn ang="0">
                  <a:pos x="73" y="277"/>
                </a:cxn>
                <a:cxn ang="0">
                  <a:pos x="98" y="290"/>
                </a:cxn>
                <a:cxn ang="0">
                  <a:pos x="84" y="377"/>
                </a:cxn>
                <a:cxn ang="0">
                  <a:pos x="156" y="388"/>
                </a:cxn>
                <a:cxn ang="0">
                  <a:pos x="180" y="380"/>
                </a:cxn>
                <a:cxn ang="0">
                  <a:pos x="195" y="451"/>
                </a:cxn>
                <a:cxn ang="0">
                  <a:pos x="194" y="504"/>
                </a:cxn>
                <a:cxn ang="0">
                  <a:pos x="136" y="525"/>
                </a:cxn>
                <a:cxn ang="0">
                  <a:pos x="107" y="574"/>
                </a:cxn>
                <a:cxn ang="0">
                  <a:pos x="137" y="614"/>
                </a:cxn>
                <a:cxn ang="0">
                  <a:pos x="85" y="655"/>
                </a:cxn>
                <a:cxn ang="0">
                  <a:pos x="134" y="682"/>
                </a:cxn>
                <a:cxn ang="0">
                  <a:pos x="205" y="682"/>
                </a:cxn>
                <a:cxn ang="0">
                  <a:pos x="165" y="708"/>
                </a:cxn>
                <a:cxn ang="0">
                  <a:pos x="91" y="770"/>
                </a:cxn>
                <a:cxn ang="0">
                  <a:pos x="67" y="795"/>
                </a:cxn>
                <a:cxn ang="0">
                  <a:pos x="57" y="810"/>
                </a:cxn>
                <a:cxn ang="0">
                  <a:pos x="86" y="815"/>
                </a:cxn>
                <a:cxn ang="0">
                  <a:pos x="107" y="784"/>
                </a:cxn>
                <a:cxn ang="0">
                  <a:pos x="141" y="787"/>
                </a:cxn>
                <a:cxn ang="0">
                  <a:pos x="172" y="789"/>
                </a:cxn>
                <a:cxn ang="0">
                  <a:pos x="187" y="755"/>
                </a:cxn>
                <a:cxn ang="0">
                  <a:pos x="259" y="751"/>
                </a:cxn>
                <a:cxn ang="0">
                  <a:pos x="341" y="743"/>
                </a:cxn>
                <a:cxn ang="0">
                  <a:pos x="415" y="731"/>
                </a:cxn>
                <a:cxn ang="0">
                  <a:pos x="370" y="685"/>
                </a:cxn>
                <a:cxn ang="0">
                  <a:pos x="444" y="635"/>
                </a:cxn>
              </a:cxnLst>
              <a:rect l="0" t="0" r="r" b="b"/>
              <a:pathLst>
                <a:path w="455" h="818">
                  <a:moveTo>
                    <a:pt x="126" y="139"/>
                  </a:moveTo>
                  <a:cubicBezTo>
                    <a:pt x="126" y="141"/>
                    <a:pt x="126" y="142"/>
                    <a:pt x="125" y="144"/>
                  </a:cubicBezTo>
                  <a:cubicBezTo>
                    <a:pt x="124" y="145"/>
                    <a:pt x="117" y="155"/>
                    <a:pt x="116" y="157"/>
                  </a:cubicBezTo>
                  <a:cubicBezTo>
                    <a:pt x="114" y="159"/>
                    <a:pt x="111" y="160"/>
                    <a:pt x="110" y="163"/>
                  </a:cubicBezTo>
                  <a:cubicBezTo>
                    <a:pt x="106" y="164"/>
                    <a:pt x="109" y="162"/>
                    <a:pt x="109" y="161"/>
                  </a:cubicBezTo>
                  <a:cubicBezTo>
                    <a:pt x="110" y="160"/>
                    <a:pt x="112" y="159"/>
                    <a:pt x="112" y="157"/>
                  </a:cubicBezTo>
                  <a:cubicBezTo>
                    <a:pt x="113" y="154"/>
                    <a:pt x="117" y="148"/>
                    <a:pt x="118" y="147"/>
                  </a:cubicBezTo>
                  <a:cubicBezTo>
                    <a:pt x="119" y="146"/>
                    <a:pt x="119" y="145"/>
                    <a:pt x="120" y="144"/>
                  </a:cubicBezTo>
                  <a:cubicBezTo>
                    <a:pt x="120" y="144"/>
                    <a:pt x="122" y="142"/>
                    <a:pt x="122" y="141"/>
                  </a:cubicBezTo>
                  <a:cubicBezTo>
                    <a:pt x="123" y="140"/>
                    <a:pt x="124" y="139"/>
                    <a:pt x="124" y="138"/>
                  </a:cubicBezTo>
                  <a:cubicBezTo>
                    <a:pt x="126" y="137"/>
                    <a:pt x="126" y="138"/>
                    <a:pt x="126" y="139"/>
                  </a:cubicBezTo>
                  <a:moveTo>
                    <a:pt x="452" y="569"/>
                  </a:moveTo>
                  <a:cubicBezTo>
                    <a:pt x="450" y="566"/>
                    <a:pt x="446" y="568"/>
                    <a:pt x="443" y="567"/>
                  </a:cubicBezTo>
                  <a:cubicBezTo>
                    <a:pt x="441" y="566"/>
                    <a:pt x="441" y="564"/>
                    <a:pt x="440" y="563"/>
                  </a:cubicBezTo>
                  <a:cubicBezTo>
                    <a:pt x="439" y="562"/>
                    <a:pt x="436" y="561"/>
                    <a:pt x="434" y="560"/>
                  </a:cubicBezTo>
                  <a:cubicBezTo>
                    <a:pt x="432" y="559"/>
                    <a:pt x="431" y="559"/>
                    <a:pt x="429" y="558"/>
                  </a:cubicBezTo>
                  <a:cubicBezTo>
                    <a:pt x="427" y="558"/>
                    <a:pt x="425" y="555"/>
                    <a:pt x="422" y="555"/>
                  </a:cubicBezTo>
                  <a:cubicBezTo>
                    <a:pt x="420" y="554"/>
                    <a:pt x="418" y="555"/>
                    <a:pt x="416" y="555"/>
                  </a:cubicBezTo>
                  <a:cubicBezTo>
                    <a:pt x="413" y="556"/>
                    <a:pt x="410" y="555"/>
                    <a:pt x="407" y="555"/>
                  </a:cubicBezTo>
                  <a:cubicBezTo>
                    <a:pt x="402" y="555"/>
                    <a:pt x="398" y="554"/>
                    <a:pt x="393" y="554"/>
                  </a:cubicBezTo>
                  <a:cubicBezTo>
                    <a:pt x="388" y="554"/>
                    <a:pt x="387" y="555"/>
                    <a:pt x="385" y="559"/>
                  </a:cubicBezTo>
                  <a:cubicBezTo>
                    <a:pt x="384" y="561"/>
                    <a:pt x="383" y="562"/>
                    <a:pt x="382" y="563"/>
                  </a:cubicBezTo>
                  <a:cubicBezTo>
                    <a:pt x="380" y="565"/>
                    <a:pt x="380" y="567"/>
                    <a:pt x="378" y="568"/>
                  </a:cubicBezTo>
                  <a:cubicBezTo>
                    <a:pt x="376" y="570"/>
                    <a:pt x="375" y="570"/>
                    <a:pt x="373" y="569"/>
                  </a:cubicBezTo>
                  <a:cubicBezTo>
                    <a:pt x="370" y="568"/>
                    <a:pt x="371" y="565"/>
                    <a:pt x="368" y="563"/>
                  </a:cubicBezTo>
                  <a:cubicBezTo>
                    <a:pt x="366" y="561"/>
                    <a:pt x="364" y="562"/>
                    <a:pt x="364" y="558"/>
                  </a:cubicBezTo>
                  <a:cubicBezTo>
                    <a:pt x="364" y="556"/>
                    <a:pt x="364" y="555"/>
                    <a:pt x="365" y="553"/>
                  </a:cubicBezTo>
                  <a:cubicBezTo>
                    <a:pt x="367" y="550"/>
                    <a:pt x="372" y="551"/>
                    <a:pt x="375" y="549"/>
                  </a:cubicBezTo>
                  <a:cubicBezTo>
                    <a:pt x="377" y="547"/>
                    <a:pt x="377" y="545"/>
                    <a:pt x="378" y="543"/>
                  </a:cubicBezTo>
                  <a:cubicBezTo>
                    <a:pt x="378" y="540"/>
                    <a:pt x="380" y="538"/>
                    <a:pt x="380" y="536"/>
                  </a:cubicBezTo>
                  <a:cubicBezTo>
                    <a:pt x="382" y="532"/>
                    <a:pt x="381" y="528"/>
                    <a:pt x="380" y="524"/>
                  </a:cubicBezTo>
                  <a:cubicBezTo>
                    <a:pt x="379" y="522"/>
                    <a:pt x="379" y="519"/>
                    <a:pt x="378" y="518"/>
                  </a:cubicBezTo>
                  <a:cubicBezTo>
                    <a:pt x="377" y="517"/>
                    <a:pt x="376" y="518"/>
                    <a:pt x="375" y="517"/>
                  </a:cubicBezTo>
                  <a:cubicBezTo>
                    <a:pt x="373" y="517"/>
                    <a:pt x="372" y="514"/>
                    <a:pt x="370" y="513"/>
                  </a:cubicBezTo>
                  <a:cubicBezTo>
                    <a:pt x="368" y="511"/>
                    <a:pt x="368" y="508"/>
                    <a:pt x="367" y="506"/>
                  </a:cubicBezTo>
                  <a:cubicBezTo>
                    <a:pt x="366" y="505"/>
                    <a:pt x="365" y="502"/>
                    <a:pt x="363" y="502"/>
                  </a:cubicBezTo>
                  <a:cubicBezTo>
                    <a:pt x="362" y="501"/>
                    <a:pt x="358" y="501"/>
                    <a:pt x="358" y="499"/>
                  </a:cubicBezTo>
                  <a:cubicBezTo>
                    <a:pt x="360" y="498"/>
                    <a:pt x="365" y="498"/>
                    <a:pt x="367" y="499"/>
                  </a:cubicBezTo>
                  <a:cubicBezTo>
                    <a:pt x="370" y="499"/>
                    <a:pt x="371" y="501"/>
                    <a:pt x="375" y="501"/>
                  </a:cubicBezTo>
                  <a:cubicBezTo>
                    <a:pt x="376" y="498"/>
                    <a:pt x="374" y="498"/>
                    <a:pt x="372" y="497"/>
                  </a:cubicBezTo>
                  <a:cubicBezTo>
                    <a:pt x="371" y="496"/>
                    <a:pt x="370" y="495"/>
                    <a:pt x="369" y="495"/>
                  </a:cubicBezTo>
                  <a:cubicBezTo>
                    <a:pt x="368" y="489"/>
                    <a:pt x="364" y="485"/>
                    <a:pt x="361" y="481"/>
                  </a:cubicBezTo>
                  <a:cubicBezTo>
                    <a:pt x="359" y="476"/>
                    <a:pt x="358" y="470"/>
                    <a:pt x="354" y="466"/>
                  </a:cubicBezTo>
                  <a:cubicBezTo>
                    <a:pt x="352" y="464"/>
                    <a:pt x="350" y="459"/>
                    <a:pt x="349" y="456"/>
                  </a:cubicBezTo>
                  <a:cubicBezTo>
                    <a:pt x="348" y="452"/>
                    <a:pt x="354" y="451"/>
                    <a:pt x="354" y="447"/>
                  </a:cubicBezTo>
                  <a:cubicBezTo>
                    <a:pt x="350" y="445"/>
                    <a:pt x="347" y="443"/>
                    <a:pt x="345" y="439"/>
                  </a:cubicBezTo>
                  <a:cubicBezTo>
                    <a:pt x="344" y="437"/>
                    <a:pt x="343" y="434"/>
                    <a:pt x="341" y="432"/>
                  </a:cubicBezTo>
                  <a:cubicBezTo>
                    <a:pt x="340" y="430"/>
                    <a:pt x="338" y="429"/>
                    <a:pt x="337" y="427"/>
                  </a:cubicBezTo>
                  <a:cubicBezTo>
                    <a:pt x="335" y="424"/>
                    <a:pt x="333" y="419"/>
                    <a:pt x="330" y="417"/>
                  </a:cubicBezTo>
                  <a:cubicBezTo>
                    <a:pt x="327" y="414"/>
                    <a:pt x="323" y="414"/>
                    <a:pt x="319" y="412"/>
                  </a:cubicBezTo>
                  <a:cubicBezTo>
                    <a:pt x="317" y="410"/>
                    <a:pt x="315" y="408"/>
                    <a:pt x="313" y="407"/>
                  </a:cubicBezTo>
                  <a:cubicBezTo>
                    <a:pt x="312" y="406"/>
                    <a:pt x="310" y="406"/>
                    <a:pt x="308" y="405"/>
                  </a:cubicBezTo>
                  <a:cubicBezTo>
                    <a:pt x="306" y="403"/>
                    <a:pt x="304" y="403"/>
                    <a:pt x="304" y="400"/>
                  </a:cubicBezTo>
                  <a:cubicBezTo>
                    <a:pt x="304" y="397"/>
                    <a:pt x="305" y="397"/>
                    <a:pt x="302" y="396"/>
                  </a:cubicBezTo>
                  <a:cubicBezTo>
                    <a:pt x="299" y="396"/>
                    <a:pt x="292" y="397"/>
                    <a:pt x="292" y="392"/>
                  </a:cubicBezTo>
                  <a:cubicBezTo>
                    <a:pt x="291" y="388"/>
                    <a:pt x="293" y="391"/>
                    <a:pt x="295" y="390"/>
                  </a:cubicBezTo>
                  <a:cubicBezTo>
                    <a:pt x="296" y="389"/>
                    <a:pt x="297" y="386"/>
                    <a:pt x="295" y="385"/>
                  </a:cubicBezTo>
                  <a:cubicBezTo>
                    <a:pt x="297" y="385"/>
                    <a:pt x="299" y="382"/>
                    <a:pt x="299" y="380"/>
                  </a:cubicBezTo>
                  <a:cubicBezTo>
                    <a:pt x="299" y="378"/>
                    <a:pt x="297" y="377"/>
                    <a:pt x="295" y="376"/>
                  </a:cubicBezTo>
                  <a:cubicBezTo>
                    <a:pt x="292" y="374"/>
                    <a:pt x="290" y="373"/>
                    <a:pt x="290" y="368"/>
                  </a:cubicBezTo>
                  <a:cubicBezTo>
                    <a:pt x="290" y="364"/>
                    <a:pt x="292" y="360"/>
                    <a:pt x="288" y="357"/>
                  </a:cubicBezTo>
                  <a:cubicBezTo>
                    <a:pt x="286" y="356"/>
                    <a:pt x="284" y="356"/>
                    <a:pt x="282" y="358"/>
                  </a:cubicBezTo>
                  <a:cubicBezTo>
                    <a:pt x="282" y="359"/>
                    <a:pt x="282" y="359"/>
                    <a:pt x="280" y="360"/>
                  </a:cubicBezTo>
                  <a:cubicBezTo>
                    <a:pt x="281" y="359"/>
                    <a:pt x="282" y="358"/>
                    <a:pt x="282" y="358"/>
                  </a:cubicBezTo>
                  <a:cubicBezTo>
                    <a:pt x="284" y="353"/>
                    <a:pt x="279" y="343"/>
                    <a:pt x="278" y="341"/>
                  </a:cubicBezTo>
                  <a:cubicBezTo>
                    <a:pt x="277" y="338"/>
                    <a:pt x="276" y="336"/>
                    <a:pt x="276" y="332"/>
                  </a:cubicBezTo>
                  <a:cubicBezTo>
                    <a:pt x="276" y="327"/>
                    <a:pt x="277" y="324"/>
                    <a:pt x="283" y="328"/>
                  </a:cubicBezTo>
                  <a:cubicBezTo>
                    <a:pt x="279" y="323"/>
                    <a:pt x="277" y="318"/>
                    <a:pt x="274" y="312"/>
                  </a:cubicBezTo>
                  <a:cubicBezTo>
                    <a:pt x="272" y="310"/>
                    <a:pt x="272" y="310"/>
                    <a:pt x="270" y="309"/>
                  </a:cubicBezTo>
                  <a:cubicBezTo>
                    <a:pt x="268" y="308"/>
                    <a:pt x="267" y="308"/>
                    <a:pt x="267" y="306"/>
                  </a:cubicBezTo>
                  <a:cubicBezTo>
                    <a:pt x="266" y="303"/>
                    <a:pt x="269" y="302"/>
                    <a:pt x="266" y="300"/>
                  </a:cubicBezTo>
                  <a:cubicBezTo>
                    <a:pt x="265" y="299"/>
                    <a:pt x="262" y="298"/>
                    <a:pt x="260" y="298"/>
                  </a:cubicBezTo>
                  <a:cubicBezTo>
                    <a:pt x="256" y="297"/>
                    <a:pt x="251" y="294"/>
                    <a:pt x="250" y="290"/>
                  </a:cubicBezTo>
                  <a:cubicBezTo>
                    <a:pt x="249" y="286"/>
                    <a:pt x="252" y="283"/>
                    <a:pt x="252" y="279"/>
                  </a:cubicBezTo>
                  <a:cubicBezTo>
                    <a:pt x="251" y="277"/>
                    <a:pt x="250" y="275"/>
                    <a:pt x="249" y="273"/>
                  </a:cubicBezTo>
                  <a:cubicBezTo>
                    <a:pt x="248" y="273"/>
                    <a:pt x="245" y="271"/>
                    <a:pt x="243" y="271"/>
                  </a:cubicBezTo>
                  <a:cubicBezTo>
                    <a:pt x="239" y="271"/>
                    <a:pt x="239" y="277"/>
                    <a:pt x="233" y="273"/>
                  </a:cubicBezTo>
                  <a:cubicBezTo>
                    <a:pt x="233" y="273"/>
                    <a:pt x="233" y="272"/>
                    <a:pt x="232" y="272"/>
                  </a:cubicBezTo>
                  <a:cubicBezTo>
                    <a:pt x="231" y="271"/>
                    <a:pt x="229" y="271"/>
                    <a:pt x="229" y="271"/>
                  </a:cubicBezTo>
                  <a:cubicBezTo>
                    <a:pt x="227" y="270"/>
                    <a:pt x="227" y="267"/>
                    <a:pt x="224" y="268"/>
                  </a:cubicBezTo>
                  <a:cubicBezTo>
                    <a:pt x="225" y="272"/>
                    <a:pt x="222" y="269"/>
                    <a:pt x="221" y="268"/>
                  </a:cubicBezTo>
                  <a:cubicBezTo>
                    <a:pt x="220" y="266"/>
                    <a:pt x="220" y="266"/>
                    <a:pt x="217" y="266"/>
                  </a:cubicBezTo>
                  <a:cubicBezTo>
                    <a:pt x="214" y="266"/>
                    <a:pt x="209" y="265"/>
                    <a:pt x="207" y="268"/>
                  </a:cubicBezTo>
                  <a:cubicBezTo>
                    <a:pt x="207" y="269"/>
                    <a:pt x="208" y="271"/>
                    <a:pt x="206" y="272"/>
                  </a:cubicBezTo>
                  <a:cubicBezTo>
                    <a:pt x="204" y="273"/>
                    <a:pt x="203" y="271"/>
                    <a:pt x="202" y="270"/>
                  </a:cubicBezTo>
                  <a:cubicBezTo>
                    <a:pt x="198" y="270"/>
                    <a:pt x="195" y="274"/>
                    <a:pt x="192" y="275"/>
                  </a:cubicBezTo>
                  <a:cubicBezTo>
                    <a:pt x="190" y="276"/>
                    <a:pt x="187" y="275"/>
                    <a:pt x="185" y="274"/>
                  </a:cubicBezTo>
                  <a:cubicBezTo>
                    <a:pt x="184" y="274"/>
                    <a:pt x="183" y="274"/>
                    <a:pt x="183" y="274"/>
                  </a:cubicBezTo>
                  <a:cubicBezTo>
                    <a:pt x="182" y="274"/>
                    <a:pt x="181" y="273"/>
                    <a:pt x="180" y="272"/>
                  </a:cubicBezTo>
                  <a:cubicBezTo>
                    <a:pt x="177" y="270"/>
                    <a:pt x="174" y="271"/>
                    <a:pt x="170" y="270"/>
                  </a:cubicBezTo>
                  <a:cubicBezTo>
                    <a:pt x="167" y="270"/>
                    <a:pt x="163" y="270"/>
                    <a:pt x="160" y="269"/>
                  </a:cubicBezTo>
                  <a:cubicBezTo>
                    <a:pt x="158" y="269"/>
                    <a:pt x="156" y="268"/>
                    <a:pt x="154" y="268"/>
                  </a:cubicBezTo>
                  <a:cubicBezTo>
                    <a:pt x="152" y="268"/>
                    <a:pt x="152" y="269"/>
                    <a:pt x="150" y="269"/>
                  </a:cubicBezTo>
                  <a:cubicBezTo>
                    <a:pt x="149" y="268"/>
                    <a:pt x="149" y="268"/>
                    <a:pt x="150" y="267"/>
                  </a:cubicBezTo>
                  <a:cubicBezTo>
                    <a:pt x="156" y="266"/>
                    <a:pt x="163" y="267"/>
                    <a:pt x="170" y="267"/>
                  </a:cubicBezTo>
                  <a:cubicBezTo>
                    <a:pt x="173" y="267"/>
                    <a:pt x="176" y="267"/>
                    <a:pt x="179" y="267"/>
                  </a:cubicBezTo>
                  <a:cubicBezTo>
                    <a:pt x="182" y="267"/>
                    <a:pt x="185" y="268"/>
                    <a:pt x="188" y="268"/>
                  </a:cubicBezTo>
                  <a:cubicBezTo>
                    <a:pt x="188" y="264"/>
                    <a:pt x="191" y="266"/>
                    <a:pt x="193" y="265"/>
                  </a:cubicBezTo>
                  <a:cubicBezTo>
                    <a:pt x="196" y="264"/>
                    <a:pt x="194" y="261"/>
                    <a:pt x="195" y="258"/>
                  </a:cubicBezTo>
                  <a:cubicBezTo>
                    <a:pt x="196" y="256"/>
                    <a:pt x="200" y="256"/>
                    <a:pt x="202" y="255"/>
                  </a:cubicBezTo>
                  <a:cubicBezTo>
                    <a:pt x="204" y="254"/>
                    <a:pt x="205" y="254"/>
                    <a:pt x="206" y="253"/>
                  </a:cubicBezTo>
                  <a:cubicBezTo>
                    <a:pt x="207" y="252"/>
                    <a:pt x="208" y="251"/>
                    <a:pt x="210" y="251"/>
                  </a:cubicBezTo>
                  <a:cubicBezTo>
                    <a:pt x="210" y="252"/>
                    <a:pt x="210" y="253"/>
                    <a:pt x="210" y="254"/>
                  </a:cubicBezTo>
                  <a:cubicBezTo>
                    <a:pt x="212" y="255"/>
                    <a:pt x="214" y="254"/>
                    <a:pt x="216" y="254"/>
                  </a:cubicBezTo>
                  <a:cubicBezTo>
                    <a:pt x="216" y="252"/>
                    <a:pt x="216" y="249"/>
                    <a:pt x="217" y="247"/>
                  </a:cubicBezTo>
                  <a:cubicBezTo>
                    <a:pt x="218" y="243"/>
                    <a:pt x="222" y="243"/>
                    <a:pt x="225" y="243"/>
                  </a:cubicBezTo>
                  <a:cubicBezTo>
                    <a:pt x="228" y="243"/>
                    <a:pt x="230" y="243"/>
                    <a:pt x="232" y="241"/>
                  </a:cubicBezTo>
                  <a:cubicBezTo>
                    <a:pt x="234" y="239"/>
                    <a:pt x="233" y="237"/>
                    <a:pt x="230" y="236"/>
                  </a:cubicBezTo>
                  <a:cubicBezTo>
                    <a:pt x="227" y="236"/>
                    <a:pt x="226" y="237"/>
                    <a:pt x="224" y="237"/>
                  </a:cubicBezTo>
                  <a:cubicBezTo>
                    <a:pt x="221" y="237"/>
                    <a:pt x="219" y="234"/>
                    <a:pt x="217" y="233"/>
                  </a:cubicBezTo>
                  <a:cubicBezTo>
                    <a:pt x="215" y="232"/>
                    <a:pt x="213" y="231"/>
                    <a:pt x="212" y="230"/>
                  </a:cubicBezTo>
                  <a:cubicBezTo>
                    <a:pt x="210" y="228"/>
                    <a:pt x="212" y="225"/>
                    <a:pt x="209" y="224"/>
                  </a:cubicBezTo>
                  <a:cubicBezTo>
                    <a:pt x="213" y="223"/>
                    <a:pt x="215" y="219"/>
                    <a:pt x="220" y="219"/>
                  </a:cubicBezTo>
                  <a:cubicBezTo>
                    <a:pt x="221" y="219"/>
                    <a:pt x="222" y="219"/>
                    <a:pt x="223" y="219"/>
                  </a:cubicBezTo>
                  <a:cubicBezTo>
                    <a:pt x="224" y="219"/>
                    <a:pt x="224" y="217"/>
                    <a:pt x="225" y="217"/>
                  </a:cubicBezTo>
                  <a:cubicBezTo>
                    <a:pt x="225" y="216"/>
                    <a:pt x="226" y="216"/>
                    <a:pt x="227" y="216"/>
                  </a:cubicBezTo>
                  <a:cubicBezTo>
                    <a:pt x="228" y="215"/>
                    <a:pt x="230" y="210"/>
                    <a:pt x="230" y="209"/>
                  </a:cubicBezTo>
                  <a:cubicBezTo>
                    <a:pt x="231" y="205"/>
                    <a:pt x="230" y="202"/>
                    <a:pt x="227" y="201"/>
                  </a:cubicBezTo>
                  <a:cubicBezTo>
                    <a:pt x="227" y="198"/>
                    <a:pt x="228" y="196"/>
                    <a:pt x="230" y="195"/>
                  </a:cubicBezTo>
                  <a:cubicBezTo>
                    <a:pt x="231" y="194"/>
                    <a:pt x="232" y="194"/>
                    <a:pt x="233" y="194"/>
                  </a:cubicBezTo>
                  <a:cubicBezTo>
                    <a:pt x="235" y="193"/>
                    <a:pt x="235" y="192"/>
                    <a:pt x="237" y="191"/>
                  </a:cubicBezTo>
                  <a:cubicBezTo>
                    <a:pt x="239" y="190"/>
                    <a:pt x="240" y="188"/>
                    <a:pt x="242" y="186"/>
                  </a:cubicBezTo>
                  <a:cubicBezTo>
                    <a:pt x="245" y="183"/>
                    <a:pt x="247" y="183"/>
                    <a:pt x="246" y="179"/>
                  </a:cubicBezTo>
                  <a:cubicBezTo>
                    <a:pt x="246" y="177"/>
                    <a:pt x="245" y="174"/>
                    <a:pt x="245" y="172"/>
                  </a:cubicBezTo>
                  <a:cubicBezTo>
                    <a:pt x="246" y="169"/>
                    <a:pt x="248" y="169"/>
                    <a:pt x="250" y="167"/>
                  </a:cubicBezTo>
                  <a:cubicBezTo>
                    <a:pt x="251" y="164"/>
                    <a:pt x="250" y="151"/>
                    <a:pt x="246" y="155"/>
                  </a:cubicBezTo>
                  <a:cubicBezTo>
                    <a:pt x="249" y="154"/>
                    <a:pt x="251" y="151"/>
                    <a:pt x="252" y="149"/>
                  </a:cubicBezTo>
                  <a:cubicBezTo>
                    <a:pt x="253" y="145"/>
                    <a:pt x="255" y="145"/>
                    <a:pt x="258" y="142"/>
                  </a:cubicBezTo>
                  <a:cubicBezTo>
                    <a:pt x="261" y="140"/>
                    <a:pt x="265" y="138"/>
                    <a:pt x="266" y="134"/>
                  </a:cubicBezTo>
                  <a:cubicBezTo>
                    <a:pt x="266" y="130"/>
                    <a:pt x="266" y="126"/>
                    <a:pt x="266" y="123"/>
                  </a:cubicBezTo>
                  <a:cubicBezTo>
                    <a:pt x="266" y="120"/>
                    <a:pt x="267" y="115"/>
                    <a:pt x="266" y="112"/>
                  </a:cubicBezTo>
                  <a:cubicBezTo>
                    <a:pt x="264" y="109"/>
                    <a:pt x="261" y="107"/>
                    <a:pt x="258" y="106"/>
                  </a:cubicBezTo>
                  <a:cubicBezTo>
                    <a:pt x="257" y="106"/>
                    <a:pt x="254" y="104"/>
                    <a:pt x="253" y="104"/>
                  </a:cubicBezTo>
                  <a:cubicBezTo>
                    <a:pt x="252" y="102"/>
                    <a:pt x="252" y="100"/>
                    <a:pt x="250" y="100"/>
                  </a:cubicBezTo>
                  <a:cubicBezTo>
                    <a:pt x="247" y="99"/>
                    <a:pt x="243" y="103"/>
                    <a:pt x="242" y="105"/>
                  </a:cubicBezTo>
                  <a:cubicBezTo>
                    <a:pt x="238" y="106"/>
                    <a:pt x="236" y="104"/>
                    <a:pt x="232" y="106"/>
                  </a:cubicBezTo>
                  <a:cubicBezTo>
                    <a:pt x="231" y="107"/>
                    <a:pt x="230" y="108"/>
                    <a:pt x="228" y="108"/>
                  </a:cubicBezTo>
                  <a:cubicBezTo>
                    <a:pt x="228" y="107"/>
                    <a:pt x="227" y="106"/>
                    <a:pt x="226" y="105"/>
                  </a:cubicBezTo>
                  <a:cubicBezTo>
                    <a:pt x="225" y="105"/>
                    <a:pt x="225" y="105"/>
                    <a:pt x="224" y="105"/>
                  </a:cubicBezTo>
                  <a:cubicBezTo>
                    <a:pt x="222" y="104"/>
                    <a:pt x="222" y="102"/>
                    <a:pt x="220" y="102"/>
                  </a:cubicBezTo>
                  <a:cubicBezTo>
                    <a:pt x="219" y="101"/>
                    <a:pt x="215" y="102"/>
                    <a:pt x="213" y="102"/>
                  </a:cubicBezTo>
                  <a:cubicBezTo>
                    <a:pt x="210" y="102"/>
                    <a:pt x="206" y="101"/>
                    <a:pt x="203" y="102"/>
                  </a:cubicBezTo>
                  <a:cubicBezTo>
                    <a:pt x="202" y="107"/>
                    <a:pt x="197" y="105"/>
                    <a:pt x="194" y="104"/>
                  </a:cubicBezTo>
                  <a:cubicBezTo>
                    <a:pt x="191" y="101"/>
                    <a:pt x="188" y="99"/>
                    <a:pt x="184" y="99"/>
                  </a:cubicBezTo>
                  <a:cubicBezTo>
                    <a:pt x="182" y="99"/>
                    <a:pt x="177" y="99"/>
                    <a:pt x="176" y="101"/>
                  </a:cubicBezTo>
                  <a:cubicBezTo>
                    <a:pt x="174" y="103"/>
                    <a:pt x="175" y="105"/>
                    <a:pt x="174" y="106"/>
                  </a:cubicBezTo>
                  <a:cubicBezTo>
                    <a:pt x="173" y="107"/>
                    <a:pt x="171" y="106"/>
                    <a:pt x="169" y="106"/>
                  </a:cubicBezTo>
                  <a:cubicBezTo>
                    <a:pt x="167" y="107"/>
                    <a:pt x="165" y="108"/>
                    <a:pt x="162" y="109"/>
                  </a:cubicBezTo>
                  <a:cubicBezTo>
                    <a:pt x="161" y="110"/>
                    <a:pt x="159" y="111"/>
                    <a:pt x="157" y="112"/>
                  </a:cubicBezTo>
                  <a:cubicBezTo>
                    <a:pt x="157" y="113"/>
                    <a:pt x="157" y="113"/>
                    <a:pt x="157" y="114"/>
                  </a:cubicBezTo>
                  <a:cubicBezTo>
                    <a:pt x="157" y="114"/>
                    <a:pt x="157" y="115"/>
                    <a:pt x="156" y="115"/>
                  </a:cubicBezTo>
                  <a:cubicBezTo>
                    <a:pt x="156" y="115"/>
                    <a:pt x="153" y="117"/>
                    <a:pt x="153" y="117"/>
                  </a:cubicBezTo>
                  <a:cubicBezTo>
                    <a:pt x="150" y="117"/>
                    <a:pt x="147" y="116"/>
                    <a:pt x="144" y="117"/>
                  </a:cubicBezTo>
                  <a:cubicBezTo>
                    <a:pt x="142" y="118"/>
                    <a:pt x="143" y="118"/>
                    <a:pt x="141" y="120"/>
                  </a:cubicBezTo>
                  <a:cubicBezTo>
                    <a:pt x="140" y="122"/>
                    <a:pt x="139" y="122"/>
                    <a:pt x="136" y="123"/>
                  </a:cubicBezTo>
                  <a:cubicBezTo>
                    <a:pt x="134" y="125"/>
                    <a:pt x="134" y="126"/>
                    <a:pt x="132" y="128"/>
                  </a:cubicBezTo>
                  <a:cubicBezTo>
                    <a:pt x="130" y="129"/>
                    <a:pt x="129" y="132"/>
                    <a:pt x="130" y="128"/>
                  </a:cubicBezTo>
                  <a:cubicBezTo>
                    <a:pt x="131" y="127"/>
                    <a:pt x="132" y="125"/>
                    <a:pt x="131" y="126"/>
                  </a:cubicBezTo>
                  <a:cubicBezTo>
                    <a:pt x="132" y="125"/>
                    <a:pt x="132" y="125"/>
                    <a:pt x="132" y="124"/>
                  </a:cubicBezTo>
                  <a:cubicBezTo>
                    <a:pt x="133" y="123"/>
                    <a:pt x="134" y="122"/>
                    <a:pt x="135" y="121"/>
                  </a:cubicBezTo>
                  <a:cubicBezTo>
                    <a:pt x="136" y="120"/>
                    <a:pt x="136" y="120"/>
                    <a:pt x="137" y="119"/>
                  </a:cubicBezTo>
                  <a:cubicBezTo>
                    <a:pt x="137" y="118"/>
                    <a:pt x="138" y="118"/>
                    <a:pt x="139" y="117"/>
                  </a:cubicBezTo>
                  <a:cubicBezTo>
                    <a:pt x="141" y="115"/>
                    <a:pt x="143" y="111"/>
                    <a:pt x="145" y="109"/>
                  </a:cubicBezTo>
                  <a:cubicBezTo>
                    <a:pt x="145" y="108"/>
                    <a:pt x="146" y="108"/>
                    <a:pt x="146" y="107"/>
                  </a:cubicBezTo>
                  <a:cubicBezTo>
                    <a:pt x="146" y="106"/>
                    <a:pt x="143" y="105"/>
                    <a:pt x="142" y="105"/>
                  </a:cubicBezTo>
                  <a:cubicBezTo>
                    <a:pt x="139" y="104"/>
                    <a:pt x="136" y="107"/>
                    <a:pt x="134" y="108"/>
                  </a:cubicBezTo>
                  <a:cubicBezTo>
                    <a:pt x="132" y="109"/>
                    <a:pt x="130" y="111"/>
                    <a:pt x="128" y="112"/>
                  </a:cubicBezTo>
                  <a:cubicBezTo>
                    <a:pt x="128" y="113"/>
                    <a:pt x="127" y="113"/>
                    <a:pt x="127" y="114"/>
                  </a:cubicBezTo>
                  <a:cubicBezTo>
                    <a:pt x="125" y="114"/>
                    <a:pt x="124" y="114"/>
                    <a:pt x="125" y="112"/>
                  </a:cubicBezTo>
                  <a:cubicBezTo>
                    <a:pt x="126" y="111"/>
                    <a:pt x="127" y="110"/>
                    <a:pt x="128" y="108"/>
                  </a:cubicBezTo>
                  <a:cubicBezTo>
                    <a:pt x="129" y="107"/>
                    <a:pt x="130" y="106"/>
                    <a:pt x="132" y="105"/>
                  </a:cubicBezTo>
                  <a:cubicBezTo>
                    <a:pt x="135" y="103"/>
                    <a:pt x="138" y="102"/>
                    <a:pt x="141" y="101"/>
                  </a:cubicBezTo>
                  <a:cubicBezTo>
                    <a:pt x="142" y="100"/>
                    <a:pt x="143" y="100"/>
                    <a:pt x="144" y="100"/>
                  </a:cubicBezTo>
                  <a:cubicBezTo>
                    <a:pt x="146" y="100"/>
                    <a:pt x="145" y="102"/>
                    <a:pt x="146" y="102"/>
                  </a:cubicBezTo>
                  <a:cubicBezTo>
                    <a:pt x="147" y="103"/>
                    <a:pt x="147" y="103"/>
                    <a:pt x="148" y="103"/>
                  </a:cubicBezTo>
                  <a:cubicBezTo>
                    <a:pt x="149" y="102"/>
                    <a:pt x="150" y="102"/>
                    <a:pt x="150" y="101"/>
                  </a:cubicBezTo>
                  <a:cubicBezTo>
                    <a:pt x="151" y="98"/>
                    <a:pt x="152" y="96"/>
                    <a:pt x="154" y="94"/>
                  </a:cubicBezTo>
                  <a:cubicBezTo>
                    <a:pt x="155" y="92"/>
                    <a:pt x="157" y="90"/>
                    <a:pt x="159" y="88"/>
                  </a:cubicBezTo>
                  <a:cubicBezTo>
                    <a:pt x="160" y="87"/>
                    <a:pt x="161" y="86"/>
                    <a:pt x="161" y="85"/>
                  </a:cubicBezTo>
                  <a:cubicBezTo>
                    <a:pt x="159" y="85"/>
                    <a:pt x="158" y="87"/>
                    <a:pt x="157" y="88"/>
                  </a:cubicBezTo>
                  <a:cubicBezTo>
                    <a:pt x="157" y="89"/>
                    <a:pt x="156" y="89"/>
                    <a:pt x="155" y="89"/>
                  </a:cubicBezTo>
                  <a:cubicBezTo>
                    <a:pt x="154" y="90"/>
                    <a:pt x="153" y="89"/>
                    <a:pt x="152" y="89"/>
                  </a:cubicBezTo>
                  <a:cubicBezTo>
                    <a:pt x="150" y="89"/>
                    <a:pt x="148" y="87"/>
                    <a:pt x="147" y="88"/>
                  </a:cubicBezTo>
                  <a:cubicBezTo>
                    <a:pt x="145" y="88"/>
                    <a:pt x="143" y="90"/>
                    <a:pt x="141" y="89"/>
                  </a:cubicBezTo>
                  <a:cubicBezTo>
                    <a:pt x="139" y="89"/>
                    <a:pt x="138" y="88"/>
                    <a:pt x="136" y="87"/>
                  </a:cubicBezTo>
                  <a:cubicBezTo>
                    <a:pt x="134" y="85"/>
                    <a:pt x="131" y="85"/>
                    <a:pt x="129" y="85"/>
                  </a:cubicBezTo>
                  <a:cubicBezTo>
                    <a:pt x="128" y="85"/>
                    <a:pt x="123" y="86"/>
                    <a:pt x="123" y="84"/>
                  </a:cubicBezTo>
                  <a:cubicBezTo>
                    <a:pt x="124" y="83"/>
                    <a:pt x="128" y="83"/>
                    <a:pt x="130" y="83"/>
                  </a:cubicBezTo>
                  <a:cubicBezTo>
                    <a:pt x="131" y="83"/>
                    <a:pt x="132" y="84"/>
                    <a:pt x="133" y="84"/>
                  </a:cubicBezTo>
                  <a:cubicBezTo>
                    <a:pt x="135" y="84"/>
                    <a:pt x="139" y="83"/>
                    <a:pt x="141" y="84"/>
                  </a:cubicBezTo>
                  <a:cubicBezTo>
                    <a:pt x="143" y="84"/>
                    <a:pt x="144" y="85"/>
                    <a:pt x="146" y="84"/>
                  </a:cubicBezTo>
                  <a:cubicBezTo>
                    <a:pt x="147" y="84"/>
                    <a:pt x="147" y="83"/>
                    <a:pt x="147" y="81"/>
                  </a:cubicBezTo>
                  <a:cubicBezTo>
                    <a:pt x="147" y="80"/>
                    <a:pt x="147" y="79"/>
                    <a:pt x="148" y="78"/>
                  </a:cubicBezTo>
                  <a:cubicBezTo>
                    <a:pt x="148" y="77"/>
                    <a:pt x="149" y="76"/>
                    <a:pt x="150" y="76"/>
                  </a:cubicBezTo>
                  <a:cubicBezTo>
                    <a:pt x="152" y="75"/>
                    <a:pt x="154" y="74"/>
                    <a:pt x="155" y="73"/>
                  </a:cubicBezTo>
                  <a:cubicBezTo>
                    <a:pt x="156" y="72"/>
                    <a:pt x="156" y="73"/>
                    <a:pt x="156" y="72"/>
                  </a:cubicBezTo>
                  <a:cubicBezTo>
                    <a:pt x="157" y="72"/>
                    <a:pt x="157" y="71"/>
                    <a:pt x="157" y="71"/>
                  </a:cubicBezTo>
                  <a:cubicBezTo>
                    <a:pt x="157" y="70"/>
                    <a:pt x="157" y="70"/>
                    <a:pt x="158" y="69"/>
                  </a:cubicBezTo>
                  <a:cubicBezTo>
                    <a:pt x="158" y="68"/>
                    <a:pt x="159" y="68"/>
                    <a:pt x="159" y="68"/>
                  </a:cubicBezTo>
                  <a:cubicBezTo>
                    <a:pt x="160" y="67"/>
                    <a:pt x="161" y="66"/>
                    <a:pt x="161" y="65"/>
                  </a:cubicBezTo>
                  <a:cubicBezTo>
                    <a:pt x="162" y="64"/>
                    <a:pt x="164" y="63"/>
                    <a:pt x="164" y="62"/>
                  </a:cubicBezTo>
                  <a:cubicBezTo>
                    <a:pt x="166" y="61"/>
                    <a:pt x="166" y="59"/>
                    <a:pt x="168" y="58"/>
                  </a:cubicBezTo>
                  <a:cubicBezTo>
                    <a:pt x="168" y="58"/>
                    <a:pt x="169" y="58"/>
                    <a:pt x="169" y="58"/>
                  </a:cubicBezTo>
                  <a:cubicBezTo>
                    <a:pt x="170" y="57"/>
                    <a:pt x="169" y="57"/>
                    <a:pt x="170" y="57"/>
                  </a:cubicBezTo>
                  <a:cubicBezTo>
                    <a:pt x="170" y="56"/>
                    <a:pt x="171" y="56"/>
                    <a:pt x="172" y="56"/>
                  </a:cubicBezTo>
                  <a:cubicBezTo>
                    <a:pt x="175" y="54"/>
                    <a:pt x="177" y="53"/>
                    <a:pt x="179" y="50"/>
                  </a:cubicBezTo>
                  <a:cubicBezTo>
                    <a:pt x="180" y="48"/>
                    <a:pt x="180" y="47"/>
                    <a:pt x="181" y="45"/>
                  </a:cubicBezTo>
                  <a:cubicBezTo>
                    <a:pt x="182" y="45"/>
                    <a:pt x="182" y="44"/>
                    <a:pt x="182" y="43"/>
                  </a:cubicBezTo>
                  <a:cubicBezTo>
                    <a:pt x="183" y="43"/>
                    <a:pt x="186" y="44"/>
                    <a:pt x="187" y="43"/>
                  </a:cubicBezTo>
                  <a:cubicBezTo>
                    <a:pt x="187" y="42"/>
                    <a:pt x="187" y="42"/>
                    <a:pt x="188" y="41"/>
                  </a:cubicBezTo>
                  <a:cubicBezTo>
                    <a:pt x="188" y="40"/>
                    <a:pt x="190" y="40"/>
                    <a:pt x="190" y="39"/>
                  </a:cubicBezTo>
                  <a:cubicBezTo>
                    <a:pt x="191" y="38"/>
                    <a:pt x="191" y="37"/>
                    <a:pt x="192" y="36"/>
                  </a:cubicBezTo>
                  <a:cubicBezTo>
                    <a:pt x="192" y="35"/>
                    <a:pt x="193" y="35"/>
                    <a:pt x="194" y="34"/>
                  </a:cubicBezTo>
                  <a:cubicBezTo>
                    <a:pt x="194" y="33"/>
                    <a:pt x="195" y="32"/>
                    <a:pt x="195" y="31"/>
                  </a:cubicBezTo>
                  <a:cubicBezTo>
                    <a:pt x="196" y="30"/>
                    <a:pt x="197" y="30"/>
                    <a:pt x="197" y="29"/>
                  </a:cubicBezTo>
                  <a:cubicBezTo>
                    <a:pt x="197" y="28"/>
                    <a:pt x="197" y="28"/>
                    <a:pt x="198" y="27"/>
                  </a:cubicBezTo>
                  <a:cubicBezTo>
                    <a:pt x="198" y="26"/>
                    <a:pt x="198" y="26"/>
                    <a:pt x="199" y="25"/>
                  </a:cubicBezTo>
                  <a:cubicBezTo>
                    <a:pt x="199" y="24"/>
                    <a:pt x="199" y="24"/>
                    <a:pt x="199" y="24"/>
                  </a:cubicBezTo>
                  <a:cubicBezTo>
                    <a:pt x="198" y="23"/>
                    <a:pt x="195" y="23"/>
                    <a:pt x="194" y="22"/>
                  </a:cubicBezTo>
                  <a:cubicBezTo>
                    <a:pt x="194" y="22"/>
                    <a:pt x="194" y="21"/>
                    <a:pt x="193" y="21"/>
                  </a:cubicBezTo>
                  <a:cubicBezTo>
                    <a:pt x="193" y="20"/>
                    <a:pt x="193" y="20"/>
                    <a:pt x="192" y="19"/>
                  </a:cubicBezTo>
                  <a:cubicBezTo>
                    <a:pt x="192" y="18"/>
                    <a:pt x="193" y="17"/>
                    <a:pt x="194" y="15"/>
                  </a:cubicBezTo>
                  <a:cubicBezTo>
                    <a:pt x="195" y="15"/>
                    <a:pt x="195" y="14"/>
                    <a:pt x="196" y="13"/>
                  </a:cubicBezTo>
                  <a:cubicBezTo>
                    <a:pt x="196" y="13"/>
                    <a:pt x="197" y="13"/>
                    <a:pt x="198" y="12"/>
                  </a:cubicBezTo>
                  <a:cubicBezTo>
                    <a:pt x="198" y="12"/>
                    <a:pt x="198" y="11"/>
                    <a:pt x="199" y="11"/>
                  </a:cubicBezTo>
                  <a:cubicBezTo>
                    <a:pt x="200" y="9"/>
                    <a:pt x="202" y="8"/>
                    <a:pt x="201" y="6"/>
                  </a:cubicBezTo>
                  <a:cubicBezTo>
                    <a:pt x="201" y="6"/>
                    <a:pt x="199" y="5"/>
                    <a:pt x="199" y="4"/>
                  </a:cubicBezTo>
                  <a:cubicBezTo>
                    <a:pt x="198" y="4"/>
                    <a:pt x="197" y="4"/>
                    <a:pt x="196" y="4"/>
                  </a:cubicBezTo>
                  <a:cubicBezTo>
                    <a:pt x="195" y="4"/>
                    <a:pt x="194" y="3"/>
                    <a:pt x="193" y="4"/>
                  </a:cubicBezTo>
                  <a:cubicBezTo>
                    <a:pt x="193" y="4"/>
                    <a:pt x="192" y="5"/>
                    <a:pt x="191" y="5"/>
                  </a:cubicBezTo>
                  <a:cubicBezTo>
                    <a:pt x="191" y="5"/>
                    <a:pt x="190" y="4"/>
                    <a:pt x="189" y="4"/>
                  </a:cubicBezTo>
                  <a:cubicBezTo>
                    <a:pt x="188" y="4"/>
                    <a:pt x="188" y="4"/>
                    <a:pt x="187" y="4"/>
                  </a:cubicBezTo>
                  <a:cubicBezTo>
                    <a:pt x="186" y="4"/>
                    <a:pt x="186" y="4"/>
                    <a:pt x="185" y="4"/>
                  </a:cubicBezTo>
                  <a:cubicBezTo>
                    <a:pt x="184" y="4"/>
                    <a:pt x="184" y="3"/>
                    <a:pt x="183" y="3"/>
                  </a:cubicBezTo>
                  <a:cubicBezTo>
                    <a:pt x="183" y="3"/>
                    <a:pt x="182" y="3"/>
                    <a:pt x="182" y="3"/>
                  </a:cubicBezTo>
                  <a:cubicBezTo>
                    <a:pt x="182" y="2"/>
                    <a:pt x="181" y="2"/>
                    <a:pt x="181" y="2"/>
                  </a:cubicBezTo>
                  <a:cubicBezTo>
                    <a:pt x="181" y="1"/>
                    <a:pt x="181" y="0"/>
                    <a:pt x="180" y="1"/>
                  </a:cubicBezTo>
                  <a:cubicBezTo>
                    <a:pt x="179" y="1"/>
                    <a:pt x="179" y="4"/>
                    <a:pt x="179" y="5"/>
                  </a:cubicBezTo>
                  <a:cubicBezTo>
                    <a:pt x="180" y="7"/>
                    <a:pt x="182" y="5"/>
                    <a:pt x="183" y="7"/>
                  </a:cubicBezTo>
                  <a:cubicBezTo>
                    <a:pt x="184" y="8"/>
                    <a:pt x="180" y="10"/>
                    <a:pt x="179" y="11"/>
                  </a:cubicBezTo>
                  <a:cubicBezTo>
                    <a:pt x="178" y="11"/>
                    <a:pt x="176" y="11"/>
                    <a:pt x="175" y="11"/>
                  </a:cubicBezTo>
                  <a:cubicBezTo>
                    <a:pt x="173" y="10"/>
                    <a:pt x="169" y="6"/>
                    <a:pt x="167" y="9"/>
                  </a:cubicBezTo>
                  <a:cubicBezTo>
                    <a:pt x="166" y="9"/>
                    <a:pt x="164" y="9"/>
                    <a:pt x="163" y="10"/>
                  </a:cubicBezTo>
                  <a:cubicBezTo>
                    <a:pt x="162" y="11"/>
                    <a:pt x="162" y="12"/>
                    <a:pt x="162" y="12"/>
                  </a:cubicBezTo>
                  <a:cubicBezTo>
                    <a:pt x="160" y="13"/>
                    <a:pt x="157" y="12"/>
                    <a:pt x="156" y="12"/>
                  </a:cubicBezTo>
                  <a:cubicBezTo>
                    <a:pt x="154" y="13"/>
                    <a:pt x="152" y="13"/>
                    <a:pt x="151" y="13"/>
                  </a:cubicBezTo>
                  <a:cubicBezTo>
                    <a:pt x="149" y="13"/>
                    <a:pt x="149" y="11"/>
                    <a:pt x="147" y="11"/>
                  </a:cubicBezTo>
                  <a:cubicBezTo>
                    <a:pt x="146" y="11"/>
                    <a:pt x="146" y="11"/>
                    <a:pt x="145" y="12"/>
                  </a:cubicBezTo>
                  <a:cubicBezTo>
                    <a:pt x="143" y="13"/>
                    <a:pt x="142" y="12"/>
                    <a:pt x="141" y="13"/>
                  </a:cubicBezTo>
                  <a:cubicBezTo>
                    <a:pt x="140" y="13"/>
                    <a:pt x="139" y="13"/>
                    <a:pt x="139" y="13"/>
                  </a:cubicBezTo>
                  <a:cubicBezTo>
                    <a:pt x="139" y="14"/>
                    <a:pt x="139" y="14"/>
                    <a:pt x="139" y="15"/>
                  </a:cubicBezTo>
                  <a:cubicBezTo>
                    <a:pt x="138" y="15"/>
                    <a:pt x="137" y="16"/>
                    <a:pt x="136" y="16"/>
                  </a:cubicBezTo>
                  <a:cubicBezTo>
                    <a:pt x="136" y="17"/>
                    <a:pt x="135" y="17"/>
                    <a:pt x="134" y="17"/>
                  </a:cubicBezTo>
                  <a:cubicBezTo>
                    <a:pt x="134" y="17"/>
                    <a:pt x="133" y="17"/>
                    <a:pt x="132" y="17"/>
                  </a:cubicBezTo>
                  <a:cubicBezTo>
                    <a:pt x="131" y="17"/>
                    <a:pt x="131" y="18"/>
                    <a:pt x="131" y="18"/>
                  </a:cubicBezTo>
                  <a:cubicBezTo>
                    <a:pt x="130" y="19"/>
                    <a:pt x="129" y="18"/>
                    <a:pt x="129" y="18"/>
                  </a:cubicBezTo>
                  <a:cubicBezTo>
                    <a:pt x="129" y="20"/>
                    <a:pt x="127" y="22"/>
                    <a:pt x="126" y="23"/>
                  </a:cubicBezTo>
                  <a:cubicBezTo>
                    <a:pt x="125" y="25"/>
                    <a:pt x="124" y="27"/>
                    <a:pt x="122" y="28"/>
                  </a:cubicBezTo>
                  <a:cubicBezTo>
                    <a:pt x="121" y="27"/>
                    <a:pt x="122" y="25"/>
                    <a:pt x="122" y="24"/>
                  </a:cubicBezTo>
                  <a:cubicBezTo>
                    <a:pt x="122" y="24"/>
                    <a:pt x="122" y="23"/>
                    <a:pt x="122" y="22"/>
                  </a:cubicBezTo>
                  <a:cubicBezTo>
                    <a:pt x="122" y="21"/>
                    <a:pt x="122" y="20"/>
                    <a:pt x="123" y="19"/>
                  </a:cubicBezTo>
                  <a:cubicBezTo>
                    <a:pt x="123" y="18"/>
                    <a:pt x="123" y="17"/>
                    <a:pt x="123" y="16"/>
                  </a:cubicBezTo>
                  <a:cubicBezTo>
                    <a:pt x="123" y="15"/>
                    <a:pt x="123" y="15"/>
                    <a:pt x="123" y="14"/>
                  </a:cubicBezTo>
                  <a:cubicBezTo>
                    <a:pt x="122" y="14"/>
                    <a:pt x="123" y="14"/>
                    <a:pt x="122" y="13"/>
                  </a:cubicBezTo>
                  <a:cubicBezTo>
                    <a:pt x="121" y="12"/>
                    <a:pt x="117" y="13"/>
                    <a:pt x="116" y="14"/>
                  </a:cubicBezTo>
                  <a:cubicBezTo>
                    <a:pt x="115" y="15"/>
                    <a:pt x="115" y="17"/>
                    <a:pt x="115" y="18"/>
                  </a:cubicBezTo>
                  <a:cubicBezTo>
                    <a:pt x="114" y="19"/>
                    <a:pt x="114" y="20"/>
                    <a:pt x="113" y="20"/>
                  </a:cubicBezTo>
                  <a:cubicBezTo>
                    <a:pt x="112" y="21"/>
                    <a:pt x="112" y="21"/>
                    <a:pt x="112" y="21"/>
                  </a:cubicBezTo>
                  <a:cubicBezTo>
                    <a:pt x="111" y="21"/>
                    <a:pt x="111" y="22"/>
                    <a:pt x="111" y="23"/>
                  </a:cubicBezTo>
                  <a:cubicBezTo>
                    <a:pt x="110" y="23"/>
                    <a:pt x="110" y="23"/>
                    <a:pt x="109" y="24"/>
                  </a:cubicBezTo>
                  <a:cubicBezTo>
                    <a:pt x="109" y="24"/>
                    <a:pt x="108" y="25"/>
                    <a:pt x="107" y="25"/>
                  </a:cubicBezTo>
                  <a:cubicBezTo>
                    <a:pt x="105" y="25"/>
                    <a:pt x="107" y="23"/>
                    <a:pt x="108" y="22"/>
                  </a:cubicBezTo>
                  <a:cubicBezTo>
                    <a:pt x="109" y="20"/>
                    <a:pt x="111" y="20"/>
                    <a:pt x="111" y="18"/>
                  </a:cubicBezTo>
                  <a:cubicBezTo>
                    <a:pt x="111" y="16"/>
                    <a:pt x="109" y="14"/>
                    <a:pt x="107" y="13"/>
                  </a:cubicBezTo>
                  <a:cubicBezTo>
                    <a:pt x="106" y="13"/>
                    <a:pt x="106" y="14"/>
                    <a:pt x="106" y="15"/>
                  </a:cubicBezTo>
                  <a:cubicBezTo>
                    <a:pt x="106" y="15"/>
                    <a:pt x="105" y="15"/>
                    <a:pt x="105" y="15"/>
                  </a:cubicBezTo>
                  <a:cubicBezTo>
                    <a:pt x="105" y="15"/>
                    <a:pt x="105" y="16"/>
                    <a:pt x="105" y="16"/>
                  </a:cubicBezTo>
                  <a:cubicBezTo>
                    <a:pt x="105" y="16"/>
                    <a:pt x="105" y="17"/>
                    <a:pt x="105" y="17"/>
                  </a:cubicBezTo>
                  <a:cubicBezTo>
                    <a:pt x="104" y="17"/>
                    <a:pt x="103" y="14"/>
                    <a:pt x="103" y="13"/>
                  </a:cubicBezTo>
                  <a:cubicBezTo>
                    <a:pt x="103" y="11"/>
                    <a:pt x="104" y="10"/>
                    <a:pt x="102" y="9"/>
                  </a:cubicBezTo>
                  <a:cubicBezTo>
                    <a:pt x="101" y="8"/>
                    <a:pt x="100" y="7"/>
                    <a:pt x="98" y="8"/>
                  </a:cubicBezTo>
                  <a:cubicBezTo>
                    <a:pt x="98" y="8"/>
                    <a:pt x="96" y="8"/>
                    <a:pt x="96" y="9"/>
                  </a:cubicBezTo>
                  <a:cubicBezTo>
                    <a:pt x="95" y="10"/>
                    <a:pt x="95" y="12"/>
                    <a:pt x="94" y="13"/>
                  </a:cubicBezTo>
                  <a:cubicBezTo>
                    <a:pt x="94" y="14"/>
                    <a:pt x="93" y="15"/>
                    <a:pt x="92" y="16"/>
                  </a:cubicBezTo>
                  <a:cubicBezTo>
                    <a:pt x="90" y="18"/>
                    <a:pt x="88" y="20"/>
                    <a:pt x="88" y="22"/>
                  </a:cubicBezTo>
                  <a:cubicBezTo>
                    <a:pt x="89" y="22"/>
                    <a:pt x="89" y="23"/>
                    <a:pt x="89" y="23"/>
                  </a:cubicBezTo>
                  <a:cubicBezTo>
                    <a:pt x="90" y="23"/>
                    <a:pt x="90" y="24"/>
                    <a:pt x="90" y="24"/>
                  </a:cubicBezTo>
                  <a:cubicBezTo>
                    <a:pt x="89" y="25"/>
                    <a:pt x="89" y="25"/>
                    <a:pt x="89" y="25"/>
                  </a:cubicBezTo>
                  <a:cubicBezTo>
                    <a:pt x="87" y="28"/>
                    <a:pt x="92" y="28"/>
                    <a:pt x="89" y="30"/>
                  </a:cubicBezTo>
                  <a:cubicBezTo>
                    <a:pt x="87" y="31"/>
                    <a:pt x="85" y="34"/>
                    <a:pt x="84" y="37"/>
                  </a:cubicBezTo>
                  <a:cubicBezTo>
                    <a:pt x="84" y="38"/>
                    <a:pt x="85" y="38"/>
                    <a:pt x="86" y="39"/>
                  </a:cubicBezTo>
                  <a:cubicBezTo>
                    <a:pt x="87" y="40"/>
                    <a:pt x="87" y="40"/>
                    <a:pt x="87" y="42"/>
                  </a:cubicBezTo>
                  <a:cubicBezTo>
                    <a:pt x="87" y="43"/>
                    <a:pt x="87" y="43"/>
                    <a:pt x="89" y="43"/>
                  </a:cubicBezTo>
                  <a:cubicBezTo>
                    <a:pt x="89" y="43"/>
                    <a:pt x="90" y="43"/>
                    <a:pt x="90" y="44"/>
                  </a:cubicBezTo>
                  <a:cubicBezTo>
                    <a:pt x="91" y="45"/>
                    <a:pt x="89" y="45"/>
                    <a:pt x="89" y="45"/>
                  </a:cubicBezTo>
                  <a:cubicBezTo>
                    <a:pt x="86" y="46"/>
                    <a:pt x="84" y="45"/>
                    <a:pt x="81" y="45"/>
                  </a:cubicBezTo>
                  <a:cubicBezTo>
                    <a:pt x="80" y="45"/>
                    <a:pt x="79" y="45"/>
                    <a:pt x="77" y="46"/>
                  </a:cubicBezTo>
                  <a:cubicBezTo>
                    <a:pt x="76" y="46"/>
                    <a:pt x="75" y="45"/>
                    <a:pt x="74" y="46"/>
                  </a:cubicBezTo>
                  <a:cubicBezTo>
                    <a:pt x="74" y="47"/>
                    <a:pt x="73" y="50"/>
                    <a:pt x="74" y="50"/>
                  </a:cubicBezTo>
                  <a:cubicBezTo>
                    <a:pt x="74" y="51"/>
                    <a:pt x="75" y="52"/>
                    <a:pt x="76" y="52"/>
                  </a:cubicBezTo>
                  <a:cubicBezTo>
                    <a:pt x="76" y="53"/>
                    <a:pt x="76" y="54"/>
                    <a:pt x="76" y="55"/>
                  </a:cubicBezTo>
                  <a:cubicBezTo>
                    <a:pt x="76" y="56"/>
                    <a:pt x="76" y="57"/>
                    <a:pt x="76" y="58"/>
                  </a:cubicBezTo>
                  <a:cubicBezTo>
                    <a:pt x="76" y="60"/>
                    <a:pt x="77" y="61"/>
                    <a:pt x="77" y="62"/>
                  </a:cubicBezTo>
                  <a:cubicBezTo>
                    <a:pt x="78" y="62"/>
                    <a:pt x="77" y="59"/>
                    <a:pt x="78" y="59"/>
                  </a:cubicBezTo>
                  <a:cubicBezTo>
                    <a:pt x="79" y="59"/>
                    <a:pt x="79" y="61"/>
                    <a:pt x="79" y="61"/>
                  </a:cubicBezTo>
                  <a:cubicBezTo>
                    <a:pt x="78" y="62"/>
                    <a:pt x="78" y="62"/>
                    <a:pt x="78" y="63"/>
                  </a:cubicBezTo>
                  <a:cubicBezTo>
                    <a:pt x="77" y="64"/>
                    <a:pt x="77" y="67"/>
                    <a:pt x="78" y="67"/>
                  </a:cubicBezTo>
                  <a:cubicBezTo>
                    <a:pt x="76" y="68"/>
                    <a:pt x="75" y="66"/>
                    <a:pt x="73" y="65"/>
                  </a:cubicBezTo>
                  <a:cubicBezTo>
                    <a:pt x="73" y="65"/>
                    <a:pt x="70" y="63"/>
                    <a:pt x="69" y="64"/>
                  </a:cubicBezTo>
                  <a:cubicBezTo>
                    <a:pt x="67" y="67"/>
                    <a:pt x="72" y="70"/>
                    <a:pt x="73" y="71"/>
                  </a:cubicBezTo>
                  <a:cubicBezTo>
                    <a:pt x="74" y="72"/>
                    <a:pt x="75" y="73"/>
                    <a:pt x="76" y="74"/>
                  </a:cubicBezTo>
                  <a:cubicBezTo>
                    <a:pt x="77" y="74"/>
                    <a:pt x="78" y="74"/>
                    <a:pt x="78" y="75"/>
                  </a:cubicBezTo>
                  <a:cubicBezTo>
                    <a:pt x="79" y="75"/>
                    <a:pt x="79" y="76"/>
                    <a:pt x="80" y="76"/>
                  </a:cubicBezTo>
                  <a:cubicBezTo>
                    <a:pt x="81" y="78"/>
                    <a:pt x="83" y="77"/>
                    <a:pt x="84" y="79"/>
                  </a:cubicBezTo>
                  <a:cubicBezTo>
                    <a:pt x="86" y="80"/>
                    <a:pt x="84" y="82"/>
                    <a:pt x="84" y="84"/>
                  </a:cubicBezTo>
                  <a:cubicBezTo>
                    <a:pt x="84" y="86"/>
                    <a:pt x="86" y="86"/>
                    <a:pt x="87" y="88"/>
                  </a:cubicBezTo>
                  <a:cubicBezTo>
                    <a:pt x="86" y="86"/>
                    <a:pt x="84" y="85"/>
                    <a:pt x="82" y="84"/>
                  </a:cubicBezTo>
                  <a:cubicBezTo>
                    <a:pt x="81" y="84"/>
                    <a:pt x="79" y="83"/>
                    <a:pt x="77" y="82"/>
                  </a:cubicBezTo>
                  <a:cubicBezTo>
                    <a:pt x="76" y="81"/>
                    <a:pt x="75" y="81"/>
                    <a:pt x="75" y="81"/>
                  </a:cubicBezTo>
                  <a:cubicBezTo>
                    <a:pt x="74" y="83"/>
                    <a:pt x="76" y="84"/>
                    <a:pt x="77" y="85"/>
                  </a:cubicBezTo>
                  <a:cubicBezTo>
                    <a:pt x="78" y="86"/>
                    <a:pt x="79" y="87"/>
                    <a:pt x="80" y="89"/>
                  </a:cubicBezTo>
                  <a:cubicBezTo>
                    <a:pt x="78" y="88"/>
                    <a:pt x="77" y="87"/>
                    <a:pt x="75" y="86"/>
                  </a:cubicBezTo>
                  <a:cubicBezTo>
                    <a:pt x="75" y="85"/>
                    <a:pt x="74" y="85"/>
                    <a:pt x="74" y="84"/>
                  </a:cubicBezTo>
                  <a:cubicBezTo>
                    <a:pt x="73" y="84"/>
                    <a:pt x="73" y="84"/>
                    <a:pt x="72" y="84"/>
                  </a:cubicBezTo>
                  <a:cubicBezTo>
                    <a:pt x="72" y="83"/>
                    <a:pt x="71" y="82"/>
                    <a:pt x="70" y="83"/>
                  </a:cubicBezTo>
                  <a:cubicBezTo>
                    <a:pt x="70" y="83"/>
                    <a:pt x="69" y="85"/>
                    <a:pt x="69" y="86"/>
                  </a:cubicBezTo>
                  <a:cubicBezTo>
                    <a:pt x="69" y="86"/>
                    <a:pt x="68" y="88"/>
                    <a:pt x="67" y="87"/>
                  </a:cubicBezTo>
                  <a:cubicBezTo>
                    <a:pt x="66" y="87"/>
                    <a:pt x="66" y="86"/>
                    <a:pt x="66" y="85"/>
                  </a:cubicBezTo>
                  <a:cubicBezTo>
                    <a:pt x="65" y="84"/>
                    <a:pt x="66" y="84"/>
                    <a:pt x="65" y="83"/>
                  </a:cubicBezTo>
                  <a:cubicBezTo>
                    <a:pt x="65" y="83"/>
                    <a:pt x="64" y="83"/>
                    <a:pt x="64" y="82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82"/>
                    <a:pt x="62" y="82"/>
                    <a:pt x="62" y="82"/>
                  </a:cubicBezTo>
                  <a:cubicBezTo>
                    <a:pt x="61" y="82"/>
                    <a:pt x="60" y="82"/>
                    <a:pt x="60" y="83"/>
                  </a:cubicBezTo>
                  <a:cubicBezTo>
                    <a:pt x="60" y="84"/>
                    <a:pt x="60" y="86"/>
                    <a:pt x="60" y="86"/>
                  </a:cubicBezTo>
                  <a:cubicBezTo>
                    <a:pt x="60" y="89"/>
                    <a:pt x="60" y="91"/>
                    <a:pt x="60" y="93"/>
                  </a:cubicBezTo>
                  <a:cubicBezTo>
                    <a:pt x="60" y="94"/>
                    <a:pt x="60" y="96"/>
                    <a:pt x="59" y="96"/>
                  </a:cubicBezTo>
                  <a:cubicBezTo>
                    <a:pt x="58" y="96"/>
                    <a:pt x="57" y="92"/>
                    <a:pt x="57" y="91"/>
                  </a:cubicBezTo>
                  <a:cubicBezTo>
                    <a:pt x="57" y="90"/>
                    <a:pt x="57" y="88"/>
                    <a:pt x="56" y="87"/>
                  </a:cubicBezTo>
                  <a:cubicBezTo>
                    <a:pt x="54" y="85"/>
                    <a:pt x="52" y="87"/>
                    <a:pt x="51" y="88"/>
                  </a:cubicBezTo>
                  <a:cubicBezTo>
                    <a:pt x="50" y="88"/>
                    <a:pt x="49" y="89"/>
                    <a:pt x="49" y="90"/>
                  </a:cubicBezTo>
                  <a:cubicBezTo>
                    <a:pt x="49" y="90"/>
                    <a:pt x="50" y="90"/>
                    <a:pt x="50" y="90"/>
                  </a:cubicBezTo>
                  <a:cubicBezTo>
                    <a:pt x="50" y="90"/>
                    <a:pt x="50" y="91"/>
                    <a:pt x="50" y="91"/>
                  </a:cubicBezTo>
                  <a:cubicBezTo>
                    <a:pt x="50" y="92"/>
                    <a:pt x="50" y="92"/>
                    <a:pt x="50" y="93"/>
                  </a:cubicBezTo>
                  <a:cubicBezTo>
                    <a:pt x="50" y="95"/>
                    <a:pt x="50" y="97"/>
                    <a:pt x="51" y="100"/>
                  </a:cubicBezTo>
                  <a:cubicBezTo>
                    <a:pt x="51" y="101"/>
                    <a:pt x="52" y="101"/>
                    <a:pt x="52" y="101"/>
                  </a:cubicBezTo>
                  <a:cubicBezTo>
                    <a:pt x="53" y="102"/>
                    <a:pt x="53" y="102"/>
                    <a:pt x="53" y="102"/>
                  </a:cubicBezTo>
                  <a:cubicBezTo>
                    <a:pt x="54" y="102"/>
                    <a:pt x="56" y="103"/>
                    <a:pt x="55" y="104"/>
                  </a:cubicBezTo>
                  <a:cubicBezTo>
                    <a:pt x="54" y="104"/>
                    <a:pt x="52" y="104"/>
                    <a:pt x="51" y="105"/>
                  </a:cubicBezTo>
                  <a:cubicBezTo>
                    <a:pt x="52" y="105"/>
                    <a:pt x="53" y="106"/>
                    <a:pt x="53" y="106"/>
                  </a:cubicBezTo>
                  <a:cubicBezTo>
                    <a:pt x="53" y="106"/>
                    <a:pt x="53" y="107"/>
                    <a:pt x="52" y="107"/>
                  </a:cubicBezTo>
                  <a:cubicBezTo>
                    <a:pt x="52" y="108"/>
                    <a:pt x="51" y="107"/>
                    <a:pt x="51" y="108"/>
                  </a:cubicBezTo>
                  <a:cubicBezTo>
                    <a:pt x="51" y="109"/>
                    <a:pt x="50" y="109"/>
                    <a:pt x="50" y="110"/>
                  </a:cubicBezTo>
                  <a:cubicBezTo>
                    <a:pt x="51" y="111"/>
                    <a:pt x="51" y="110"/>
                    <a:pt x="52" y="111"/>
                  </a:cubicBezTo>
                  <a:cubicBezTo>
                    <a:pt x="52" y="111"/>
                    <a:pt x="53" y="112"/>
                    <a:pt x="54" y="112"/>
                  </a:cubicBezTo>
                  <a:cubicBezTo>
                    <a:pt x="54" y="113"/>
                    <a:pt x="54" y="114"/>
                    <a:pt x="55" y="114"/>
                  </a:cubicBezTo>
                  <a:cubicBezTo>
                    <a:pt x="55" y="115"/>
                    <a:pt x="56" y="116"/>
                    <a:pt x="57" y="117"/>
                  </a:cubicBezTo>
                  <a:cubicBezTo>
                    <a:pt x="57" y="117"/>
                    <a:pt x="57" y="118"/>
                    <a:pt x="57" y="119"/>
                  </a:cubicBezTo>
                  <a:cubicBezTo>
                    <a:pt x="59" y="120"/>
                    <a:pt x="61" y="117"/>
                    <a:pt x="62" y="118"/>
                  </a:cubicBezTo>
                  <a:cubicBezTo>
                    <a:pt x="63" y="118"/>
                    <a:pt x="64" y="119"/>
                    <a:pt x="64" y="120"/>
                  </a:cubicBezTo>
                  <a:cubicBezTo>
                    <a:pt x="63" y="121"/>
                    <a:pt x="60" y="121"/>
                    <a:pt x="59" y="121"/>
                  </a:cubicBezTo>
                  <a:cubicBezTo>
                    <a:pt x="58" y="121"/>
                    <a:pt x="58" y="121"/>
                    <a:pt x="58" y="122"/>
                  </a:cubicBezTo>
                  <a:cubicBezTo>
                    <a:pt x="55" y="121"/>
                    <a:pt x="53" y="118"/>
                    <a:pt x="50" y="117"/>
                  </a:cubicBezTo>
                  <a:cubicBezTo>
                    <a:pt x="50" y="117"/>
                    <a:pt x="48" y="117"/>
                    <a:pt x="48" y="117"/>
                  </a:cubicBezTo>
                  <a:cubicBezTo>
                    <a:pt x="47" y="118"/>
                    <a:pt x="47" y="121"/>
                    <a:pt x="47" y="122"/>
                  </a:cubicBezTo>
                  <a:cubicBezTo>
                    <a:pt x="47" y="123"/>
                    <a:pt x="47" y="124"/>
                    <a:pt x="47" y="125"/>
                  </a:cubicBezTo>
                  <a:cubicBezTo>
                    <a:pt x="48" y="126"/>
                    <a:pt x="48" y="127"/>
                    <a:pt x="49" y="129"/>
                  </a:cubicBezTo>
                  <a:cubicBezTo>
                    <a:pt x="49" y="130"/>
                    <a:pt x="49" y="131"/>
                    <a:pt x="49" y="132"/>
                  </a:cubicBezTo>
                  <a:cubicBezTo>
                    <a:pt x="49" y="133"/>
                    <a:pt x="49" y="133"/>
                    <a:pt x="49" y="134"/>
                  </a:cubicBezTo>
                  <a:cubicBezTo>
                    <a:pt x="49" y="135"/>
                    <a:pt x="49" y="136"/>
                    <a:pt x="49" y="137"/>
                  </a:cubicBezTo>
                  <a:cubicBezTo>
                    <a:pt x="49" y="139"/>
                    <a:pt x="50" y="140"/>
                    <a:pt x="51" y="140"/>
                  </a:cubicBezTo>
                  <a:cubicBezTo>
                    <a:pt x="51" y="140"/>
                    <a:pt x="52" y="140"/>
                    <a:pt x="52" y="140"/>
                  </a:cubicBezTo>
                  <a:cubicBezTo>
                    <a:pt x="53" y="139"/>
                    <a:pt x="53" y="139"/>
                    <a:pt x="53" y="138"/>
                  </a:cubicBezTo>
                  <a:cubicBezTo>
                    <a:pt x="54" y="137"/>
                    <a:pt x="55" y="137"/>
                    <a:pt x="56" y="136"/>
                  </a:cubicBezTo>
                  <a:cubicBezTo>
                    <a:pt x="57" y="136"/>
                    <a:pt x="59" y="135"/>
                    <a:pt x="60" y="135"/>
                  </a:cubicBezTo>
                  <a:cubicBezTo>
                    <a:pt x="61" y="135"/>
                    <a:pt x="61" y="135"/>
                    <a:pt x="61" y="136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8"/>
                    <a:pt x="63" y="138"/>
                    <a:pt x="63" y="138"/>
                  </a:cubicBezTo>
                  <a:cubicBezTo>
                    <a:pt x="65" y="138"/>
                    <a:pt x="65" y="138"/>
                    <a:pt x="66" y="137"/>
                  </a:cubicBezTo>
                  <a:cubicBezTo>
                    <a:pt x="67" y="136"/>
                    <a:pt x="66" y="135"/>
                    <a:pt x="67" y="134"/>
                  </a:cubicBezTo>
                  <a:cubicBezTo>
                    <a:pt x="68" y="134"/>
                    <a:pt x="70" y="134"/>
                    <a:pt x="71" y="134"/>
                  </a:cubicBezTo>
                  <a:cubicBezTo>
                    <a:pt x="72" y="136"/>
                    <a:pt x="70" y="137"/>
                    <a:pt x="69" y="138"/>
                  </a:cubicBezTo>
                  <a:cubicBezTo>
                    <a:pt x="68" y="139"/>
                    <a:pt x="67" y="140"/>
                    <a:pt x="66" y="140"/>
                  </a:cubicBezTo>
                  <a:cubicBezTo>
                    <a:pt x="64" y="141"/>
                    <a:pt x="62" y="141"/>
                    <a:pt x="61" y="142"/>
                  </a:cubicBezTo>
                  <a:cubicBezTo>
                    <a:pt x="60" y="142"/>
                    <a:pt x="58" y="141"/>
                    <a:pt x="57" y="142"/>
                  </a:cubicBezTo>
                  <a:cubicBezTo>
                    <a:pt x="56" y="142"/>
                    <a:pt x="56" y="144"/>
                    <a:pt x="55" y="144"/>
                  </a:cubicBezTo>
                  <a:cubicBezTo>
                    <a:pt x="56" y="144"/>
                    <a:pt x="58" y="145"/>
                    <a:pt x="59" y="145"/>
                  </a:cubicBezTo>
                  <a:cubicBezTo>
                    <a:pt x="59" y="146"/>
                    <a:pt x="61" y="146"/>
                    <a:pt x="62" y="146"/>
                  </a:cubicBezTo>
                  <a:cubicBezTo>
                    <a:pt x="63" y="146"/>
                    <a:pt x="65" y="146"/>
                    <a:pt x="64" y="147"/>
                  </a:cubicBezTo>
                  <a:cubicBezTo>
                    <a:pt x="64" y="148"/>
                    <a:pt x="62" y="148"/>
                    <a:pt x="61" y="149"/>
                  </a:cubicBezTo>
                  <a:cubicBezTo>
                    <a:pt x="60" y="149"/>
                    <a:pt x="60" y="150"/>
                    <a:pt x="60" y="151"/>
                  </a:cubicBezTo>
                  <a:cubicBezTo>
                    <a:pt x="59" y="152"/>
                    <a:pt x="59" y="151"/>
                    <a:pt x="59" y="150"/>
                  </a:cubicBezTo>
                  <a:cubicBezTo>
                    <a:pt x="58" y="150"/>
                    <a:pt x="58" y="149"/>
                    <a:pt x="58" y="148"/>
                  </a:cubicBezTo>
                  <a:cubicBezTo>
                    <a:pt x="58" y="147"/>
                    <a:pt x="55" y="147"/>
                    <a:pt x="55" y="148"/>
                  </a:cubicBezTo>
                  <a:cubicBezTo>
                    <a:pt x="54" y="148"/>
                    <a:pt x="54" y="149"/>
                    <a:pt x="54" y="149"/>
                  </a:cubicBezTo>
                  <a:cubicBezTo>
                    <a:pt x="53" y="149"/>
                    <a:pt x="52" y="149"/>
                    <a:pt x="51" y="149"/>
                  </a:cubicBezTo>
                  <a:cubicBezTo>
                    <a:pt x="49" y="149"/>
                    <a:pt x="48" y="149"/>
                    <a:pt x="46" y="148"/>
                  </a:cubicBezTo>
                  <a:cubicBezTo>
                    <a:pt x="46" y="148"/>
                    <a:pt x="46" y="147"/>
                    <a:pt x="45" y="146"/>
                  </a:cubicBezTo>
                  <a:cubicBezTo>
                    <a:pt x="45" y="146"/>
                    <a:pt x="45" y="144"/>
                    <a:pt x="45" y="143"/>
                  </a:cubicBezTo>
                  <a:cubicBezTo>
                    <a:pt x="44" y="142"/>
                    <a:pt x="42" y="141"/>
                    <a:pt x="41" y="141"/>
                  </a:cubicBezTo>
                  <a:cubicBezTo>
                    <a:pt x="41" y="141"/>
                    <a:pt x="40" y="141"/>
                    <a:pt x="40" y="141"/>
                  </a:cubicBezTo>
                  <a:cubicBezTo>
                    <a:pt x="39" y="140"/>
                    <a:pt x="39" y="139"/>
                    <a:pt x="39" y="138"/>
                  </a:cubicBezTo>
                  <a:cubicBezTo>
                    <a:pt x="39" y="137"/>
                    <a:pt x="39" y="136"/>
                    <a:pt x="39" y="134"/>
                  </a:cubicBezTo>
                  <a:cubicBezTo>
                    <a:pt x="40" y="133"/>
                    <a:pt x="40" y="131"/>
                    <a:pt x="41" y="130"/>
                  </a:cubicBezTo>
                  <a:cubicBezTo>
                    <a:pt x="41" y="129"/>
                    <a:pt x="41" y="128"/>
                    <a:pt x="42" y="126"/>
                  </a:cubicBezTo>
                  <a:cubicBezTo>
                    <a:pt x="43" y="124"/>
                    <a:pt x="43" y="122"/>
                    <a:pt x="43" y="119"/>
                  </a:cubicBezTo>
                  <a:cubicBezTo>
                    <a:pt x="43" y="119"/>
                    <a:pt x="43" y="118"/>
                    <a:pt x="43" y="117"/>
                  </a:cubicBezTo>
                  <a:cubicBezTo>
                    <a:pt x="42" y="115"/>
                    <a:pt x="40" y="116"/>
                    <a:pt x="40" y="117"/>
                  </a:cubicBezTo>
                  <a:cubicBezTo>
                    <a:pt x="39" y="119"/>
                    <a:pt x="39" y="121"/>
                    <a:pt x="39" y="122"/>
                  </a:cubicBezTo>
                  <a:cubicBezTo>
                    <a:pt x="40" y="124"/>
                    <a:pt x="39" y="124"/>
                    <a:pt x="38" y="125"/>
                  </a:cubicBezTo>
                  <a:cubicBezTo>
                    <a:pt x="37" y="127"/>
                    <a:pt x="37" y="130"/>
                    <a:pt x="36" y="132"/>
                  </a:cubicBezTo>
                  <a:cubicBezTo>
                    <a:pt x="36" y="134"/>
                    <a:pt x="36" y="134"/>
                    <a:pt x="36" y="136"/>
                  </a:cubicBezTo>
                  <a:cubicBezTo>
                    <a:pt x="36" y="136"/>
                    <a:pt x="37" y="138"/>
                    <a:pt x="36" y="139"/>
                  </a:cubicBezTo>
                  <a:cubicBezTo>
                    <a:pt x="35" y="138"/>
                    <a:pt x="34" y="135"/>
                    <a:pt x="33" y="133"/>
                  </a:cubicBezTo>
                  <a:cubicBezTo>
                    <a:pt x="33" y="132"/>
                    <a:pt x="33" y="130"/>
                    <a:pt x="33" y="129"/>
                  </a:cubicBezTo>
                  <a:cubicBezTo>
                    <a:pt x="33" y="126"/>
                    <a:pt x="33" y="124"/>
                    <a:pt x="33" y="121"/>
                  </a:cubicBezTo>
                  <a:cubicBezTo>
                    <a:pt x="33" y="118"/>
                    <a:pt x="31" y="114"/>
                    <a:pt x="30" y="112"/>
                  </a:cubicBezTo>
                  <a:cubicBezTo>
                    <a:pt x="29" y="111"/>
                    <a:pt x="28" y="110"/>
                    <a:pt x="28" y="109"/>
                  </a:cubicBezTo>
                  <a:cubicBezTo>
                    <a:pt x="27" y="108"/>
                    <a:pt x="26" y="107"/>
                    <a:pt x="26" y="106"/>
                  </a:cubicBezTo>
                  <a:cubicBezTo>
                    <a:pt x="24" y="104"/>
                    <a:pt x="22" y="103"/>
                    <a:pt x="20" y="105"/>
                  </a:cubicBezTo>
                  <a:cubicBezTo>
                    <a:pt x="19" y="107"/>
                    <a:pt x="18" y="109"/>
                    <a:pt x="17" y="110"/>
                  </a:cubicBezTo>
                  <a:cubicBezTo>
                    <a:pt x="17" y="112"/>
                    <a:pt x="18" y="114"/>
                    <a:pt x="18" y="115"/>
                  </a:cubicBezTo>
                  <a:cubicBezTo>
                    <a:pt x="18" y="117"/>
                    <a:pt x="18" y="118"/>
                    <a:pt x="20" y="119"/>
                  </a:cubicBezTo>
                  <a:cubicBezTo>
                    <a:pt x="20" y="119"/>
                    <a:pt x="21" y="120"/>
                    <a:pt x="21" y="121"/>
                  </a:cubicBezTo>
                  <a:cubicBezTo>
                    <a:pt x="21" y="121"/>
                    <a:pt x="21" y="122"/>
                    <a:pt x="21" y="123"/>
                  </a:cubicBezTo>
                  <a:cubicBezTo>
                    <a:pt x="21" y="123"/>
                    <a:pt x="23" y="124"/>
                    <a:pt x="22" y="125"/>
                  </a:cubicBezTo>
                  <a:cubicBezTo>
                    <a:pt x="22" y="125"/>
                    <a:pt x="21" y="124"/>
                    <a:pt x="20" y="123"/>
                  </a:cubicBezTo>
                  <a:cubicBezTo>
                    <a:pt x="20" y="123"/>
                    <a:pt x="20" y="123"/>
                    <a:pt x="19" y="123"/>
                  </a:cubicBezTo>
                  <a:cubicBezTo>
                    <a:pt x="18" y="123"/>
                    <a:pt x="17" y="124"/>
                    <a:pt x="16" y="123"/>
                  </a:cubicBezTo>
                  <a:cubicBezTo>
                    <a:pt x="15" y="123"/>
                    <a:pt x="14" y="122"/>
                    <a:pt x="14" y="121"/>
                  </a:cubicBezTo>
                  <a:cubicBezTo>
                    <a:pt x="13" y="120"/>
                    <a:pt x="12" y="120"/>
                    <a:pt x="11" y="119"/>
                  </a:cubicBezTo>
                  <a:cubicBezTo>
                    <a:pt x="11" y="119"/>
                    <a:pt x="10" y="118"/>
                    <a:pt x="10" y="118"/>
                  </a:cubicBezTo>
                  <a:cubicBezTo>
                    <a:pt x="9" y="117"/>
                    <a:pt x="9" y="117"/>
                    <a:pt x="9" y="116"/>
                  </a:cubicBezTo>
                  <a:cubicBezTo>
                    <a:pt x="8" y="115"/>
                    <a:pt x="8" y="113"/>
                    <a:pt x="7" y="113"/>
                  </a:cubicBezTo>
                  <a:cubicBezTo>
                    <a:pt x="6" y="114"/>
                    <a:pt x="6" y="116"/>
                    <a:pt x="6" y="117"/>
                  </a:cubicBezTo>
                  <a:cubicBezTo>
                    <a:pt x="7" y="118"/>
                    <a:pt x="7" y="119"/>
                    <a:pt x="8" y="120"/>
                  </a:cubicBezTo>
                  <a:cubicBezTo>
                    <a:pt x="8" y="121"/>
                    <a:pt x="7" y="123"/>
                    <a:pt x="8" y="123"/>
                  </a:cubicBezTo>
                  <a:cubicBezTo>
                    <a:pt x="8" y="123"/>
                    <a:pt x="8" y="123"/>
                    <a:pt x="8" y="123"/>
                  </a:cubicBezTo>
                  <a:cubicBezTo>
                    <a:pt x="7" y="124"/>
                    <a:pt x="8" y="126"/>
                    <a:pt x="8" y="127"/>
                  </a:cubicBezTo>
                  <a:cubicBezTo>
                    <a:pt x="8" y="127"/>
                    <a:pt x="8" y="128"/>
                    <a:pt x="8" y="129"/>
                  </a:cubicBezTo>
                  <a:cubicBezTo>
                    <a:pt x="8" y="129"/>
                    <a:pt x="9" y="130"/>
                    <a:pt x="8" y="131"/>
                  </a:cubicBezTo>
                  <a:cubicBezTo>
                    <a:pt x="7" y="132"/>
                    <a:pt x="5" y="128"/>
                    <a:pt x="4" y="127"/>
                  </a:cubicBezTo>
                  <a:cubicBezTo>
                    <a:pt x="4" y="126"/>
                    <a:pt x="3" y="123"/>
                    <a:pt x="1" y="123"/>
                  </a:cubicBezTo>
                  <a:cubicBezTo>
                    <a:pt x="1" y="124"/>
                    <a:pt x="1" y="124"/>
                    <a:pt x="1" y="125"/>
                  </a:cubicBezTo>
                  <a:cubicBezTo>
                    <a:pt x="1" y="125"/>
                    <a:pt x="0" y="126"/>
                    <a:pt x="0" y="126"/>
                  </a:cubicBezTo>
                  <a:cubicBezTo>
                    <a:pt x="0" y="129"/>
                    <a:pt x="0" y="131"/>
                    <a:pt x="0" y="133"/>
                  </a:cubicBezTo>
                  <a:cubicBezTo>
                    <a:pt x="0" y="135"/>
                    <a:pt x="0" y="136"/>
                    <a:pt x="2" y="137"/>
                  </a:cubicBezTo>
                  <a:cubicBezTo>
                    <a:pt x="2" y="138"/>
                    <a:pt x="3" y="139"/>
                    <a:pt x="4" y="139"/>
                  </a:cubicBezTo>
                  <a:cubicBezTo>
                    <a:pt x="5" y="140"/>
                    <a:pt x="6" y="140"/>
                    <a:pt x="7" y="140"/>
                  </a:cubicBezTo>
                  <a:cubicBezTo>
                    <a:pt x="8" y="140"/>
                    <a:pt x="8" y="140"/>
                    <a:pt x="9" y="139"/>
                  </a:cubicBezTo>
                  <a:cubicBezTo>
                    <a:pt x="9" y="138"/>
                    <a:pt x="10" y="136"/>
                    <a:pt x="12" y="136"/>
                  </a:cubicBezTo>
                  <a:cubicBezTo>
                    <a:pt x="13" y="136"/>
                    <a:pt x="15" y="137"/>
                    <a:pt x="16" y="138"/>
                  </a:cubicBezTo>
                  <a:cubicBezTo>
                    <a:pt x="16" y="138"/>
                    <a:pt x="16" y="139"/>
                    <a:pt x="16" y="139"/>
                  </a:cubicBezTo>
                  <a:cubicBezTo>
                    <a:pt x="17" y="139"/>
                    <a:pt x="17" y="139"/>
                    <a:pt x="18" y="140"/>
                  </a:cubicBezTo>
                  <a:cubicBezTo>
                    <a:pt x="19" y="141"/>
                    <a:pt x="21" y="142"/>
                    <a:pt x="22" y="144"/>
                  </a:cubicBezTo>
                  <a:cubicBezTo>
                    <a:pt x="20" y="144"/>
                    <a:pt x="19" y="143"/>
                    <a:pt x="17" y="143"/>
                  </a:cubicBezTo>
                  <a:cubicBezTo>
                    <a:pt x="17" y="143"/>
                    <a:pt x="14" y="141"/>
                    <a:pt x="13" y="141"/>
                  </a:cubicBezTo>
                  <a:cubicBezTo>
                    <a:pt x="12" y="141"/>
                    <a:pt x="12" y="143"/>
                    <a:pt x="12" y="144"/>
                  </a:cubicBezTo>
                  <a:cubicBezTo>
                    <a:pt x="11" y="148"/>
                    <a:pt x="14" y="150"/>
                    <a:pt x="17" y="153"/>
                  </a:cubicBezTo>
                  <a:cubicBezTo>
                    <a:pt x="18" y="154"/>
                    <a:pt x="19" y="155"/>
                    <a:pt x="20" y="156"/>
                  </a:cubicBezTo>
                  <a:cubicBezTo>
                    <a:pt x="20" y="157"/>
                    <a:pt x="21" y="157"/>
                    <a:pt x="21" y="158"/>
                  </a:cubicBezTo>
                  <a:cubicBezTo>
                    <a:pt x="22" y="159"/>
                    <a:pt x="23" y="160"/>
                    <a:pt x="26" y="160"/>
                  </a:cubicBezTo>
                  <a:cubicBezTo>
                    <a:pt x="27" y="160"/>
                    <a:pt x="27" y="160"/>
                    <a:pt x="28" y="159"/>
                  </a:cubicBezTo>
                  <a:cubicBezTo>
                    <a:pt x="28" y="159"/>
                    <a:pt x="29" y="159"/>
                    <a:pt x="30" y="159"/>
                  </a:cubicBezTo>
                  <a:cubicBezTo>
                    <a:pt x="30" y="159"/>
                    <a:pt x="30" y="158"/>
                    <a:pt x="31" y="158"/>
                  </a:cubicBezTo>
                  <a:cubicBezTo>
                    <a:pt x="32" y="158"/>
                    <a:pt x="32" y="158"/>
                    <a:pt x="33" y="159"/>
                  </a:cubicBezTo>
                  <a:cubicBezTo>
                    <a:pt x="33" y="159"/>
                    <a:pt x="33" y="160"/>
                    <a:pt x="33" y="160"/>
                  </a:cubicBezTo>
                  <a:cubicBezTo>
                    <a:pt x="34" y="160"/>
                    <a:pt x="35" y="160"/>
                    <a:pt x="36" y="160"/>
                  </a:cubicBezTo>
                  <a:cubicBezTo>
                    <a:pt x="37" y="159"/>
                    <a:pt x="40" y="158"/>
                    <a:pt x="42" y="159"/>
                  </a:cubicBezTo>
                  <a:cubicBezTo>
                    <a:pt x="44" y="160"/>
                    <a:pt x="38" y="165"/>
                    <a:pt x="38" y="167"/>
                  </a:cubicBezTo>
                  <a:cubicBezTo>
                    <a:pt x="38" y="168"/>
                    <a:pt x="38" y="169"/>
                    <a:pt x="39" y="170"/>
                  </a:cubicBezTo>
                  <a:cubicBezTo>
                    <a:pt x="40" y="170"/>
                    <a:pt x="40" y="171"/>
                    <a:pt x="41" y="171"/>
                  </a:cubicBezTo>
                  <a:cubicBezTo>
                    <a:pt x="42" y="172"/>
                    <a:pt x="43" y="171"/>
                    <a:pt x="44" y="171"/>
                  </a:cubicBezTo>
                  <a:cubicBezTo>
                    <a:pt x="46" y="170"/>
                    <a:pt x="47" y="169"/>
                    <a:pt x="48" y="168"/>
                  </a:cubicBezTo>
                  <a:cubicBezTo>
                    <a:pt x="50" y="167"/>
                    <a:pt x="49" y="166"/>
                    <a:pt x="50" y="164"/>
                  </a:cubicBezTo>
                  <a:cubicBezTo>
                    <a:pt x="50" y="163"/>
                    <a:pt x="51" y="161"/>
                    <a:pt x="52" y="160"/>
                  </a:cubicBezTo>
                  <a:cubicBezTo>
                    <a:pt x="53" y="159"/>
                    <a:pt x="53" y="159"/>
                    <a:pt x="54" y="158"/>
                  </a:cubicBezTo>
                  <a:cubicBezTo>
                    <a:pt x="54" y="158"/>
                    <a:pt x="55" y="157"/>
                    <a:pt x="55" y="156"/>
                  </a:cubicBezTo>
                  <a:cubicBezTo>
                    <a:pt x="56" y="155"/>
                    <a:pt x="58" y="154"/>
                    <a:pt x="59" y="154"/>
                  </a:cubicBezTo>
                  <a:cubicBezTo>
                    <a:pt x="59" y="154"/>
                    <a:pt x="59" y="154"/>
                    <a:pt x="59" y="154"/>
                  </a:cubicBezTo>
                  <a:cubicBezTo>
                    <a:pt x="60" y="156"/>
                    <a:pt x="56" y="157"/>
                    <a:pt x="58" y="159"/>
                  </a:cubicBezTo>
                  <a:cubicBezTo>
                    <a:pt x="59" y="159"/>
                    <a:pt x="60" y="159"/>
                    <a:pt x="60" y="160"/>
                  </a:cubicBezTo>
                  <a:cubicBezTo>
                    <a:pt x="61" y="160"/>
                    <a:pt x="61" y="161"/>
                    <a:pt x="62" y="162"/>
                  </a:cubicBezTo>
                  <a:cubicBezTo>
                    <a:pt x="63" y="163"/>
                    <a:pt x="64" y="163"/>
                    <a:pt x="66" y="163"/>
                  </a:cubicBezTo>
                  <a:cubicBezTo>
                    <a:pt x="67" y="163"/>
                    <a:pt x="67" y="163"/>
                    <a:pt x="68" y="164"/>
                  </a:cubicBezTo>
                  <a:cubicBezTo>
                    <a:pt x="69" y="166"/>
                    <a:pt x="66" y="165"/>
                    <a:pt x="65" y="165"/>
                  </a:cubicBezTo>
                  <a:cubicBezTo>
                    <a:pt x="64" y="165"/>
                    <a:pt x="64" y="165"/>
                    <a:pt x="64" y="164"/>
                  </a:cubicBezTo>
                  <a:cubicBezTo>
                    <a:pt x="62" y="164"/>
                    <a:pt x="62" y="163"/>
                    <a:pt x="60" y="163"/>
                  </a:cubicBezTo>
                  <a:cubicBezTo>
                    <a:pt x="60" y="163"/>
                    <a:pt x="59" y="163"/>
                    <a:pt x="59" y="163"/>
                  </a:cubicBezTo>
                  <a:cubicBezTo>
                    <a:pt x="58" y="163"/>
                    <a:pt x="57" y="162"/>
                    <a:pt x="56" y="162"/>
                  </a:cubicBezTo>
                  <a:cubicBezTo>
                    <a:pt x="56" y="163"/>
                    <a:pt x="55" y="164"/>
                    <a:pt x="55" y="165"/>
                  </a:cubicBezTo>
                  <a:cubicBezTo>
                    <a:pt x="54" y="166"/>
                    <a:pt x="54" y="167"/>
                    <a:pt x="54" y="168"/>
                  </a:cubicBezTo>
                  <a:cubicBezTo>
                    <a:pt x="54" y="171"/>
                    <a:pt x="57" y="171"/>
                    <a:pt x="59" y="172"/>
                  </a:cubicBezTo>
                  <a:cubicBezTo>
                    <a:pt x="59" y="173"/>
                    <a:pt x="60" y="173"/>
                    <a:pt x="60" y="174"/>
                  </a:cubicBezTo>
                  <a:cubicBezTo>
                    <a:pt x="61" y="174"/>
                    <a:pt x="61" y="175"/>
                    <a:pt x="61" y="175"/>
                  </a:cubicBezTo>
                  <a:cubicBezTo>
                    <a:pt x="60" y="175"/>
                    <a:pt x="59" y="175"/>
                    <a:pt x="58" y="175"/>
                  </a:cubicBezTo>
                  <a:cubicBezTo>
                    <a:pt x="57" y="174"/>
                    <a:pt x="57" y="173"/>
                    <a:pt x="55" y="173"/>
                  </a:cubicBezTo>
                  <a:cubicBezTo>
                    <a:pt x="53" y="173"/>
                    <a:pt x="51" y="174"/>
                    <a:pt x="49" y="174"/>
                  </a:cubicBezTo>
                  <a:cubicBezTo>
                    <a:pt x="49" y="175"/>
                    <a:pt x="48" y="175"/>
                    <a:pt x="48" y="176"/>
                  </a:cubicBezTo>
                  <a:cubicBezTo>
                    <a:pt x="47" y="177"/>
                    <a:pt x="48" y="177"/>
                    <a:pt x="49" y="178"/>
                  </a:cubicBezTo>
                  <a:cubicBezTo>
                    <a:pt x="50" y="178"/>
                    <a:pt x="52" y="179"/>
                    <a:pt x="50" y="180"/>
                  </a:cubicBezTo>
                  <a:cubicBezTo>
                    <a:pt x="50" y="180"/>
                    <a:pt x="49" y="179"/>
                    <a:pt x="49" y="180"/>
                  </a:cubicBezTo>
                  <a:cubicBezTo>
                    <a:pt x="49" y="180"/>
                    <a:pt x="49" y="180"/>
                    <a:pt x="49" y="181"/>
                  </a:cubicBezTo>
                  <a:cubicBezTo>
                    <a:pt x="48" y="181"/>
                    <a:pt x="48" y="181"/>
                    <a:pt x="48" y="182"/>
                  </a:cubicBezTo>
                  <a:cubicBezTo>
                    <a:pt x="48" y="182"/>
                    <a:pt x="48" y="182"/>
                    <a:pt x="48" y="183"/>
                  </a:cubicBezTo>
                  <a:cubicBezTo>
                    <a:pt x="48" y="184"/>
                    <a:pt x="47" y="183"/>
                    <a:pt x="46" y="183"/>
                  </a:cubicBezTo>
                  <a:cubicBezTo>
                    <a:pt x="45" y="184"/>
                    <a:pt x="43" y="186"/>
                    <a:pt x="44" y="187"/>
                  </a:cubicBezTo>
                  <a:cubicBezTo>
                    <a:pt x="45" y="188"/>
                    <a:pt x="47" y="186"/>
                    <a:pt x="47" y="186"/>
                  </a:cubicBezTo>
                  <a:cubicBezTo>
                    <a:pt x="48" y="186"/>
                    <a:pt x="50" y="185"/>
                    <a:pt x="51" y="185"/>
                  </a:cubicBezTo>
                  <a:cubicBezTo>
                    <a:pt x="53" y="186"/>
                    <a:pt x="54" y="188"/>
                    <a:pt x="54" y="189"/>
                  </a:cubicBezTo>
                  <a:cubicBezTo>
                    <a:pt x="52" y="190"/>
                    <a:pt x="49" y="189"/>
                    <a:pt x="48" y="190"/>
                  </a:cubicBezTo>
                  <a:cubicBezTo>
                    <a:pt x="47" y="191"/>
                    <a:pt x="47" y="192"/>
                    <a:pt x="47" y="192"/>
                  </a:cubicBezTo>
                  <a:cubicBezTo>
                    <a:pt x="46" y="194"/>
                    <a:pt x="47" y="195"/>
                    <a:pt x="46" y="196"/>
                  </a:cubicBezTo>
                  <a:cubicBezTo>
                    <a:pt x="45" y="196"/>
                    <a:pt x="44" y="197"/>
                    <a:pt x="44" y="198"/>
                  </a:cubicBezTo>
                  <a:cubicBezTo>
                    <a:pt x="44" y="198"/>
                    <a:pt x="44" y="196"/>
                    <a:pt x="43" y="196"/>
                  </a:cubicBezTo>
                  <a:cubicBezTo>
                    <a:pt x="42" y="196"/>
                    <a:pt x="42" y="197"/>
                    <a:pt x="41" y="197"/>
                  </a:cubicBezTo>
                  <a:cubicBezTo>
                    <a:pt x="40" y="197"/>
                    <a:pt x="39" y="197"/>
                    <a:pt x="39" y="197"/>
                  </a:cubicBezTo>
                  <a:cubicBezTo>
                    <a:pt x="38" y="198"/>
                    <a:pt x="38" y="198"/>
                    <a:pt x="38" y="198"/>
                  </a:cubicBezTo>
                  <a:cubicBezTo>
                    <a:pt x="37" y="198"/>
                    <a:pt x="35" y="198"/>
                    <a:pt x="34" y="198"/>
                  </a:cubicBezTo>
                  <a:cubicBezTo>
                    <a:pt x="33" y="198"/>
                    <a:pt x="33" y="198"/>
                    <a:pt x="32" y="198"/>
                  </a:cubicBezTo>
                  <a:cubicBezTo>
                    <a:pt x="30" y="197"/>
                    <a:pt x="28" y="200"/>
                    <a:pt x="26" y="201"/>
                  </a:cubicBezTo>
                  <a:cubicBezTo>
                    <a:pt x="24" y="203"/>
                    <a:pt x="24" y="203"/>
                    <a:pt x="26" y="204"/>
                  </a:cubicBezTo>
                  <a:cubicBezTo>
                    <a:pt x="28" y="204"/>
                    <a:pt x="30" y="204"/>
                    <a:pt x="32" y="205"/>
                  </a:cubicBezTo>
                  <a:cubicBezTo>
                    <a:pt x="32" y="207"/>
                    <a:pt x="35" y="205"/>
                    <a:pt x="36" y="205"/>
                  </a:cubicBezTo>
                  <a:cubicBezTo>
                    <a:pt x="36" y="207"/>
                    <a:pt x="39" y="207"/>
                    <a:pt x="40" y="207"/>
                  </a:cubicBezTo>
                  <a:cubicBezTo>
                    <a:pt x="42" y="207"/>
                    <a:pt x="44" y="207"/>
                    <a:pt x="45" y="207"/>
                  </a:cubicBezTo>
                  <a:cubicBezTo>
                    <a:pt x="46" y="206"/>
                    <a:pt x="46" y="206"/>
                    <a:pt x="47" y="206"/>
                  </a:cubicBezTo>
                  <a:cubicBezTo>
                    <a:pt x="49" y="207"/>
                    <a:pt x="51" y="206"/>
                    <a:pt x="52" y="206"/>
                  </a:cubicBezTo>
                  <a:cubicBezTo>
                    <a:pt x="55" y="206"/>
                    <a:pt x="57" y="207"/>
                    <a:pt x="59" y="207"/>
                  </a:cubicBezTo>
                  <a:cubicBezTo>
                    <a:pt x="58" y="209"/>
                    <a:pt x="52" y="208"/>
                    <a:pt x="50" y="208"/>
                  </a:cubicBezTo>
                  <a:cubicBezTo>
                    <a:pt x="49" y="208"/>
                    <a:pt x="48" y="207"/>
                    <a:pt x="46" y="207"/>
                  </a:cubicBezTo>
                  <a:cubicBezTo>
                    <a:pt x="45" y="208"/>
                    <a:pt x="44" y="209"/>
                    <a:pt x="43" y="209"/>
                  </a:cubicBezTo>
                  <a:cubicBezTo>
                    <a:pt x="43" y="210"/>
                    <a:pt x="42" y="210"/>
                    <a:pt x="42" y="210"/>
                  </a:cubicBezTo>
                  <a:cubicBezTo>
                    <a:pt x="41" y="211"/>
                    <a:pt x="40" y="210"/>
                    <a:pt x="39" y="210"/>
                  </a:cubicBezTo>
                  <a:cubicBezTo>
                    <a:pt x="38" y="211"/>
                    <a:pt x="38" y="213"/>
                    <a:pt x="39" y="213"/>
                  </a:cubicBezTo>
                  <a:cubicBezTo>
                    <a:pt x="40" y="214"/>
                    <a:pt x="40" y="214"/>
                    <a:pt x="41" y="214"/>
                  </a:cubicBezTo>
                  <a:cubicBezTo>
                    <a:pt x="42" y="215"/>
                    <a:pt x="42" y="214"/>
                    <a:pt x="42" y="216"/>
                  </a:cubicBezTo>
                  <a:cubicBezTo>
                    <a:pt x="42" y="216"/>
                    <a:pt x="42" y="217"/>
                    <a:pt x="43" y="217"/>
                  </a:cubicBezTo>
                  <a:cubicBezTo>
                    <a:pt x="44" y="218"/>
                    <a:pt x="44" y="218"/>
                    <a:pt x="45" y="218"/>
                  </a:cubicBezTo>
                  <a:cubicBezTo>
                    <a:pt x="46" y="218"/>
                    <a:pt x="47" y="219"/>
                    <a:pt x="48" y="219"/>
                  </a:cubicBezTo>
                  <a:cubicBezTo>
                    <a:pt x="49" y="220"/>
                    <a:pt x="50" y="220"/>
                    <a:pt x="50" y="220"/>
                  </a:cubicBezTo>
                  <a:cubicBezTo>
                    <a:pt x="51" y="220"/>
                    <a:pt x="52" y="221"/>
                    <a:pt x="52" y="220"/>
                  </a:cubicBezTo>
                  <a:cubicBezTo>
                    <a:pt x="54" y="221"/>
                    <a:pt x="54" y="222"/>
                    <a:pt x="56" y="222"/>
                  </a:cubicBezTo>
                  <a:cubicBezTo>
                    <a:pt x="57" y="222"/>
                    <a:pt x="58" y="222"/>
                    <a:pt x="58" y="223"/>
                  </a:cubicBezTo>
                  <a:cubicBezTo>
                    <a:pt x="59" y="224"/>
                    <a:pt x="59" y="225"/>
                    <a:pt x="57" y="225"/>
                  </a:cubicBezTo>
                  <a:cubicBezTo>
                    <a:pt x="57" y="225"/>
                    <a:pt x="56" y="225"/>
                    <a:pt x="55" y="224"/>
                  </a:cubicBezTo>
                  <a:cubicBezTo>
                    <a:pt x="54" y="224"/>
                    <a:pt x="54" y="224"/>
                    <a:pt x="53" y="223"/>
                  </a:cubicBezTo>
                  <a:cubicBezTo>
                    <a:pt x="52" y="222"/>
                    <a:pt x="50" y="222"/>
                    <a:pt x="49" y="221"/>
                  </a:cubicBezTo>
                  <a:cubicBezTo>
                    <a:pt x="47" y="220"/>
                    <a:pt x="46" y="220"/>
                    <a:pt x="44" y="219"/>
                  </a:cubicBezTo>
                  <a:cubicBezTo>
                    <a:pt x="43" y="218"/>
                    <a:pt x="43" y="218"/>
                    <a:pt x="42" y="218"/>
                  </a:cubicBezTo>
                  <a:cubicBezTo>
                    <a:pt x="41" y="217"/>
                    <a:pt x="41" y="217"/>
                    <a:pt x="41" y="217"/>
                  </a:cubicBezTo>
                  <a:cubicBezTo>
                    <a:pt x="41" y="217"/>
                    <a:pt x="41" y="216"/>
                    <a:pt x="40" y="215"/>
                  </a:cubicBezTo>
                  <a:cubicBezTo>
                    <a:pt x="39" y="214"/>
                    <a:pt x="38" y="214"/>
                    <a:pt x="38" y="213"/>
                  </a:cubicBezTo>
                  <a:cubicBezTo>
                    <a:pt x="37" y="212"/>
                    <a:pt x="37" y="211"/>
                    <a:pt x="36" y="211"/>
                  </a:cubicBezTo>
                  <a:cubicBezTo>
                    <a:pt x="35" y="210"/>
                    <a:pt x="34" y="210"/>
                    <a:pt x="33" y="210"/>
                  </a:cubicBezTo>
                  <a:cubicBezTo>
                    <a:pt x="30" y="209"/>
                    <a:pt x="28" y="212"/>
                    <a:pt x="26" y="213"/>
                  </a:cubicBezTo>
                  <a:cubicBezTo>
                    <a:pt x="25" y="214"/>
                    <a:pt x="24" y="215"/>
                    <a:pt x="23" y="216"/>
                  </a:cubicBezTo>
                  <a:cubicBezTo>
                    <a:pt x="23" y="216"/>
                    <a:pt x="22" y="218"/>
                    <a:pt x="23" y="219"/>
                  </a:cubicBezTo>
                  <a:cubicBezTo>
                    <a:pt x="23" y="220"/>
                    <a:pt x="25" y="221"/>
                    <a:pt x="26" y="221"/>
                  </a:cubicBezTo>
                  <a:cubicBezTo>
                    <a:pt x="27" y="222"/>
                    <a:pt x="29" y="221"/>
                    <a:pt x="30" y="222"/>
                  </a:cubicBezTo>
                  <a:cubicBezTo>
                    <a:pt x="31" y="222"/>
                    <a:pt x="30" y="223"/>
                    <a:pt x="31" y="222"/>
                  </a:cubicBezTo>
                  <a:cubicBezTo>
                    <a:pt x="31" y="223"/>
                    <a:pt x="31" y="225"/>
                    <a:pt x="30" y="225"/>
                  </a:cubicBezTo>
                  <a:cubicBezTo>
                    <a:pt x="30" y="225"/>
                    <a:pt x="28" y="225"/>
                    <a:pt x="27" y="225"/>
                  </a:cubicBezTo>
                  <a:cubicBezTo>
                    <a:pt x="25" y="225"/>
                    <a:pt x="22" y="225"/>
                    <a:pt x="22" y="228"/>
                  </a:cubicBezTo>
                  <a:cubicBezTo>
                    <a:pt x="23" y="228"/>
                    <a:pt x="25" y="228"/>
                    <a:pt x="26" y="228"/>
                  </a:cubicBezTo>
                  <a:cubicBezTo>
                    <a:pt x="26" y="228"/>
                    <a:pt x="26" y="228"/>
                    <a:pt x="27" y="229"/>
                  </a:cubicBezTo>
                  <a:cubicBezTo>
                    <a:pt x="27" y="229"/>
                    <a:pt x="28" y="229"/>
                    <a:pt x="28" y="229"/>
                  </a:cubicBezTo>
                  <a:cubicBezTo>
                    <a:pt x="29" y="229"/>
                    <a:pt x="30" y="229"/>
                    <a:pt x="31" y="229"/>
                  </a:cubicBezTo>
                  <a:cubicBezTo>
                    <a:pt x="33" y="228"/>
                    <a:pt x="34" y="227"/>
                    <a:pt x="35" y="226"/>
                  </a:cubicBezTo>
                  <a:cubicBezTo>
                    <a:pt x="36" y="226"/>
                    <a:pt x="39" y="225"/>
                    <a:pt x="39" y="226"/>
                  </a:cubicBezTo>
                  <a:cubicBezTo>
                    <a:pt x="40" y="229"/>
                    <a:pt x="35" y="231"/>
                    <a:pt x="33" y="232"/>
                  </a:cubicBezTo>
                  <a:cubicBezTo>
                    <a:pt x="32" y="233"/>
                    <a:pt x="26" y="237"/>
                    <a:pt x="30" y="238"/>
                  </a:cubicBezTo>
                  <a:cubicBezTo>
                    <a:pt x="31" y="238"/>
                    <a:pt x="34" y="238"/>
                    <a:pt x="36" y="238"/>
                  </a:cubicBezTo>
                  <a:cubicBezTo>
                    <a:pt x="38" y="238"/>
                    <a:pt x="39" y="236"/>
                    <a:pt x="41" y="236"/>
                  </a:cubicBezTo>
                  <a:cubicBezTo>
                    <a:pt x="42" y="240"/>
                    <a:pt x="35" y="240"/>
                    <a:pt x="33" y="240"/>
                  </a:cubicBezTo>
                  <a:cubicBezTo>
                    <a:pt x="30" y="240"/>
                    <a:pt x="26" y="240"/>
                    <a:pt x="23" y="239"/>
                  </a:cubicBezTo>
                  <a:cubicBezTo>
                    <a:pt x="22" y="239"/>
                    <a:pt x="20" y="239"/>
                    <a:pt x="18" y="239"/>
                  </a:cubicBezTo>
                  <a:cubicBezTo>
                    <a:pt x="17" y="240"/>
                    <a:pt x="17" y="242"/>
                    <a:pt x="18" y="243"/>
                  </a:cubicBezTo>
                  <a:cubicBezTo>
                    <a:pt x="22" y="245"/>
                    <a:pt x="25" y="247"/>
                    <a:pt x="29" y="247"/>
                  </a:cubicBezTo>
                  <a:cubicBezTo>
                    <a:pt x="30" y="247"/>
                    <a:pt x="32" y="247"/>
                    <a:pt x="34" y="247"/>
                  </a:cubicBezTo>
                  <a:cubicBezTo>
                    <a:pt x="34" y="247"/>
                    <a:pt x="35" y="246"/>
                    <a:pt x="35" y="246"/>
                  </a:cubicBezTo>
                  <a:cubicBezTo>
                    <a:pt x="37" y="245"/>
                    <a:pt x="39" y="245"/>
                    <a:pt x="40" y="244"/>
                  </a:cubicBezTo>
                  <a:cubicBezTo>
                    <a:pt x="43" y="243"/>
                    <a:pt x="47" y="244"/>
                    <a:pt x="50" y="243"/>
                  </a:cubicBezTo>
                  <a:cubicBezTo>
                    <a:pt x="51" y="242"/>
                    <a:pt x="53" y="241"/>
                    <a:pt x="54" y="241"/>
                  </a:cubicBezTo>
                  <a:cubicBezTo>
                    <a:pt x="56" y="240"/>
                    <a:pt x="58" y="239"/>
                    <a:pt x="59" y="236"/>
                  </a:cubicBezTo>
                  <a:cubicBezTo>
                    <a:pt x="59" y="234"/>
                    <a:pt x="58" y="233"/>
                    <a:pt x="58" y="231"/>
                  </a:cubicBezTo>
                  <a:cubicBezTo>
                    <a:pt x="58" y="230"/>
                    <a:pt x="58" y="228"/>
                    <a:pt x="57" y="228"/>
                  </a:cubicBezTo>
                  <a:cubicBezTo>
                    <a:pt x="57" y="228"/>
                    <a:pt x="56" y="227"/>
                    <a:pt x="56" y="227"/>
                  </a:cubicBezTo>
                  <a:cubicBezTo>
                    <a:pt x="57" y="227"/>
                    <a:pt x="57" y="227"/>
                    <a:pt x="58" y="226"/>
                  </a:cubicBezTo>
                  <a:cubicBezTo>
                    <a:pt x="58" y="226"/>
                    <a:pt x="60" y="226"/>
                    <a:pt x="60" y="226"/>
                  </a:cubicBezTo>
                  <a:cubicBezTo>
                    <a:pt x="60" y="226"/>
                    <a:pt x="61" y="225"/>
                    <a:pt x="61" y="225"/>
                  </a:cubicBezTo>
                  <a:cubicBezTo>
                    <a:pt x="62" y="224"/>
                    <a:pt x="62" y="223"/>
                    <a:pt x="62" y="223"/>
                  </a:cubicBezTo>
                  <a:cubicBezTo>
                    <a:pt x="62" y="222"/>
                    <a:pt x="62" y="222"/>
                    <a:pt x="63" y="221"/>
                  </a:cubicBezTo>
                  <a:cubicBezTo>
                    <a:pt x="64" y="221"/>
                    <a:pt x="64" y="220"/>
                    <a:pt x="64" y="220"/>
                  </a:cubicBezTo>
                  <a:cubicBezTo>
                    <a:pt x="65" y="219"/>
                    <a:pt x="66" y="219"/>
                    <a:pt x="67" y="218"/>
                  </a:cubicBezTo>
                  <a:cubicBezTo>
                    <a:pt x="67" y="217"/>
                    <a:pt x="67" y="215"/>
                    <a:pt x="68" y="214"/>
                  </a:cubicBezTo>
                  <a:cubicBezTo>
                    <a:pt x="69" y="213"/>
                    <a:pt x="70" y="213"/>
                    <a:pt x="71" y="212"/>
                  </a:cubicBezTo>
                  <a:cubicBezTo>
                    <a:pt x="71" y="211"/>
                    <a:pt x="72" y="211"/>
                    <a:pt x="72" y="210"/>
                  </a:cubicBezTo>
                  <a:cubicBezTo>
                    <a:pt x="72" y="210"/>
                    <a:pt x="73" y="209"/>
                    <a:pt x="73" y="209"/>
                  </a:cubicBezTo>
                  <a:cubicBezTo>
                    <a:pt x="73" y="209"/>
                    <a:pt x="73" y="209"/>
                    <a:pt x="74" y="208"/>
                  </a:cubicBezTo>
                  <a:cubicBezTo>
                    <a:pt x="74" y="208"/>
                    <a:pt x="74" y="208"/>
                    <a:pt x="74" y="208"/>
                  </a:cubicBezTo>
                  <a:cubicBezTo>
                    <a:pt x="75" y="207"/>
                    <a:pt x="76" y="207"/>
                    <a:pt x="76" y="206"/>
                  </a:cubicBezTo>
                  <a:cubicBezTo>
                    <a:pt x="78" y="204"/>
                    <a:pt x="84" y="196"/>
                    <a:pt x="85" y="195"/>
                  </a:cubicBezTo>
                  <a:cubicBezTo>
                    <a:pt x="85" y="194"/>
                    <a:pt x="86" y="193"/>
                    <a:pt x="86" y="193"/>
                  </a:cubicBezTo>
                  <a:cubicBezTo>
                    <a:pt x="86" y="193"/>
                    <a:pt x="87" y="193"/>
                    <a:pt x="87" y="192"/>
                  </a:cubicBezTo>
                  <a:cubicBezTo>
                    <a:pt x="87" y="192"/>
                    <a:pt x="87" y="191"/>
                    <a:pt x="87" y="191"/>
                  </a:cubicBezTo>
                  <a:cubicBezTo>
                    <a:pt x="88" y="189"/>
                    <a:pt x="98" y="179"/>
                    <a:pt x="99" y="177"/>
                  </a:cubicBezTo>
                  <a:cubicBezTo>
                    <a:pt x="99" y="176"/>
                    <a:pt x="100" y="176"/>
                    <a:pt x="100" y="175"/>
                  </a:cubicBezTo>
                  <a:cubicBezTo>
                    <a:pt x="101" y="174"/>
                    <a:pt x="102" y="172"/>
                    <a:pt x="101" y="175"/>
                  </a:cubicBezTo>
                  <a:cubicBezTo>
                    <a:pt x="100" y="177"/>
                    <a:pt x="92" y="189"/>
                    <a:pt x="92" y="189"/>
                  </a:cubicBezTo>
                  <a:cubicBezTo>
                    <a:pt x="90" y="190"/>
                    <a:pt x="90" y="191"/>
                    <a:pt x="89" y="192"/>
                  </a:cubicBezTo>
                  <a:cubicBezTo>
                    <a:pt x="86" y="195"/>
                    <a:pt x="85" y="198"/>
                    <a:pt x="82" y="202"/>
                  </a:cubicBezTo>
                  <a:cubicBezTo>
                    <a:pt x="81" y="203"/>
                    <a:pt x="81" y="204"/>
                    <a:pt x="79" y="206"/>
                  </a:cubicBezTo>
                  <a:cubicBezTo>
                    <a:pt x="78" y="208"/>
                    <a:pt x="76" y="209"/>
                    <a:pt x="75" y="211"/>
                  </a:cubicBezTo>
                  <a:cubicBezTo>
                    <a:pt x="72" y="214"/>
                    <a:pt x="72" y="218"/>
                    <a:pt x="70" y="222"/>
                  </a:cubicBezTo>
                  <a:cubicBezTo>
                    <a:pt x="70" y="223"/>
                    <a:pt x="69" y="222"/>
                    <a:pt x="69" y="223"/>
                  </a:cubicBezTo>
                  <a:cubicBezTo>
                    <a:pt x="68" y="224"/>
                    <a:pt x="69" y="226"/>
                    <a:pt x="68" y="226"/>
                  </a:cubicBezTo>
                  <a:cubicBezTo>
                    <a:pt x="68" y="227"/>
                    <a:pt x="68" y="229"/>
                    <a:pt x="68" y="230"/>
                  </a:cubicBezTo>
                  <a:cubicBezTo>
                    <a:pt x="70" y="229"/>
                    <a:pt x="73" y="229"/>
                    <a:pt x="75" y="229"/>
                  </a:cubicBezTo>
                  <a:cubicBezTo>
                    <a:pt x="68" y="231"/>
                    <a:pt x="68" y="231"/>
                    <a:pt x="68" y="231"/>
                  </a:cubicBezTo>
                  <a:cubicBezTo>
                    <a:pt x="68" y="231"/>
                    <a:pt x="68" y="232"/>
                    <a:pt x="68" y="232"/>
                  </a:cubicBezTo>
                  <a:cubicBezTo>
                    <a:pt x="67" y="232"/>
                    <a:pt x="67" y="232"/>
                    <a:pt x="66" y="232"/>
                  </a:cubicBezTo>
                  <a:cubicBezTo>
                    <a:pt x="68" y="231"/>
                    <a:pt x="68" y="231"/>
                    <a:pt x="68" y="231"/>
                  </a:cubicBezTo>
                  <a:cubicBezTo>
                    <a:pt x="68" y="231"/>
                    <a:pt x="68" y="230"/>
                    <a:pt x="68" y="230"/>
                  </a:cubicBezTo>
                  <a:cubicBezTo>
                    <a:pt x="68" y="230"/>
                    <a:pt x="67" y="230"/>
                    <a:pt x="67" y="231"/>
                  </a:cubicBezTo>
                  <a:cubicBezTo>
                    <a:pt x="65" y="232"/>
                    <a:pt x="66" y="233"/>
                    <a:pt x="66" y="236"/>
                  </a:cubicBezTo>
                  <a:cubicBezTo>
                    <a:pt x="62" y="237"/>
                    <a:pt x="63" y="239"/>
                    <a:pt x="61" y="243"/>
                  </a:cubicBezTo>
                  <a:cubicBezTo>
                    <a:pt x="60" y="245"/>
                    <a:pt x="59" y="245"/>
                    <a:pt x="59" y="248"/>
                  </a:cubicBezTo>
                  <a:cubicBezTo>
                    <a:pt x="59" y="250"/>
                    <a:pt x="59" y="252"/>
                    <a:pt x="59" y="254"/>
                  </a:cubicBezTo>
                  <a:cubicBezTo>
                    <a:pt x="60" y="254"/>
                    <a:pt x="64" y="244"/>
                    <a:pt x="67" y="250"/>
                  </a:cubicBezTo>
                  <a:cubicBezTo>
                    <a:pt x="63" y="252"/>
                    <a:pt x="65" y="255"/>
                    <a:pt x="64" y="258"/>
                  </a:cubicBezTo>
                  <a:cubicBezTo>
                    <a:pt x="64" y="258"/>
                    <a:pt x="63" y="258"/>
                    <a:pt x="63" y="258"/>
                  </a:cubicBezTo>
                  <a:cubicBezTo>
                    <a:pt x="62" y="259"/>
                    <a:pt x="62" y="260"/>
                    <a:pt x="63" y="261"/>
                  </a:cubicBezTo>
                  <a:cubicBezTo>
                    <a:pt x="63" y="262"/>
                    <a:pt x="64" y="262"/>
                    <a:pt x="64" y="262"/>
                  </a:cubicBezTo>
                  <a:cubicBezTo>
                    <a:pt x="64" y="262"/>
                    <a:pt x="64" y="263"/>
                    <a:pt x="64" y="264"/>
                  </a:cubicBezTo>
                  <a:cubicBezTo>
                    <a:pt x="61" y="263"/>
                    <a:pt x="62" y="270"/>
                    <a:pt x="62" y="272"/>
                  </a:cubicBezTo>
                  <a:cubicBezTo>
                    <a:pt x="62" y="275"/>
                    <a:pt x="60" y="277"/>
                    <a:pt x="60" y="280"/>
                  </a:cubicBezTo>
                  <a:cubicBezTo>
                    <a:pt x="60" y="283"/>
                    <a:pt x="60" y="286"/>
                    <a:pt x="60" y="288"/>
                  </a:cubicBezTo>
                  <a:cubicBezTo>
                    <a:pt x="59" y="289"/>
                    <a:pt x="60" y="291"/>
                    <a:pt x="60" y="291"/>
                  </a:cubicBezTo>
                  <a:cubicBezTo>
                    <a:pt x="59" y="292"/>
                    <a:pt x="58" y="292"/>
                    <a:pt x="58" y="293"/>
                  </a:cubicBezTo>
                  <a:cubicBezTo>
                    <a:pt x="57" y="294"/>
                    <a:pt x="57" y="294"/>
                    <a:pt x="57" y="296"/>
                  </a:cubicBezTo>
                  <a:cubicBezTo>
                    <a:pt x="62" y="297"/>
                    <a:pt x="63" y="295"/>
                    <a:pt x="65" y="291"/>
                  </a:cubicBezTo>
                  <a:cubicBezTo>
                    <a:pt x="68" y="287"/>
                    <a:pt x="71" y="285"/>
                    <a:pt x="71" y="280"/>
                  </a:cubicBezTo>
                  <a:cubicBezTo>
                    <a:pt x="71" y="277"/>
                    <a:pt x="70" y="271"/>
                    <a:pt x="71" y="268"/>
                  </a:cubicBezTo>
                  <a:cubicBezTo>
                    <a:pt x="73" y="267"/>
                    <a:pt x="75" y="268"/>
                    <a:pt x="77" y="267"/>
                  </a:cubicBezTo>
                  <a:cubicBezTo>
                    <a:pt x="78" y="267"/>
                    <a:pt x="80" y="266"/>
                    <a:pt x="81" y="265"/>
                  </a:cubicBezTo>
                  <a:cubicBezTo>
                    <a:pt x="83" y="269"/>
                    <a:pt x="78" y="270"/>
                    <a:pt x="76" y="273"/>
                  </a:cubicBezTo>
                  <a:cubicBezTo>
                    <a:pt x="75" y="274"/>
                    <a:pt x="76" y="275"/>
                    <a:pt x="75" y="275"/>
                  </a:cubicBezTo>
                  <a:cubicBezTo>
                    <a:pt x="75" y="276"/>
                    <a:pt x="73" y="276"/>
                    <a:pt x="73" y="277"/>
                  </a:cubicBezTo>
                  <a:cubicBezTo>
                    <a:pt x="72" y="278"/>
                    <a:pt x="72" y="281"/>
                    <a:pt x="72" y="282"/>
                  </a:cubicBezTo>
                  <a:cubicBezTo>
                    <a:pt x="73" y="286"/>
                    <a:pt x="75" y="291"/>
                    <a:pt x="79" y="290"/>
                  </a:cubicBezTo>
                  <a:cubicBezTo>
                    <a:pt x="82" y="289"/>
                    <a:pt x="81" y="290"/>
                    <a:pt x="81" y="286"/>
                  </a:cubicBezTo>
                  <a:cubicBezTo>
                    <a:pt x="82" y="284"/>
                    <a:pt x="83" y="283"/>
                    <a:pt x="86" y="284"/>
                  </a:cubicBezTo>
                  <a:cubicBezTo>
                    <a:pt x="86" y="287"/>
                    <a:pt x="86" y="288"/>
                    <a:pt x="88" y="290"/>
                  </a:cubicBezTo>
                  <a:cubicBezTo>
                    <a:pt x="90" y="292"/>
                    <a:pt x="91" y="294"/>
                    <a:pt x="92" y="296"/>
                  </a:cubicBezTo>
                  <a:cubicBezTo>
                    <a:pt x="93" y="298"/>
                    <a:pt x="94" y="301"/>
                    <a:pt x="95" y="298"/>
                  </a:cubicBezTo>
                  <a:cubicBezTo>
                    <a:pt x="95" y="297"/>
                    <a:pt x="95" y="294"/>
                    <a:pt x="95" y="293"/>
                  </a:cubicBezTo>
                  <a:cubicBezTo>
                    <a:pt x="95" y="291"/>
                    <a:pt x="93" y="290"/>
                    <a:pt x="94" y="288"/>
                  </a:cubicBezTo>
                  <a:cubicBezTo>
                    <a:pt x="95" y="288"/>
                    <a:pt x="96" y="288"/>
                    <a:pt x="98" y="288"/>
                  </a:cubicBezTo>
                  <a:cubicBezTo>
                    <a:pt x="98" y="287"/>
                    <a:pt x="98" y="285"/>
                    <a:pt x="98" y="283"/>
                  </a:cubicBezTo>
                  <a:cubicBezTo>
                    <a:pt x="98" y="280"/>
                    <a:pt x="98" y="279"/>
                    <a:pt x="99" y="277"/>
                  </a:cubicBezTo>
                  <a:cubicBezTo>
                    <a:pt x="100" y="276"/>
                    <a:pt x="100" y="273"/>
                    <a:pt x="101" y="272"/>
                  </a:cubicBezTo>
                  <a:cubicBezTo>
                    <a:pt x="104" y="272"/>
                    <a:pt x="103" y="275"/>
                    <a:pt x="103" y="277"/>
                  </a:cubicBezTo>
                  <a:cubicBezTo>
                    <a:pt x="106" y="277"/>
                    <a:pt x="112" y="275"/>
                    <a:pt x="110" y="279"/>
                  </a:cubicBezTo>
                  <a:cubicBezTo>
                    <a:pt x="108" y="280"/>
                    <a:pt x="105" y="279"/>
                    <a:pt x="103" y="280"/>
                  </a:cubicBezTo>
                  <a:cubicBezTo>
                    <a:pt x="101" y="281"/>
                    <a:pt x="102" y="283"/>
                    <a:pt x="102" y="285"/>
                  </a:cubicBezTo>
                  <a:cubicBezTo>
                    <a:pt x="101" y="288"/>
                    <a:pt x="99" y="288"/>
                    <a:pt x="98" y="290"/>
                  </a:cubicBezTo>
                  <a:cubicBezTo>
                    <a:pt x="97" y="292"/>
                    <a:pt x="97" y="294"/>
                    <a:pt x="97" y="296"/>
                  </a:cubicBezTo>
                  <a:cubicBezTo>
                    <a:pt x="98" y="297"/>
                    <a:pt x="98" y="298"/>
                    <a:pt x="99" y="299"/>
                  </a:cubicBezTo>
                  <a:cubicBezTo>
                    <a:pt x="99" y="300"/>
                    <a:pt x="98" y="301"/>
                    <a:pt x="99" y="301"/>
                  </a:cubicBezTo>
                  <a:cubicBezTo>
                    <a:pt x="99" y="302"/>
                    <a:pt x="100" y="302"/>
                    <a:pt x="100" y="302"/>
                  </a:cubicBezTo>
                  <a:cubicBezTo>
                    <a:pt x="101" y="303"/>
                    <a:pt x="102" y="305"/>
                    <a:pt x="103" y="306"/>
                  </a:cubicBezTo>
                  <a:cubicBezTo>
                    <a:pt x="103" y="307"/>
                    <a:pt x="105" y="307"/>
                    <a:pt x="106" y="308"/>
                  </a:cubicBezTo>
                  <a:cubicBezTo>
                    <a:pt x="107" y="308"/>
                    <a:pt x="108" y="310"/>
                    <a:pt x="110" y="310"/>
                  </a:cubicBezTo>
                  <a:cubicBezTo>
                    <a:pt x="111" y="310"/>
                    <a:pt x="112" y="310"/>
                    <a:pt x="113" y="311"/>
                  </a:cubicBezTo>
                  <a:cubicBezTo>
                    <a:pt x="114" y="312"/>
                    <a:pt x="114" y="319"/>
                    <a:pt x="113" y="320"/>
                  </a:cubicBezTo>
                  <a:cubicBezTo>
                    <a:pt x="110" y="320"/>
                    <a:pt x="109" y="324"/>
                    <a:pt x="108" y="327"/>
                  </a:cubicBezTo>
                  <a:cubicBezTo>
                    <a:pt x="107" y="330"/>
                    <a:pt x="107" y="332"/>
                    <a:pt x="106" y="336"/>
                  </a:cubicBezTo>
                  <a:cubicBezTo>
                    <a:pt x="105" y="341"/>
                    <a:pt x="102" y="347"/>
                    <a:pt x="98" y="351"/>
                  </a:cubicBezTo>
                  <a:cubicBezTo>
                    <a:pt x="97" y="353"/>
                    <a:pt x="95" y="355"/>
                    <a:pt x="93" y="356"/>
                  </a:cubicBezTo>
                  <a:cubicBezTo>
                    <a:pt x="91" y="359"/>
                    <a:pt x="91" y="362"/>
                    <a:pt x="91" y="365"/>
                  </a:cubicBezTo>
                  <a:cubicBezTo>
                    <a:pt x="91" y="369"/>
                    <a:pt x="92" y="377"/>
                    <a:pt x="96" y="379"/>
                  </a:cubicBezTo>
                  <a:cubicBezTo>
                    <a:pt x="93" y="380"/>
                    <a:pt x="92" y="373"/>
                    <a:pt x="91" y="372"/>
                  </a:cubicBezTo>
                  <a:cubicBezTo>
                    <a:pt x="90" y="368"/>
                    <a:pt x="88" y="367"/>
                    <a:pt x="84" y="368"/>
                  </a:cubicBezTo>
                  <a:cubicBezTo>
                    <a:pt x="83" y="371"/>
                    <a:pt x="83" y="374"/>
                    <a:pt x="84" y="377"/>
                  </a:cubicBezTo>
                  <a:cubicBezTo>
                    <a:pt x="85" y="380"/>
                    <a:pt x="87" y="383"/>
                    <a:pt x="89" y="385"/>
                  </a:cubicBezTo>
                  <a:cubicBezTo>
                    <a:pt x="90" y="386"/>
                    <a:pt x="92" y="387"/>
                    <a:pt x="93" y="388"/>
                  </a:cubicBezTo>
                  <a:cubicBezTo>
                    <a:pt x="94" y="390"/>
                    <a:pt x="97" y="405"/>
                    <a:pt x="101" y="403"/>
                  </a:cubicBezTo>
                  <a:cubicBezTo>
                    <a:pt x="102" y="398"/>
                    <a:pt x="99" y="392"/>
                    <a:pt x="99" y="387"/>
                  </a:cubicBezTo>
                  <a:cubicBezTo>
                    <a:pt x="99" y="383"/>
                    <a:pt x="98" y="380"/>
                    <a:pt x="102" y="378"/>
                  </a:cubicBezTo>
                  <a:cubicBezTo>
                    <a:pt x="105" y="377"/>
                    <a:pt x="105" y="378"/>
                    <a:pt x="107" y="381"/>
                  </a:cubicBezTo>
                  <a:cubicBezTo>
                    <a:pt x="107" y="382"/>
                    <a:pt x="109" y="382"/>
                    <a:pt x="109" y="382"/>
                  </a:cubicBezTo>
                  <a:cubicBezTo>
                    <a:pt x="110" y="384"/>
                    <a:pt x="111" y="385"/>
                    <a:pt x="112" y="386"/>
                  </a:cubicBezTo>
                  <a:cubicBezTo>
                    <a:pt x="113" y="388"/>
                    <a:pt x="115" y="389"/>
                    <a:pt x="117" y="390"/>
                  </a:cubicBezTo>
                  <a:cubicBezTo>
                    <a:pt x="121" y="394"/>
                    <a:pt x="123" y="399"/>
                    <a:pt x="130" y="399"/>
                  </a:cubicBezTo>
                  <a:cubicBezTo>
                    <a:pt x="131" y="395"/>
                    <a:pt x="130" y="395"/>
                    <a:pt x="128" y="391"/>
                  </a:cubicBezTo>
                  <a:cubicBezTo>
                    <a:pt x="127" y="388"/>
                    <a:pt x="127" y="385"/>
                    <a:pt x="127" y="381"/>
                  </a:cubicBezTo>
                  <a:cubicBezTo>
                    <a:pt x="127" y="376"/>
                    <a:pt x="130" y="380"/>
                    <a:pt x="133" y="382"/>
                  </a:cubicBezTo>
                  <a:cubicBezTo>
                    <a:pt x="137" y="384"/>
                    <a:pt x="136" y="385"/>
                    <a:pt x="137" y="390"/>
                  </a:cubicBezTo>
                  <a:cubicBezTo>
                    <a:pt x="139" y="390"/>
                    <a:pt x="142" y="391"/>
                    <a:pt x="145" y="391"/>
                  </a:cubicBezTo>
                  <a:cubicBezTo>
                    <a:pt x="145" y="391"/>
                    <a:pt x="147" y="392"/>
                    <a:pt x="147" y="392"/>
                  </a:cubicBezTo>
                  <a:cubicBezTo>
                    <a:pt x="148" y="392"/>
                    <a:pt x="149" y="390"/>
                    <a:pt x="150" y="390"/>
                  </a:cubicBezTo>
                  <a:cubicBezTo>
                    <a:pt x="153" y="389"/>
                    <a:pt x="154" y="390"/>
                    <a:pt x="156" y="388"/>
                  </a:cubicBezTo>
                  <a:cubicBezTo>
                    <a:pt x="158" y="386"/>
                    <a:pt x="158" y="385"/>
                    <a:pt x="160" y="383"/>
                  </a:cubicBezTo>
                  <a:cubicBezTo>
                    <a:pt x="162" y="381"/>
                    <a:pt x="162" y="380"/>
                    <a:pt x="165" y="381"/>
                  </a:cubicBezTo>
                  <a:cubicBezTo>
                    <a:pt x="166" y="381"/>
                    <a:pt x="166" y="382"/>
                    <a:pt x="166" y="383"/>
                  </a:cubicBezTo>
                  <a:cubicBezTo>
                    <a:pt x="167" y="383"/>
                    <a:pt x="168" y="382"/>
                    <a:pt x="168" y="383"/>
                  </a:cubicBezTo>
                  <a:cubicBezTo>
                    <a:pt x="169" y="383"/>
                    <a:pt x="170" y="383"/>
                    <a:pt x="171" y="383"/>
                  </a:cubicBezTo>
                  <a:cubicBezTo>
                    <a:pt x="174" y="382"/>
                    <a:pt x="175" y="381"/>
                    <a:pt x="174" y="378"/>
                  </a:cubicBezTo>
                  <a:cubicBezTo>
                    <a:pt x="174" y="377"/>
                    <a:pt x="172" y="376"/>
                    <a:pt x="171" y="375"/>
                  </a:cubicBezTo>
                  <a:cubicBezTo>
                    <a:pt x="171" y="374"/>
                    <a:pt x="171" y="373"/>
                    <a:pt x="172" y="372"/>
                  </a:cubicBezTo>
                  <a:cubicBezTo>
                    <a:pt x="175" y="371"/>
                    <a:pt x="177" y="372"/>
                    <a:pt x="180" y="372"/>
                  </a:cubicBezTo>
                  <a:cubicBezTo>
                    <a:pt x="183" y="372"/>
                    <a:pt x="185" y="372"/>
                    <a:pt x="187" y="372"/>
                  </a:cubicBezTo>
                  <a:cubicBezTo>
                    <a:pt x="189" y="371"/>
                    <a:pt x="191" y="370"/>
                    <a:pt x="193" y="369"/>
                  </a:cubicBezTo>
                  <a:cubicBezTo>
                    <a:pt x="196" y="368"/>
                    <a:pt x="197" y="366"/>
                    <a:pt x="201" y="367"/>
                  </a:cubicBezTo>
                  <a:cubicBezTo>
                    <a:pt x="201" y="368"/>
                    <a:pt x="201" y="369"/>
                    <a:pt x="201" y="371"/>
                  </a:cubicBezTo>
                  <a:cubicBezTo>
                    <a:pt x="197" y="370"/>
                    <a:pt x="195" y="375"/>
                    <a:pt x="192" y="375"/>
                  </a:cubicBezTo>
                  <a:cubicBezTo>
                    <a:pt x="190" y="376"/>
                    <a:pt x="189" y="373"/>
                    <a:pt x="187" y="374"/>
                  </a:cubicBezTo>
                  <a:cubicBezTo>
                    <a:pt x="186" y="375"/>
                    <a:pt x="186" y="377"/>
                    <a:pt x="186" y="378"/>
                  </a:cubicBezTo>
                  <a:cubicBezTo>
                    <a:pt x="185" y="378"/>
                    <a:pt x="183" y="378"/>
                    <a:pt x="182" y="378"/>
                  </a:cubicBezTo>
                  <a:cubicBezTo>
                    <a:pt x="180" y="379"/>
                    <a:pt x="182" y="378"/>
                    <a:pt x="180" y="380"/>
                  </a:cubicBezTo>
                  <a:cubicBezTo>
                    <a:pt x="179" y="382"/>
                    <a:pt x="178" y="385"/>
                    <a:pt x="176" y="388"/>
                  </a:cubicBezTo>
                  <a:cubicBezTo>
                    <a:pt x="175" y="389"/>
                    <a:pt x="175" y="390"/>
                    <a:pt x="174" y="391"/>
                  </a:cubicBezTo>
                  <a:cubicBezTo>
                    <a:pt x="174" y="391"/>
                    <a:pt x="174" y="392"/>
                    <a:pt x="173" y="392"/>
                  </a:cubicBezTo>
                  <a:cubicBezTo>
                    <a:pt x="173" y="392"/>
                    <a:pt x="172" y="392"/>
                    <a:pt x="171" y="392"/>
                  </a:cubicBezTo>
                  <a:cubicBezTo>
                    <a:pt x="170" y="393"/>
                    <a:pt x="170" y="394"/>
                    <a:pt x="169" y="395"/>
                  </a:cubicBezTo>
                  <a:cubicBezTo>
                    <a:pt x="169" y="396"/>
                    <a:pt x="169" y="397"/>
                    <a:pt x="169" y="397"/>
                  </a:cubicBezTo>
                  <a:cubicBezTo>
                    <a:pt x="169" y="398"/>
                    <a:pt x="168" y="398"/>
                    <a:pt x="168" y="399"/>
                  </a:cubicBezTo>
                  <a:cubicBezTo>
                    <a:pt x="165" y="402"/>
                    <a:pt x="164" y="409"/>
                    <a:pt x="165" y="414"/>
                  </a:cubicBezTo>
                  <a:cubicBezTo>
                    <a:pt x="166" y="418"/>
                    <a:pt x="171" y="422"/>
                    <a:pt x="172" y="425"/>
                  </a:cubicBezTo>
                  <a:cubicBezTo>
                    <a:pt x="173" y="427"/>
                    <a:pt x="173" y="429"/>
                    <a:pt x="174" y="430"/>
                  </a:cubicBezTo>
                  <a:cubicBezTo>
                    <a:pt x="174" y="431"/>
                    <a:pt x="175" y="432"/>
                    <a:pt x="176" y="433"/>
                  </a:cubicBezTo>
                  <a:cubicBezTo>
                    <a:pt x="176" y="434"/>
                    <a:pt x="177" y="434"/>
                    <a:pt x="177" y="435"/>
                  </a:cubicBezTo>
                  <a:cubicBezTo>
                    <a:pt x="178" y="435"/>
                    <a:pt x="177" y="436"/>
                    <a:pt x="177" y="437"/>
                  </a:cubicBezTo>
                  <a:cubicBezTo>
                    <a:pt x="180" y="441"/>
                    <a:pt x="186" y="442"/>
                    <a:pt x="185" y="448"/>
                  </a:cubicBezTo>
                  <a:cubicBezTo>
                    <a:pt x="184" y="450"/>
                    <a:pt x="182" y="452"/>
                    <a:pt x="185" y="454"/>
                  </a:cubicBezTo>
                  <a:cubicBezTo>
                    <a:pt x="185" y="455"/>
                    <a:pt x="187" y="456"/>
                    <a:pt x="188" y="456"/>
                  </a:cubicBezTo>
                  <a:cubicBezTo>
                    <a:pt x="190" y="455"/>
                    <a:pt x="189" y="454"/>
                    <a:pt x="190" y="453"/>
                  </a:cubicBezTo>
                  <a:cubicBezTo>
                    <a:pt x="192" y="452"/>
                    <a:pt x="193" y="453"/>
                    <a:pt x="195" y="451"/>
                  </a:cubicBezTo>
                  <a:cubicBezTo>
                    <a:pt x="196" y="449"/>
                    <a:pt x="196" y="447"/>
                    <a:pt x="199" y="448"/>
                  </a:cubicBezTo>
                  <a:cubicBezTo>
                    <a:pt x="202" y="449"/>
                    <a:pt x="203" y="452"/>
                    <a:pt x="205" y="448"/>
                  </a:cubicBezTo>
                  <a:cubicBezTo>
                    <a:pt x="206" y="446"/>
                    <a:pt x="206" y="442"/>
                    <a:pt x="209" y="443"/>
                  </a:cubicBezTo>
                  <a:cubicBezTo>
                    <a:pt x="212" y="443"/>
                    <a:pt x="213" y="447"/>
                    <a:pt x="212" y="449"/>
                  </a:cubicBezTo>
                  <a:cubicBezTo>
                    <a:pt x="212" y="452"/>
                    <a:pt x="209" y="452"/>
                    <a:pt x="208" y="455"/>
                  </a:cubicBezTo>
                  <a:cubicBezTo>
                    <a:pt x="206" y="455"/>
                    <a:pt x="205" y="459"/>
                    <a:pt x="205" y="461"/>
                  </a:cubicBezTo>
                  <a:cubicBezTo>
                    <a:pt x="205" y="461"/>
                    <a:pt x="206" y="462"/>
                    <a:pt x="206" y="462"/>
                  </a:cubicBezTo>
                  <a:cubicBezTo>
                    <a:pt x="206" y="463"/>
                    <a:pt x="206" y="464"/>
                    <a:pt x="206" y="465"/>
                  </a:cubicBezTo>
                  <a:cubicBezTo>
                    <a:pt x="205" y="466"/>
                    <a:pt x="205" y="466"/>
                    <a:pt x="204" y="468"/>
                  </a:cubicBezTo>
                  <a:cubicBezTo>
                    <a:pt x="204" y="468"/>
                    <a:pt x="203" y="467"/>
                    <a:pt x="203" y="467"/>
                  </a:cubicBezTo>
                  <a:cubicBezTo>
                    <a:pt x="202" y="468"/>
                    <a:pt x="202" y="468"/>
                    <a:pt x="202" y="469"/>
                  </a:cubicBezTo>
                  <a:cubicBezTo>
                    <a:pt x="201" y="469"/>
                    <a:pt x="200" y="470"/>
                    <a:pt x="200" y="471"/>
                  </a:cubicBezTo>
                  <a:cubicBezTo>
                    <a:pt x="198" y="473"/>
                    <a:pt x="197" y="474"/>
                    <a:pt x="199" y="476"/>
                  </a:cubicBezTo>
                  <a:cubicBezTo>
                    <a:pt x="198" y="478"/>
                    <a:pt x="196" y="478"/>
                    <a:pt x="195" y="480"/>
                  </a:cubicBezTo>
                  <a:cubicBezTo>
                    <a:pt x="193" y="483"/>
                    <a:pt x="195" y="483"/>
                    <a:pt x="196" y="485"/>
                  </a:cubicBezTo>
                  <a:cubicBezTo>
                    <a:pt x="197" y="487"/>
                    <a:pt x="198" y="490"/>
                    <a:pt x="197" y="492"/>
                  </a:cubicBezTo>
                  <a:cubicBezTo>
                    <a:pt x="196" y="494"/>
                    <a:pt x="194" y="494"/>
                    <a:pt x="194" y="498"/>
                  </a:cubicBezTo>
                  <a:cubicBezTo>
                    <a:pt x="194" y="500"/>
                    <a:pt x="195" y="502"/>
                    <a:pt x="194" y="504"/>
                  </a:cubicBezTo>
                  <a:cubicBezTo>
                    <a:pt x="194" y="506"/>
                    <a:pt x="195" y="510"/>
                    <a:pt x="194" y="511"/>
                  </a:cubicBezTo>
                  <a:cubicBezTo>
                    <a:pt x="193" y="515"/>
                    <a:pt x="187" y="512"/>
                    <a:pt x="188" y="516"/>
                  </a:cubicBezTo>
                  <a:cubicBezTo>
                    <a:pt x="188" y="517"/>
                    <a:pt x="190" y="518"/>
                    <a:pt x="190" y="519"/>
                  </a:cubicBezTo>
                  <a:cubicBezTo>
                    <a:pt x="190" y="520"/>
                    <a:pt x="189" y="521"/>
                    <a:pt x="189" y="522"/>
                  </a:cubicBezTo>
                  <a:cubicBezTo>
                    <a:pt x="187" y="523"/>
                    <a:pt x="186" y="521"/>
                    <a:pt x="185" y="519"/>
                  </a:cubicBezTo>
                  <a:cubicBezTo>
                    <a:pt x="184" y="518"/>
                    <a:pt x="182" y="518"/>
                    <a:pt x="181" y="517"/>
                  </a:cubicBezTo>
                  <a:cubicBezTo>
                    <a:pt x="180" y="516"/>
                    <a:pt x="179" y="514"/>
                    <a:pt x="178" y="514"/>
                  </a:cubicBezTo>
                  <a:cubicBezTo>
                    <a:pt x="176" y="513"/>
                    <a:pt x="173" y="515"/>
                    <a:pt x="174" y="517"/>
                  </a:cubicBezTo>
                  <a:cubicBezTo>
                    <a:pt x="169" y="518"/>
                    <a:pt x="161" y="511"/>
                    <a:pt x="157" y="514"/>
                  </a:cubicBezTo>
                  <a:cubicBezTo>
                    <a:pt x="163" y="515"/>
                    <a:pt x="160" y="523"/>
                    <a:pt x="163" y="525"/>
                  </a:cubicBezTo>
                  <a:cubicBezTo>
                    <a:pt x="160" y="525"/>
                    <a:pt x="155" y="524"/>
                    <a:pt x="152" y="525"/>
                  </a:cubicBezTo>
                  <a:cubicBezTo>
                    <a:pt x="150" y="526"/>
                    <a:pt x="151" y="530"/>
                    <a:pt x="148" y="531"/>
                  </a:cubicBezTo>
                  <a:cubicBezTo>
                    <a:pt x="148" y="531"/>
                    <a:pt x="146" y="532"/>
                    <a:pt x="146" y="532"/>
                  </a:cubicBezTo>
                  <a:cubicBezTo>
                    <a:pt x="144" y="533"/>
                    <a:pt x="143" y="533"/>
                    <a:pt x="142" y="531"/>
                  </a:cubicBezTo>
                  <a:cubicBezTo>
                    <a:pt x="141" y="529"/>
                    <a:pt x="143" y="529"/>
                    <a:pt x="143" y="528"/>
                  </a:cubicBezTo>
                  <a:cubicBezTo>
                    <a:pt x="144" y="526"/>
                    <a:pt x="144" y="526"/>
                    <a:pt x="144" y="523"/>
                  </a:cubicBezTo>
                  <a:cubicBezTo>
                    <a:pt x="142" y="522"/>
                    <a:pt x="142" y="524"/>
                    <a:pt x="141" y="525"/>
                  </a:cubicBezTo>
                  <a:cubicBezTo>
                    <a:pt x="139" y="525"/>
                    <a:pt x="138" y="525"/>
                    <a:pt x="136" y="525"/>
                  </a:cubicBezTo>
                  <a:cubicBezTo>
                    <a:pt x="136" y="523"/>
                    <a:pt x="136" y="522"/>
                    <a:pt x="135" y="520"/>
                  </a:cubicBezTo>
                  <a:cubicBezTo>
                    <a:pt x="134" y="518"/>
                    <a:pt x="132" y="515"/>
                    <a:pt x="130" y="514"/>
                  </a:cubicBezTo>
                  <a:cubicBezTo>
                    <a:pt x="128" y="512"/>
                    <a:pt x="123" y="513"/>
                    <a:pt x="120" y="513"/>
                  </a:cubicBezTo>
                  <a:cubicBezTo>
                    <a:pt x="116" y="513"/>
                    <a:pt x="112" y="516"/>
                    <a:pt x="114" y="521"/>
                  </a:cubicBezTo>
                  <a:cubicBezTo>
                    <a:pt x="115" y="523"/>
                    <a:pt x="119" y="525"/>
                    <a:pt x="118" y="526"/>
                  </a:cubicBezTo>
                  <a:cubicBezTo>
                    <a:pt x="116" y="529"/>
                    <a:pt x="109" y="520"/>
                    <a:pt x="107" y="521"/>
                  </a:cubicBezTo>
                  <a:cubicBezTo>
                    <a:pt x="109" y="525"/>
                    <a:pt x="112" y="529"/>
                    <a:pt x="115" y="531"/>
                  </a:cubicBezTo>
                  <a:cubicBezTo>
                    <a:pt x="118" y="534"/>
                    <a:pt x="121" y="532"/>
                    <a:pt x="122" y="537"/>
                  </a:cubicBezTo>
                  <a:cubicBezTo>
                    <a:pt x="125" y="537"/>
                    <a:pt x="124" y="539"/>
                    <a:pt x="126" y="541"/>
                  </a:cubicBezTo>
                  <a:cubicBezTo>
                    <a:pt x="127" y="543"/>
                    <a:pt x="129" y="543"/>
                    <a:pt x="130" y="545"/>
                  </a:cubicBezTo>
                  <a:cubicBezTo>
                    <a:pt x="129" y="545"/>
                    <a:pt x="128" y="548"/>
                    <a:pt x="127" y="549"/>
                  </a:cubicBezTo>
                  <a:cubicBezTo>
                    <a:pt x="125" y="552"/>
                    <a:pt x="124" y="556"/>
                    <a:pt x="123" y="560"/>
                  </a:cubicBezTo>
                  <a:cubicBezTo>
                    <a:pt x="123" y="559"/>
                    <a:pt x="123" y="559"/>
                    <a:pt x="123" y="558"/>
                  </a:cubicBezTo>
                  <a:cubicBezTo>
                    <a:pt x="122" y="560"/>
                    <a:pt x="120" y="562"/>
                    <a:pt x="118" y="563"/>
                  </a:cubicBezTo>
                  <a:cubicBezTo>
                    <a:pt x="117" y="564"/>
                    <a:pt x="114" y="563"/>
                    <a:pt x="112" y="564"/>
                  </a:cubicBezTo>
                  <a:cubicBezTo>
                    <a:pt x="112" y="564"/>
                    <a:pt x="111" y="565"/>
                    <a:pt x="110" y="566"/>
                  </a:cubicBezTo>
                  <a:cubicBezTo>
                    <a:pt x="109" y="567"/>
                    <a:pt x="109" y="566"/>
                    <a:pt x="108" y="568"/>
                  </a:cubicBezTo>
                  <a:cubicBezTo>
                    <a:pt x="106" y="570"/>
                    <a:pt x="106" y="572"/>
                    <a:pt x="107" y="574"/>
                  </a:cubicBezTo>
                  <a:cubicBezTo>
                    <a:pt x="108" y="574"/>
                    <a:pt x="110" y="574"/>
                    <a:pt x="112" y="574"/>
                  </a:cubicBezTo>
                  <a:cubicBezTo>
                    <a:pt x="113" y="574"/>
                    <a:pt x="112" y="575"/>
                    <a:pt x="113" y="576"/>
                  </a:cubicBezTo>
                  <a:cubicBezTo>
                    <a:pt x="114" y="576"/>
                    <a:pt x="116" y="576"/>
                    <a:pt x="117" y="576"/>
                  </a:cubicBezTo>
                  <a:cubicBezTo>
                    <a:pt x="122" y="577"/>
                    <a:pt x="121" y="570"/>
                    <a:pt x="124" y="567"/>
                  </a:cubicBezTo>
                  <a:cubicBezTo>
                    <a:pt x="126" y="564"/>
                    <a:pt x="129" y="563"/>
                    <a:pt x="132" y="561"/>
                  </a:cubicBezTo>
                  <a:cubicBezTo>
                    <a:pt x="135" y="559"/>
                    <a:pt x="141" y="558"/>
                    <a:pt x="144" y="559"/>
                  </a:cubicBezTo>
                  <a:cubicBezTo>
                    <a:pt x="144" y="561"/>
                    <a:pt x="143" y="562"/>
                    <a:pt x="143" y="563"/>
                  </a:cubicBezTo>
                  <a:cubicBezTo>
                    <a:pt x="142" y="565"/>
                    <a:pt x="142" y="565"/>
                    <a:pt x="142" y="567"/>
                  </a:cubicBezTo>
                  <a:cubicBezTo>
                    <a:pt x="142" y="570"/>
                    <a:pt x="146" y="574"/>
                    <a:pt x="142" y="574"/>
                  </a:cubicBezTo>
                  <a:cubicBezTo>
                    <a:pt x="142" y="576"/>
                    <a:pt x="141" y="577"/>
                    <a:pt x="141" y="578"/>
                  </a:cubicBezTo>
                  <a:cubicBezTo>
                    <a:pt x="141" y="580"/>
                    <a:pt x="143" y="582"/>
                    <a:pt x="143" y="584"/>
                  </a:cubicBezTo>
                  <a:cubicBezTo>
                    <a:pt x="143" y="585"/>
                    <a:pt x="139" y="589"/>
                    <a:pt x="143" y="590"/>
                  </a:cubicBezTo>
                  <a:cubicBezTo>
                    <a:pt x="143" y="592"/>
                    <a:pt x="145" y="595"/>
                    <a:pt x="144" y="597"/>
                  </a:cubicBezTo>
                  <a:cubicBezTo>
                    <a:pt x="144" y="598"/>
                    <a:pt x="143" y="598"/>
                    <a:pt x="142" y="600"/>
                  </a:cubicBezTo>
                  <a:cubicBezTo>
                    <a:pt x="141" y="601"/>
                    <a:pt x="141" y="602"/>
                    <a:pt x="141" y="603"/>
                  </a:cubicBezTo>
                  <a:cubicBezTo>
                    <a:pt x="141" y="605"/>
                    <a:pt x="140" y="606"/>
                    <a:pt x="139" y="608"/>
                  </a:cubicBezTo>
                  <a:cubicBezTo>
                    <a:pt x="139" y="609"/>
                    <a:pt x="140" y="611"/>
                    <a:pt x="139" y="612"/>
                  </a:cubicBezTo>
                  <a:cubicBezTo>
                    <a:pt x="139" y="613"/>
                    <a:pt x="137" y="613"/>
                    <a:pt x="137" y="614"/>
                  </a:cubicBezTo>
                  <a:cubicBezTo>
                    <a:pt x="136" y="615"/>
                    <a:pt x="136" y="616"/>
                    <a:pt x="136" y="617"/>
                  </a:cubicBezTo>
                  <a:cubicBezTo>
                    <a:pt x="134" y="621"/>
                    <a:pt x="134" y="619"/>
                    <a:pt x="132" y="620"/>
                  </a:cubicBezTo>
                  <a:cubicBezTo>
                    <a:pt x="130" y="621"/>
                    <a:pt x="129" y="623"/>
                    <a:pt x="128" y="624"/>
                  </a:cubicBezTo>
                  <a:cubicBezTo>
                    <a:pt x="127" y="624"/>
                    <a:pt x="126" y="625"/>
                    <a:pt x="125" y="625"/>
                  </a:cubicBezTo>
                  <a:cubicBezTo>
                    <a:pt x="125" y="626"/>
                    <a:pt x="124" y="625"/>
                    <a:pt x="123" y="626"/>
                  </a:cubicBezTo>
                  <a:cubicBezTo>
                    <a:pt x="122" y="626"/>
                    <a:pt x="121" y="629"/>
                    <a:pt x="120" y="630"/>
                  </a:cubicBezTo>
                  <a:cubicBezTo>
                    <a:pt x="118" y="631"/>
                    <a:pt x="115" y="629"/>
                    <a:pt x="113" y="630"/>
                  </a:cubicBezTo>
                  <a:cubicBezTo>
                    <a:pt x="113" y="630"/>
                    <a:pt x="112" y="631"/>
                    <a:pt x="112" y="631"/>
                  </a:cubicBezTo>
                  <a:cubicBezTo>
                    <a:pt x="111" y="631"/>
                    <a:pt x="109" y="631"/>
                    <a:pt x="109" y="631"/>
                  </a:cubicBezTo>
                  <a:cubicBezTo>
                    <a:pt x="108" y="632"/>
                    <a:pt x="106" y="633"/>
                    <a:pt x="105" y="634"/>
                  </a:cubicBezTo>
                  <a:cubicBezTo>
                    <a:pt x="104" y="635"/>
                    <a:pt x="104" y="637"/>
                    <a:pt x="103" y="638"/>
                  </a:cubicBezTo>
                  <a:cubicBezTo>
                    <a:pt x="101" y="640"/>
                    <a:pt x="95" y="639"/>
                    <a:pt x="93" y="637"/>
                  </a:cubicBezTo>
                  <a:cubicBezTo>
                    <a:pt x="91" y="636"/>
                    <a:pt x="92" y="635"/>
                    <a:pt x="89" y="636"/>
                  </a:cubicBezTo>
                  <a:cubicBezTo>
                    <a:pt x="87" y="638"/>
                    <a:pt x="88" y="639"/>
                    <a:pt x="87" y="642"/>
                  </a:cubicBezTo>
                  <a:cubicBezTo>
                    <a:pt x="86" y="643"/>
                    <a:pt x="82" y="642"/>
                    <a:pt x="82" y="643"/>
                  </a:cubicBezTo>
                  <a:cubicBezTo>
                    <a:pt x="81" y="644"/>
                    <a:pt x="82" y="648"/>
                    <a:pt x="81" y="650"/>
                  </a:cubicBezTo>
                  <a:cubicBezTo>
                    <a:pt x="79" y="653"/>
                    <a:pt x="76" y="651"/>
                    <a:pt x="75" y="655"/>
                  </a:cubicBezTo>
                  <a:cubicBezTo>
                    <a:pt x="77" y="655"/>
                    <a:pt x="82" y="654"/>
                    <a:pt x="85" y="655"/>
                  </a:cubicBezTo>
                  <a:cubicBezTo>
                    <a:pt x="88" y="656"/>
                    <a:pt x="86" y="658"/>
                    <a:pt x="85" y="660"/>
                  </a:cubicBezTo>
                  <a:cubicBezTo>
                    <a:pt x="83" y="662"/>
                    <a:pt x="82" y="663"/>
                    <a:pt x="79" y="664"/>
                  </a:cubicBezTo>
                  <a:cubicBezTo>
                    <a:pt x="78" y="665"/>
                    <a:pt x="77" y="664"/>
                    <a:pt x="76" y="666"/>
                  </a:cubicBezTo>
                  <a:cubicBezTo>
                    <a:pt x="76" y="669"/>
                    <a:pt x="77" y="669"/>
                    <a:pt x="79" y="670"/>
                  </a:cubicBezTo>
                  <a:cubicBezTo>
                    <a:pt x="82" y="672"/>
                    <a:pt x="84" y="672"/>
                    <a:pt x="87" y="672"/>
                  </a:cubicBezTo>
                  <a:cubicBezTo>
                    <a:pt x="88" y="672"/>
                    <a:pt x="89" y="672"/>
                    <a:pt x="89" y="672"/>
                  </a:cubicBezTo>
                  <a:cubicBezTo>
                    <a:pt x="90" y="673"/>
                    <a:pt x="90" y="674"/>
                    <a:pt x="90" y="674"/>
                  </a:cubicBezTo>
                  <a:cubicBezTo>
                    <a:pt x="92" y="675"/>
                    <a:pt x="93" y="675"/>
                    <a:pt x="95" y="675"/>
                  </a:cubicBezTo>
                  <a:cubicBezTo>
                    <a:pt x="97" y="675"/>
                    <a:pt x="100" y="675"/>
                    <a:pt x="102" y="675"/>
                  </a:cubicBezTo>
                  <a:cubicBezTo>
                    <a:pt x="104" y="676"/>
                    <a:pt x="103" y="676"/>
                    <a:pt x="105" y="677"/>
                  </a:cubicBezTo>
                  <a:cubicBezTo>
                    <a:pt x="105" y="678"/>
                    <a:pt x="105" y="679"/>
                    <a:pt x="107" y="678"/>
                  </a:cubicBezTo>
                  <a:cubicBezTo>
                    <a:pt x="110" y="677"/>
                    <a:pt x="107" y="674"/>
                    <a:pt x="108" y="672"/>
                  </a:cubicBezTo>
                  <a:cubicBezTo>
                    <a:pt x="111" y="671"/>
                    <a:pt x="113" y="671"/>
                    <a:pt x="116" y="671"/>
                  </a:cubicBezTo>
                  <a:cubicBezTo>
                    <a:pt x="119" y="671"/>
                    <a:pt x="119" y="669"/>
                    <a:pt x="122" y="669"/>
                  </a:cubicBezTo>
                  <a:cubicBezTo>
                    <a:pt x="125" y="668"/>
                    <a:pt x="127" y="668"/>
                    <a:pt x="128" y="671"/>
                  </a:cubicBezTo>
                  <a:cubicBezTo>
                    <a:pt x="128" y="673"/>
                    <a:pt x="127" y="677"/>
                    <a:pt x="128" y="678"/>
                  </a:cubicBezTo>
                  <a:cubicBezTo>
                    <a:pt x="129" y="679"/>
                    <a:pt x="131" y="679"/>
                    <a:pt x="131" y="679"/>
                  </a:cubicBezTo>
                  <a:cubicBezTo>
                    <a:pt x="133" y="680"/>
                    <a:pt x="133" y="682"/>
                    <a:pt x="134" y="682"/>
                  </a:cubicBezTo>
                  <a:cubicBezTo>
                    <a:pt x="135" y="683"/>
                    <a:pt x="139" y="682"/>
                    <a:pt x="140" y="682"/>
                  </a:cubicBezTo>
                  <a:cubicBezTo>
                    <a:pt x="143" y="682"/>
                    <a:pt x="143" y="682"/>
                    <a:pt x="145" y="680"/>
                  </a:cubicBezTo>
                  <a:cubicBezTo>
                    <a:pt x="148" y="678"/>
                    <a:pt x="147" y="678"/>
                    <a:pt x="147" y="675"/>
                  </a:cubicBezTo>
                  <a:cubicBezTo>
                    <a:pt x="148" y="672"/>
                    <a:pt x="148" y="671"/>
                    <a:pt x="151" y="672"/>
                  </a:cubicBezTo>
                  <a:cubicBezTo>
                    <a:pt x="153" y="672"/>
                    <a:pt x="154" y="672"/>
                    <a:pt x="155" y="675"/>
                  </a:cubicBezTo>
                  <a:cubicBezTo>
                    <a:pt x="155" y="676"/>
                    <a:pt x="154" y="678"/>
                    <a:pt x="155" y="678"/>
                  </a:cubicBezTo>
                  <a:cubicBezTo>
                    <a:pt x="156" y="680"/>
                    <a:pt x="158" y="680"/>
                    <a:pt x="160" y="681"/>
                  </a:cubicBezTo>
                  <a:cubicBezTo>
                    <a:pt x="162" y="682"/>
                    <a:pt x="163" y="684"/>
                    <a:pt x="165" y="686"/>
                  </a:cubicBezTo>
                  <a:cubicBezTo>
                    <a:pt x="166" y="689"/>
                    <a:pt x="167" y="691"/>
                    <a:pt x="169" y="691"/>
                  </a:cubicBezTo>
                  <a:cubicBezTo>
                    <a:pt x="171" y="692"/>
                    <a:pt x="172" y="691"/>
                    <a:pt x="173" y="692"/>
                  </a:cubicBezTo>
                  <a:cubicBezTo>
                    <a:pt x="176" y="693"/>
                    <a:pt x="176" y="694"/>
                    <a:pt x="179" y="695"/>
                  </a:cubicBezTo>
                  <a:cubicBezTo>
                    <a:pt x="182" y="696"/>
                    <a:pt x="185" y="697"/>
                    <a:pt x="189" y="697"/>
                  </a:cubicBezTo>
                  <a:cubicBezTo>
                    <a:pt x="191" y="697"/>
                    <a:pt x="193" y="696"/>
                    <a:pt x="194" y="694"/>
                  </a:cubicBezTo>
                  <a:cubicBezTo>
                    <a:pt x="195" y="691"/>
                    <a:pt x="192" y="689"/>
                    <a:pt x="194" y="687"/>
                  </a:cubicBezTo>
                  <a:cubicBezTo>
                    <a:pt x="196" y="685"/>
                    <a:pt x="196" y="685"/>
                    <a:pt x="198" y="685"/>
                  </a:cubicBezTo>
                  <a:cubicBezTo>
                    <a:pt x="198" y="685"/>
                    <a:pt x="199" y="685"/>
                    <a:pt x="200" y="685"/>
                  </a:cubicBezTo>
                  <a:cubicBezTo>
                    <a:pt x="201" y="685"/>
                    <a:pt x="201" y="684"/>
                    <a:pt x="202" y="683"/>
                  </a:cubicBezTo>
                  <a:cubicBezTo>
                    <a:pt x="203" y="683"/>
                    <a:pt x="204" y="683"/>
                    <a:pt x="205" y="682"/>
                  </a:cubicBezTo>
                  <a:cubicBezTo>
                    <a:pt x="206" y="682"/>
                    <a:pt x="208" y="680"/>
                    <a:pt x="209" y="679"/>
                  </a:cubicBezTo>
                  <a:cubicBezTo>
                    <a:pt x="211" y="678"/>
                    <a:pt x="214" y="680"/>
                    <a:pt x="216" y="678"/>
                  </a:cubicBezTo>
                  <a:cubicBezTo>
                    <a:pt x="218" y="677"/>
                    <a:pt x="218" y="676"/>
                    <a:pt x="219" y="675"/>
                  </a:cubicBezTo>
                  <a:cubicBezTo>
                    <a:pt x="220" y="674"/>
                    <a:pt x="221" y="675"/>
                    <a:pt x="222" y="675"/>
                  </a:cubicBezTo>
                  <a:cubicBezTo>
                    <a:pt x="223" y="674"/>
                    <a:pt x="223" y="673"/>
                    <a:pt x="224" y="673"/>
                  </a:cubicBezTo>
                  <a:cubicBezTo>
                    <a:pt x="225" y="674"/>
                    <a:pt x="218" y="677"/>
                    <a:pt x="217" y="679"/>
                  </a:cubicBezTo>
                  <a:cubicBezTo>
                    <a:pt x="215" y="680"/>
                    <a:pt x="216" y="682"/>
                    <a:pt x="215" y="683"/>
                  </a:cubicBezTo>
                  <a:cubicBezTo>
                    <a:pt x="214" y="686"/>
                    <a:pt x="212" y="686"/>
                    <a:pt x="210" y="687"/>
                  </a:cubicBezTo>
                  <a:cubicBezTo>
                    <a:pt x="208" y="689"/>
                    <a:pt x="206" y="690"/>
                    <a:pt x="204" y="692"/>
                  </a:cubicBezTo>
                  <a:cubicBezTo>
                    <a:pt x="204" y="693"/>
                    <a:pt x="203" y="695"/>
                    <a:pt x="202" y="696"/>
                  </a:cubicBezTo>
                  <a:cubicBezTo>
                    <a:pt x="202" y="696"/>
                    <a:pt x="202" y="697"/>
                    <a:pt x="202" y="698"/>
                  </a:cubicBezTo>
                  <a:cubicBezTo>
                    <a:pt x="201" y="698"/>
                    <a:pt x="200" y="700"/>
                    <a:pt x="200" y="700"/>
                  </a:cubicBezTo>
                  <a:cubicBezTo>
                    <a:pt x="199" y="704"/>
                    <a:pt x="200" y="708"/>
                    <a:pt x="195" y="709"/>
                  </a:cubicBezTo>
                  <a:cubicBezTo>
                    <a:pt x="193" y="709"/>
                    <a:pt x="192" y="709"/>
                    <a:pt x="190" y="709"/>
                  </a:cubicBezTo>
                  <a:cubicBezTo>
                    <a:pt x="190" y="709"/>
                    <a:pt x="188" y="708"/>
                    <a:pt x="187" y="709"/>
                  </a:cubicBezTo>
                  <a:cubicBezTo>
                    <a:pt x="186" y="709"/>
                    <a:pt x="186" y="710"/>
                    <a:pt x="185" y="711"/>
                  </a:cubicBezTo>
                  <a:cubicBezTo>
                    <a:pt x="182" y="713"/>
                    <a:pt x="179" y="711"/>
                    <a:pt x="177" y="709"/>
                  </a:cubicBezTo>
                  <a:cubicBezTo>
                    <a:pt x="174" y="707"/>
                    <a:pt x="169" y="708"/>
                    <a:pt x="165" y="708"/>
                  </a:cubicBezTo>
                  <a:cubicBezTo>
                    <a:pt x="161" y="708"/>
                    <a:pt x="157" y="707"/>
                    <a:pt x="152" y="707"/>
                  </a:cubicBezTo>
                  <a:cubicBezTo>
                    <a:pt x="149" y="707"/>
                    <a:pt x="145" y="708"/>
                    <a:pt x="141" y="708"/>
                  </a:cubicBezTo>
                  <a:cubicBezTo>
                    <a:pt x="137" y="708"/>
                    <a:pt x="134" y="707"/>
                    <a:pt x="134" y="712"/>
                  </a:cubicBezTo>
                  <a:cubicBezTo>
                    <a:pt x="134" y="714"/>
                    <a:pt x="134" y="715"/>
                    <a:pt x="133" y="717"/>
                  </a:cubicBezTo>
                  <a:cubicBezTo>
                    <a:pt x="133" y="717"/>
                    <a:pt x="132" y="718"/>
                    <a:pt x="132" y="719"/>
                  </a:cubicBezTo>
                  <a:cubicBezTo>
                    <a:pt x="132" y="720"/>
                    <a:pt x="132" y="722"/>
                    <a:pt x="132" y="724"/>
                  </a:cubicBezTo>
                  <a:cubicBezTo>
                    <a:pt x="132" y="726"/>
                    <a:pt x="132" y="727"/>
                    <a:pt x="130" y="728"/>
                  </a:cubicBezTo>
                  <a:cubicBezTo>
                    <a:pt x="129" y="729"/>
                    <a:pt x="125" y="729"/>
                    <a:pt x="124" y="728"/>
                  </a:cubicBezTo>
                  <a:cubicBezTo>
                    <a:pt x="123" y="727"/>
                    <a:pt x="122" y="721"/>
                    <a:pt x="118" y="724"/>
                  </a:cubicBezTo>
                  <a:cubicBezTo>
                    <a:pt x="116" y="727"/>
                    <a:pt x="117" y="733"/>
                    <a:pt x="117" y="736"/>
                  </a:cubicBezTo>
                  <a:cubicBezTo>
                    <a:pt x="117" y="738"/>
                    <a:pt x="117" y="740"/>
                    <a:pt x="116" y="742"/>
                  </a:cubicBezTo>
                  <a:cubicBezTo>
                    <a:pt x="115" y="744"/>
                    <a:pt x="114" y="746"/>
                    <a:pt x="114" y="748"/>
                  </a:cubicBezTo>
                  <a:cubicBezTo>
                    <a:pt x="113" y="749"/>
                    <a:pt x="110" y="750"/>
                    <a:pt x="109" y="751"/>
                  </a:cubicBezTo>
                  <a:cubicBezTo>
                    <a:pt x="108" y="753"/>
                    <a:pt x="107" y="755"/>
                    <a:pt x="106" y="756"/>
                  </a:cubicBezTo>
                  <a:cubicBezTo>
                    <a:pt x="105" y="758"/>
                    <a:pt x="105" y="760"/>
                    <a:pt x="104" y="761"/>
                  </a:cubicBezTo>
                  <a:cubicBezTo>
                    <a:pt x="103" y="763"/>
                    <a:pt x="101" y="762"/>
                    <a:pt x="100" y="762"/>
                  </a:cubicBezTo>
                  <a:cubicBezTo>
                    <a:pt x="96" y="763"/>
                    <a:pt x="96" y="763"/>
                    <a:pt x="94" y="766"/>
                  </a:cubicBezTo>
                  <a:cubicBezTo>
                    <a:pt x="94" y="767"/>
                    <a:pt x="92" y="769"/>
                    <a:pt x="91" y="770"/>
                  </a:cubicBezTo>
                  <a:cubicBezTo>
                    <a:pt x="91" y="771"/>
                    <a:pt x="91" y="771"/>
                    <a:pt x="92" y="772"/>
                  </a:cubicBezTo>
                  <a:cubicBezTo>
                    <a:pt x="91" y="773"/>
                    <a:pt x="91" y="774"/>
                    <a:pt x="90" y="775"/>
                  </a:cubicBezTo>
                  <a:cubicBezTo>
                    <a:pt x="83" y="781"/>
                    <a:pt x="83" y="781"/>
                    <a:pt x="83" y="781"/>
                  </a:cubicBezTo>
                  <a:cubicBezTo>
                    <a:pt x="83" y="782"/>
                    <a:pt x="82" y="782"/>
                    <a:pt x="82" y="783"/>
                  </a:cubicBezTo>
                  <a:cubicBezTo>
                    <a:pt x="82" y="783"/>
                    <a:pt x="82" y="783"/>
                    <a:pt x="81" y="784"/>
                  </a:cubicBezTo>
                  <a:cubicBezTo>
                    <a:pt x="81" y="784"/>
                    <a:pt x="81" y="784"/>
                    <a:pt x="81" y="784"/>
                  </a:cubicBezTo>
                  <a:cubicBezTo>
                    <a:pt x="80" y="784"/>
                    <a:pt x="81" y="785"/>
                    <a:pt x="81" y="785"/>
                  </a:cubicBezTo>
                  <a:cubicBezTo>
                    <a:pt x="81" y="786"/>
                    <a:pt x="81" y="786"/>
                    <a:pt x="81" y="787"/>
                  </a:cubicBezTo>
                  <a:cubicBezTo>
                    <a:pt x="81" y="787"/>
                    <a:pt x="81" y="787"/>
                    <a:pt x="80" y="787"/>
                  </a:cubicBezTo>
                  <a:cubicBezTo>
                    <a:pt x="80" y="787"/>
                    <a:pt x="80" y="788"/>
                    <a:pt x="79" y="788"/>
                  </a:cubicBezTo>
                  <a:cubicBezTo>
                    <a:pt x="79" y="788"/>
                    <a:pt x="78" y="788"/>
                    <a:pt x="78" y="788"/>
                  </a:cubicBezTo>
                  <a:cubicBezTo>
                    <a:pt x="77" y="789"/>
                    <a:pt x="77" y="790"/>
                    <a:pt x="76" y="791"/>
                  </a:cubicBezTo>
                  <a:cubicBezTo>
                    <a:pt x="75" y="792"/>
                    <a:pt x="74" y="793"/>
                    <a:pt x="73" y="793"/>
                  </a:cubicBezTo>
                  <a:cubicBezTo>
                    <a:pt x="73" y="793"/>
                    <a:pt x="73" y="793"/>
                    <a:pt x="73" y="793"/>
                  </a:cubicBezTo>
                  <a:cubicBezTo>
                    <a:pt x="72" y="794"/>
                    <a:pt x="72" y="794"/>
                    <a:pt x="72" y="794"/>
                  </a:cubicBezTo>
                  <a:cubicBezTo>
                    <a:pt x="71" y="795"/>
                    <a:pt x="71" y="795"/>
                    <a:pt x="70" y="796"/>
                  </a:cubicBezTo>
                  <a:cubicBezTo>
                    <a:pt x="70" y="796"/>
                    <a:pt x="70" y="796"/>
                    <a:pt x="70" y="796"/>
                  </a:cubicBezTo>
                  <a:cubicBezTo>
                    <a:pt x="69" y="796"/>
                    <a:pt x="67" y="795"/>
                    <a:pt x="67" y="795"/>
                  </a:cubicBezTo>
                  <a:cubicBezTo>
                    <a:pt x="67" y="795"/>
                    <a:pt x="66" y="794"/>
                    <a:pt x="66" y="794"/>
                  </a:cubicBezTo>
                  <a:cubicBezTo>
                    <a:pt x="66" y="794"/>
                    <a:pt x="66" y="793"/>
                    <a:pt x="65" y="793"/>
                  </a:cubicBezTo>
                  <a:cubicBezTo>
                    <a:pt x="65" y="793"/>
                    <a:pt x="64" y="794"/>
                    <a:pt x="64" y="794"/>
                  </a:cubicBezTo>
                  <a:cubicBezTo>
                    <a:pt x="63" y="794"/>
                    <a:pt x="63" y="794"/>
                    <a:pt x="63" y="795"/>
                  </a:cubicBezTo>
                  <a:cubicBezTo>
                    <a:pt x="62" y="795"/>
                    <a:pt x="62" y="795"/>
                    <a:pt x="62" y="796"/>
                  </a:cubicBezTo>
                  <a:cubicBezTo>
                    <a:pt x="62" y="796"/>
                    <a:pt x="62" y="796"/>
                    <a:pt x="62" y="796"/>
                  </a:cubicBezTo>
                  <a:cubicBezTo>
                    <a:pt x="62" y="796"/>
                    <a:pt x="61" y="796"/>
                    <a:pt x="61" y="796"/>
                  </a:cubicBezTo>
                  <a:cubicBezTo>
                    <a:pt x="60" y="796"/>
                    <a:pt x="59" y="796"/>
                    <a:pt x="59" y="796"/>
                  </a:cubicBezTo>
                  <a:cubicBezTo>
                    <a:pt x="58" y="797"/>
                    <a:pt x="57" y="797"/>
                    <a:pt x="57" y="798"/>
                  </a:cubicBezTo>
                  <a:cubicBezTo>
                    <a:pt x="56" y="799"/>
                    <a:pt x="56" y="800"/>
                    <a:pt x="55" y="801"/>
                  </a:cubicBezTo>
                  <a:cubicBezTo>
                    <a:pt x="55" y="802"/>
                    <a:pt x="54" y="802"/>
                    <a:pt x="54" y="803"/>
                  </a:cubicBezTo>
                  <a:cubicBezTo>
                    <a:pt x="54" y="804"/>
                    <a:pt x="54" y="804"/>
                    <a:pt x="54" y="805"/>
                  </a:cubicBezTo>
                  <a:cubicBezTo>
                    <a:pt x="54" y="805"/>
                    <a:pt x="53" y="806"/>
                    <a:pt x="54" y="806"/>
                  </a:cubicBezTo>
                  <a:cubicBezTo>
                    <a:pt x="54" y="807"/>
                    <a:pt x="54" y="808"/>
                    <a:pt x="55" y="808"/>
                  </a:cubicBezTo>
                  <a:cubicBezTo>
                    <a:pt x="55" y="808"/>
                    <a:pt x="55" y="809"/>
                    <a:pt x="55" y="809"/>
                  </a:cubicBezTo>
                  <a:cubicBezTo>
                    <a:pt x="56" y="809"/>
                    <a:pt x="56" y="809"/>
                    <a:pt x="56" y="809"/>
                  </a:cubicBezTo>
                  <a:cubicBezTo>
                    <a:pt x="56" y="809"/>
                    <a:pt x="56" y="809"/>
                    <a:pt x="57" y="810"/>
                  </a:cubicBezTo>
                  <a:cubicBezTo>
                    <a:pt x="57" y="810"/>
                    <a:pt x="57" y="810"/>
                    <a:pt x="57" y="810"/>
                  </a:cubicBezTo>
                  <a:cubicBezTo>
                    <a:pt x="58" y="810"/>
                    <a:pt x="58" y="810"/>
                    <a:pt x="59" y="811"/>
                  </a:cubicBezTo>
                  <a:cubicBezTo>
                    <a:pt x="60" y="811"/>
                    <a:pt x="60" y="811"/>
                    <a:pt x="61" y="810"/>
                  </a:cubicBezTo>
                  <a:cubicBezTo>
                    <a:pt x="62" y="810"/>
                    <a:pt x="62" y="810"/>
                    <a:pt x="63" y="809"/>
                  </a:cubicBezTo>
                  <a:cubicBezTo>
                    <a:pt x="63" y="809"/>
                    <a:pt x="64" y="809"/>
                    <a:pt x="64" y="808"/>
                  </a:cubicBezTo>
                  <a:cubicBezTo>
                    <a:pt x="65" y="808"/>
                    <a:pt x="65" y="807"/>
                    <a:pt x="65" y="806"/>
                  </a:cubicBezTo>
                  <a:cubicBezTo>
                    <a:pt x="65" y="806"/>
                    <a:pt x="66" y="805"/>
                    <a:pt x="66" y="804"/>
                  </a:cubicBezTo>
                  <a:cubicBezTo>
                    <a:pt x="67" y="804"/>
                    <a:pt x="67" y="804"/>
                    <a:pt x="68" y="804"/>
                  </a:cubicBezTo>
                  <a:cubicBezTo>
                    <a:pt x="69" y="804"/>
                    <a:pt x="70" y="805"/>
                    <a:pt x="70" y="805"/>
                  </a:cubicBezTo>
                  <a:cubicBezTo>
                    <a:pt x="71" y="805"/>
                    <a:pt x="72" y="806"/>
                    <a:pt x="73" y="806"/>
                  </a:cubicBezTo>
                  <a:cubicBezTo>
                    <a:pt x="73" y="806"/>
                    <a:pt x="74" y="807"/>
                    <a:pt x="74" y="807"/>
                  </a:cubicBezTo>
                  <a:cubicBezTo>
                    <a:pt x="74" y="807"/>
                    <a:pt x="74" y="808"/>
                    <a:pt x="74" y="808"/>
                  </a:cubicBezTo>
                  <a:cubicBezTo>
                    <a:pt x="74" y="808"/>
                    <a:pt x="75" y="809"/>
                    <a:pt x="75" y="810"/>
                  </a:cubicBezTo>
                  <a:cubicBezTo>
                    <a:pt x="76" y="811"/>
                    <a:pt x="77" y="811"/>
                    <a:pt x="77" y="812"/>
                  </a:cubicBezTo>
                  <a:cubicBezTo>
                    <a:pt x="78" y="813"/>
                    <a:pt x="78" y="814"/>
                    <a:pt x="78" y="815"/>
                  </a:cubicBezTo>
                  <a:cubicBezTo>
                    <a:pt x="79" y="817"/>
                    <a:pt x="81" y="818"/>
                    <a:pt x="83" y="818"/>
                  </a:cubicBezTo>
                  <a:cubicBezTo>
                    <a:pt x="83" y="818"/>
                    <a:pt x="84" y="818"/>
                    <a:pt x="85" y="817"/>
                  </a:cubicBezTo>
                  <a:cubicBezTo>
                    <a:pt x="85" y="817"/>
                    <a:pt x="85" y="817"/>
                    <a:pt x="85" y="817"/>
                  </a:cubicBezTo>
                  <a:cubicBezTo>
                    <a:pt x="85" y="816"/>
                    <a:pt x="85" y="816"/>
                    <a:pt x="86" y="815"/>
                  </a:cubicBezTo>
                  <a:cubicBezTo>
                    <a:pt x="87" y="814"/>
                    <a:pt x="88" y="813"/>
                    <a:pt x="88" y="811"/>
                  </a:cubicBezTo>
                  <a:cubicBezTo>
                    <a:pt x="89" y="811"/>
                    <a:pt x="89" y="811"/>
                    <a:pt x="89" y="810"/>
                  </a:cubicBezTo>
                  <a:cubicBezTo>
                    <a:pt x="90" y="810"/>
                    <a:pt x="90" y="809"/>
                    <a:pt x="90" y="809"/>
                  </a:cubicBezTo>
                  <a:cubicBezTo>
                    <a:pt x="91" y="807"/>
                    <a:pt x="90" y="806"/>
                    <a:pt x="89" y="805"/>
                  </a:cubicBezTo>
                  <a:cubicBezTo>
                    <a:pt x="89" y="804"/>
                    <a:pt x="89" y="804"/>
                    <a:pt x="89" y="803"/>
                  </a:cubicBezTo>
                  <a:cubicBezTo>
                    <a:pt x="89" y="802"/>
                    <a:pt x="89" y="802"/>
                    <a:pt x="90" y="802"/>
                  </a:cubicBezTo>
                  <a:cubicBezTo>
                    <a:pt x="91" y="802"/>
                    <a:pt x="91" y="802"/>
                    <a:pt x="91" y="802"/>
                  </a:cubicBezTo>
                  <a:cubicBezTo>
                    <a:pt x="91" y="801"/>
                    <a:pt x="92" y="801"/>
                    <a:pt x="92" y="801"/>
                  </a:cubicBezTo>
                  <a:cubicBezTo>
                    <a:pt x="93" y="800"/>
                    <a:pt x="93" y="800"/>
                    <a:pt x="94" y="800"/>
                  </a:cubicBezTo>
                  <a:cubicBezTo>
                    <a:pt x="94" y="799"/>
                    <a:pt x="95" y="799"/>
                    <a:pt x="96" y="799"/>
                  </a:cubicBezTo>
                  <a:cubicBezTo>
                    <a:pt x="97" y="798"/>
                    <a:pt x="98" y="798"/>
                    <a:pt x="99" y="797"/>
                  </a:cubicBezTo>
                  <a:cubicBezTo>
                    <a:pt x="100" y="797"/>
                    <a:pt x="101" y="796"/>
                    <a:pt x="103" y="795"/>
                  </a:cubicBezTo>
                  <a:cubicBezTo>
                    <a:pt x="104" y="794"/>
                    <a:pt x="105" y="793"/>
                    <a:pt x="105" y="792"/>
                  </a:cubicBezTo>
                  <a:cubicBezTo>
                    <a:pt x="105" y="791"/>
                    <a:pt x="105" y="791"/>
                    <a:pt x="105" y="791"/>
                  </a:cubicBezTo>
                  <a:cubicBezTo>
                    <a:pt x="105" y="790"/>
                    <a:pt x="106" y="789"/>
                    <a:pt x="106" y="788"/>
                  </a:cubicBezTo>
                  <a:cubicBezTo>
                    <a:pt x="106" y="788"/>
                    <a:pt x="106" y="787"/>
                    <a:pt x="106" y="786"/>
                  </a:cubicBezTo>
                  <a:cubicBezTo>
                    <a:pt x="106" y="786"/>
                    <a:pt x="106" y="786"/>
                    <a:pt x="106" y="785"/>
                  </a:cubicBezTo>
                  <a:cubicBezTo>
                    <a:pt x="107" y="785"/>
                    <a:pt x="106" y="784"/>
                    <a:pt x="107" y="784"/>
                  </a:cubicBezTo>
                  <a:cubicBezTo>
                    <a:pt x="107" y="783"/>
                    <a:pt x="107" y="783"/>
                    <a:pt x="108" y="783"/>
                  </a:cubicBezTo>
                  <a:cubicBezTo>
                    <a:pt x="108" y="783"/>
                    <a:pt x="108" y="783"/>
                    <a:pt x="109" y="783"/>
                  </a:cubicBezTo>
                  <a:cubicBezTo>
                    <a:pt x="109" y="784"/>
                    <a:pt x="109" y="785"/>
                    <a:pt x="109" y="785"/>
                  </a:cubicBezTo>
                  <a:cubicBezTo>
                    <a:pt x="111" y="787"/>
                    <a:pt x="112" y="787"/>
                    <a:pt x="114" y="786"/>
                  </a:cubicBezTo>
                  <a:cubicBezTo>
                    <a:pt x="115" y="786"/>
                    <a:pt x="116" y="786"/>
                    <a:pt x="117" y="786"/>
                  </a:cubicBezTo>
                  <a:cubicBezTo>
                    <a:pt x="118" y="785"/>
                    <a:pt x="119" y="786"/>
                    <a:pt x="120" y="786"/>
                  </a:cubicBezTo>
                  <a:cubicBezTo>
                    <a:pt x="121" y="785"/>
                    <a:pt x="122" y="785"/>
                    <a:pt x="124" y="784"/>
                  </a:cubicBezTo>
                  <a:cubicBezTo>
                    <a:pt x="124" y="783"/>
                    <a:pt x="124" y="783"/>
                    <a:pt x="125" y="783"/>
                  </a:cubicBezTo>
                  <a:cubicBezTo>
                    <a:pt x="125" y="783"/>
                    <a:pt x="126" y="783"/>
                    <a:pt x="127" y="783"/>
                  </a:cubicBezTo>
                  <a:cubicBezTo>
                    <a:pt x="128" y="782"/>
                    <a:pt x="128" y="782"/>
                    <a:pt x="129" y="781"/>
                  </a:cubicBezTo>
                  <a:cubicBezTo>
                    <a:pt x="129" y="781"/>
                    <a:pt x="130" y="780"/>
                    <a:pt x="130" y="780"/>
                  </a:cubicBezTo>
                  <a:cubicBezTo>
                    <a:pt x="131" y="779"/>
                    <a:pt x="131" y="780"/>
                    <a:pt x="132" y="780"/>
                  </a:cubicBezTo>
                  <a:cubicBezTo>
                    <a:pt x="133" y="780"/>
                    <a:pt x="133" y="780"/>
                    <a:pt x="134" y="781"/>
                  </a:cubicBezTo>
                  <a:cubicBezTo>
                    <a:pt x="134" y="781"/>
                    <a:pt x="134" y="781"/>
                    <a:pt x="134" y="781"/>
                  </a:cubicBezTo>
                  <a:cubicBezTo>
                    <a:pt x="134" y="782"/>
                    <a:pt x="134" y="782"/>
                    <a:pt x="135" y="783"/>
                  </a:cubicBezTo>
                  <a:cubicBezTo>
                    <a:pt x="135" y="784"/>
                    <a:pt x="135" y="785"/>
                    <a:pt x="136" y="786"/>
                  </a:cubicBezTo>
                  <a:cubicBezTo>
                    <a:pt x="136" y="786"/>
                    <a:pt x="138" y="786"/>
                    <a:pt x="138" y="786"/>
                  </a:cubicBezTo>
                  <a:cubicBezTo>
                    <a:pt x="139" y="786"/>
                    <a:pt x="140" y="787"/>
                    <a:pt x="141" y="787"/>
                  </a:cubicBezTo>
                  <a:cubicBezTo>
                    <a:pt x="141" y="788"/>
                    <a:pt x="141" y="787"/>
                    <a:pt x="142" y="788"/>
                  </a:cubicBezTo>
                  <a:cubicBezTo>
                    <a:pt x="142" y="788"/>
                    <a:pt x="143" y="788"/>
                    <a:pt x="144" y="788"/>
                  </a:cubicBezTo>
                  <a:cubicBezTo>
                    <a:pt x="145" y="788"/>
                    <a:pt x="146" y="789"/>
                    <a:pt x="147" y="788"/>
                  </a:cubicBezTo>
                  <a:cubicBezTo>
                    <a:pt x="147" y="787"/>
                    <a:pt x="147" y="787"/>
                    <a:pt x="148" y="787"/>
                  </a:cubicBezTo>
                  <a:cubicBezTo>
                    <a:pt x="148" y="788"/>
                    <a:pt x="149" y="788"/>
                    <a:pt x="149" y="788"/>
                  </a:cubicBezTo>
                  <a:cubicBezTo>
                    <a:pt x="150" y="788"/>
                    <a:pt x="151" y="789"/>
                    <a:pt x="151" y="790"/>
                  </a:cubicBezTo>
                  <a:cubicBezTo>
                    <a:pt x="151" y="791"/>
                    <a:pt x="151" y="791"/>
                    <a:pt x="151" y="792"/>
                  </a:cubicBezTo>
                  <a:cubicBezTo>
                    <a:pt x="152" y="793"/>
                    <a:pt x="152" y="793"/>
                    <a:pt x="153" y="793"/>
                  </a:cubicBezTo>
                  <a:cubicBezTo>
                    <a:pt x="153" y="794"/>
                    <a:pt x="154" y="794"/>
                    <a:pt x="154" y="795"/>
                  </a:cubicBezTo>
                  <a:cubicBezTo>
                    <a:pt x="156" y="795"/>
                    <a:pt x="157" y="796"/>
                    <a:pt x="158" y="796"/>
                  </a:cubicBezTo>
                  <a:cubicBezTo>
                    <a:pt x="159" y="796"/>
                    <a:pt x="160" y="796"/>
                    <a:pt x="160" y="796"/>
                  </a:cubicBezTo>
                  <a:cubicBezTo>
                    <a:pt x="161" y="796"/>
                    <a:pt x="163" y="797"/>
                    <a:pt x="163" y="796"/>
                  </a:cubicBezTo>
                  <a:cubicBezTo>
                    <a:pt x="165" y="796"/>
                    <a:pt x="164" y="795"/>
                    <a:pt x="165" y="794"/>
                  </a:cubicBezTo>
                  <a:cubicBezTo>
                    <a:pt x="165" y="793"/>
                    <a:pt x="165" y="793"/>
                    <a:pt x="165" y="792"/>
                  </a:cubicBezTo>
                  <a:cubicBezTo>
                    <a:pt x="165" y="791"/>
                    <a:pt x="165" y="790"/>
                    <a:pt x="165" y="789"/>
                  </a:cubicBezTo>
                  <a:cubicBezTo>
                    <a:pt x="166" y="789"/>
                    <a:pt x="166" y="789"/>
                    <a:pt x="166" y="789"/>
                  </a:cubicBezTo>
                  <a:cubicBezTo>
                    <a:pt x="167" y="789"/>
                    <a:pt x="168" y="789"/>
                    <a:pt x="169" y="789"/>
                  </a:cubicBezTo>
                  <a:cubicBezTo>
                    <a:pt x="170" y="789"/>
                    <a:pt x="171" y="789"/>
                    <a:pt x="172" y="789"/>
                  </a:cubicBezTo>
                  <a:cubicBezTo>
                    <a:pt x="173" y="789"/>
                    <a:pt x="174" y="789"/>
                    <a:pt x="176" y="789"/>
                  </a:cubicBezTo>
                  <a:cubicBezTo>
                    <a:pt x="176" y="789"/>
                    <a:pt x="177" y="789"/>
                    <a:pt x="178" y="789"/>
                  </a:cubicBezTo>
                  <a:cubicBezTo>
                    <a:pt x="180" y="789"/>
                    <a:pt x="181" y="788"/>
                    <a:pt x="183" y="788"/>
                  </a:cubicBezTo>
                  <a:cubicBezTo>
                    <a:pt x="187" y="787"/>
                    <a:pt x="193" y="788"/>
                    <a:pt x="193" y="786"/>
                  </a:cubicBezTo>
                  <a:cubicBezTo>
                    <a:pt x="195" y="780"/>
                    <a:pt x="191" y="779"/>
                    <a:pt x="191" y="778"/>
                  </a:cubicBezTo>
                  <a:cubicBezTo>
                    <a:pt x="189" y="777"/>
                    <a:pt x="182" y="777"/>
                    <a:pt x="180" y="777"/>
                  </a:cubicBezTo>
                  <a:cubicBezTo>
                    <a:pt x="177" y="777"/>
                    <a:pt x="174" y="777"/>
                    <a:pt x="172" y="777"/>
                  </a:cubicBezTo>
                  <a:cubicBezTo>
                    <a:pt x="171" y="777"/>
                    <a:pt x="169" y="777"/>
                    <a:pt x="169" y="776"/>
                  </a:cubicBezTo>
                  <a:cubicBezTo>
                    <a:pt x="169" y="775"/>
                    <a:pt x="170" y="773"/>
                    <a:pt x="171" y="773"/>
                  </a:cubicBezTo>
                  <a:cubicBezTo>
                    <a:pt x="172" y="771"/>
                    <a:pt x="174" y="769"/>
                    <a:pt x="175" y="767"/>
                  </a:cubicBezTo>
                  <a:cubicBezTo>
                    <a:pt x="176" y="766"/>
                    <a:pt x="176" y="764"/>
                    <a:pt x="177" y="763"/>
                  </a:cubicBezTo>
                  <a:cubicBezTo>
                    <a:pt x="178" y="762"/>
                    <a:pt x="178" y="761"/>
                    <a:pt x="178" y="760"/>
                  </a:cubicBezTo>
                  <a:cubicBezTo>
                    <a:pt x="179" y="760"/>
                    <a:pt x="179" y="760"/>
                    <a:pt x="180" y="759"/>
                  </a:cubicBezTo>
                  <a:cubicBezTo>
                    <a:pt x="181" y="759"/>
                    <a:pt x="181" y="759"/>
                    <a:pt x="181" y="759"/>
                  </a:cubicBezTo>
                  <a:cubicBezTo>
                    <a:pt x="182" y="759"/>
                    <a:pt x="182" y="759"/>
                    <a:pt x="183" y="759"/>
                  </a:cubicBezTo>
                  <a:cubicBezTo>
                    <a:pt x="183" y="759"/>
                    <a:pt x="183" y="759"/>
                    <a:pt x="183" y="759"/>
                  </a:cubicBezTo>
                  <a:cubicBezTo>
                    <a:pt x="184" y="758"/>
                    <a:pt x="184" y="758"/>
                    <a:pt x="185" y="757"/>
                  </a:cubicBezTo>
                  <a:cubicBezTo>
                    <a:pt x="185" y="756"/>
                    <a:pt x="186" y="755"/>
                    <a:pt x="187" y="755"/>
                  </a:cubicBezTo>
                  <a:cubicBezTo>
                    <a:pt x="188" y="755"/>
                    <a:pt x="189" y="754"/>
                    <a:pt x="190" y="754"/>
                  </a:cubicBezTo>
                  <a:cubicBezTo>
                    <a:pt x="191" y="754"/>
                    <a:pt x="192" y="754"/>
                    <a:pt x="192" y="754"/>
                  </a:cubicBezTo>
                  <a:cubicBezTo>
                    <a:pt x="194" y="754"/>
                    <a:pt x="195" y="755"/>
                    <a:pt x="196" y="755"/>
                  </a:cubicBezTo>
                  <a:cubicBezTo>
                    <a:pt x="196" y="755"/>
                    <a:pt x="196" y="755"/>
                    <a:pt x="196" y="755"/>
                  </a:cubicBezTo>
                  <a:cubicBezTo>
                    <a:pt x="198" y="754"/>
                    <a:pt x="199" y="755"/>
                    <a:pt x="200" y="754"/>
                  </a:cubicBezTo>
                  <a:cubicBezTo>
                    <a:pt x="201" y="754"/>
                    <a:pt x="200" y="753"/>
                    <a:pt x="201" y="752"/>
                  </a:cubicBezTo>
                  <a:cubicBezTo>
                    <a:pt x="201" y="752"/>
                    <a:pt x="202" y="751"/>
                    <a:pt x="202" y="751"/>
                  </a:cubicBezTo>
                  <a:cubicBezTo>
                    <a:pt x="203" y="749"/>
                    <a:pt x="202" y="748"/>
                    <a:pt x="204" y="747"/>
                  </a:cubicBezTo>
                  <a:cubicBezTo>
                    <a:pt x="205" y="747"/>
                    <a:pt x="209" y="748"/>
                    <a:pt x="210" y="749"/>
                  </a:cubicBezTo>
                  <a:cubicBezTo>
                    <a:pt x="211" y="750"/>
                    <a:pt x="211" y="752"/>
                    <a:pt x="211" y="754"/>
                  </a:cubicBezTo>
                  <a:cubicBezTo>
                    <a:pt x="213" y="755"/>
                    <a:pt x="216" y="754"/>
                    <a:pt x="218" y="755"/>
                  </a:cubicBezTo>
                  <a:cubicBezTo>
                    <a:pt x="220" y="756"/>
                    <a:pt x="222" y="757"/>
                    <a:pt x="225" y="759"/>
                  </a:cubicBezTo>
                  <a:cubicBezTo>
                    <a:pt x="228" y="760"/>
                    <a:pt x="231" y="763"/>
                    <a:pt x="235" y="763"/>
                  </a:cubicBezTo>
                  <a:cubicBezTo>
                    <a:pt x="238" y="763"/>
                    <a:pt x="240" y="762"/>
                    <a:pt x="243" y="762"/>
                  </a:cubicBezTo>
                  <a:cubicBezTo>
                    <a:pt x="246" y="762"/>
                    <a:pt x="250" y="762"/>
                    <a:pt x="254" y="762"/>
                  </a:cubicBezTo>
                  <a:cubicBezTo>
                    <a:pt x="256" y="762"/>
                    <a:pt x="257" y="763"/>
                    <a:pt x="258" y="760"/>
                  </a:cubicBezTo>
                  <a:cubicBezTo>
                    <a:pt x="258" y="759"/>
                    <a:pt x="255" y="755"/>
                    <a:pt x="253" y="755"/>
                  </a:cubicBezTo>
                  <a:cubicBezTo>
                    <a:pt x="252" y="750"/>
                    <a:pt x="257" y="751"/>
                    <a:pt x="259" y="751"/>
                  </a:cubicBezTo>
                  <a:cubicBezTo>
                    <a:pt x="261" y="752"/>
                    <a:pt x="264" y="752"/>
                    <a:pt x="266" y="753"/>
                  </a:cubicBezTo>
                  <a:cubicBezTo>
                    <a:pt x="268" y="753"/>
                    <a:pt x="268" y="753"/>
                    <a:pt x="269" y="754"/>
                  </a:cubicBezTo>
                  <a:cubicBezTo>
                    <a:pt x="269" y="754"/>
                    <a:pt x="270" y="754"/>
                    <a:pt x="270" y="754"/>
                  </a:cubicBezTo>
                  <a:cubicBezTo>
                    <a:pt x="271" y="753"/>
                    <a:pt x="272" y="752"/>
                    <a:pt x="273" y="752"/>
                  </a:cubicBezTo>
                  <a:cubicBezTo>
                    <a:pt x="274" y="751"/>
                    <a:pt x="274" y="751"/>
                    <a:pt x="275" y="751"/>
                  </a:cubicBezTo>
                  <a:cubicBezTo>
                    <a:pt x="276" y="750"/>
                    <a:pt x="276" y="750"/>
                    <a:pt x="277" y="750"/>
                  </a:cubicBezTo>
                  <a:cubicBezTo>
                    <a:pt x="279" y="750"/>
                    <a:pt x="280" y="750"/>
                    <a:pt x="281" y="749"/>
                  </a:cubicBezTo>
                  <a:cubicBezTo>
                    <a:pt x="282" y="749"/>
                    <a:pt x="282" y="749"/>
                    <a:pt x="282" y="749"/>
                  </a:cubicBezTo>
                  <a:cubicBezTo>
                    <a:pt x="282" y="748"/>
                    <a:pt x="282" y="746"/>
                    <a:pt x="283" y="746"/>
                  </a:cubicBezTo>
                  <a:cubicBezTo>
                    <a:pt x="285" y="742"/>
                    <a:pt x="287" y="744"/>
                    <a:pt x="289" y="745"/>
                  </a:cubicBezTo>
                  <a:cubicBezTo>
                    <a:pt x="290" y="746"/>
                    <a:pt x="292" y="745"/>
                    <a:pt x="293" y="745"/>
                  </a:cubicBezTo>
                  <a:cubicBezTo>
                    <a:pt x="296" y="745"/>
                    <a:pt x="297" y="746"/>
                    <a:pt x="299" y="747"/>
                  </a:cubicBezTo>
                  <a:cubicBezTo>
                    <a:pt x="303" y="749"/>
                    <a:pt x="307" y="746"/>
                    <a:pt x="310" y="748"/>
                  </a:cubicBezTo>
                  <a:cubicBezTo>
                    <a:pt x="312" y="749"/>
                    <a:pt x="312" y="750"/>
                    <a:pt x="314" y="751"/>
                  </a:cubicBezTo>
                  <a:cubicBezTo>
                    <a:pt x="316" y="751"/>
                    <a:pt x="318" y="751"/>
                    <a:pt x="319" y="751"/>
                  </a:cubicBezTo>
                  <a:cubicBezTo>
                    <a:pt x="324" y="751"/>
                    <a:pt x="325" y="748"/>
                    <a:pt x="329" y="748"/>
                  </a:cubicBezTo>
                  <a:cubicBezTo>
                    <a:pt x="332" y="748"/>
                    <a:pt x="334" y="748"/>
                    <a:pt x="336" y="747"/>
                  </a:cubicBezTo>
                  <a:cubicBezTo>
                    <a:pt x="338" y="746"/>
                    <a:pt x="340" y="745"/>
                    <a:pt x="341" y="743"/>
                  </a:cubicBezTo>
                  <a:cubicBezTo>
                    <a:pt x="342" y="743"/>
                    <a:pt x="343" y="743"/>
                    <a:pt x="344" y="743"/>
                  </a:cubicBezTo>
                  <a:cubicBezTo>
                    <a:pt x="344" y="742"/>
                    <a:pt x="344" y="742"/>
                    <a:pt x="345" y="741"/>
                  </a:cubicBezTo>
                  <a:cubicBezTo>
                    <a:pt x="346" y="740"/>
                    <a:pt x="347" y="739"/>
                    <a:pt x="349" y="740"/>
                  </a:cubicBezTo>
                  <a:cubicBezTo>
                    <a:pt x="350" y="740"/>
                    <a:pt x="352" y="742"/>
                    <a:pt x="353" y="743"/>
                  </a:cubicBezTo>
                  <a:cubicBezTo>
                    <a:pt x="355" y="744"/>
                    <a:pt x="356" y="745"/>
                    <a:pt x="358" y="745"/>
                  </a:cubicBezTo>
                  <a:cubicBezTo>
                    <a:pt x="360" y="746"/>
                    <a:pt x="361" y="745"/>
                    <a:pt x="364" y="748"/>
                  </a:cubicBezTo>
                  <a:cubicBezTo>
                    <a:pt x="366" y="750"/>
                    <a:pt x="366" y="751"/>
                    <a:pt x="369" y="750"/>
                  </a:cubicBezTo>
                  <a:cubicBezTo>
                    <a:pt x="371" y="750"/>
                    <a:pt x="372" y="749"/>
                    <a:pt x="374" y="748"/>
                  </a:cubicBezTo>
                  <a:cubicBezTo>
                    <a:pt x="374" y="748"/>
                    <a:pt x="377" y="747"/>
                    <a:pt x="377" y="747"/>
                  </a:cubicBezTo>
                  <a:cubicBezTo>
                    <a:pt x="378" y="746"/>
                    <a:pt x="378" y="744"/>
                    <a:pt x="378" y="743"/>
                  </a:cubicBezTo>
                  <a:cubicBezTo>
                    <a:pt x="380" y="743"/>
                    <a:pt x="383" y="743"/>
                    <a:pt x="385" y="743"/>
                  </a:cubicBezTo>
                  <a:cubicBezTo>
                    <a:pt x="386" y="742"/>
                    <a:pt x="387" y="741"/>
                    <a:pt x="388" y="740"/>
                  </a:cubicBezTo>
                  <a:cubicBezTo>
                    <a:pt x="390" y="738"/>
                    <a:pt x="394" y="738"/>
                    <a:pt x="397" y="737"/>
                  </a:cubicBezTo>
                  <a:cubicBezTo>
                    <a:pt x="400" y="737"/>
                    <a:pt x="403" y="738"/>
                    <a:pt x="406" y="737"/>
                  </a:cubicBezTo>
                  <a:cubicBezTo>
                    <a:pt x="407" y="737"/>
                    <a:pt x="408" y="736"/>
                    <a:pt x="410" y="736"/>
                  </a:cubicBezTo>
                  <a:cubicBezTo>
                    <a:pt x="411" y="736"/>
                    <a:pt x="413" y="736"/>
                    <a:pt x="414" y="736"/>
                  </a:cubicBezTo>
                  <a:cubicBezTo>
                    <a:pt x="415" y="736"/>
                    <a:pt x="417" y="735"/>
                    <a:pt x="417" y="735"/>
                  </a:cubicBezTo>
                  <a:cubicBezTo>
                    <a:pt x="419" y="732"/>
                    <a:pt x="417" y="733"/>
                    <a:pt x="415" y="731"/>
                  </a:cubicBezTo>
                  <a:cubicBezTo>
                    <a:pt x="413" y="728"/>
                    <a:pt x="416" y="726"/>
                    <a:pt x="418" y="724"/>
                  </a:cubicBezTo>
                  <a:cubicBezTo>
                    <a:pt x="420" y="722"/>
                    <a:pt x="423" y="722"/>
                    <a:pt x="426" y="722"/>
                  </a:cubicBezTo>
                  <a:cubicBezTo>
                    <a:pt x="430" y="722"/>
                    <a:pt x="431" y="722"/>
                    <a:pt x="432" y="718"/>
                  </a:cubicBezTo>
                  <a:cubicBezTo>
                    <a:pt x="435" y="717"/>
                    <a:pt x="440" y="719"/>
                    <a:pt x="443" y="717"/>
                  </a:cubicBezTo>
                  <a:cubicBezTo>
                    <a:pt x="445" y="716"/>
                    <a:pt x="446" y="713"/>
                    <a:pt x="447" y="712"/>
                  </a:cubicBezTo>
                  <a:cubicBezTo>
                    <a:pt x="448" y="711"/>
                    <a:pt x="451" y="709"/>
                    <a:pt x="451" y="708"/>
                  </a:cubicBezTo>
                  <a:cubicBezTo>
                    <a:pt x="450" y="707"/>
                    <a:pt x="448" y="707"/>
                    <a:pt x="448" y="706"/>
                  </a:cubicBezTo>
                  <a:cubicBezTo>
                    <a:pt x="446" y="705"/>
                    <a:pt x="444" y="704"/>
                    <a:pt x="442" y="703"/>
                  </a:cubicBezTo>
                  <a:cubicBezTo>
                    <a:pt x="439" y="702"/>
                    <a:pt x="433" y="703"/>
                    <a:pt x="433" y="700"/>
                  </a:cubicBezTo>
                  <a:cubicBezTo>
                    <a:pt x="433" y="698"/>
                    <a:pt x="437" y="697"/>
                    <a:pt x="436" y="694"/>
                  </a:cubicBezTo>
                  <a:cubicBezTo>
                    <a:pt x="434" y="692"/>
                    <a:pt x="424" y="694"/>
                    <a:pt x="422" y="694"/>
                  </a:cubicBezTo>
                  <a:cubicBezTo>
                    <a:pt x="418" y="695"/>
                    <a:pt x="417" y="695"/>
                    <a:pt x="413" y="694"/>
                  </a:cubicBezTo>
                  <a:cubicBezTo>
                    <a:pt x="412" y="693"/>
                    <a:pt x="410" y="692"/>
                    <a:pt x="408" y="691"/>
                  </a:cubicBezTo>
                  <a:cubicBezTo>
                    <a:pt x="405" y="690"/>
                    <a:pt x="403" y="693"/>
                    <a:pt x="401" y="693"/>
                  </a:cubicBezTo>
                  <a:cubicBezTo>
                    <a:pt x="399" y="693"/>
                    <a:pt x="397" y="690"/>
                    <a:pt x="395" y="690"/>
                  </a:cubicBezTo>
                  <a:cubicBezTo>
                    <a:pt x="391" y="689"/>
                    <a:pt x="387" y="690"/>
                    <a:pt x="383" y="690"/>
                  </a:cubicBezTo>
                  <a:cubicBezTo>
                    <a:pt x="381" y="689"/>
                    <a:pt x="378" y="689"/>
                    <a:pt x="375" y="688"/>
                  </a:cubicBezTo>
                  <a:cubicBezTo>
                    <a:pt x="373" y="688"/>
                    <a:pt x="371" y="687"/>
                    <a:pt x="370" y="685"/>
                  </a:cubicBezTo>
                  <a:cubicBezTo>
                    <a:pt x="375" y="684"/>
                    <a:pt x="381" y="685"/>
                    <a:pt x="385" y="685"/>
                  </a:cubicBezTo>
                  <a:cubicBezTo>
                    <a:pt x="391" y="685"/>
                    <a:pt x="399" y="687"/>
                    <a:pt x="403" y="682"/>
                  </a:cubicBezTo>
                  <a:cubicBezTo>
                    <a:pt x="404" y="681"/>
                    <a:pt x="405" y="679"/>
                    <a:pt x="406" y="677"/>
                  </a:cubicBezTo>
                  <a:cubicBezTo>
                    <a:pt x="406" y="676"/>
                    <a:pt x="406" y="675"/>
                    <a:pt x="407" y="674"/>
                  </a:cubicBezTo>
                  <a:cubicBezTo>
                    <a:pt x="409" y="672"/>
                    <a:pt x="412" y="674"/>
                    <a:pt x="413" y="672"/>
                  </a:cubicBezTo>
                  <a:cubicBezTo>
                    <a:pt x="414" y="669"/>
                    <a:pt x="412" y="665"/>
                    <a:pt x="410" y="664"/>
                  </a:cubicBezTo>
                  <a:cubicBezTo>
                    <a:pt x="408" y="663"/>
                    <a:pt x="405" y="663"/>
                    <a:pt x="403" y="664"/>
                  </a:cubicBezTo>
                  <a:cubicBezTo>
                    <a:pt x="403" y="660"/>
                    <a:pt x="407" y="661"/>
                    <a:pt x="410" y="661"/>
                  </a:cubicBezTo>
                  <a:cubicBezTo>
                    <a:pt x="411" y="660"/>
                    <a:pt x="413" y="660"/>
                    <a:pt x="414" y="660"/>
                  </a:cubicBezTo>
                  <a:cubicBezTo>
                    <a:pt x="417" y="660"/>
                    <a:pt x="415" y="661"/>
                    <a:pt x="417" y="661"/>
                  </a:cubicBezTo>
                  <a:cubicBezTo>
                    <a:pt x="419" y="662"/>
                    <a:pt x="420" y="662"/>
                    <a:pt x="422" y="661"/>
                  </a:cubicBezTo>
                  <a:cubicBezTo>
                    <a:pt x="423" y="661"/>
                    <a:pt x="424" y="659"/>
                    <a:pt x="425" y="658"/>
                  </a:cubicBezTo>
                  <a:cubicBezTo>
                    <a:pt x="426" y="657"/>
                    <a:pt x="426" y="657"/>
                    <a:pt x="427" y="656"/>
                  </a:cubicBezTo>
                  <a:cubicBezTo>
                    <a:pt x="427" y="655"/>
                    <a:pt x="429" y="655"/>
                    <a:pt x="429" y="655"/>
                  </a:cubicBezTo>
                  <a:cubicBezTo>
                    <a:pt x="431" y="654"/>
                    <a:pt x="433" y="651"/>
                    <a:pt x="434" y="649"/>
                  </a:cubicBezTo>
                  <a:cubicBezTo>
                    <a:pt x="434" y="648"/>
                    <a:pt x="433" y="644"/>
                    <a:pt x="432" y="644"/>
                  </a:cubicBezTo>
                  <a:cubicBezTo>
                    <a:pt x="433" y="640"/>
                    <a:pt x="435" y="640"/>
                    <a:pt x="439" y="639"/>
                  </a:cubicBezTo>
                  <a:cubicBezTo>
                    <a:pt x="442" y="639"/>
                    <a:pt x="443" y="638"/>
                    <a:pt x="444" y="635"/>
                  </a:cubicBezTo>
                  <a:cubicBezTo>
                    <a:pt x="445" y="631"/>
                    <a:pt x="447" y="627"/>
                    <a:pt x="447" y="622"/>
                  </a:cubicBezTo>
                  <a:cubicBezTo>
                    <a:pt x="448" y="620"/>
                    <a:pt x="448" y="619"/>
                    <a:pt x="449" y="617"/>
                  </a:cubicBezTo>
                  <a:cubicBezTo>
                    <a:pt x="450" y="614"/>
                    <a:pt x="451" y="613"/>
                    <a:pt x="451" y="611"/>
                  </a:cubicBezTo>
                  <a:cubicBezTo>
                    <a:pt x="451" y="609"/>
                    <a:pt x="452" y="607"/>
                    <a:pt x="452" y="604"/>
                  </a:cubicBezTo>
                  <a:cubicBezTo>
                    <a:pt x="452" y="601"/>
                    <a:pt x="453" y="599"/>
                    <a:pt x="453" y="596"/>
                  </a:cubicBezTo>
                  <a:cubicBezTo>
                    <a:pt x="454" y="592"/>
                    <a:pt x="453" y="587"/>
                    <a:pt x="453" y="583"/>
                  </a:cubicBezTo>
                  <a:cubicBezTo>
                    <a:pt x="453" y="579"/>
                    <a:pt x="455" y="572"/>
                    <a:pt x="452" y="569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4" name="Freeform 64"/>
            <p:cNvSpPr>
              <a:spLocks/>
            </p:cNvSpPr>
            <p:nvPr/>
          </p:nvSpPr>
          <p:spPr bwMode="auto">
            <a:xfrm>
              <a:off x="2798763" y="3584575"/>
              <a:ext cx="41275" cy="63500"/>
            </a:xfrm>
            <a:custGeom>
              <a:avLst/>
              <a:gdLst/>
              <a:ahLst/>
              <a:cxnLst>
                <a:cxn ang="0">
                  <a:pos x="18" y="2"/>
                </a:cxn>
                <a:cxn ang="0">
                  <a:pos x="22" y="1"/>
                </a:cxn>
                <a:cxn ang="0">
                  <a:pos x="17" y="10"/>
                </a:cxn>
                <a:cxn ang="0">
                  <a:pos x="12" y="15"/>
                </a:cxn>
                <a:cxn ang="0">
                  <a:pos x="10" y="19"/>
                </a:cxn>
                <a:cxn ang="0">
                  <a:pos x="10" y="23"/>
                </a:cxn>
                <a:cxn ang="0">
                  <a:pos x="6" y="32"/>
                </a:cxn>
                <a:cxn ang="0">
                  <a:pos x="5" y="34"/>
                </a:cxn>
                <a:cxn ang="0">
                  <a:pos x="2" y="32"/>
                </a:cxn>
                <a:cxn ang="0">
                  <a:pos x="1" y="25"/>
                </a:cxn>
                <a:cxn ang="0">
                  <a:pos x="1" y="21"/>
                </a:cxn>
                <a:cxn ang="0">
                  <a:pos x="3" y="19"/>
                </a:cxn>
                <a:cxn ang="0">
                  <a:pos x="9" y="15"/>
                </a:cxn>
                <a:cxn ang="0">
                  <a:pos x="3" y="14"/>
                </a:cxn>
                <a:cxn ang="0">
                  <a:pos x="5" y="13"/>
                </a:cxn>
                <a:cxn ang="0">
                  <a:pos x="6" y="9"/>
                </a:cxn>
                <a:cxn ang="0">
                  <a:pos x="10" y="5"/>
                </a:cxn>
                <a:cxn ang="0">
                  <a:pos x="18" y="0"/>
                </a:cxn>
                <a:cxn ang="0">
                  <a:pos x="18" y="2"/>
                </a:cxn>
              </a:cxnLst>
              <a:rect l="0" t="0" r="r" b="b"/>
              <a:pathLst>
                <a:path w="22" h="34">
                  <a:moveTo>
                    <a:pt x="18" y="2"/>
                  </a:moveTo>
                  <a:cubicBezTo>
                    <a:pt x="19" y="1"/>
                    <a:pt x="21" y="1"/>
                    <a:pt x="22" y="1"/>
                  </a:cubicBezTo>
                  <a:cubicBezTo>
                    <a:pt x="22" y="4"/>
                    <a:pt x="19" y="7"/>
                    <a:pt x="17" y="10"/>
                  </a:cubicBezTo>
                  <a:cubicBezTo>
                    <a:pt x="16" y="11"/>
                    <a:pt x="14" y="13"/>
                    <a:pt x="12" y="15"/>
                  </a:cubicBezTo>
                  <a:cubicBezTo>
                    <a:pt x="12" y="16"/>
                    <a:pt x="11" y="17"/>
                    <a:pt x="10" y="19"/>
                  </a:cubicBezTo>
                  <a:cubicBezTo>
                    <a:pt x="10" y="20"/>
                    <a:pt x="10" y="21"/>
                    <a:pt x="10" y="23"/>
                  </a:cubicBezTo>
                  <a:cubicBezTo>
                    <a:pt x="10" y="26"/>
                    <a:pt x="8" y="29"/>
                    <a:pt x="6" y="32"/>
                  </a:cubicBezTo>
                  <a:cubicBezTo>
                    <a:pt x="6" y="32"/>
                    <a:pt x="6" y="33"/>
                    <a:pt x="5" y="34"/>
                  </a:cubicBezTo>
                  <a:cubicBezTo>
                    <a:pt x="4" y="34"/>
                    <a:pt x="3" y="32"/>
                    <a:pt x="2" y="32"/>
                  </a:cubicBezTo>
                  <a:cubicBezTo>
                    <a:pt x="1" y="29"/>
                    <a:pt x="2" y="27"/>
                    <a:pt x="1" y="25"/>
                  </a:cubicBezTo>
                  <a:cubicBezTo>
                    <a:pt x="1" y="23"/>
                    <a:pt x="0" y="23"/>
                    <a:pt x="1" y="21"/>
                  </a:cubicBezTo>
                  <a:cubicBezTo>
                    <a:pt x="1" y="20"/>
                    <a:pt x="2" y="19"/>
                    <a:pt x="3" y="19"/>
                  </a:cubicBezTo>
                  <a:cubicBezTo>
                    <a:pt x="5" y="17"/>
                    <a:pt x="8" y="17"/>
                    <a:pt x="9" y="15"/>
                  </a:cubicBezTo>
                  <a:cubicBezTo>
                    <a:pt x="8" y="13"/>
                    <a:pt x="2" y="18"/>
                    <a:pt x="3" y="14"/>
                  </a:cubicBezTo>
                  <a:cubicBezTo>
                    <a:pt x="3" y="14"/>
                    <a:pt x="4" y="13"/>
                    <a:pt x="5" y="13"/>
                  </a:cubicBezTo>
                  <a:cubicBezTo>
                    <a:pt x="5" y="12"/>
                    <a:pt x="5" y="10"/>
                    <a:pt x="6" y="9"/>
                  </a:cubicBezTo>
                  <a:cubicBezTo>
                    <a:pt x="7" y="7"/>
                    <a:pt x="8" y="7"/>
                    <a:pt x="10" y="5"/>
                  </a:cubicBezTo>
                  <a:cubicBezTo>
                    <a:pt x="13" y="4"/>
                    <a:pt x="15" y="0"/>
                    <a:pt x="18" y="0"/>
                  </a:cubicBezTo>
                  <a:lnTo>
                    <a:pt x="18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5" name="Freeform 65"/>
            <p:cNvSpPr>
              <a:spLocks/>
            </p:cNvSpPr>
            <p:nvPr/>
          </p:nvSpPr>
          <p:spPr bwMode="auto">
            <a:xfrm>
              <a:off x="2832100" y="3638550"/>
              <a:ext cx="44450" cy="92075"/>
            </a:xfrm>
            <a:custGeom>
              <a:avLst/>
              <a:gdLst/>
              <a:ahLst/>
              <a:cxnLst>
                <a:cxn ang="0">
                  <a:pos x="19" y="0"/>
                </a:cxn>
                <a:cxn ang="0">
                  <a:pos x="9" y="11"/>
                </a:cxn>
                <a:cxn ang="0">
                  <a:pos x="6" y="13"/>
                </a:cxn>
                <a:cxn ang="0">
                  <a:pos x="5" y="13"/>
                </a:cxn>
                <a:cxn ang="0">
                  <a:pos x="3" y="16"/>
                </a:cxn>
                <a:cxn ang="0">
                  <a:pos x="3" y="23"/>
                </a:cxn>
                <a:cxn ang="0">
                  <a:pos x="4" y="28"/>
                </a:cxn>
                <a:cxn ang="0">
                  <a:pos x="6" y="32"/>
                </a:cxn>
                <a:cxn ang="0">
                  <a:pos x="5" y="34"/>
                </a:cxn>
                <a:cxn ang="0">
                  <a:pos x="6" y="38"/>
                </a:cxn>
                <a:cxn ang="0">
                  <a:pos x="7" y="38"/>
                </a:cxn>
                <a:cxn ang="0">
                  <a:pos x="8" y="40"/>
                </a:cxn>
                <a:cxn ang="0">
                  <a:pos x="1" y="40"/>
                </a:cxn>
                <a:cxn ang="0">
                  <a:pos x="0" y="44"/>
                </a:cxn>
                <a:cxn ang="0">
                  <a:pos x="2" y="48"/>
                </a:cxn>
                <a:cxn ang="0">
                  <a:pos x="7" y="47"/>
                </a:cxn>
                <a:cxn ang="0">
                  <a:pos x="11" y="44"/>
                </a:cxn>
                <a:cxn ang="0">
                  <a:pos x="12" y="41"/>
                </a:cxn>
                <a:cxn ang="0">
                  <a:pos x="10" y="37"/>
                </a:cxn>
                <a:cxn ang="0">
                  <a:pos x="11" y="34"/>
                </a:cxn>
                <a:cxn ang="0">
                  <a:pos x="12" y="31"/>
                </a:cxn>
                <a:cxn ang="0">
                  <a:pos x="14" y="29"/>
                </a:cxn>
                <a:cxn ang="0">
                  <a:pos x="13" y="25"/>
                </a:cxn>
                <a:cxn ang="0">
                  <a:pos x="13" y="19"/>
                </a:cxn>
                <a:cxn ang="0">
                  <a:pos x="14" y="13"/>
                </a:cxn>
                <a:cxn ang="0">
                  <a:pos x="17" y="9"/>
                </a:cxn>
                <a:cxn ang="0">
                  <a:pos x="22" y="6"/>
                </a:cxn>
                <a:cxn ang="0">
                  <a:pos x="19" y="2"/>
                </a:cxn>
                <a:cxn ang="0">
                  <a:pos x="19" y="0"/>
                </a:cxn>
              </a:cxnLst>
              <a:rect l="0" t="0" r="r" b="b"/>
              <a:pathLst>
                <a:path w="24" h="49">
                  <a:moveTo>
                    <a:pt x="19" y="0"/>
                  </a:moveTo>
                  <a:cubicBezTo>
                    <a:pt x="15" y="3"/>
                    <a:pt x="12" y="7"/>
                    <a:pt x="9" y="11"/>
                  </a:cubicBezTo>
                  <a:cubicBezTo>
                    <a:pt x="8" y="12"/>
                    <a:pt x="7" y="12"/>
                    <a:pt x="6" y="13"/>
                  </a:cubicBezTo>
                  <a:cubicBezTo>
                    <a:pt x="6" y="13"/>
                    <a:pt x="5" y="13"/>
                    <a:pt x="5" y="13"/>
                  </a:cubicBezTo>
                  <a:cubicBezTo>
                    <a:pt x="4" y="13"/>
                    <a:pt x="3" y="15"/>
                    <a:pt x="3" y="16"/>
                  </a:cubicBezTo>
                  <a:cubicBezTo>
                    <a:pt x="3" y="18"/>
                    <a:pt x="3" y="20"/>
                    <a:pt x="3" y="23"/>
                  </a:cubicBezTo>
                  <a:cubicBezTo>
                    <a:pt x="3" y="25"/>
                    <a:pt x="3" y="26"/>
                    <a:pt x="4" y="28"/>
                  </a:cubicBezTo>
                  <a:cubicBezTo>
                    <a:pt x="4" y="29"/>
                    <a:pt x="6" y="30"/>
                    <a:pt x="6" y="32"/>
                  </a:cubicBezTo>
                  <a:cubicBezTo>
                    <a:pt x="6" y="32"/>
                    <a:pt x="5" y="33"/>
                    <a:pt x="5" y="34"/>
                  </a:cubicBezTo>
                  <a:cubicBezTo>
                    <a:pt x="4" y="35"/>
                    <a:pt x="4" y="36"/>
                    <a:pt x="6" y="38"/>
                  </a:cubicBezTo>
                  <a:cubicBezTo>
                    <a:pt x="6" y="38"/>
                    <a:pt x="7" y="38"/>
                    <a:pt x="7" y="38"/>
                  </a:cubicBezTo>
                  <a:cubicBezTo>
                    <a:pt x="8" y="39"/>
                    <a:pt x="8" y="40"/>
                    <a:pt x="8" y="40"/>
                  </a:cubicBezTo>
                  <a:cubicBezTo>
                    <a:pt x="6" y="40"/>
                    <a:pt x="3" y="39"/>
                    <a:pt x="1" y="40"/>
                  </a:cubicBezTo>
                  <a:cubicBezTo>
                    <a:pt x="1" y="41"/>
                    <a:pt x="0" y="42"/>
                    <a:pt x="0" y="44"/>
                  </a:cubicBezTo>
                  <a:cubicBezTo>
                    <a:pt x="0" y="45"/>
                    <a:pt x="1" y="47"/>
                    <a:pt x="2" y="48"/>
                  </a:cubicBezTo>
                  <a:cubicBezTo>
                    <a:pt x="4" y="49"/>
                    <a:pt x="5" y="48"/>
                    <a:pt x="7" y="47"/>
                  </a:cubicBezTo>
                  <a:cubicBezTo>
                    <a:pt x="8" y="46"/>
                    <a:pt x="9" y="45"/>
                    <a:pt x="11" y="44"/>
                  </a:cubicBezTo>
                  <a:cubicBezTo>
                    <a:pt x="11" y="43"/>
                    <a:pt x="12" y="42"/>
                    <a:pt x="12" y="41"/>
                  </a:cubicBezTo>
                  <a:cubicBezTo>
                    <a:pt x="10" y="41"/>
                    <a:pt x="10" y="38"/>
                    <a:pt x="10" y="37"/>
                  </a:cubicBezTo>
                  <a:cubicBezTo>
                    <a:pt x="10" y="35"/>
                    <a:pt x="11" y="35"/>
                    <a:pt x="11" y="34"/>
                  </a:cubicBezTo>
                  <a:cubicBezTo>
                    <a:pt x="12" y="33"/>
                    <a:pt x="12" y="32"/>
                    <a:pt x="12" y="31"/>
                  </a:cubicBezTo>
                  <a:cubicBezTo>
                    <a:pt x="12" y="30"/>
                    <a:pt x="13" y="29"/>
                    <a:pt x="14" y="29"/>
                  </a:cubicBezTo>
                  <a:cubicBezTo>
                    <a:pt x="14" y="28"/>
                    <a:pt x="13" y="26"/>
                    <a:pt x="13" y="25"/>
                  </a:cubicBezTo>
                  <a:cubicBezTo>
                    <a:pt x="13" y="23"/>
                    <a:pt x="13" y="21"/>
                    <a:pt x="13" y="19"/>
                  </a:cubicBezTo>
                  <a:cubicBezTo>
                    <a:pt x="14" y="17"/>
                    <a:pt x="14" y="15"/>
                    <a:pt x="14" y="13"/>
                  </a:cubicBezTo>
                  <a:cubicBezTo>
                    <a:pt x="14" y="10"/>
                    <a:pt x="14" y="10"/>
                    <a:pt x="17" y="9"/>
                  </a:cubicBezTo>
                  <a:cubicBezTo>
                    <a:pt x="19" y="8"/>
                    <a:pt x="21" y="8"/>
                    <a:pt x="22" y="6"/>
                  </a:cubicBezTo>
                  <a:cubicBezTo>
                    <a:pt x="24" y="2"/>
                    <a:pt x="20" y="4"/>
                    <a:pt x="19" y="2"/>
                  </a:cubicBezTo>
                  <a:lnTo>
                    <a:pt x="19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6" name="Freeform 66"/>
            <p:cNvSpPr>
              <a:spLocks/>
            </p:cNvSpPr>
            <p:nvPr/>
          </p:nvSpPr>
          <p:spPr bwMode="auto">
            <a:xfrm>
              <a:off x="2863850" y="3654425"/>
              <a:ext cx="36513" cy="60325"/>
            </a:xfrm>
            <a:custGeom>
              <a:avLst/>
              <a:gdLst/>
              <a:ahLst/>
              <a:cxnLst>
                <a:cxn ang="0">
                  <a:pos x="13" y="5"/>
                </a:cxn>
                <a:cxn ang="0">
                  <a:pos x="0" y="5"/>
                </a:cxn>
                <a:cxn ang="0">
                  <a:pos x="2" y="14"/>
                </a:cxn>
                <a:cxn ang="0">
                  <a:pos x="4" y="17"/>
                </a:cxn>
                <a:cxn ang="0">
                  <a:pos x="4" y="20"/>
                </a:cxn>
                <a:cxn ang="0">
                  <a:pos x="6" y="26"/>
                </a:cxn>
                <a:cxn ang="0">
                  <a:pos x="13" y="30"/>
                </a:cxn>
                <a:cxn ang="0">
                  <a:pos x="16" y="31"/>
                </a:cxn>
                <a:cxn ang="0">
                  <a:pos x="19" y="25"/>
                </a:cxn>
                <a:cxn ang="0">
                  <a:pos x="13" y="19"/>
                </a:cxn>
                <a:cxn ang="0">
                  <a:pos x="15" y="16"/>
                </a:cxn>
                <a:cxn ang="0">
                  <a:pos x="16" y="13"/>
                </a:cxn>
                <a:cxn ang="0">
                  <a:pos x="16" y="11"/>
                </a:cxn>
                <a:cxn ang="0">
                  <a:pos x="16" y="9"/>
                </a:cxn>
                <a:cxn ang="0">
                  <a:pos x="13" y="7"/>
                </a:cxn>
                <a:cxn ang="0">
                  <a:pos x="13" y="5"/>
                </a:cxn>
              </a:cxnLst>
              <a:rect l="0" t="0" r="r" b="b"/>
              <a:pathLst>
                <a:path w="20" h="32">
                  <a:moveTo>
                    <a:pt x="13" y="5"/>
                  </a:moveTo>
                  <a:cubicBezTo>
                    <a:pt x="11" y="1"/>
                    <a:pt x="2" y="0"/>
                    <a:pt x="0" y="5"/>
                  </a:cubicBezTo>
                  <a:cubicBezTo>
                    <a:pt x="0" y="8"/>
                    <a:pt x="1" y="11"/>
                    <a:pt x="2" y="14"/>
                  </a:cubicBezTo>
                  <a:cubicBezTo>
                    <a:pt x="3" y="15"/>
                    <a:pt x="4" y="16"/>
                    <a:pt x="4" y="17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2"/>
                    <a:pt x="4" y="24"/>
                    <a:pt x="6" y="26"/>
                  </a:cubicBezTo>
                  <a:cubicBezTo>
                    <a:pt x="8" y="28"/>
                    <a:pt x="10" y="29"/>
                    <a:pt x="13" y="30"/>
                  </a:cubicBezTo>
                  <a:cubicBezTo>
                    <a:pt x="14" y="30"/>
                    <a:pt x="15" y="31"/>
                    <a:pt x="16" y="31"/>
                  </a:cubicBezTo>
                  <a:cubicBezTo>
                    <a:pt x="20" y="32"/>
                    <a:pt x="19" y="27"/>
                    <a:pt x="19" y="25"/>
                  </a:cubicBezTo>
                  <a:cubicBezTo>
                    <a:pt x="19" y="21"/>
                    <a:pt x="16" y="19"/>
                    <a:pt x="13" y="19"/>
                  </a:cubicBezTo>
                  <a:cubicBezTo>
                    <a:pt x="15" y="20"/>
                    <a:pt x="15" y="18"/>
                    <a:pt x="15" y="16"/>
                  </a:cubicBezTo>
                  <a:cubicBezTo>
                    <a:pt x="16" y="15"/>
                    <a:pt x="16" y="14"/>
                    <a:pt x="16" y="13"/>
                  </a:cubicBezTo>
                  <a:cubicBezTo>
                    <a:pt x="16" y="13"/>
                    <a:pt x="16" y="12"/>
                    <a:pt x="16" y="11"/>
                  </a:cubicBezTo>
                  <a:cubicBezTo>
                    <a:pt x="16" y="11"/>
                    <a:pt x="16" y="10"/>
                    <a:pt x="16" y="9"/>
                  </a:cubicBezTo>
                  <a:cubicBezTo>
                    <a:pt x="15" y="7"/>
                    <a:pt x="14" y="8"/>
                    <a:pt x="13" y="7"/>
                  </a:cubicBezTo>
                  <a:lnTo>
                    <a:pt x="13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7" name="Freeform 67"/>
            <p:cNvSpPr>
              <a:spLocks/>
            </p:cNvSpPr>
            <p:nvPr/>
          </p:nvSpPr>
          <p:spPr bwMode="auto">
            <a:xfrm>
              <a:off x="2757488" y="3619500"/>
              <a:ext cx="46038" cy="65088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17" y="1"/>
                </a:cxn>
                <a:cxn ang="0">
                  <a:pos x="12" y="4"/>
                </a:cxn>
                <a:cxn ang="0">
                  <a:pos x="12" y="6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6"/>
                </a:cxn>
                <a:cxn ang="0">
                  <a:pos x="4" y="11"/>
                </a:cxn>
                <a:cxn ang="0">
                  <a:pos x="3" y="12"/>
                </a:cxn>
                <a:cxn ang="0">
                  <a:pos x="1" y="13"/>
                </a:cxn>
                <a:cxn ang="0">
                  <a:pos x="1" y="19"/>
                </a:cxn>
                <a:cxn ang="0">
                  <a:pos x="0" y="22"/>
                </a:cxn>
                <a:cxn ang="0">
                  <a:pos x="3" y="24"/>
                </a:cxn>
                <a:cxn ang="0">
                  <a:pos x="4" y="21"/>
                </a:cxn>
                <a:cxn ang="0">
                  <a:pos x="6" y="19"/>
                </a:cxn>
                <a:cxn ang="0">
                  <a:pos x="7" y="18"/>
                </a:cxn>
                <a:cxn ang="0">
                  <a:pos x="10" y="17"/>
                </a:cxn>
                <a:cxn ang="0">
                  <a:pos x="15" y="14"/>
                </a:cxn>
                <a:cxn ang="0">
                  <a:pos x="11" y="19"/>
                </a:cxn>
                <a:cxn ang="0">
                  <a:pos x="8" y="21"/>
                </a:cxn>
                <a:cxn ang="0">
                  <a:pos x="11" y="24"/>
                </a:cxn>
                <a:cxn ang="0">
                  <a:pos x="9" y="27"/>
                </a:cxn>
                <a:cxn ang="0">
                  <a:pos x="11" y="31"/>
                </a:cxn>
                <a:cxn ang="0">
                  <a:pos x="10" y="34"/>
                </a:cxn>
                <a:cxn ang="0">
                  <a:pos x="15" y="30"/>
                </a:cxn>
                <a:cxn ang="0">
                  <a:pos x="22" y="30"/>
                </a:cxn>
                <a:cxn ang="0">
                  <a:pos x="24" y="26"/>
                </a:cxn>
                <a:cxn ang="0">
                  <a:pos x="21" y="16"/>
                </a:cxn>
                <a:cxn ang="0">
                  <a:pos x="19" y="16"/>
                </a:cxn>
                <a:cxn ang="0">
                  <a:pos x="19" y="14"/>
                </a:cxn>
                <a:cxn ang="0">
                  <a:pos x="19" y="9"/>
                </a:cxn>
                <a:cxn ang="0">
                  <a:pos x="18" y="2"/>
                </a:cxn>
                <a:cxn ang="0">
                  <a:pos x="18" y="0"/>
                </a:cxn>
              </a:cxnLst>
              <a:rect l="0" t="0" r="r" b="b"/>
              <a:pathLst>
                <a:path w="25" h="35">
                  <a:moveTo>
                    <a:pt x="18" y="0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5" y="2"/>
                    <a:pt x="13" y="1"/>
                    <a:pt x="12" y="4"/>
                  </a:cubicBezTo>
                  <a:cubicBezTo>
                    <a:pt x="12" y="5"/>
                    <a:pt x="12" y="5"/>
                    <a:pt x="12" y="6"/>
                  </a:cubicBezTo>
                  <a:cubicBezTo>
                    <a:pt x="12" y="6"/>
                    <a:pt x="11" y="6"/>
                    <a:pt x="11" y="7"/>
                  </a:cubicBezTo>
                  <a:cubicBezTo>
                    <a:pt x="10" y="8"/>
                    <a:pt x="10" y="9"/>
                    <a:pt x="10" y="10"/>
                  </a:cubicBezTo>
                  <a:cubicBezTo>
                    <a:pt x="9" y="9"/>
                    <a:pt x="8" y="5"/>
                    <a:pt x="6" y="6"/>
                  </a:cubicBezTo>
                  <a:cubicBezTo>
                    <a:pt x="5" y="6"/>
                    <a:pt x="5" y="10"/>
                    <a:pt x="4" y="11"/>
                  </a:cubicBezTo>
                  <a:cubicBezTo>
                    <a:pt x="3" y="12"/>
                    <a:pt x="4" y="12"/>
                    <a:pt x="3" y="12"/>
                  </a:cubicBezTo>
                  <a:cubicBezTo>
                    <a:pt x="2" y="13"/>
                    <a:pt x="1" y="12"/>
                    <a:pt x="1" y="13"/>
                  </a:cubicBezTo>
                  <a:cubicBezTo>
                    <a:pt x="0" y="15"/>
                    <a:pt x="1" y="17"/>
                    <a:pt x="1" y="19"/>
                  </a:cubicBezTo>
                  <a:cubicBezTo>
                    <a:pt x="1" y="20"/>
                    <a:pt x="0" y="21"/>
                    <a:pt x="0" y="22"/>
                  </a:cubicBezTo>
                  <a:cubicBezTo>
                    <a:pt x="0" y="24"/>
                    <a:pt x="2" y="25"/>
                    <a:pt x="3" y="24"/>
                  </a:cubicBezTo>
                  <a:cubicBezTo>
                    <a:pt x="5" y="23"/>
                    <a:pt x="4" y="23"/>
                    <a:pt x="4" y="21"/>
                  </a:cubicBezTo>
                  <a:cubicBezTo>
                    <a:pt x="5" y="20"/>
                    <a:pt x="5" y="20"/>
                    <a:pt x="6" y="19"/>
                  </a:cubicBezTo>
                  <a:cubicBezTo>
                    <a:pt x="6" y="19"/>
                    <a:pt x="6" y="18"/>
                    <a:pt x="7" y="18"/>
                  </a:cubicBezTo>
                  <a:cubicBezTo>
                    <a:pt x="8" y="18"/>
                    <a:pt x="9" y="17"/>
                    <a:pt x="10" y="17"/>
                  </a:cubicBezTo>
                  <a:cubicBezTo>
                    <a:pt x="11" y="16"/>
                    <a:pt x="13" y="15"/>
                    <a:pt x="15" y="14"/>
                  </a:cubicBezTo>
                  <a:cubicBezTo>
                    <a:pt x="15" y="17"/>
                    <a:pt x="12" y="18"/>
                    <a:pt x="11" y="19"/>
                  </a:cubicBezTo>
                  <a:cubicBezTo>
                    <a:pt x="10" y="20"/>
                    <a:pt x="9" y="21"/>
                    <a:pt x="8" y="21"/>
                  </a:cubicBezTo>
                  <a:cubicBezTo>
                    <a:pt x="9" y="22"/>
                    <a:pt x="10" y="23"/>
                    <a:pt x="11" y="24"/>
                  </a:cubicBezTo>
                  <a:cubicBezTo>
                    <a:pt x="11" y="25"/>
                    <a:pt x="9" y="26"/>
                    <a:pt x="9" y="27"/>
                  </a:cubicBezTo>
                  <a:cubicBezTo>
                    <a:pt x="8" y="29"/>
                    <a:pt x="11" y="29"/>
                    <a:pt x="11" y="31"/>
                  </a:cubicBezTo>
                  <a:cubicBezTo>
                    <a:pt x="10" y="32"/>
                    <a:pt x="10" y="33"/>
                    <a:pt x="10" y="34"/>
                  </a:cubicBezTo>
                  <a:cubicBezTo>
                    <a:pt x="14" y="35"/>
                    <a:pt x="15" y="33"/>
                    <a:pt x="15" y="30"/>
                  </a:cubicBezTo>
                  <a:cubicBezTo>
                    <a:pt x="16" y="32"/>
                    <a:pt x="20" y="31"/>
                    <a:pt x="22" y="30"/>
                  </a:cubicBezTo>
                  <a:cubicBezTo>
                    <a:pt x="23" y="29"/>
                    <a:pt x="24" y="27"/>
                    <a:pt x="24" y="26"/>
                  </a:cubicBezTo>
                  <a:cubicBezTo>
                    <a:pt x="25" y="23"/>
                    <a:pt x="23" y="18"/>
                    <a:pt x="21" y="16"/>
                  </a:cubicBezTo>
                  <a:cubicBezTo>
                    <a:pt x="20" y="16"/>
                    <a:pt x="20" y="16"/>
                    <a:pt x="19" y="16"/>
                  </a:cubicBezTo>
                  <a:cubicBezTo>
                    <a:pt x="19" y="15"/>
                    <a:pt x="19" y="14"/>
                    <a:pt x="19" y="14"/>
                  </a:cubicBezTo>
                  <a:cubicBezTo>
                    <a:pt x="19" y="12"/>
                    <a:pt x="19" y="11"/>
                    <a:pt x="19" y="9"/>
                  </a:cubicBezTo>
                  <a:cubicBezTo>
                    <a:pt x="19" y="7"/>
                    <a:pt x="20" y="2"/>
                    <a:pt x="18" y="2"/>
                  </a:cubicBezTo>
                  <a:lnTo>
                    <a:pt x="1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8" name="Freeform 68"/>
            <p:cNvSpPr>
              <a:spLocks/>
            </p:cNvSpPr>
            <p:nvPr/>
          </p:nvSpPr>
          <p:spPr bwMode="auto">
            <a:xfrm>
              <a:off x="2776538" y="3581400"/>
              <a:ext cx="14288" cy="23813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2" y="4"/>
                </a:cxn>
                <a:cxn ang="0">
                  <a:pos x="0" y="10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6" y="6"/>
                </a:cxn>
                <a:cxn ang="0">
                  <a:pos x="8" y="3"/>
                </a:cxn>
                <a:cxn ang="0">
                  <a:pos x="8" y="0"/>
                </a:cxn>
              </a:cxnLst>
              <a:rect l="0" t="0" r="r" b="b"/>
              <a:pathLst>
                <a:path w="8" h="13">
                  <a:moveTo>
                    <a:pt x="8" y="0"/>
                  </a:moveTo>
                  <a:cubicBezTo>
                    <a:pt x="5" y="0"/>
                    <a:pt x="3" y="3"/>
                    <a:pt x="2" y="4"/>
                  </a:cubicBezTo>
                  <a:cubicBezTo>
                    <a:pt x="0" y="6"/>
                    <a:pt x="0" y="8"/>
                    <a:pt x="0" y="10"/>
                  </a:cubicBezTo>
                  <a:cubicBezTo>
                    <a:pt x="1" y="11"/>
                    <a:pt x="0" y="12"/>
                    <a:pt x="1" y="12"/>
                  </a:cubicBezTo>
                  <a:cubicBezTo>
                    <a:pt x="1" y="13"/>
                    <a:pt x="3" y="12"/>
                    <a:pt x="3" y="12"/>
                  </a:cubicBezTo>
                  <a:cubicBezTo>
                    <a:pt x="5" y="11"/>
                    <a:pt x="5" y="8"/>
                    <a:pt x="6" y="6"/>
                  </a:cubicBezTo>
                  <a:cubicBezTo>
                    <a:pt x="7" y="5"/>
                    <a:pt x="8" y="4"/>
                    <a:pt x="8" y="3"/>
                  </a:cubicBez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9" name="Freeform 69"/>
            <p:cNvSpPr>
              <a:spLocks/>
            </p:cNvSpPr>
            <p:nvPr/>
          </p:nvSpPr>
          <p:spPr bwMode="auto">
            <a:xfrm>
              <a:off x="2708275" y="3482975"/>
              <a:ext cx="58738" cy="39688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20" y="7"/>
                </a:cxn>
                <a:cxn ang="0">
                  <a:pos x="19" y="9"/>
                </a:cxn>
                <a:cxn ang="0">
                  <a:pos x="16" y="10"/>
                </a:cxn>
                <a:cxn ang="0">
                  <a:pos x="15" y="12"/>
                </a:cxn>
                <a:cxn ang="0">
                  <a:pos x="13" y="13"/>
                </a:cxn>
                <a:cxn ang="0">
                  <a:pos x="9" y="15"/>
                </a:cxn>
                <a:cxn ang="0">
                  <a:pos x="4" y="15"/>
                </a:cxn>
                <a:cxn ang="0">
                  <a:pos x="0" y="19"/>
                </a:cxn>
                <a:cxn ang="0">
                  <a:pos x="3" y="22"/>
                </a:cxn>
                <a:cxn ang="0">
                  <a:pos x="5" y="18"/>
                </a:cxn>
                <a:cxn ang="0">
                  <a:pos x="10" y="18"/>
                </a:cxn>
                <a:cxn ang="0">
                  <a:pos x="14" y="15"/>
                </a:cxn>
                <a:cxn ang="0">
                  <a:pos x="15" y="12"/>
                </a:cxn>
                <a:cxn ang="0">
                  <a:pos x="21" y="11"/>
                </a:cxn>
                <a:cxn ang="0">
                  <a:pos x="23" y="10"/>
                </a:cxn>
                <a:cxn ang="0">
                  <a:pos x="28" y="6"/>
                </a:cxn>
                <a:cxn ang="0">
                  <a:pos x="31" y="1"/>
                </a:cxn>
                <a:cxn ang="0">
                  <a:pos x="27" y="0"/>
                </a:cxn>
              </a:cxnLst>
              <a:rect l="0" t="0" r="r" b="b"/>
              <a:pathLst>
                <a:path w="31" h="22">
                  <a:moveTo>
                    <a:pt x="27" y="0"/>
                  </a:moveTo>
                  <a:cubicBezTo>
                    <a:pt x="24" y="2"/>
                    <a:pt x="21" y="4"/>
                    <a:pt x="20" y="7"/>
                  </a:cubicBezTo>
                  <a:cubicBezTo>
                    <a:pt x="19" y="8"/>
                    <a:pt x="19" y="9"/>
                    <a:pt x="19" y="9"/>
                  </a:cubicBezTo>
                  <a:cubicBezTo>
                    <a:pt x="18" y="11"/>
                    <a:pt x="17" y="9"/>
                    <a:pt x="16" y="10"/>
                  </a:cubicBezTo>
                  <a:cubicBezTo>
                    <a:pt x="14" y="11"/>
                    <a:pt x="15" y="11"/>
                    <a:pt x="15" y="12"/>
                  </a:cubicBezTo>
                  <a:cubicBezTo>
                    <a:pt x="14" y="13"/>
                    <a:pt x="14" y="13"/>
                    <a:pt x="13" y="13"/>
                  </a:cubicBezTo>
                  <a:cubicBezTo>
                    <a:pt x="12" y="13"/>
                    <a:pt x="8" y="14"/>
                    <a:pt x="9" y="15"/>
                  </a:cubicBezTo>
                  <a:cubicBezTo>
                    <a:pt x="7" y="16"/>
                    <a:pt x="6" y="15"/>
                    <a:pt x="4" y="15"/>
                  </a:cubicBezTo>
                  <a:cubicBezTo>
                    <a:pt x="2" y="15"/>
                    <a:pt x="1" y="16"/>
                    <a:pt x="0" y="19"/>
                  </a:cubicBezTo>
                  <a:cubicBezTo>
                    <a:pt x="0" y="21"/>
                    <a:pt x="1" y="21"/>
                    <a:pt x="3" y="22"/>
                  </a:cubicBezTo>
                  <a:cubicBezTo>
                    <a:pt x="6" y="22"/>
                    <a:pt x="4" y="20"/>
                    <a:pt x="5" y="18"/>
                  </a:cubicBezTo>
                  <a:cubicBezTo>
                    <a:pt x="8" y="20"/>
                    <a:pt x="7" y="19"/>
                    <a:pt x="10" y="18"/>
                  </a:cubicBezTo>
                  <a:cubicBezTo>
                    <a:pt x="12" y="18"/>
                    <a:pt x="14" y="18"/>
                    <a:pt x="14" y="15"/>
                  </a:cubicBezTo>
                  <a:cubicBezTo>
                    <a:pt x="14" y="13"/>
                    <a:pt x="15" y="13"/>
                    <a:pt x="15" y="12"/>
                  </a:cubicBezTo>
                  <a:cubicBezTo>
                    <a:pt x="17" y="11"/>
                    <a:pt x="19" y="11"/>
                    <a:pt x="21" y="11"/>
                  </a:cubicBezTo>
                  <a:cubicBezTo>
                    <a:pt x="22" y="11"/>
                    <a:pt x="22" y="11"/>
                    <a:pt x="23" y="10"/>
                  </a:cubicBezTo>
                  <a:cubicBezTo>
                    <a:pt x="25" y="9"/>
                    <a:pt x="27" y="8"/>
                    <a:pt x="28" y="6"/>
                  </a:cubicBezTo>
                  <a:cubicBezTo>
                    <a:pt x="29" y="5"/>
                    <a:pt x="30" y="2"/>
                    <a:pt x="31" y="1"/>
                  </a:cubicBezTo>
                  <a:cubicBezTo>
                    <a:pt x="30" y="0"/>
                    <a:pt x="28" y="0"/>
                    <a:pt x="27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0" name="Freeform 70"/>
            <p:cNvSpPr>
              <a:spLocks/>
            </p:cNvSpPr>
            <p:nvPr/>
          </p:nvSpPr>
          <p:spPr bwMode="auto">
            <a:xfrm>
              <a:off x="2789238" y="3435350"/>
              <a:ext cx="7938" cy="9525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0" y="5"/>
                </a:cxn>
                <a:cxn ang="0">
                  <a:pos x="2" y="1"/>
                </a:cxn>
                <a:cxn ang="0">
                  <a:pos x="3" y="2"/>
                </a:cxn>
              </a:cxnLst>
              <a:rect l="0" t="0" r="r" b="b"/>
              <a:pathLst>
                <a:path w="4" h="5">
                  <a:moveTo>
                    <a:pt x="3" y="2"/>
                  </a:moveTo>
                  <a:cubicBezTo>
                    <a:pt x="4" y="4"/>
                    <a:pt x="2" y="5"/>
                    <a:pt x="0" y="5"/>
                  </a:cubicBezTo>
                  <a:cubicBezTo>
                    <a:pt x="0" y="4"/>
                    <a:pt x="0" y="0"/>
                    <a:pt x="2" y="1"/>
                  </a:cubicBezTo>
                  <a:cubicBezTo>
                    <a:pt x="2" y="1"/>
                    <a:pt x="2" y="2"/>
                    <a:pt x="3" y="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1" name="Freeform 71"/>
            <p:cNvSpPr>
              <a:spLocks/>
            </p:cNvSpPr>
            <p:nvPr/>
          </p:nvSpPr>
          <p:spPr bwMode="auto">
            <a:xfrm>
              <a:off x="2649538" y="3416300"/>
              <a:ext cx="22225" cy="26988"/>
            </a:xfrm>
            <a:custGeom>
              <a:avLst/>
              <a:gdLst/>
              <a:ahLst/>
              <a:cxnLst>
                <a:cxn ang="0">
                  <a:pos x="12" y="5"/>
                </a:cxn>
                <a:cxn ang="0">
                  <a:pos x="10" y="0"/>
                </a:cxn>
                <a:cxn ang="0">
                  <a:pos x="7" y="3"/>
                </a:cxn>
                <a:cxn ang="0">
                  <a:pos x="1" y="9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9"/>
                </a:cxn>
                <a:cxn ang="0">
                  <a:pos x="8" y="7"/>
                </a:cxn>
                <a:cxn ang="0">
                  <a:pos x="11" y="4"/>
                </a:cxn>
                <a:cxn ang="0">
                  <a:pos x="12" y="5"/>
                </a:cxn>
              </a:cxnLst>
              <a:rect l="0" t="0" r="r" b="b"/>
              <a:pathLst>
                <a:path w="12" h="14">
                  <a:moveTo>
                    <a:pt x="12" y="5"/>
                  </a:moveTo>
                  <a:cubicBezTo>
                    <a:pt x="12" y="3"/>
                    <a:pt x="12" y="1"/>
                    <a:pt x="10" y="0"/>
                  </a:cubicBezTo>
                  <a:cubicBezTo>
                    <a:pt x="7" y="0"/>
                    <a:pt x="8" y="2"/>
                    <a:pt x="7" y="3"/>
                  </a:cubicBezTo>
                  <a:cubicBezTo>
                    <a:pt x="6" y="6"/>
                    <a:pt x="2" y="6"/>
                    <a:pt x="1" y="9"/>
                  </a:cubicBezTo>
                  <a:cubicBezTo>
                    <a:pt x="0" y="10"/>
                    <a:pt x="0" y="11"/>
                    <a:pt x="0" y="12"/>
                  </a:cubicBezTo>
                  <a:cubicBezTo>
                    <a:pt x="1" y="14"/>
                    <a:pt x="4" y="14"/>
                    <a:pt x="4" y="12"/>
                  </a:cubicBezTo>
                  <a:cubicBezTo>
                    <a:pt x="4" y="11"/>
                    <a:pt x="3" y="10"/>
                    <a:pt x="4" y="9"/>
                  </a:cubicBezTo>
                  <a:cubicBezTo>
                    <a:pt x="4" y="8"/>
                    <a:pt x="7" y="7"/>
                    <a:pt x="8" y="7"/>
                  </a:cubicBezTo>
                  <a:cubicBezTo>
                    <a:pt x="9" y="6"/>
                    <a:pt x="11" y="6"/>
                    <a:pt x="11" y="4"/>
                  </a:cubicBezTo>
                  <a:lnTo>
                    <a:pt x="12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2" name="Freeform 72"/>
            <p:cNvSpPr>
              <a:spLocks/>
            </p:cNvSpPr>
            <p:nvPr/>
          </p:nvSpPr>
          <p:spPr bwMode="auto">
            <a:xfrm>
              <a:off x="2643188" y="3455988"/>
              <a:ext cx="6350" cy="635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2" y="3"/>
                    <a:pt x="3" y="2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3" name="Freeform 73"/>
            <p:cNvSpPr>
              <a:spLocks/>
            </p:cNvSpPr>
            <p:nvPr/>
          </p:nvSpPr>
          <p:spPr bwMode="auto">
            <a:xfrm>
              <a:off x="2654300" y="3294063"/>
              <a:ext cx="42863" cy="120650"/>
            </a:xfrm>
            <a:custGeom>
              <a:avLst/>
              <a:gdLst/>
              <a:ahLst/>
              <a:cxnLst>
                <a:cxn ang="0">
                  <a:pos x="7" y="61"/>
                </a:cxn>
                <a:cxn ang="0">
                  <a:pos x="12" y="62"/>
                </a:cxn>
                <a:cxn ang="0">
                  <a:pos x="12" y="65"/>
                </a:cxn>
                <a:cxn ang="0">
                  <a:pos x="14" y="61"/>
                </a:cxn>
                <a:cxn ang="0">
                  <a:pos x="15" y="58"/>
                </a:cxn>
                <a:cxn ang="0">
                  <a:pos x="17" y="58"/>
                </a:cxn>
                <a:cxn ang="0">
                  <a:pos x="14" y="57"/>
                </a:cxn>
                <a:cxn ang="0">
                  <a:pos x="14" y="55"/>
                </a:cxn>
                <a:cxn ang="0">
                  <a:pos x="13" y="50"/>
                </a:cxn>
                <a:cxn ang="0">
                  <a:pos x="16" y="47"/>
                </a:cxn>
                <a:cxn ang="0">
                  <a:pos x="13" y="41"/>
                </a:cxn>
                <a:cxn ang="0">
                  <a:pos x="14" y="38"/>
                </a:cxn>
                <a:cxn ang="0">
                  <a:pos x="12" y="37"/>
                </a:cxn>
                <a:cxn ang="0">
                  <a:pos x="13" y="33"/>
                </a:cxn>
                <a:cxn ang="0">
                  <a:pos x="12" y="31"/>
                </a:cxn>
                <a:cxn ang="0">
                  <a:pos x="16" y="30"/>
                </a:cxn>
                <a:cxn ang="0">
                  <a:pos x="13" y="25"/>
                </a:cxn>
                <a:cxn ang="0">
                  <a:pos x="20" y="22"/>
                </a:cxn>
                <a:cxn ang="0">
                  <a:pos x="20" y="18"/>
                </a:cxn>
                <a:cxn ang="0">
                  <a:pos x="20" y="17"/>
                </a:cxn>
                <a:cxn ang="0">
                  <a:pos x="19" y="13"/>
                </a:cxn>
                <a:cxn ang="0">
                  <a:pos x="22" y="12"/>
                </a:cxn>
                <a:cxn ang="0">
                  <a:pos x="23" y="6"/>
                </a:cxn>
                <a:cxn ang="0">
                  <a:pos x="20" y="4"/>
                </a:cxn>
                <a:cxn ang="0">
                  <a:pos x="20" y="5"/>
                </a:cxn>
                <a:cxn ang="0">
                  <a:pos x="16" y="2"/>
                </a:cxn>
                <a:cxn ang="0">
                  <a:pos x="13" y="2"/>
                </a:cxn>
                <a:cxn ang="0">
                  <a:pos x="7" y="5"/>
                </a:cxn>
                <a:cxn ang="0">
                  <a:pos x="2" y="2"/>
                </a:cxn>
                <a:cxn ang="0">
                  <a:pos x="0" y="12"/>
                </a:cxn>
                <a:cxn ang="0">
                  <a:pos x="1" y="14"/>
                </a:cxn>
                <a:cxn ang="0">
                  <a:pos x="6" y="14"/>
                </a:cxn>
                <a:cxn ang="0">
                  <a:pos x="6" y="17"/>
                </a:cxn>
                <a:cxn ang="0">
                  <a:pos x="8" y="17"/>
                </a:cxn>
                <a:cxn ang="0">
                  <a:pos x="8" y="20"/>
                </a:cxn>
                <a:cxn ang="0">
                  <a:pos x="9" y="20"/>
                </a:cxn>
                <a:cxn ang="0">
                  <a:pos x="4" y="23"/>
                </a:cxn>
                <a:cxn ang="0">
                  <a:pos x="8" y="27"/>
                </a:cxn>
                <a:cxn ang="0">
                  <a:pos x="2" y="32"/>
                </a:cxn>
                <a:cxn ang="0">
                  <a:pos x="3" y="33"/>
                </a:cxn>
                <a:cxn ang="0">
                  <a:pos x="4" y="34"/>
                </a:cxn>
                <a:cxn ang="0">
                  <a:pos x="5" y="39"/>
                </a:cxn>
                <a:cxn ang="0">
                  <a:pos x="6" y="41"/>
                </a:cxn>
                <a:cxn ang="0">
                  <a:pos x="5" y="41"/>
                </a:cxn>
                <a:cxn ang="0">
                  <a:pos x="4" y="44"/>
                </a:cxn>
                <a:cxn ang="0">
                  <a:pos x="6" y="55"/>
                </a:cxn>
                <a:cxn ang="0">
                  <a:pos x="6" y="58"/>
                </a:cxn>
                <a:cxn ang="0">
                  <a:pos x="9" y="61"/>
                </a:cxn>
                <a:cxn ang="0">
                  <a:pos x="10" y="61"/>
                </a:cxn>
                <a:cxn ang="0">
                  <a:pos x="7" y="61"/>
                </a:cxn>
              </a:cxnLst>
              <a:rect l="0" t="0" r="r" b="b"/>
              <a:pathLst>
                <a:path w="23" h="65">
                  <a:moveTo>
                    <a:pt x="7" y="61"/>
                  </a:moveTo>
                  <a:cubicBezTo>
                    <a:pt x="9" y="62"/>
                    <a:pt x="10" y="62"/>
                    <a:pt x="12" y="62"/>
                  </a:cubicBezTo>
                  <a:cubicBezTo>
                    <a:pt x="13" y="63"/>
                    <a:pt x="12" y="64"/>
                    <a:pt x="12" y="65"/>
                  </a:cubicBezTo>
                  <a:cubicBezTo>
                    <a:pt x="13" y="64"/>
                    <a:pt x="14" y="63"/>
                    <a:pt x="14" y="61"/>
                  </a:cubicBezTo>
                  <a:cubicBezTo>
                    <a:pt x="15" y="60"/>
                    <a:pt x="14" y="59"/>
                    <a:pt x="15" y="58"/>
                  </a:cubicBezTo>
                  <a:cubicBezTo>
                    <a:pt x="15" y="58"/>
                    <a:pt x="16" y="58"/>
                    <a:pt x="17" y="58"/>
                  </a:cubicBezTo>
                  <a:cubicBezTo>
                    <a:pt x="17" y="57"/>
                    <a:pt x="15" y="57"/>
                    <a:pt x="14" y="57"/>
                  </a:cubicBezTo>
                  <a:cubicBezTo>
                    <a:pt x="13" y="56"/>
                    <a:pt x="14" y="56"/>
                    <a:pt x="14" y="55"/>
                  </a:cubicBezTo>
                  <a:cubicBezTo>
                    <a:pt x="13" y="53"/>
                    <a:pt x="15" y="52"/>
                    <a:pt x="13" y="50"/>
                  </a:cubicBezTo>
                  <a:cubicBezTo>
                    <a:pt x="14" y="49"/>
                    <a:pt x="15" y="47"/>
                    <a:pt x="16" y="47"/>
                  </a:cubicBezTo>
                  <a:cubicBezTo>
                    <a:pt x="17" y="44"/>
                    <a:pt x="14" y="43"/>
                    <a:pt x="13" y="41"/>
                  </a:cubicBezTo>
                  <a:cubicBezTo>
                    <a:pt x="13" y="40"/>
                    <a:pt x="15" y="39"/>
                    <a:pt x="14" y="38"/>
                  </a:cubicBezTo>
                  <a:cubicBezTo>
                    <a:pt x="14" y="37"/>
                    <a:pt x="13" y="38"/>
                    <a:pt x="12" y="37"/>
                  </a:cubicBezTo>
                  <a:cubicBezTo>
                    <a:pt x="12" y="35"/>
                    <a:pt x="13" y="34"/>
                    <a:pt x="13" y="33"/>
                  </a:cubicBezTo>
                  <a:cubicBezTo>
                    <a:pt x="13" y="32"/>
                    <a:pt x="12" y="32"/>
                    <a:pt x="12" y="31"/>
                  </a:cubicBezTo>
                  <a:cubicBezTo>
                    <a:pt x="13" y="30"/>
                    <a:pt x="16" y="32"/>
                    <a:pt x="16" y="30"/>
                  </a:cubicBezTo>
                  <a:cubicBezTo>
                    <a:pt x="17" y="28"/>
                    <a:pt x="11" y="28"/>
                    <a:pt x="13" y="25"/>
                  </a:cubicBezTo>
                  <a:cubicBezTo>
                    <a:pt x="15" y="25"/>
                    <a:pt x="17" y="22"/>
                    <a:pt x="20" y="22"/>
                  </a:cubicBezTo>
                  <a:cubicBezTo>
                    <a:pt x="20" y="20"/>
                    <a:pt x="20" y="20"/>
                    <a:pt x="20" y="18"/>
                  </a:cubicBezTo>
                  <a:cubicBezTo>
                    <a:pt x="21" y="19"/>
                    <a:pt x="21" y="17"/>
                    <a:pt x="20" y="17"/>
                  </a:cubicBezTo>
                  <a:cubicBezTo>
                    <a:pt x="19" y="15"/>
                    <a:pt x="18" y="14"/>
                    <a:pt x="19" y="13"/>
                  </a:cubicBezTo>
                  <a:cubicBezTo>
                    <a:pt x="20" y="12"/>
                    <a:pt x="22" y="14"/>
                    <a:pt x="22" y="12"/>
                  </a:cubicBezTo>
                  <a:cubicBezTo>
                    <a:pt x="23" y="10"/>
                    <a:pt x="23" y="8"/>
                    <a:pt x="23" y="6"/>
                  </a:cubicBezTo>
                  <a:cubicBezTo>
                    <a:pt x="23" y="5"/>
                    <a:pt x="22" y="3"/>
                    <a:pt x="20" y="4"/>
                  </a:cubicBezTo>
                  <a:cubicBezTo>
                    <a:pt x="20" y="4"/>
                    <a:pt x="21" y="5"/>
                    <a:pt x="20" y="5"/>
                  </a:cubicBezTo>
                  <a:cubicBezTo>
                    <a:pt x="19" y="6"/>
                    <a:pt x="17" y="2"/>
                    <a:pt x="16" y="2"/>
                  </a:cubicBezTo>
                  <a:cubicBezTo>
                    <a:pt x="15" y="0"/>
                    <a:pt x="14" y="1"/>
                    <a:pt x="13" y="2"/>
                  </a:cubicBezTo>
                  <a:cubicBezTo>
                    <a:pt x="11" y="4"/>
                    <a:pt x="10" y="6"/>
                    <a:pt x="7" y="5"/>
                  </a:cubicBezTo>
                  <a:cubicBezTo>
                    <a:pt x="5" y="4"/>
                    <a:pt x="4" y="2"/>
                    <a:pt x="2" y="2"/>
                  </a:cubicBezTo>
                  <a:cubicBezTo>
                    <a:pt x="0" y="3"/>
                    <a:pt x="0" y="10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2" y="14"/>
                    <a:pt x="7" y="15"/>
                    <a:pt x="6" y="14"/>
                  </a:cubicBezTo>
                  <a:cubicBezTo>
                    <a:pt x="6" y="15"/>
                    <a:pt x="6" y="16"/>
                    <a:pt x="6" y="17"/>
                  </a:cubicBezTo>
                  <a:cubicBezTo>
                    <a:pt x="7" y="17"/>
                    <a:pt x="7" y="17"/>
                    <a:pt x="8" y="17"/>
                  </a:cubicBezTo>
                  <a:cubicBezTo>
                    <a:pt x="8" y="18"/>
                    <a:pt x="8" y="19"/>
                    <a:pt x="8" y="20"/>
                  </a:cubicBezTo>
                  <a:cubicBezTo>
                    <a:pt x="8" y="20"/>
                    <a:pt x="8" y="20"/>
                    <a:pt x="9" y="20"/>
                  </a:cubicBezTo>
                  <a:cubicBezTo>
                    <a:pt x="7" y="21"/>
                    <a:pt x="5" y="22"/>
                    <a:pt x="4" y="23"/>
                  </a:cubicBezTo>
                  <a:cubicBezTo>
                    <a:pt x="3" y="27"/>
                    <a:pt x="6" y="25"/>
                    <a:pt x="8" y="27"/>
                  </a:cubicBezTo>
                  <a:cubicBezTo>
                    <a:pt x="7" y="29"/>
                    <a:pt x="2" y="29"/>
                    <a:pt x="2" y="32"/>
                  </a:cubicBezTo>
                  <a:cubicBezTo>
                    <a:pt x="2" y="32"/>
                    <a:pt x="3" y="32"/>
                    <a:pt x="3" y="33"/>
                  </a:cubicBezTo>
                  <a:cubicBezTo>
                    <a:pt x="4" y="33"/>
                    <a:pt x="4" y="34"/>
                    <a:pt x="4" y="34"/>
                  </a:cubicBezTo>
                  <a:cubicBezTo>
                    <a:pt x="5" y="36"/>
                    <a:pt x="5" y="37"/>
                    <a:pt x="5" y="39"/>
                  </a:cubicBezTo>
                  <a:cubicBezTo>
                    <a:pt x="6" y="39"/>
                    <a:pt x="6" y="40"/>
                    <a:pt x="6" y="41"/>
                  </a:cubicBezTo>
                  <a:cubicBezTo>
                    <a:pt x="6" y="41"/>
                    <a:pt x="6" y="41"/>
                    <a:pt x="5" y="41"/>
                  </a:cubicBezTo>
                  <a:cubicBezTo>
                    <a:pt x="5" y="42"/>
                    <a:pt x="4" y="43"/>
                    <a:pt x="4" y="44"/>
                  </a:cubicBezTo>
                  <a:cubicBezTo>
                    <a:pt x="3" y="48"/>
                    <a:pt x="5" y="51"/>
                    <a:pt x="6" y="55"/>
                  </a:cubicBezTo>
                  <a:cubicBezTo>
                    <a:pt x="6" y="55"/>
                    <a:pt x="6" y="57"/>
                    <a:pt x="6" y="58"/>
                  </a:cubicBezTo>
                  <a:cubicBezTo>
                    <a:pt x="7" y="59"/>
                    <a:pt x="9" y="59"/>
                    <a:pt x="9" y="61"/>
                  </a:cubicBezTo>
                  <a:cubicBezTo>
                    <a:pt x="10" y="61"/>
                    <a:pt x="10" y="61"/>
                    <a:pt x="10" y="61"/>
                  </a:cubicBezTo>
                  <a:lnTo>
                    <a:pt x="7" y="6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4" name="Freeform 74"/>
            <p:cNvSpPr>
              <a:spLocks/>
            </p:cNvSpPr>
            <p:nvPr/>
          </p:nvSpPr>
          <p:spPr bwMode="auto">
            <a:xfrm>
              <a:off x="2779713" y="3184525"/>
              <a:ext cx="17463" cy="1746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7" y="6"/>
                </a:cxn>
                <a:cxn ang="0">
                  <a:pos x="8" y="2"/>
                </a:cxn>
                <a:cxn ang="0">
                  <a:pos x="3" y="3"/>
                </a:cxn>
                <a:cxn ang="0">
                  <a:pos x="0" y="7"/>
                </a:cxn>
              </a:cxnLst>
              <a:rect l="0" t="0" r="r" b="b"/>
              <a:pathLst>
                <a:path w="9" h="9">
                  <a:moveTo>
                    <a:pt x="0" y="7"/>
                  </a:moveTo>
                  <a:cubicBezTo>
                    <a:pt x="0" y="9"/>
                    <a:pt x="6" y="7"/>
                    <a:pt x="7" y="6"/>
                  </a:cubicBezTo>
                  <a:cubicBezTo>
                    <a:pt x="8" y="5"/>
                    <a:pt x="9" y="3"/>
                    <a:pt x="8" y="2"/>
                  </a:cubicBezTo>
                  <a:cubicBezTo>
                    <a:pt x="7" y="0"/>
                    <a:pt x="4" y="2"/>
                    <a:pt x="3" y="3"/>
                  </a:cubicBezTo>
                  <a:cubicBezTo>
                    <a:pt x="1" y="5"/>
                    <a:pt x="0" y="7"/>
                    <a:pt x="0" y="7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5" name="Freeform 75"/>
            <p:cNvSpPr>
              <a:spLocks/>
            </p:cNvSpPr>
            <p:nvPr/>
          </p:nvSpPr>
          <p:spPr bwMode="auto">
            <a:xfrm>
              <a:off x="2692400" y="3136900"/>
              <a:ext cx="100013" cy="147638"/>
            </a:xfrm>
            <a:custGeom>
              <a:avLst/>
              <a:gdLst/>
              <a:ahLst/>
              <a:cxnLst>
                <a:cxn ang="0">
                  <a:pos x="51" y="15"/>
                </a:cxn>
                <a:cxn ang="0">
                  <a:pos x="52" y="10"/>
                </a:cxn>
                <a:cxn ang="0">
                  <a:pos x="52" y="6"/>
                </a:cxn>
                <a:cxn ang="0">
                  <a:pos x="51" y="2"/>
                </a:cxn>
                <a:cxn ang="0">
                  <a:pos x="44" y="7"/>
                </a:cxn>
                <a:cxn ang="0">
                  <a:pos x="41" y="8"/>
                </a:cxn>
                <a:cxn ang="0">
                  <a:pos x="38" y="10"/>
                </a:cxn>
                <a:cxn ang="0">
                  <a:pos x="38" y="11"/>
                </a:cxn>
                <a:cxn ang="0">
                  <a:pos x="34" y="11"/>
                </a:cxn>
                <a:cxn ang="0">
                  <a:pos x="32" y="15"/>
                </a:cxn>
                <a:cxn ang="0">
                  <a:pos x="21" y="19"/>
                </a:cxn>
                <a:cxn ang="0">
                  <a:pos x="18" y="24"/>
                </a:cxn>
                <a:cxn ang="0">
                  <a:pos x="17" y="30"/>
                </a:cxn>
                <a:cxn ang="0">
                  <a:pos x="19" y="32"/>
                </a:cxn>
                <a:cxn ang="0">
                  <a:pos x="14" y="29"/>
                </a:cxn>
                <a:cxn ang="0">
                  <a:pos x="12" y="30"/>
                </a:cxn>
                <a:cxn ang="0">
                  <a:pos x="13" y="32"/>
                </a:cxn>
                <a:cxn ang="0">
                  <a:pos x="8" y="29"/>
                </a:cxn>
                <a:cxn ang="0">
                  <a:pos x="5" y="32"/>
                </a:cxn>
                <a:cxn ang="0">
                  <a:pos x="4" y="36"/>
                </a:cxn>
                <a:cxn ang="0">
                  <a:pos x="5" y="39"/>
                </a:cxn>
                <a:cxn ang="0">
                  <a:pos x="3" y="42"/>
                </a:cxn>
                <a:cxn ang="0">
                  <a:pos x="9" y="50"/>
                </a:cxn>
                <a:cxn ang="0">
                  <a:pos x="1" y="52"/>
                </a:cxn>
                <a:cxn ang="0">
                  <a:pos x="3" y="58"/>
                </a:cxn>
                <a:cxn ang="0">
                  <a:pos x="14" y="63"/>
                </a:cxn>
                <a:cxn ang="0">
                  <a:pos x="8" y="65"/>
                </a:cxn>
                <a:cxn ang="0">
                  <a:pos x="9" y="67"/>
                </a:cxn>
                <a:cxn ang="0">
                  <a:pos x="8" y="68"/>
                </a:cxn>
                <a:cxn ang="0">
                  <a:pos x="7" y="70"/>
                </a:cxn>
                <a:cxn ang="0">
                  <a:pos x="4" y="72"/>
                </a:cxn>
                <a:cxn ang="0">
                  <a:pos x="5" y="75"/>
                </a:cxn>
                <a:cxn ang="0">
                  <a:pos x="6" y="77"/>
                </a:cxn>
                <a:cxn ang="0">
                  <a:pos x="10" y="79"/>
                </a:cxn>
                <a:cxn ang="0">
                  <a:pos x="13" y="75"/>
                </a:cxn>
                <a:cxn ang="0">
                  <a:pos x="23" y="75"/>
                </a:cxn>
                <a:cxn ang="0">
                  <a:pos x="20" y="66"/>
                </a:cxn>
                <a:cxn ang="0">
                  <a:pos x="23" y="67"/>
                </a:cxn>
                <a:cxn ang="0">
                  <a:pos x="28" y="68"/>
                </a:cxn>
                <a:cxn ang="0">
                  <a:pos x="26" y="61"/>
                </a:cxn>
                <a:cxn ang="0">
                  <a:pos x="31" y="61"/>
                </a:cxn>
                <a:cxn ang="0">
                  <a:pos x="34" y="59"/>
                </a:cxn>
                <a:cxn ang="0">
                  <a:pos x="37" y="57"/>
                </a:cxn>
                <a:cxn ang="0">
                  <a:pos x="31" y="54"/>
                </a:cxn>
                <a:cxn ang="0">
                  <a:pos x="42" y="49"/>
                </a:cxn>
                <a:cxn ang="0">
                  <a:pos x="38" y="41"/>
                </a:cxn>
                <a:cxn ang="0">
                  <a:pos x="42" y="39"/>
                </a:cxn>
                <a:cxn ang="0">
                  <a:pos x="41" y="37"/>
                </a:cxn>
                <a:cxn ang="0">
                  <a:pos x="41" y="34"/>
                </a:cxn>
                <a:cxn ang="0">
                  <a:pos x="42" y="32"/>
                </a:cxn>
                <a:cxn ang="0">
                  <a:pos x="41" y="30"/>
                </a:cxn>
                <a:cxn ang="0">
                  <a:pos x="45" y="25"/>
                </a:cxn>
                <a:cxn ang="0">
                  <a:pos x="49" y="21"/>
                </a:cxn>
                <a:cxn ang="0">
                  <a:pos x="51" y="15"/>
                </a:cxn>
              </a:cxnLst>
              <a:rect l="0" t="0" r="r" b="b"/>
              <a:pathLst>
                <a:path w="54" h="79">
                  <a:moveTo>
                    <a:pt x="51" y="15"/>
                  </a:moveTo>
                  <a:cubicBezTo>
                    <a:pt x="54" y="11"/>
                    <a:pt x="53" y="15"/>
                    <a:pt x="52" y="10"/>
                  </a:cubicBezTo>
                  <a:cubicBezTo>
                    <a:pt x="52" y="8"/>
                    <a:pt x="52" y="7"/>
                    <a:pt x="52" y="6"/>
                  </a:cubicBezTo>
                  <a:cubicBezTo>
                    <a:pt x="52" y="4"/>
                    <a:pt x="52" y="3"/>
                    <a:pt x="51" y="2"/>
                  </a:cubicBezTo>
                  <a:cubicBezTo>
                    <a:pt x="47" y="0"/>
                    <a:pt x="46" y="4"/>
                    <a:pt x="44" y="7"/>
                  </a:cubicBezTo>
                  <a:cubicBezTo>
                    <a:pt x="43" y="7"/>
                    <a:pt x="42" y="8"/>
                    <a:pt x="41" y="8"/>
                  </a:cubicBezTo>
                  <a:cubicBezTo>
                    <a:pt x="40" y="9"/>
                    <a:pt x="39" y="9"/>
                    <a:pt x="38" y="10"/>
                  </a:cubicBezTo>
                  <a:cubicBezTo>
                    <a:pt x="38" y="10"/>
                    <a:pt x="38" y="10"/>
                    <a:pt x="38" y="11"/>
                  </a:cubicBezTo>
                  <a:cubicBezTo>
                    <a:pt x="37" y="11"/>
                    <a:pt x="35" y="10"/>
                    <a:pt x="34" y="11"/>
                  </a:cubicBezTo>
                  <a:cubicBezTo>
                    <a:pt x="33" y="11"/>
                    <a:pt x="32" y="14"/>
                    <a:pt x="32" y="15"/>
                  </a:cubicBezTo>
                  <a:cubicBezTo>
                    <a:pt x="29" y="19"/>
                    <a:pt x="25" y="19"/>
                    <a:pt x="21" y="19"/>
                  </a:cubicBezTo>
                  <a:cubicBezTo>
                    <a:pt x="19" y="19"/>
                    <a:pt x="19" y="22"/>
                    <a:pt x="18" y="24"/>
                  </a:cubicBezTo>
                  <a:cubicBezTo>
                    <a:pt x="18" y="26"/>
                    <a:pt x="17" y="29"/>
                    <a:pt x="17" y="30"/>
                  </a:cubicBezTo>
                  <a:cubicBezTo>
                    <a:pt x="17" y="32"/>
                    <a:pt x="19" y="31"/>
                    <a:pt x="19" y="32"/>
                  </a:cubicBezTo>
                  <a:cubicBezTo>
                    <a:pt x="18" y="31"/>
                    <a:pt x="16" y="30"/>
                    <a:pt x="14" y="29"/>
                  </a:cubicBezTo>
                  <a:cubicBezTo>
                    <a:pt x="13" y="29"/>
                    <a:pt x="13" y="28"/>
                    <a:pt x="12" y="30"/>
                  </a:cubicBezTo>
                  <a:cubicBezTo>
                    <a:pt x="12" y="30"/>
                    <a:pt x="12" y="31"/>
                    <a:pt x="13" y="32"/>
                  </a:cubicBezTo>
                  <a:cubicBezTo>
                    <a:pt x="10" y="32"/>
                    <a:pt x="8" y="31"/>
                    <a:pt x="8" y="29"/>
                  </a:cubicBezTo>
                  <a:cubicBezTo>
                    <a:pt x="7" y="29"/>
                    <a:pt x="6" y="31"/>
                    <a:pt x="5" y="32"/>
                  </a:cubicBezTo>
                  <a:cubicBezTo>
                    <a:pt x="4" y="33"/>
                    <a:pt x="4" y="35"/>
                    <a:pt x="4" y="36"/>
                  </a:cubicBezTo>
                  <a:cubicBezTo>
                    <a:pt x="5" y="37"/>
                    <a:pt x="5" y="38"/>
                    <a:pt x="5" y="39"/>
                  </a:cubicBezTo>
                  <a:cubicBezTo>
                    <a:pt x="5" y="40"/>
                    <a:pt x="3" y="41"/>
                    <a:pt x="3" y="42"/>
                  </a:cubicBezTo>
                  <a:cubicBezTo>
                    <a:pt x="3" y="45"/>
                    <a:pt x="9" y="46"/>
                    <a:pt x="9" y="50"/>
                  </a:cubicBezTo>
                  <a:cubicBezTo>
                    <a:pt x="7" y="50"/>
                    <a:pt x="2" y="50"/>
                    <a:pt x="1" y="52"/>
                  </a:cubicBezTo>
                  <a:cubicBezTo>
                    <a:pt x="0" y="53"/>
                    <a:pt x="2" y="57"/>
                    <a:pt x="3" y="58"/>
                  </a:cubicBezTo>
                  <a:cubicBezTo>
                    <a:pt x="5" y="59"/>
                    <a:pt x="15" y="60"/>
                    <a:pt x="14" y="63"/>
                  </a:cubicBezTo>
                  <a:cubicBezTo>
                    <a:pt x="13" y="63"/>
                    <a:pt x="9" y="62"/>
                    <a:pt x="8" y="65"/>
                  </a:cubicBezTo>
                  <a:cubicBezTo>
                    <a:pt x="8" y="65"/>
                    <a:pt x="9" y="66"/>
                    <a:pt x="9" y="67"/>
                  </a:cubicBezTo>
                  <a:cubicBezTo>
                    <a:pt x="9" y="67"/>
                    <a:pt x="8" y="67"/>
                    <a:pt x="8" y="68"/>
                  </a:cubicBezTo>
                  <a:cubicBezTo>
                    <a:pt x="7" y="69"/>
                    <a:pt x="7" y="69"/>
                    <a:pt x="7" y="70"/>
                  </a:cubicBezTo>
                  <a:cubicBezTo>
                    <a:pt x="5" y="71"/>
                    <a:pt x="5" y="71"/>
                    <a:pt x="4" y="72"/>
                  </a:cubicBezTo>
                  <a:cubicBezTo>
                    <a:pt x="4" y="73"/>
                    <a:pt x="4" y="74"/>
                    <a:pt x="5" y="75"/>
                  </a:cubicBezTo>
                  <a:cubicBezTo>
                    <a:pt x="5" y="76"/>
                    <a:pt x="6" y="76"/>
                    <a:pt x="6" y="77"/>
                  </a:cubicBezTo>
                  <a:cubicBezTo>
                    <a:pt x="7" y="77"/>
                    <a:pt x="8" y="79"/>
                    <a:pt x="10" y="79"/>
                  </a:cubicBezTo>
                  <a:cubicBezTo>
                    <a:pt x="12" y="79"/>
                    <a:pt x="13" y="77"/>
                    <a:pt x="13" y="75"/>
                  </a:cubicBezTo>
                  <a:cubicBezTo>
                    <a:pt x="16" y="74"/>
                    <a:pt x="20" y="75"/>
                    <a:pt x="23" y="75"/>
                  </a:cubicBezTo>
                  <a:cubicBezTo>
                    <a:pt x="24" y="71"/>
                    <a:pt x="22" y="69"/>
                    <a:pt x="20" y="66"/>
                  </a:cubicBezTo>
                  <a:cubicBezTo>
                    <a:pt x="21" y="65"/>
                    <a:pt x="22" y="66"/>
                    <a:pt x="23" y="67"/>
                  </a:cubicBezTo>
                  <a:cubicBezTo>
                    <a:pt x="25" y="69"/>
                    <a:pt x="26" y="69"/>
                    <a:pt x="28" y="68"/>
                  </a:cubicBezTo>
                  <a:cubicBezTo>
                    <a:pt x="31" y="65"/>
                    <a:pt x="29" y="63"/>
                    <a:pt x="26" y="61"/>
                  </a:cubicBezTo>
                  <a:cubicBezTo>
                    <a:pt x="27" y="60"/>
                    <a:pt x="29" y="61"/>
                    <a:pt x="31" y="61"/>
                  </a:cubicBezTo>
                  <a:cubicBezTo>
                    <a:pt x="33" y="61"/>
                    <a:pt x="33" y="60"/>
                    <a:pt x="34" y="59"/>
                  </a:cubicBezTo>
                  <a:cubicBezTo>
                    <a:pt x="35" y="59"/>
                    <a:pt x="37" y="58"/>
                    <a:pt x="37" y="57"/>
                  </a:cubicBezTo>
                  <a:cubicBezTo>
                    <a:pt x="37" y="56"/>
                    <a:pt x="33" y="54"/>
                    <a:pt x="31" y="54"/>
                  </a:cubicBezTo>
                  <a:cubicBezTo>
                    <a:pt x="34" y="54"/>
                    <a:pt x="42" y="52"/>
                    <a:pt x="42" y="49"/>
                  </a:cubicBezTo>
                  <a:cubicBezTo>
                    <a:pt x="42" y="46"/>
                    <a:pt x="35" y="43"/>
                    <a:pt x="38" y="41"/>
                  </a:cubicBezTo>
                  <a:cubicBezTo>
                    <a:pt x="39" y="40"/>
                    <a:pt x="41" y="41"/>
                    <a:pt x="42" y="39"/>
                  </a:cubicBezTo>
                  <a:cubicBezTo>
                    <a:pt x="44" y="38"/>
                    <a:pt x="42" y="38"/>
                    <a:pt x="41" y="37"/>
                  </a:cubicBezTo>
                  <a:cubicBezTo>
                    <a:pt x="41" y="36"/>
                    <a:pt x="41" y="35"/>
                    <a:pt x="41" y="34"/>
                  </a:cubicBezTo>
                  <a:cubicBezTo>
                    <a:pt x="41" y="33"/>
                    <a:pt x="42" y="33"/>
                    <a:pt x="42" y="32"/>
                  </a:cubicBezTo>
                  <a:cubicBezTo>
                    <a:pt x="42" y="32"/>
                    <a:pt x="41" y="31"/>
                    <a:pt x="41" y="30"/>
                  </a:cubicBezTo>
                  <a:cubicBezTo>
                    <a:pt x="41" y="28"/>
                    <a:pt x="43" y="26"/>
                    <a:pt x="45" y="25"/>
                  </a:cubicBezTo>
                  <a:cubicBezTo>
                    <a:pt x="47" y="24"/>
                    <a:pt x="49" y="24"/>
                    <a:pt x="49" y="21"/>
                  </a:cubicBezTo>
                  <a:lnTo>
                    <a:pt x="51" y="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6" name="Freeform 76"/>
            <p:cNvSpPr>
              <a:spLocks/>
            </p:cNvSpPr>
            <p:nvPr/>
          </p:nvSpPr>
          <p:spPr bwMode="auto">
            <a:xfrm>
              <a:off x="3065463" y="3005138"/>
              <a:ext cx="69850" cy="53975"/>
            </a:xfrm>
            <a:custGeom>
              <a:avLst/>
              <a:gdLst/>
              <a:ahLst/>
              <a:cxnLst>
                <a:cxn ang="0">
                  <a:pos x="20" y="7"/>
                </a:cxn>
                <a:cxn ang="0">
                  <a:pos x="13" y="2"/>
                </a:cxn>
                <a:cxn ang="0">
                  <a:pos x="9" y="1"/>
                </a:cxn>
                <a:cxn ang="0">
                  <a:pos x="5" y="11"/>
                </a:cxn>
                <a:cxn ang="0">
                  <a:pos x="3" y="21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10" y="13"/>
                </a:cxn>
                <a:cxn ang="0">
                  <a:pos x="12" y="19"/>
                </a:cxn>
                <a:cxn ang="0">
                  <a:pos x="11" y="24"/>
                </a:cxn>
                <a:cxn ang="0">
                  <a:pos x="19" y="22"/>
                </a:cxn>
                <a:cxn ang="0">
                  <a:pos x="23" y="25"/>
                </a:cxn>
                <a:cxn ang="0">
                  <a:pos x="26" y="26"/>
                </a:cxn>
                <a:cxn ang="0">
                  <a:pos x="28" y="27"/>
                </a:cxn>
                <a:cxn ang="0">
                  <a:pos x="33" y="28"/>
                </a:cxn>
                <a:cxn ang="0">
                  <a:pos x="37" y="23"/>
                </a:cxn>
                <a:cxn ang="0">
                  <a:pos x="31" y="22"/>
                </a:cxn>
                <a:cxn ang="0">
                  <a:pos x="31" y="19"/>
                </a:cxn>
                <a:cxn ang="0">
                  <a:pos x="23" y="15"/>
                </a:cxn>
                <a:cxn ang="0">
                  <a:pos x="20" y="15"/>
                </a:cxn>
                <a:cxn ang="0">
                  <a:pos x="19" y="7"/>
                </a:cxn>
                <a:cxn ang="0">
                  <a:pos x="20" y="7"/>
                </a:cxn>
              </a:cxnLst>
              <a:rect l="0" t="0" r="r" b="b"/>
              <a:pathLst>
                <a:path w="37" h="29">
                  <a:moveTo>
                    <a:pt x="20" y="7"/>
                  </a:moveTo>
                  <a:cubicBezTo>
                    <a:pt x="20" y="5"/>
                    <a:pt x="15" y="3"/>
                    <a:pt x="13" y="2"/>
                  </a:cubicBezTo>
                  <a:cubicBezTo>
                    <a:pt x="12" y="1"/>
                    <a:pt x="10" y="0"/>
                    <a:pt x="9" y="1"/>
                  </a:cubicBezTo>
                  <a:cubicBezTo>
                    <a:pt x="8" y="5"/>
                    <a:pt x="6" y="7"/>
                    <a:pt x="5" y="11"/>
                  </a:cubicBezTo>
                  <a:cubicBezTo>
                    <a:pt x="3" y="14"/>
                    <a:pt x="0" y="17"/>
                    <a:pt x="3" y="21"/>
                  </a:cubicBezTo>
                  <a:cubicBezTo>
                    <a:pt x="5" y="24"/>
                    <a:pt x="8" y="23"/>
                    <a:pt x="8" y="20"/>
                  </a:cubicBezTo>
                  <a:cubicBezTo>
                    <a:pt x="9" y="19"/>
                    <a:pt x="8" y="17"/>
                    <a:pt x="8" y="16"/>
                  </a:cubicBezTo>
                  <a:cubicBezTo>
                    <a:pt x="9" y="15"/>
                    <a:pt x="10" y="14"/>
                    <a:pt x="10" y="13"/>
                  </a:cubicBezTo>
                  <a:cubicBezTo>
                    <a:pt x="12" y="13"/>
                    <a:pt x="13" y="17"/>
                    <a:pt x="12" y="19"/>
                  </a:cubicBezTo>
                  <a:cubicBezTo>
                    <a:pt x="12" y="20"/>
                    <a:pt x="10" y="22"/>
                    <a:pt x="11" y="24"/>
                  </a:cubicBezTo>
                  <a:cubicBezTo>
                    <a:pt x="12" y="26"/>
                    <a:pt x="17" y="23"/>
                    <a:pt x="19" y="22"/>
                  </a:cubicBezTo>
                  <a:cubicBezTo>
                    <a:pt x="21" y="22"/>
                    <a:pt x="22" y="24"/>
                    <a:pt x="23" y="25"/>
                  </a:cubicBezTo>
                  <a:cubicBezTo>
                    <a:pt x="24" y="25"/>
                    <a:pt x="25" y="25"/>
                    <a:pt x="26" y="26"/>
                  </a:cubicBezTo>
                  <a:cubicBezTo>
                    <a:pt x="28" y="26"/>
                    <a:pt x="27" y="26"/>
                    <a:pt x="28" y="27"/>
                  </a:cubicBezTo>
                  <a:cubicBezTo>
                    <a:pt x="30" y="28"/>
                    <a:pt x="31" y="29"/>
                    <a:pt x="33" y="28"/>
                  </a:cubicBezTo>
                  <a:cubicBezTo>
                    <a:pt x="34" y="28"/>
                    <a:pt x="37" y="24"/>
                    <a:pt x="37" y="23"/>
                  </a:cubicBezTo>
                  <a:cubicBezTo>
                    <a:pt x="36" y="22"/>
                    <a:pt x="33" y="23"/>
                    <a:pt x="31" y="22"/>
                  </a:cubicBezTo>
                  <a:cubicBezTo>
                    <a:pt x="31" y="22"/>
                    <a:pt x="31" y="20"/>
                    <a:pt x="31" y="19"/>
                  </a:cubicBezTo>
                  <a:cubicBezTo>
                    <a:pt x="29" y="18"/>
                    <a:pt x="22" y="18"/>
                    <a:pt x="23" y="15"/>
                  </a:cubicBezTo>
                  <a:cubicBezTo>
                    <a:pt x="22" y="15"/>
                    <a:pt x="21" y="15"/>
                    <a:pt x="20" y="15"/>
                  </a:cubicBezTo>
                  <a:cubicBezTo>
                    <a:pt x="20" y="14"/>
                    <a:pt x="25" y="6"/>
                    <a:pt x="19" y="7"/>
                  </a:cubicBezTo>
                  <a:lnTo>
                    <a:pt x="20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7" name="Freeform 77"/>
            <p:cNvSpPr>
              <a:spLocks/>
            </p:cNvSpPr>
            <p:nvPr/>
          </p:nvSpPr>
          <p:spPr bwMode="auto">
            <a:xfrm>
              <a:off x="3094038" y="2994025"/>
              <a:ext cx="25400" cy="26988"/>
            </a:xfrm>
            <a:custGeom>
              <a:avLst/>
              <a:gdLst/>
              <a:ahLst/>
              <a:cxnLst>
                <a:cxn ang="0">
                  <a:pos x="10" y="3"/>
                </a:cxn>
                <a:cxn ang="0">
                  <a:pos x="1" y="2"/>
                </a:cxn>
                <a:cxn ang="0">
                  <a:pos x="8" y="9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4" y="11"/>
                </a:cxn>
                <a:cxn ang="0">
                  <a:pos x="10" y="6"/>
                </a:cxn>
                <a:cxn ang="0">
                  <a:pos x="10" y="3"/>
                </a:cxn>
              </a:cxnLst>
              <a:rect l="0" t="0" r="r" b="b"/>
              <a:pathLst>
                <a:path w="14" h="14">
                  <a:moveTo>
                    <a:pt x="10" y="3"/>
                  </a:moveTo>
                  <a:cubicBezTo>
                    <a:pt x="8" y="3"/>
                    <a:pt x="3" y="0"/>
                    <a:pt x="1" y="2"/>
                  </a:cubicBezTo>
                  <a:cubicBezTo>
                    <a:pt x="0" y="5"/>
                    <a:pt x="6" y="7"/>
                    <a:pt x="8" y="9"/>
                  </a:cubicBezTo>
                  <a:cubicBezTo>
                    <a:pt x="9" y="10"/>
                    <a:pt x="10" y="11"/>
                    <a:pt x="11" y="12"/>
                  </a:cubicBezTo>
                  <a:cubicBezTo>
                    <a:pt x="11" y="13"/>
                    <a:pt x="11" y="14"/>
                    <a:pt x="12" y="14"/>
                  </a:cubicBezTo>
                  <a:cubicBezTo>
                    <a:pt x="14" y="14"/>
                    <a:pt x="14" y="12"/>
                    <a:pt x="14" y="11"/>
                  </a:cubicBezTo>
                  <a:cubicBezTo>
                    <a:pt x="14" y="8"/>
                    <a:pt x="13" y="7"/>
                    <a:pt x="10" y="6"/>
                  </a:cubicBezTo>
                  <a:lnTo>
                    <a:pt x="10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8" name="Freeform 78"/>
            <p:cNvSpPr>
              <a:spLocks/>
            </p:cNvSpPr>
            <p:nvPr/>
          </p:nvSpPr>
          <p:spPr bwMode="auto">
            <a:xfrm>
              <a:off x="3105150" y="2962275"/>
              <a:ext cx="23813" cy="2857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7"/>
                </a:cxn>
                <a:cxn ang="0">
                  <a:pos x="4" y="9"/>
                </a:cxn>
                <a:cxn ang="0">
                  <a:pos x="4" y="12"/>
                </a:cxn>
                <a:cxn ang="0">
                  <a:pos x="11" y="14"/>
                </a:cxn>
                <a:cxn ang="0">
                  <a:pos x="5" y="8"/>
                </a:cxn>
                <a:cxn ang="0">
                  <a:pos x="11" y="5"/>
                </a:cxn>
                <a:cxn ang="0">
                  <a:pos x="7" y="0"/>
                </a:cxn>
              </a:cxnLst>
              <a:rect l="0" t="0" r="r" b="b"/>
              <a:pathLst>
                <a:path w="13" h="15">
                  <a:moveTo>
                    <a:pt x="7" y="0"/>
                  </a:moveTo>
                  <a:cubicBezTo>
                    <a:pt x="4" y="0"/>
                    <a:pt x="0" y="3"/>
                    <a:pt x="0" y="7"/>
                  </a:cubicBezTo>
                  <a:cubicBezTo>
                    <a:pt x="0" y="9"/>
                    <a:pt x="2" y="8"/>
                    <a:pt x="4" y="9"/>
                  </a:cubicBezTo>
                  <a:cubicBezTo>
                    <a:pt x="4" y="10"/>
                    <a:pt x="4" y="11"/>
                    <a:pt x="4" y="12"/>
                  </a:cubicBezTo>
                  <a:cubicBezTo>
                    <a:pt x="5" y="14"/>
                    <a:pt x="9" y="15"/>
                    <a:pt x="11" y="14"/>
                  </a:cubicBezTo>
                  <a:cubicBezTo>
                    <a:pt x="11" y="11"/>
                    <a:pt x="8" y="8"/>
                    <a:pt x="5" y="8"/>
                  </a:cubicBezTo>
                  <a:cubicBezTo>
                    <a:pt x="6" y="6"/>
                    <a:pt x="10" y="6"/>
                    <a:pt x="11" y="5"/>
                  </a:cubicBezTo>
                  <a:cubicBezTo>
                    <a:pt x="13" y="2"/>
                    <a:pt x="9" y="0"/>
                    <a:pt x="7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9" name="Freeform 79"/>
            <p:cNvSpPr>
              <a:spLocks/>
            </p:cNvSpPr>
            <p:nvPr/>
          </p:nvSpPr>
          <p:spPr bwMode="auto">
            <a:xfrm>
              <a:off x="3132138" y="2974975"/>
              <a:ext cx="36513" cy="26988"/>
            </a:xfrm>
            <a:custGeom>
              <a:avLst/>
              <a:gdLst/>
              <a:ahLst/>
              <a:cxnLst>
                <a:cxn ang="0">
                  <a:pos x="2" y="9"/>
                </a:cxn>
                <a:cxn ang="0">
                  <a:pos x="1" y="11"/>
                </a:cxn>
                <a:cxn ang="0">
                  <a:pos x="8" y="13"/>
                </a:cxn>
                <a:cxn ang="0">
                  <a:pos x="10" y="10"/>
                </a:cxn>
                <a:cxn ang="0">
                  <a:pos x="10" y="7"/>
                </a:cxn>
                <a:cxn ang="0">
                  <a:pos x="13" y="7"/>
                </a:cxn>
                <a:cxn ang="0">
                  <a:pos x="15" y="7"/>
                </a:cxn>
                <a:cxn ang="0">
                  <a:pos x="19" y="1"/>
                </a:cxn>
                <a:cxn ang="0">
                  <a:pos x="11" y="3"/>
                </a:cxn>
                <a:cxn ang="0">
                  <a:pos x="10" y="1"/>
                </a:cxn>
                <a:cxn ang="0">
                  <a:pos x="8" y="4"/>
                </a:cxn>
                <a:cxn ang="0">
                  <a:pos x="6" y="6"/>
                </a:cxn>
                <a:cxn ang="0">
                  <a:pos x="4" y="10"/>
                </a:cxn>
                <a:cxn ang="0">
                  <a:pos x="0" y="8"/>
                </a:cxn>
                <a:cxn ang="0">
                  <a:pos x="2" y="9"/>
                </a:cxn>
              </a:cxnLst>
              <a:rect l="0" t="0" r="r" b="b"/>
              <a:pathLst>
                <a:path w="19" h="14">
                  <a:moveTo>
                    <a:pt x="2" y="9"/>
                  </a:moveTo>
                  <a:cubicBezTo>
                    <a:pt x="1" y="8"/>
                    <a:pt x="0" y="10"/>
                    <a:pt x="1" y="11"/>
                  </a:cubicBezTo>
                  <a:cubicBezTo>
                    <a:pt x="2" y="13"/>
                    <a:pt x="6" y="14"/>
                    <a:pt x="8" y="13"/>
                  </a:cubicBezTo>
                  <a:cubicBezTo>
                    <a:pt x="9" y="12"/>
                    <a:pt x="10" y="11"/>
                    <a:pt x="10" y="10"/>
                  </a:cubicBezTo>
                  <a:cubicBezTo>
                    <a:pt x="10" y="9"/>
                    <a:pt x="9" y="7"/>
                    <a:pt x="10" y="7"/>
                  </a:cubicBezTo>
                  <a:cubicBezTo>
                    <a:pt x="11" y="6"/>
                    <a:pt x="13" y="7"/>
                    <a:pt x="13" y="7"/>
                  </a:cubicBezTo>
                  <a:cubicBezTo>
                    <a:pt x="15" y="7"/>
                    <a:pt x="14" y="8"/>
                    <a:pt x="15" y="7"/>
                  </a:cubicBezTo>
                  <a:cubicBezTo>
                    <a:pt x="17" y="5"/>
                    <a:pt x="17" y="3"/>
                    <a:pt x="19" y="1"/>
                  </a:cubicBezTo>
                  <a:cubicBezTo>
                    <a:pt x="17" y="1"/>
                    <a:pt x="10" y="0"/>
                    <a:pt x="11" y="3"/>
                  </a:cubicBezTo>
                  <a:cubicBezTo>
                    <a:pt x="11" y="3"/>
                    <a:pt x="11" y="1"/>
                    <a:pt x="10" y="1"/>
                  </a:cubicBezTo>
                  <a:cubicBezTo>
                    <a:pt x="8" y="0"/>
                    <a:pt x="8" y="3"/>
                    <a:pt x="8" y="4"/>
                  </a:cubicBezTo>
                  <a:cubicBezTo>
                    <a:pt x="8" y="6"/>
                    <a:pt x="7" y="5"/>
                    <a:pt x="6" y="6"/>
                  </a:cubicBezTo>
                  <a:cubicBezTo>
                    <a:pt x="5" y="7"/>
                    <a:pt x="5" y="9"/>
                    <a:pt x="4" y="10"/>
                  </a:cubicBezTo>
                  <a:cubicBezTo>
                    <a:pt x="3" y="9"/>
                    <a:pt x="2" y="8"/>
                    <a:pt x="0" y="8"/>
                  </a:cubicBezTo>
                  <a:lnTo>
                    <a:pt x="2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0" name="Freeform 80"/>
            <p:cNvSpPr>
              <a:spLocks/>
            </p:cNvSpPr>
            <p:nvPr/>
          </p:nvSpPr>
          <p:spPr bwMode="auto">
            <a:xfrm>
              <a:off x="3141663" y="3013075"/>
              <a:ext cx="17463" cy="11113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0" y="0"/>
                </a:cxn>
                <a:cxn ang="0">
                  <a:pos x="0" y="3"/>
                </a:cxn>
                <a:cxn ang="0">
                  <a:pos x="5" y="6"/>
                </a:cxn>
                <a:cxn ang="0">
                  <a:pos x="1" y="1"/>
                </a:cxn>
                <a:cxn ang="0">
                  <a:pos x="3" y="1"/>
                </a:cxn>
              </a:cxnLst>
              <a:rect l="0" t="0" r="r" b="b"/>
              <a:pathLst>
                <a:path w="9" h="6">
                  <a:moveTo>
                    <a:pt x="3" y="1"/>
                  </a:moveTo>
                  <a:cubicBezTo>
                    <a:pt x="3" y="1"/>
                    <a:pt x="1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1" y="4"/>
                    <a:pt x="4" y="6"/>
                    <a:pt x="5" y="6"/>
                  </a:cubicBezTo>
                  <a:cubicBezTo>
                    <a:pt x="9" y="5"/>
                    <a:pt x="4" y="0"/>
                    <a:pt x="1" y="1"/>
                  </a:cubicBezTo>
                  <a:lnTo>
                    <a:pt x="3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1" name="Freeform 81"/>
            <p:cNvSpPr>
              <a:spLocks/>
            </p:cNvSpPr>
            <p:nvPr/>
          </p:nvSpPr>
          <p:spPr bwMode="auto">
            <a:xfrm>
              <a:off x="3065463" y="3054350"/>
              <a:ext cx="30163" cy="31750"/>
            </a:xfrm>
            <a:custGeom>
              <a:avLst/>
              <a:gdLst/>
              <a:ahLst/>
              <a:cxnLst>
                <a:cxn ang="0">
                  <a:pos x="11" y="6"/>
                </a:cxn>
                <a:cxn ang="0">
                  <a:pos x="5" y="0"/>
                </a:cxn>
                <a:cxn ang="0">
                  <a:pos x="2" y="0"/>
                </a:cxn>
                <a:cxn ang="0">
                  <a:pos x="0" y="3"/>
                </a:cxn>
                <a:cxn ang="0">
                  <a:pos x="9" y="15"/>
                </a:cxn>
                <a:cxn ang="0">
                  <a:pos x="13" y="16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8" y="5"/>
                </a:cxn>
                <a:cxn ang="0">
                  <a:pos x="11" y="6"/>
                </a:cxn>
              </a:cxnLst>
              <a:rect l="0" t="0" r="r" b="b"/>
              <a:pathLst>
                <a:path w="16" h="17">
                  <a:moveTo>
                    <a:pt x="11" y="6"/>
                  </a:moveTo>
                  <a:cubicBezTo>
                    <a:pt x="12" y="3"/>
                    <a:pt x="7" y="1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0" y="0"/>
                    <a:pt x="0" y="0"/>
                    <a:pt x="0" y="3"/>
                  </a:cubicBezTo>
                  <a:cubicBezTo>
                    <a:pt x="0" y="8"/>
                    <a:pt x="4" y="13"/>
                    <a:pt x="9" y="15"/>
                  </a:cubicBezTo>
                  <a:cubicBezTo>
                    <a:pt x="10" y="16"/>
                    <a:pt x="12" y="17"/>
                    <a:pt x="13" y="16"/>
                  </a:cubicBezTo>
                  <a:cubicBezTo>
                    <a:pt x="14" y="15"/>
                    <a:pt x="12" y="12"/>
                    <a:pt x="13" y="11"/>
                  </a:cubicBezTo>
                  <a:cubicBezTo>
                    <a:pt x="13" y="11"/>
                    <a:pt x="14" y="11"/>
                    <a:pt x="15" y="11"/>
                  </a:cubicBezTo>
                  <a:cubicBezTo>
                    <a:pt x="16" y="9"/>
                    <a:pt x="9" y="6"/>
                    <a:pt x="8" y="5"/>
                  </a:cubicBezTo>
                  <a:lnTo>
                    <a:pt x="11" y="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2" name="Freeform 82"/>
            <p:cNvSpPr>
              <a:spLocks/>
            </p:cNvSpPr>
            <p:nvPr/>
          </p:nvSpPr>
          <p:spPr bwMode="auto">
            <a:xfrm>
              <a:off x="3106738" y="3063875"/>
              <a:ext cx="14288" cy="26988"/>
            </a:xfrm>
            <a:custGeom>
              <a:avLst/>
              <a:gdLst/>
              <a:ahLst/>
              <a:cxnLst>
                <a:cxn ang="0">
                  <a:pos x="6" y="3"/>
                </a:cxn>
                <a:cxn ang="0">
                  <a:pos x="3" y="2"/>
                </a:cxn>
                <a:cxn ang="0">
                  <a:pos x="1" y="6"/>
                </a:cxn>
                <a:cxn ang="0">
                  <a:pos x="0" y="11"/>
                </a:cxn>
                <a:cxn ang="0">
                  <a:pos x="5" y="12"/>
                </a:cxn>
                <a:cxn ang="0">
                  <a:pos x="4" y="5"/>
                </a:cxn>
                <a:cxn ang="0">
                  <a:pos x="5" y="0"/>
                </a:cxn>
                <a:cxn ang="0">
                  <a:pos x="6" y="3"/>
                </a:cxn>
              </a:cxnLst>
              <a:rect l="0" t="0" r="r" b="b"/>
              <a:pathLst>
                <a:path w="8" h="15">
                  <a:moveTo>
                    <a:pt x="6" y="3"/>
                  </a:moveTo>
                  <a:cubicBezTo>
                    <a:pt x="6" y="2"/>
                    <a:pt x="4" y="2"/>
                    <a:pt x="3" y="2"/>
                  </a:cubicBezTo>
                  <a:cubicBezTo>
                    <a:pt x="2" y="3"/>
                    <a:pt x="1" y="4"/>
                    <a:pt x="1" y="6"/>
                  </a:cubicBezTo>
                  <a:cubicBezTo>
                    <a:pt x="1" y="7"/>
                    <a:pt x="0" y="9"/>
                    <a:pt x="0" y="11"/>
                  </a:cubicBezTo>
                  <a:cubicBezTo>
                    <a:pt x="0" y="14"/>
                    <a:pt x="4" y="15"/>
                    <a:pt x="5" y="12"/>
                  </a:cubicBezTo>
                  <a:cubicBezTo>
                    <a:pt x="6" y="9"/>
                    <a:pt x="3" y="7"/>
                    <a:pt x="4" y="5"/>
                  </a:cubicBezTo>
                  <a:cubicBezTo>
                    <a:pt x="8" y="4"/>
                    <a:pt x="7" y="3"/>
                    <a:pt x="5" y="0"/>
                  </a:cubicBezTo>
                  <a:lnTo>
                    <a:pt x="6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3" name="Freeform 83"/>
            <p:cNvSpPr>
              <a:spLocks/>
            </p:cNvSpPr>
            <p:nvPr/>
          </p:nvSpPr>
          <p:spPr bwMode="auto">
            <a:xfrm>
              <a:off x="3298825" y="2697163"/>
              <a:ext cx="28575" cy="60325"/>
            </a:xfrm>
            <a:custGeom>
              <a:avLst/>
              <a:gdLst/>
              <a:ahLst/>
              <a:cxnLst>
                <a:cxn ang="0">
                  <a:pos x="11" y="5"/>
                </a:cxn>
                <a:cxn ang="0">
                  <a:pos x="10" y="1"/>
                </a:cxn>
                <a:cxn ang="0">
                  <a:pos x="1" y="8"/>
                </a:cxn>
                <a:cxn ang="0">
                  <a:pos x="3" y="11"/>
                </a:cxn>
                <a:cxn ang="0">
                  <a:pos x="1" y="14"/>
                </a:cxn>
                <a:cxn ang="0">
                  <a:pos x="2" y="21"/>
                </a:cxn>
                <a:cxn ang="0">
                  <a:pos x="3" y="27"/>
                </a:cxn>
                <a:cxn ang="0">
                  <a:pos x="4" y="29"/>
                </a:cxn>
                <a:cxn ang="0">
                  <a:pos x="8" y="32"/>
                </a:cxn>
                <a:cxn ang="0">
                  <a:pos x="11" y="29"/>
                </a:cxn>
                <a:cxn ang="0">
                  <a:pos x="11" y="24"/>
                </a:cxn>
                <a:cxn ang="0">
                  <a:pos x="12" y="20"/>
                </a:cxn>
                <a:cxn ang="0">
                  <a:pos x="11" y="16"/>
                </a:cxn>
                <a:cxn ang="0">
                  <a:pos x="10" y="12"/>
                </a:cxn>
                <a:cxn ang="0">
                  <a:pos x="14" y="6"/>
                </a:cxn>
                <a:cxn ang="0">
                  <a:pos x="9" y="1"/>
                </a:cxn>
                <a:cxn ang="0">
                  <a:pos x="11" y="5"/>
                </a:cxn>
              </a:cxnLst>
              <a:rect l="0" t="0" r="r" b="b"/>
              <a:pathLst>
                <a:path w="15" h="32">
                  <a:moveTo>
                    <a:pt x="11" y="5"/>
                  </a:moveTo>
                  <a:cubicBezTo>
                    <a:pt x="13" y="4"/>
                    <a:pt x="12" y="2"/>
                    <a:pt x="10" y="1"/>
                  </a:cubicBezTo>
                  <a:cubicBezTo>
                    <a:pt x="6" y="0"/>
                    <a:pt x="1" y="4"/>
                    <a:pt x="1" y="8"/>
                  </a:cubicBezTo>
                  <a:cubicBezTo>
                    <a:pt x="0" y="10"/>
                    <a:pt x="2" y="9"/>
                    <a:pt x="3" y="11"/>
                  </a:cubicBezTo>
                  <a:cubicBezTo>
                    <a:pt x="3" y="12"/>
                    <a:pt x="2" y="14"/>
                    <a:pt x="1" y="14"/>
                  </a:cubicBezTo>
                  <a:cubicBezTo>
                    <a:pt x="0" y="16"/>
                    <a:pt x="1" y="19"/>
                    <a:pt x="2" y="21"/>
                  </a:cubicBezTo>
                  <a:cubicBezTo>
                    <a:pt x="2" y="23"/>
                    <a:pt x="3" y="25"/>
                    <a:pt x="3" y="27"/>
                  </a:cubicBezTo>
                  <a:cubicBezTo>
                    <a:pt x="4" y="29"/>
                    <a:pt x="3" y="28"/>
                    <a:pt x="4" y="29"/>
                  </a:cubicBezTo>
                  <a:cubicBezTo>
                    <a:pt x="5" y="30"/>
                    <a:pt x="7" y="31"/>
                    <a:pt x="8" y="32"/>
                  </a:cubicBezTo>
                  <a:cubicBezTo>
                    <a:pt x="10" y="32"/>
                    <a:pt x="10" y="31"/>
                    <a:pt x="11" y="29"/>
                  </a:cubicBezTo>
                  <a:cubicBezTo>
                    <a:pt x="11" y="27"/>
                    <a:pt x="11" y="25"/>
                    <a:pt x="11" y="24"/>
                  </a:cubicBezTo>
                  <a:cubicBezTo>
                    <a:pt x="11" y="23"/>
                    <a:pt x="12" y="22"/>
                    <a:pt x="12" y="20"/>
                  </a:cubicBezTo>
                  <a:cubicBezTo>
                    <a:pt x="12" y="18"/>
                    <a:pt x="12" y="17"/>
                    <a:pt x="11" y="16"/>
                  </a:cubicBezTo>
                  <a:cubicBezTo>
                    <a:pt x="11" y="15"/>
                    <a:pt x="10" y="13"/>
                    <a:pt x="10" y="12"/>
                  </a:cubicBezTo>
                  <a:cubicBezTo>
                    <a:pt x="10" y="10"/>
                    <a:pt x="13" y="8"/>
                    <a:pt x="14" y="6"/>
                  </a:cubicBezTo>
                  <a:cubicBezTo>
                    <a:pt x="15" y="3"/>
                    <a:pt x="10" y="3"/>
                    <a:pt x="9" y="1"/>
                  </a:cubicBezTo>
                  <a:lnTo>
                    <a:pt x="11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4" name="Freeform 84"/>
            <p:cNvSpPr>
              <a:spLocks/>
            </p:cNvSpPr>
            <p:nvPr/>
          </p:nvSpPr>
          <p:spPr bwMode="auto">
            <a:xfrm>
              <a:off x="3330575" y="2724150"/>
              <a:ext cx="11113" cy="1270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5" y="6"/>
                </a:cxn>
                <a:cxn ang="0">
                  <a:pos x="3" y="7"/>
                </a:cxn>
                <a:cxn ang="0">
                  <a:pos x="1" y="5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7">
                  <a:moveTo>
                    <a:pt x="3" y="0"/>
                  </a:moveTo>
                  <a:cubicBezTo>
                    <a:pt x="6" y="0"/>
                    <a:pt x="6" y="4"/>
                    <a:pt x="5" y="6"/>
                  </a:cubicBezTo>
                  <a:cubicBezTo>
                    <a:pt x="4" y="7"/>
                    <a:pt x="4" y="7"/>
                    <a:pt x="3" y="7"/>
                  </a:cubicBezTo>
                  <a:cubicBezTo>
                    <a:pt x="2" y="7"/>
                    <a:pt x="1" y="6"/>
                    <a:pt x="1" y="5"/>
                  </a:cubicBezTo>
                  <a:cubicBezTo>
                    <a:pt x="0" y="3"/>
                    <a:pt x="2" y="0"/>
                    <a:pt x="5" y="2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5" name="Freeform 85"/>
            <p:cNvSpPr>
              <a:spLocks/>
            </p:cNvSpPr>
            <p:nvPr/>
          </p:nvSpPr>
          <p:spPr bwMode="auto">
            <a:xfrm>
              <a:off x="3248025" y="2706688"/>
              <a:ext cx="82550" cy="173038"/>
            </a:xfrm>
            <a:custGeom>
              <a:avLst/>
              <a:gdLst/>
              <a:ahLst/>
              <a:cxnLst>
                <a:cxn ang="0">
                  <a:pos x="36" y="35"/>
                </a:cxn>
                <a:cxn ang="0">
                  <a:pos x="44" y="37"/>
                </a:cxn>
                <a:cxn ang="0">
                  <a:pos x="41" y="34"/>
                </a:cxn>
                <a:cxn ang="0">
                  <a:pos x="33" y="33"/>
                </a:cxn>
                <a:cxn ang="0">
                  <a:pos x="30" y="32"/>
                </a:cxn>
                <a:cxn ang="0">
                  <a:pos x="28" y="26"/>
                </a:cxn>
                <a:cxn ang="0">
                  <a:pos x="20" y="26"/>
                </a:cxn>
                <a:cxn ang="0">
                  <a:pos x="20" y="16"/>
                </a:cxn>
                <a:cxn ang="0">
                  <a:pos x="21" y="12"/>
                </a:cxn>
                <a:cxn ang="0">
                  <a:pos x="6" y="20"/>
                </a:cxn>
                <a:cxn ang="0">
                  <a:pos x="9" y="25"/>
                </a:cxn>
                <a:cxn ang="0">
                  <a:pos x="12" y="28"/>
                </a:cxn>
                <a:cxn ang="0">
                  <a:pos x="13" y="32"/>
                </a:cxn>
                <a:cxn ang="0">
                  <a:pos x="16" y="36"/>
                </a:cxn>
                <a:cxn ang="0">
                  <a:pos x="13" y="41"/>
                </a:cxn>
                <a:cxn ang="0">
                  <a:pos x="11" y="44"/>
                </a:cxn>
                <a:cxn ang="0">
                  <a:pos x="4" y="41"/>
                </a:cxn>
                <a:cxn ang="0">
                  <a:pos x="0" y="44"/>
                </a:cxn>
                <a:cxn ang="0">
                  <a:pos x="3" y="48"/>
                </a:cxn>
                <a:cxn ang="0">
                  <a:pos x="6" y="54"/>
                </a:cxn>
                <a:cxn ang="0">
                  <a:pos x="21" y="54"/>
                </a:cxn>
                <a:cxn ang="0">
                  <a:pos x="21" y="67"/>
                </a:cxn>
                <a:cxn ang="0">
                  <a:pos x="20" y="80"/>
                </a:cxn>
                <a:cxn ang="0">
                  <a:pos x="20" y="92"/>
                </a:cxn>
                <a:cxn ang="0">
                  <a:pos x="25" y="82"/>
                </a:cxn>
                <a:cxn ang="0">
                  <a:pos x="28" y="68"/>
                </a:cxn>
                <a:cxn ang="0">
                  <a:pos x="30" y="61"/>
                </a:cxn>
                <a:cxn ang="0">
                  <a:pos x="36" y="62"/>
                </a:cxn>
                <a:cxn ang="0">
                  <a:pos x="33" y="58"/>
                </a:cxn>
                <a:cxn ang="0">
                  <a:pos x="29" y="52"/>
                </a:cxn>
                <a:cxn ang="0">
                  <a:pos x="34" y="44"/>
                </a:cxn>
                <a:cxn ang="0">
                  <a:pos x="33" y="38"/>
                </a:cxn>
                <a:cxn ang="0">
                  <a:pos x="37" y="34"/>
                </a:cxn>
              </a:cxnLst>
              <a:rect l="0" t="0" r="r" b="b"/>
              <a:pathLst>
                <a:path w="44" h="93">
                  <a:moveTo>
                    <a:pt x="37" y="34"/>
                  </a:moveTo>
                  <a:cubicBezTo>
                    <a:pt x="37" y="35"/>
                    <a:pt x="37" y="35"/>
                    <a:pt x="36" y="35"/>
                  </a:cubicBezTo>
                  <a:cubicBezTo>
                    <a:pt x="36" y="35"/>
                    <a:pt x="36" y="37"/>
                    <a:pt x="36" y="38"/>
                  </a:cubicBezTo>
                  <a:cubicBezTo>
                    <a:pt x="38" y="38"/>
                    <a:pt x="43" y="39"/>
                    <a:pt x="44" y="37"/>
                  </a:cubicBezTo>
                  <a:cubicBezTo>
                    <a:pt x="43" y="37"/>
                    <a:pt x="42" y="37"/>
                    <a:pt x="42" y="36"/>
                  </a:cubicBezTo>
                  <a:cubicBezTo>
                    <a:pt x="41" y="36"/>
                    <a:pt x="41" y="35"/>
                    <a:pt x="41" y="34"/>
                  </a:cubicBezTo>
                  <a:cubicBezTo>
                    <a:pt x="40" y="33"/>
                    <a:pt x="35" y="32"/>
                    <a:pt x="35" y="35"/>
                  </a:cubicBezTo>
                  <a:cubicBezTo>
                    <a:pt x="34" y="35"/>
                    <a:pt x="33" y="34"/>
                    <a:pt x="33" y="33"/>
                  </a:cubicBezTo>
                  <a:cubicBezTo>
                    <a:pt x="32" y="32"/>
                    <a:pt x="33" y="32"/>
                    <a:pt x="33" y="31"/>
                  </a:cubicBezTo>
                  <a:cubicBezTo>
                    <a:pt x="32" y="31"/>
                    <a:pt x="29" y="30"/>
                    <a:pt x="30" y="32"/>
                  </a:cubicBezTo>
                  <a:cubicBezTo>
                    <a:pt x="30" y="31"/>
                    <a:pt x="30" y="30"/>
                    <a:pt x="30" y="29"/>
                  </a:cubicBezTo>
                  <a:cubicBezTo>
                    <a:pt x="30" y="27"/>
                    <a:pt x="30" y="27"/>
                    <a:pt x="28" y="26"/>
                  </a:cubicBezTo>
                  <a:cubicBezTo>
                    <a:pt x="24" y="25"/>
                    <a:pt x="22" y="25"/>
                    <a:pt x="22" y="30"/>
                  </a:cubicBezTo>
                  <a:cubicBezTo>
                    <a:pt x="22" y="28"/>
                    <a:pt x="20" y="27"/>
                    <a:pt x="20" y="26"/>
                  </a:cubicBezTo>
                  <a:cubicBezTo>
                    <a:pt x="19" y="25"/>
                    <a:pt x="20" y="22"/>
                    <a:pt x="20" y="21"/>
                  </a:cubicBezTo>
                  <a:cubicBezTo>
                    <a:pt x="20" y="19"/>
                    <a:pt x="19" y="18"/>
                    <a:pt x="20" y="16"/>
                  </a:cubicBezTo>
                  <a:cubicBezTo>
                    <a:pt x="20" y="16"/>
                    <a:pt x="20" y="16"/>
                    <a:pt x="21" y="15"/>
                  </a:cubicBezTo>
                  <a:cubicBezTo>
                    <a:pt x="21" y="14"/>
                    <a:pt x="21" y="13"/>
                    <a:pt x="21" y="12"/>
                  </a:cubicBezTo>
                  <a:cubicBezTo>
                    <a:pt x="21" y="0"/>
                    <a:pt x="8" y="20"/>
                    <a:pt x="10" y="21"/>
                  </a:cubicBezTo>
                  <a:cubicBezTo>
                    <a:pt x="9" y="21"/>
                    <a:pt x="7" y="20"/>
                    <a:pt x="6" y="20"/>
                  </a:cubicBezTo>
                  <a:cubicBezTo>
                    <a:pt x="6" y="21"/>
                    <a:pt x="6" y="22"/>
                    <a:pt x="6" y="22"/>
                  </a:cubicBezTo>
                  <a:cubicBezTo>
                    <a:pt x="6" y="24"/>
                    <a:pt x="8" y="24"/>
                    <a:pt x="9" y="25"/>
                  </a:cubicBezTo>
                  <a:cubicBezTo>
                    <a:pt x="9" y="25"/>
                    <a:pt x="8" y="26"/>
                    <a:pt x="9" y="26"/>
                  </a:cubicBezTo>
                  <a:cubicBezTo>
                    <a:pt x="10" y="28"/>
                    <a:pt x="10" y="27"/>
                    <a:pt x="12" y="28"/>
                  </a:cubicBezTo>
                  <a:cubicBezTo>
                    <a:pt x="14" y="28"/>
                    <a:pt x="13" y="28"/>
                    <a:pt x="14" y="29"/>
                  </a:cubicBezTo>
                  <a:cubicBezTo>
                    <a:pt x="14" y="30"/>
                    <a:pt x="13" y="31"/>
                    <a:pt x="13" y="32"/>
                  </a:cubicBezTo>
                  <a:cubicBezTo>
                    <a:pt x="14" y="33"/>
                    <a:pt x="14" y="33"/>
                    <a:pt x="15" y="35"/>
                  </a:cubicBezTo>
                  <a:cubicBezTo>
                    <a:pt x="16" y="35"/>
                    <a:pt x="16" y="35"/>
                    <a:pt x="16" y="36"/>
                  </a:cubicBezTo>
                  <a:cubicBezTo>
                    <a:pt x="15" y="36"/>
                    <a:pt x="12" y="35"/>
                    <a:pt x="11" y="36"/>
                  </a:cubicBezTo>
                  <a:cubicBezTo>
                    <a:pt x="11" y="37"/>
                    <a:pt x="12" y="40"/>
                    <a:pt x="13" y="41"/>
                  </a:cubicBezTo>
                  <a:cubicBezTo>
                    <a:pt x="12" y="42"/>
                    <a:pt x="11" y="41"/>
                    <a:pt x="11" y="42"/>
                  </a:cubicBezTo>
                  <a:cubicBezTo>
                    <a:pt x="10" y="42"/>
                    <a:pt x="11" y="43"/>
                    <a:pt x="11" y="44"/>
                  </a:cubicBezTo>
                  <a:cubicBezTo>
                    <a:pt x="9" y="44"/>
                    <a:pt x="6" y="45"/>
                    <a:pt x="5" y="44"/>
                  </a:cubicBezTo>
                  <a:cubicBezTo>
                    <a:pt x="3" y="44"/>
                    <a:pt x="4" y="43"/>
                    <a:pt x="4" y="41"/>
                  </a:cubicBezTo>
                  <a:cubicBezTo>
                    <a:pt x="4" y="40"/>
                    <a:pt x="2" y="38"/>
                    <a:pt x="0" y="40"/>
                  </a:cubicBezTo>
                  <a:cubicBezTo>
                    <a:pt x="0" y="40"/>
                    <a:pt x="0" y="43"/>
                    <a:pt x="0" y="44"/>
                  </a:cubicBezTo>
                  <a:cubicBezTo>
                    <a:pt x="0" y="45"/>
                    <a:pt x="0" y="47"/>
                    <a:pt x="0" y="47"/>
                  </a:cubicBezTo>
                  <a:cubicBezTo>
                    <a:pt x="1" y="48"/>
                    <a:pt x="2" y="47"/>
                    <a:pt x="3" y="48"/>
                  </a:cubicBezTo>
                  <a:cubicBezTo>
                    <a:pt x="5" y="49"/>
                    <a:pt x="4" y="50"/>
                    <a:pt x="4" y="51"/>
                  </a:cubicBezTo>
                  <a:cubicBezTo>
                    <a:pt x="4" y="52"/>
                    <a:pt x="5" y="53"/>
                    <a:pt x="6" y="54"/>
                  </a:cubicBezTo>
                  <a:cubicBezTo>
                    <a:pt x="9" y="56"/>
                    <a:pt x="11" y="54"/>
                    <a:pt x="14" y="55"/>
                  </a:cubicBezTo>
                  <a:cubicBezTo>
                    <a:pt x="14" y="60"/>
                    <a:pt x="20" y="57"/>
                    <a:pt x="21" y="54"/>
                  </a:cubicBezTo>
                  <a:cubicBezTo>
                    <a:pt x="21" y="57"/>
                    <a:pt x="20" y="60"/>
                    <a:pt x="20" y="63"/>
                  </a:cubicBezTo>
                  <a:cubicBezTo>
                    <a:pt x="20" y="64"/>
                    <a:pt x="21" y="66"/>
                    <a:pt x="21" y="67"/>
                  </a:cubicBezTo>
                  <a:cubicBezTo>
                    <a:pt x="20" y="69"/>
                    <a:pt x="18" y="70"/>
                    <a:pt x="17" y="72"/>
                  </a:cubicBezTo>
                  <a:cubicBezTo>
                    <a:pt x="17" y="76"/>
                    <a:pt x="20" y="77"/>
                    <a:pt x="20" y="80"/>
                  </a:cubicBezTo>
                  <a:cubicBezTo>
                    <a:pt x="19" y="83"/>
                    <a:pt x="19" y="86"/>
                    <a:pt x="19" y="89"/>
                  </a:cubicBezTo>
                  <a:cubicBezTo>
                    <a:pt x="19" y="90"/>
                    <a:pt x="19" y="91"/>
                    <a:pt x="20" y="92"/>
                  </a:cubicBezTo>
                  <a:cubicBezTo>
                    <a:pt x="21" y="93"/>
                    <a:pt x="22" y="92"/>
                    <a:pt x="23" y="91"/>
                  </a:cubicBezTo>
                  <a:cubicBezTo>
                    <a:pt x="25" y="88"/>
                    <a:pt x="26" y="86"/>
                    <a:pt x="25" y="82"/>
                  </a:cubicBezTo>
                  <a:cubicBezTo>
                    <a:pt x="24" y="80"/>
                    <a:pt x="25" y="78"/>
                    <a:pt x="25" y="76"/>
                  </a:cubicBezTo>
                  <a:cubicBezTo>
                    <a:pt x="25" y="73"/>
                    <a:pt x="25" y="70"/>
                    <a:pt x="28" y="68"/>
                  </a:cubicBezTo>
                  <a:cubicBezTo>
                    <a:pt x="29" y="68"/>
                    <a:pt x="31" y="67"/>
                    <a:pt x="31" y="65"/>
                  </a:cubicBezTo>
                  <a:cubicBezTo>
                    <a:pt x="30" y="64"/>
                    <a:pt x="29" y="63"/>
                    <a:pt x="30" y="61"/>
                  </a:cubicBezTo>
                  <a:cubicBezTo>
                    <a:pt x="32" y="61"/>
                    <a:pt x="31" y="63"/>
                    <a:pt x="32" y="64"/>
                  </a:cubicBezTo>
                  <a:cubicBezTo>
                    <a:pt x="33" y="65"/>
                    <a:pt x="35" y="63"/>
                    <a:pt x="36" y="62"/>
                  </a:cubicBezTo>
                  <a:cubicBezTo>
                    <a:pt x="37" y="60"/>
                    <a:pt x="39" y="58"/>
                    <a:pt x="37" y="57"/>
                  </a:cubicBezTo>
                  <a:cubicBezTo>
                    <a:pt x="36" y="56"/>
                    <a:pt x="33" y="56"/>
                    <a:pt x="33" y="58"/>
                  </a:cubicBezTo>
                  <a:cubicBezTo>
                    <a:pt x="32" y="58"/>
                    <a:pt x="32" y="57"/>
                    <a:pt x="31" y="56"/>
                  </a:cubicBezTo>
                  <a:cubicBezTo>
                    <a:pt x="31" y="55"/>
                    <a:pt x="28" y="53"/>
                    <a:pt x="29" y="52"/>
                  </a:cubicBezTo>
                  <a:cubicBezTo>
                    <a:pt x="31" y="51"/>
                    <a:pt x="34" y="52"/>
                    <a:pt x="36" y="50"/>
                  </a:cubicBezTo>
                  <a:cubicBezTo>
                    <a:pt x="37" y="48"/>
                    <a:pt x="33" y="46"/>
                    <a:pt x="34" y="44"/>
                  </a:cubicBezTo>
                  <a:cubicBezTo>
                    <a:pt x="34" y="43"/>
                    <a:pt x="34" y="43"/>
                    <a:pt x="34" y="42"/>
                  </a:cubicBezTo>
                  <a:cubicBezTo>
                    <a:pt x="35" y="40"/>
                    <a:pt x="34" y="39"/>
                    <a:pt x="33" y="38"/>
                  </a:cubicBezTo>
                  <a:cubicBezTo>
                    <a:pt x="33" y="38"/>
                    <a:pt x="34" y="37"/>
                    <a:pt x="35" y="37"/>
                  </a:cubicBezTo>
                  <a:lnTo>
                    <a:pt x="37" y="3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6" name="Freeform 86"/>
            <p:cNvSpPr>
              <a:spLocks/>
            </p:cNvSpPr>
            <p:nvPr/>
          </p:nvSpPr>
          <p:spPr bwMode="auto">
            <a:xfrm>
              <a:off x="3325813" y="2676525"/>
              <a:ext cx="20638" cy="39688"/>
            </a:xfrm>
            <a:custGeom>
              <a:avLst/>
              <a:gdLst/>
              <a:ahLst/>
              <a:cxnLst>
                <a:cxn ang="0">
                  <a:pos x="9" y="2"/>
                </a:cxn>
                <a:cxn ang="0">
                  <a:pos x="1" y="11"/>
                </a:cxn>
                <a:cxn ang="0">
                  <a:pos x="1" y="18"/>
                </a:cxn>
                <a:cxn ang="0">
                  <a:pos x="8" y="15"/>
                </a:cxn>
                <a:cxn ang="0">
                  <a:pos x="9" y="0"/>
                </a:cxn>
                <a:cxn ang="0">
                  <a:pos x="9" y="2"/>
                </a:cxn>
              </a:cxnLst>
              <a:rect l="0" t="0" r="r" b="b"/>
              <a:pathLst>
                <a:path w="11" h="21">
                  <a:moveTo>
                    <a:pt x="9" y="2"/>
                  </a:moveTo>
                  <a:cubicBezTo>
                    <a:pt x="4" y="2"/>
                    <a:pt x="1" y="7"/>
                    <a:pt x="1" y="11"/>
                  </a:cubicBezTo>
                  <a:cubicBezTo>
                    <a:pt x="1" y="13"/>
                    <a:pt x="0" y="17"/>
                    <a:pt x="1" y="18"/>
                  </a:cubicBezTo>
                  <a:cubicBezTo>
                    <a:pt x="3" y="21"/>
                    <a:pt x="7" y="17"/>
                    <a:pt x="8" y="15"/>
                  </a:cubicBezTo>
                  <a:cubicBezTo>
                    <a:pt x="10" y="11"/>
                    <a:pt x="11" y="6"/>
                    <a:pt x="9" y="0"/>
                  </a:cubicBezTo>
                  <a:lnTo>
                    <a:pt x="9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7" name="Line 87"/>
            <p:cNvSpPr>
              <a:spLocks noChangeShapeType="1"/>
            </p:cNvSpPr>
            <p:nvPr/>
          </p:nvSpPr>
          <p:spPr bwMode="auto">
            <a:xfrm>
              <a:off x="2644775" y="3457575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8" name="Line 88"/>
            <p:cNvSpPr>
              <a:spLocks noChangeShapeType="1"/>
            </p:cNvSpPr>
            <p:nvPr/>
          </p:nvSpPr>
          <p:spPr bwMode="auto">
            <a:xfrm>
              <a:off x="2644775" y="3457575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9" name="Freeform 89"/>
            <p:cNvSpPr>
              <a:spLocks/>
            </p:cNvSpPr>
            <p:nvPr/>
          </p:nvSpPr>
          <p:spPr bwMode="auto">
            <a:xfrm>
              <a:off x="2598738" y="3735388"/>
              <a:ext cx="263525" cy="222250"/>
            </a:xfrm>
            <a:custGeom>
              <a:avLst/>
              <a:gdLst/>
              <a:ahLst/>
              <a:cxnLst>
                <a:cxn ang="0">
                  <a:pos x="140" y="68"/>
                </a:cxn>
                <a:cxn ang="0">
                  <a:pos x="135" y="48"/>
                </a:cxn>
                <a:cxn ang="0">
                  <a:pos x="127" y="45"/>
                </a:cxn>
                <a:cxn ang="0">
                  <a:pos x="118" y="42"/>
                </a:cxn>
                <a:cxn ang="0">
                  <a:pos x="107" y="16"/>
                </a:cxn>
                <a:cxn ang="0">
                  <a:pos x="90" y="6"/>
                </a:cxn>
                <a:cxn ang="0">
                  <a:pos x="78" y="1"/>
                </a:cxn>
                <a:cxn ang="0">
                  <a:pos x="73" y="0"/>
                </a:cxn>
                <a:cxn ang="0">
                  <a:pos x="61" y="6"/>
                </a:cxn>
                <a:cxn ang="0">
                  <a:pos x="58" y="13"/>
                </a:cxn>
                <a:cxn ang="0">
                  <a:pos x="55" y="16"/>
                </a:cxn>
                <a:cxn ang="0">
                  <a:pos x="50" y="21"/>
                </a:cxn>
                <a:cxn ang="0">
                  <a:pos x="41" y="26"/>
                </a:cxn>
                <a:cxn ang="0">
                  <a:pos x="35" y="36"/>
                </a:cxn>
                <a:cxn ang="0">
                  <a:pos x="31" y="44"/>
                </a:cxn>
                <a:cxn ang="0">
                  <a:pos x="24" y="53"/>
                </a:cxn>
                <a:cxn ang="0">
                  <a:pos x="11" y="55"/>
                </a:cxn>
                <a:cxn ang="0">
                  <a:pos x="11" y="61"/>
                </a:cxn>
                <a:cxn ang="0">
                  <a:pos x="19" y="63"/>
                </a:cxn>
                <a:cxn ang="0">
                  <a:pos x="14" y="68"/>
                </a:cxn>
                <a:cxn ang="0">
                  <a:pos x="3" y="76"/>
                </a:cxn>
                <a:cxn ang="0">
                  <a:pos x="1" y="86"/>
                </a:cxn>
                <a:cxn ang="0">
                  <a:pos x="6" y="90"/>
                </a:cxn>
                <a:cxn ang="0">
                  <a:pos x="7" y="94"/>
                </a:cxn>
                <a:cxn ang="0">
                  <a:pos x="11" y="100"/>
                </a:cxn>
                <a:cxn ang="0">
                  <a:pos x="22" y="103"/>
                </a:cxn>
                <a:cxn ang="0">
                  <a:pos x="25" y="106"/>
                </a:cxn>
                <a:cxn ang="0">
                  <a:pos x="35" y="109"/>
                </a:cxn>
                <a:cxn ang="0">
                  <a:pos x="42" y="104"/>
                </a:cxn>
                <a:cxn ang="0">
                  <a:pos x="49" y="97"/>
                </a:cxn>
                <a:cxn ang="0">
                  <a:pos x="50" y="89"/>
                </a:cxn>
                <a:cxn ang="0">
                  <a:pos x="58" y="84"/>
                </a:cxn>
                <a:cxn ang="0">
                  <a:pos x="66" y="95"/>
                </a:cxn>
                <a:cxn ang="0">
                  <a:pos x="71" y="102"/>
                </a:cxn>
                <a:cxn ang="0">
                  <a:pos x="76" y="113"/>
                </a:cxn>
                <a:cxn ang="0">
                  <a:pos x="85" y="116"/>
                </a:cxn>
                <a:cxn ang="0">
                  <a:pos x="89" y="113"/>
                </a:cxn>
                <a:cxn ang="0">
                  <a:pos x="95" y="112"/>
                </a:cxn>
                <a:cxn ang="0">
                  <a:pos x="104" y="116"/>
                </a:cxn>
                <a:cxn ang="0">
                  <a:pos x="110" y="117"/>
                </a:cxn>
                <a:cxn ang="0">
                  <a:pos x="117" y="99"/>
                </a:cxn>
                <a:cxn ang="0">
                  <a:pos x="132" y="94"/>
                </a:cxn>
                <a:cxn ang="0">
                  <a:pos x="140" y="77"/>
                </a:cxn>
              </a:cxnLst>
              <a:rect l="0" t="0" r="r" b="b"/>
              <a:pathLst>
                <a:path w="141" h="119">
                  <a:moveTo>
                    <a:pt x="140" y="77"/>
                  </a:moveTo>
                  <a:cubicBezTo>
                    <a:pt x="140" y="74"/>
                    <a:pt x="141" y="71"/>
                    <a:pt x="140" y="68"/>
                  </a:cubicBezTo>
                  <a:cubicBezTo>
                    <a:pt x="139" y="65"/>
                    <a:pt x="135" y="62"/>
                    <a:pt x="133" y="62"/>
                  </a:cubicBezTo>
                  <a:cubicBezTo>
                    <a:pt x="132" y="57"/>
                    <a:pt x="137" y="53"/>
                    <a:pt x="135" y="48"/>
                  </a:cubicBezTo>
                  <a:cubicBezTo>
                    <a:pt x="134" y="48"/>
                    <a:pt x="132" y="48"/>
                    <a:pt x="131" y="47"/>
                  </a:cubicBezTo>
                  <a:cubicBezTo>
                    <a:pt x="128" y="46"/>
                    <a:pt x="129" y="47"/>
                    <a:pt x="127" y="45"/>
                  </a:cubicBezTo>
                  <a:cubicBezTo>
                    <a:pt x="126" y="43"/>
                    <a:pt x="125" y="41"/>
                    <a:pt x="122" y="41"/>
                  </a:cubicBezTo>
                  <a:cubicBezTo>
                    <a:pt x="120" y="41"/>
                    <a:pt x="120" y="43"/>
                    <a:pt x="118" y="42"/>
                  </a:cubicBezTo>
                  <a:cubicBezTo>
                    <a:pt x="118" y="38"/>
                    <a:pt x="114" y="34"/>
                    <a:pt x="112" y="30"/>
                  </a:cubicBezTo>
                  <a:cubicBezTo>
                    <a:pt x="109" y="25"/>
                    <a:pt x="107" y="22"/>
                    <a:pt x="107" y="16"/>
                  </a:cubicBezTo>
                  <a:cubicBezTo>
                    <a:pt x="109" y="14"/>
                    <a:pt x="109" y="14"/>
                    <a:pt x="109" y="14"/>
                  </a:cubicBezTo>
                  <a:cubicBezTo>
                    <a:pt x="106" y="6"/>
                    <a:pt x="97" y="5"/>
                    <a:pt x="90" y="6"/>
                  </a:cubicBezTo>
                  <a:cubicBezTo>
                    <a:pt x="86" y="6"/>
                    <a:pt x="85" y="8"/>
                    <a:pt x="82" y="8"/>
                  </a:cubicBezTo>
                  <a:cubicBezTo>
                    <a:pt x="77" y="9"/>
                    <a:pt x="78" y="4"/>
                    <a:pt x="78" y="1"/>
                  </a:cubicBezTo>
                  <a:cubicBezTo>
                    <a:pt x="76" y="0"/>
                    <a:pt x="75" y="0"/>
                    <a:pt x="73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1" y="2"/>
                    <a:pt x="68" y="2"/>
                    <a:pt x="66" y="3"/>
                  </a:cubicBezTo>
                  <a:cubicBezTo>
                    <a:pt x="64" y="3"/>
                    <a:pt x="63" y="5"/>
                    <a:pt x="61" y="6"/>
                  </a:cubicBezTo>
                  <a:cubicBezTo>
                    <a:pt x="60" y="7"/>
                    <a:pt x="58" y="9"/>
                    <a:pt x="58" y="10"/>
                  </a:cubicBezTo>
                  <a:cubicBezTo>
                    <a:pt x="58" y="11"/>
                    <a:pt x="58" y="12"/>
                    <a:pt x="58" y="13"/>
                  </a:cubicBezTo>
                  <a:cubicBezTo>
                    <a:pt x="57" y="13"/>
                    <a:pt x="57" y="13"/>
                    <a:pt x="56" y="13"/>
                  </a:cubicBezTo>
                  <a:cubicBezTo>
                    <a:pt x="56" y="14"/>
                    <a:pt x="56" y="15"/>
                    <a:pt x="55" y="16"/>
                  </a:cubicBezTo>
                  <a:cubicBezTo>
                    <a:pt x="55" y="16"/>
                    <a:pt x="54" y="18"/>
                    <a:pt x="54" y="18"/>
                  </a:cubicBezTo>
                  <a:cubicBezTo>
                    <a:pt x="53" y="19"/>
                    <a:pt x="51" y="20"/>
                    <a:pt x="50" y="21"/>
                  </a:cubicBezTo>
                  <a:cubicBezTo>
                    <a:pt x="48" y="22"/>
                    <a:pt x="48" y="23"/>
                    <a:pt x="46" y="23"/>
                  </a:cubicBezTo>
                  <a:cubicBezTo>
                    <a:pt x="43" y="24"/>
                    <a:pt x="42" y="22"/>
                    <a:pt x="41" y="26"/>
                  </a:cubicBezTo>
                  <a:cubicBezTo>
                    <a:pt x="41" y="29"/>
                    <a:pt x="40" y="29"/>
                    <a:pt x="38" y="31"/>
                  </a:cubicBezTo>
                  <a:cubicBezTo>
                    <a:pt x="37" y="33"/>
                    <a:pt x="36" y="34"/>
                    <a:pt x="35" y="36"/>
                  </a:cubicBezTo>
                  <a:cubicBezTo>
                    <a:pt x="34" y="38"/>
                    <a:pt x="34" y="40"/>
                    <a:pt x="33" y="41"/>
                  </a:cubicBezTo>
                  <a:cubicBezTo>
                    <a:pt x="33" y="43"/>
                    <a:pt x="32" y="43"/>
                    <a:pt x="31" y="44"/>
                  </a:cubicBezTo>
                  <a:cubicBezTo>
                    <a:pt x="29" y="46"/>
                    <a:pt x="28" y="49"/>
                    <a:pt x="28" y="51"/>
                  </a:cubicBezTo>
                  <a:cubicBezTo>
                    <a:pt x="27" y="53"/>
                    <a:pt x="27" y="53"/>
                    <a:pt x="24" y="53"/>
                  </a:cubicBezTo>
                  <a:cubicBezTo>
                    <a:pt x="22" y="53"/>
                    <a:pt x="20" y="53"/>
                    <a:pt x="17" y="53"/>
                  </a:cubicBezTo>
                  <a:cubicBezTo>
                    <a:pt x="15" y="53"/>
                    <a:pt x="12" y="53"/>
                    <a:pt x="11" y="55"/>
                  </a:cubicBezTo>
                  <a:cubicBezTo>
                    <a:pt x="11" y="56"/>
                    <a:pt x="10" y="58"/>
                    <a:pt x="10" y="59"/>
                  </a:cubicBezTo>
                  <a:cubicBezTo>
                    <a:pt x="10" y="60"/>
                    <a:pt x="10" y="60"/>
                    <a:pt x="11" y="61"/>
                  </a:cubicBezTo>
                  <a:cubicBezTo>
                    <a:pt x="13" y="62"/>
                    <a:pt x="14" y="62"/>
                    <a:pt x="16" y="62"/>
                  </a:cubicBezTo>
                  <a:cubicBezTo>
                    <a:pt x="17" y="62"/>
                    <a:pt x="18" y="63"/>
                    <a:pt x="19" y="63"/>
                  </a:cubicBezTo>
                  <a:cubicBezTo>
                    <a:pt x="18" y="63"/>
                    <a:pt x="17" y="64"/>
                    <a:pt x="16" y="65"/>
                  </a:cubicBezTo>
                  <a:cubicBezTo>
                    <a:pt x="16" y="66"/>
                    <a:pt x="15" y="67"/>
                    <a:pt x="14" y="68"/>
                  </a:cubicBezTo>
                  <a:cubicBezTo>
                    <a:pt x="13" y="69"/>
                    <a:pt x="10" y="71"/>
                    <a:pt x="8" y="72"/>
                  </a:cubicBezTo>
                  <a:cubicBezTo>
                    <a:pt x="6" y="73"/>
                    <a:pt x="5" y="74"/>
                    <a:pt x="3" y="76"/>
                  </a:cubicBezTo>
                  <a:cubicBezTo>
                    <a:pt x="2" y="78"/>
                    <a:pt x="0" y="78"/>
                    <a:pt x="0" y="80"/>
                  </a:cubicBezTo>
                  <a:cubicBezTo>
                    <a:pt x="0" y="82"/>
                    <a:pt x="0" y="84"/>
                    <a:pt x="1" y="86"/>
                  </a:cubicBezTo>
                  <a:cubicBezTo>
                    <a:pt x="2" y="87"/>
                    <a:pt x="3" y="88"/>
                    <a:pt x="5" y="89"/>
                  </a:cubicBezTo>
                  <a:cubicBezTo>
                    <a:pt x="5" y="89"/>
                    <a:pt x="6" y="90"/>
                    <a:pt x="6" y="90"/>
                  </a:cubicBezTo>
                  <a:cubicBezTo>
                    <a:pt x="7" y="91"/>
                    <a:pt x="6" y="91"/>
                    <a:pt x="6" y="92"/>
                  </a:cubicBezTo>
                  <a:cubicBezTo>
                    <a:pt x="7" y="92"/>
                    <a:pt x="7" y="93"/>
                    <a:pt x="7" y="94"/>
                  </a:cubicBezTo>
                  <a:cubicBezTo>
                    <a:pt x="8" y="95"/>
                    <a:pt x="9" y="95"/>
                    <a:pt x="10" y="97"/>
                  </a:cubicBezTo>
                  <a:cubicBezTo>
                    <a:pt x="10" y="98"/>
                    <a:pt x="10" y="99"/>
                    <a:pt x="11" y="100"/>
                  </a:cubicBezTo>
                  <a:cubicBezTo>
                    <a:pt x="12" y="101"/>
                    <a:pt x="15" y="102"/>
                    <a:pt x="17" y="102"/>
                  </a:cubicBezTo>
                  <a:cubicBezTo>
                    <a:pt x="18" y="102"/>
                    <a:pt x="21" y="102"/>
                    <a:pt x="22" y="103"/>
                  </a:cubicBezTo>
                  <a:cubicBezTo>
                    <a:pt x="23" y="104"/>
                    <a:pt x="22" y="104"/>
                    <a:pt x="23" y="104"/>
                  </a:cubicBezTo>
                  <a:cubicBezTo>
                    <a:pt x="24" y="105"/>
                    <a:pt x="24" y="105"/>
                    <a:pt x="25" y="106"/>
                  </a:cubicBezTo>
                  <a:cubicBezTo>
                    <a:pt x="26" y="106"/>
                    <a:pt x="27" y="107"/>
                    <a:pt x="28" y="108"/>
                  </a:cubicBezTo>
                  <a:cubicBezTo>
                    <a:pt x="30" y="109"/>
                    <a:pt x="33" y="108"/>
                    <a:pt x="35" y="109"/>
                  </a:cubicBezTo>
                  <a:cubicBezTo>
                    <a:pt x="36" y="109"/>
                    <a:pt x="39" y="110"/>
                    <a:pt x="41" y="110"/>
                  </a:cubicBezTo>
                  <a:cubicBezTo>
                    <a:pt x="43" y="109"/>
                    <a:pt x="41" y="106"/>
                    <a:pt x="42" y="104"/>
                  </a:cubicBezTo>
                  <a:cubicBezTo>
                    <a:pt x="43" y="102"/>
                    <a:pt x="47" y="104"/>
                    <a:pt x="48" y="103"/>
                  </a:cubicBezTo>
                  <a:cubicBezTo>
                    <a:pt x="50" y="102"/>
                    <a:pt x="50" y="99"/>
                    <a:pt x="49" y="97"/>
                  </a:cubicBezTo>
                  <a:cubicBezTo>
                    <a:pt x="48" y="96"/>
                    <a:pt x="48" y="95"/>
                    <a:pt x="48" y="94"/>
                  </a:cubicBezTo>
                  <a:cubicBezTo>
                    <a:pt x="48" y="92"/>
                    <a:pt x="49" y="91"/>
                    <a:pt x="50" y="89"/>
                  </a:cubicBezTo>
                  <a:cubicBezTo>
                    <a:pt x="51" y="88"/>
                    <a:pt x="52" y="85"/>
                    <a:pt x="54" y="85"/>
                  </a:cubicBezTo>
                  <a:cubicBezTo>
                    <a:pt x="55" y="84"/>
                    <a:pt x="57" y="85"/>
                    <a:pt x="58" y="84"/>
                  </a:cubicBezTo>
                  <a:cubicBezTo>
                    <a:pt x="60" y="86"/>
                    <a:pt x="61" y="88"/>
                    <a:pt x="62" y="90"/>
                  </a:cubicBezTo>
                  <a:cubicBezTo>
                    <a:pt x="64" y="92"/>
                    <a:pt x="65" y="93"/>
                    <a:pt x="66" y="95"/>
                  </a:cubicBezTo>
                  <a:cubicBezTo>
                    <a:pt x="67" y="97"/>
                    <a:pt x="66" y="98"/>
                    <a:pt x="66" y="100"/>
                  </a:cubicBezTo>
                  <a:cubicBezTo>
                    <a:pt x="66" y="102"/>
                    <a:pt x="69" y="102"/>
                    <a:pt x="71" y="102"/>
                  </a:cubicBezTo>
                  <a:cubicBezTo>
                    <a:pt x="73" y="103"/>
                    <a:pt x="74" y="104"/>
                    <a:pt x="74" y="105"/>
                  </a:cubicBezTo>
                  <a:cubicBezTo>
                    <a:pt x="75" y="108"/>
                    <a:pt x="76" y="110"/>
                    <a:pt x="76" y="113"/>
                  </a:cubicBezTo>
                  <a:cubicBezTo>
                    <a:pt x="76" y="115"/>
                    <a:pt x="76" y="117"/>
                    <a:pt x="79" y="117"/>
                  </a:cubicBezTo>
                  <a:cubicBezTo>
                    <a:pt x="81" y="117"/>
                    <a:pt x="83" y="117"/>
                    <a:pt x="85" y="116"/>
                  </a:cubicBezTo>
                  <a:cubicBezTo>
                    <a:pt x="86" y="115"/>
                    <a:pt x="87" y="115"/>
                    <a:pt x="88" y="113"/>
                  </a:cubicBezTo>
                  <a:cubicBezTo>
                    <a:pt x="88" y="113"/>
                    <a:pt x="88" y="113"/>
                    <a:pt x="89" y="113"/>
                  </a:cubicBezTo>
                  <a:cubicBezTo>
                    <a:pt x="89" y="112"/>
                    <a:pt x="89" y="111"/>
                    <a:pt x="90" y="110"/>
                  </a:cubicBezTo>
                  <a:cubicBezTo>
                    <a:pt x="92" y="111"/>
                    <a:pt x="93" y="111"/>
                    <a:pt x="95" y="112"/>
                  </a:cubicBezTo>
                  <a:cubicBezTo>
                    <a:pt x="97" y="113"/>
                    <a:pt x="98" y="115"/>
                    <a:pt x="100" y="115"/>
                  </a:cubicBezTo>
                  <a:cubicBezTo>
                    <a:pt x="102" y="115"/>
                    <a:pt x="102" y="115"/>
                    <a:pt x="104" y="116"/>
                  </a:cubicBezTo>
                  <a:cubicBezTo>
                    <a:pt x="106" y="117"/>
                    <a:pt x="108" y="118"/>
                    <a:pt x="109" y="119"/>
                  </a:cubicBezTo>
                  <a:cubicBezTo>
                    <a:pt x="110" y="118"/>
                    <a:pt x="110" y="118"/>
                    <a:pt x="110" y="117"/>
                  </a:cubicBezTo>
                  <a:cubicBezTo>
                    <a:pt x="113" y="114"/>
                    <a:pt x="114" y="111"/>
                    <a:pt x="114" y="107"/>
                  </a:cubicBezTo>
                  <a:cubicBezTo>
                    <a:pt x="114" y="103"/>
                    <a:pt x="113" y="100"/>
                    <a:pt x="117" y="99"/>
                  </a:cubicBezTo>
                  <a:cubicBezTo>
                    <a:pt x="120" y="99"/>
                    <a:pt x="123" y="99"/>
                    <a:pt x="125" y="99"/>
                  </a:cubicBezTo>
                  <a:cubicBezTo>
                    <a:pt x="130" y="99"/>
                    <a:pt x="130" y="98"/>
                    <a:pt x="132" y="94"/>
                  </a:cubicBezTo>
                  <a:cubicBezTo>
                    <a:pt x="134" y="92"/>
                    <a:pt x="136" y="90"/>
                    <a:pt x="138" y="87"/>
                  </a:cubicBezTo>
                  <a:cubicBezTo>
                    <a:pt x="139" y="84"/>
                    <a:pt x="139" y="80"/>
                    <a:pt x="140" y="77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0" name="Freeform 90"/>
            <p:cNvSpPr>
              <a:spLocks/>
            </p:cNvSpPr>
            <p:nvPr/>
          </p:nvSpPr>
          <p:spPr bwMode="auto">
            <a:xfrm>
              <a:off x="2930525" y="3887788"/>
              <a:ext cx="46038" cy="53975"/>
            </a:xfrm>
            <a:custGeom>
              <a:avLst/>
              <a:gdLst/>
              <a:ahLst/>
              <a:cxnLst>
                <a:cxn ang="0">
                  <a:pos x="21" y="1"/>
                </a:cxn>
                <a:cxn ang="0">
                  <a:pos x="21" y="1"/>
                </a:cxn>
                <a:cxn ang="0">
                  <a:pos x="19" y="0"/>
                </a:cxn>
                <a:cxn ang="0">
                  <a:pos x="11" y="3"/>
                </a:cxn>
                <a:cxn ang="0">
                  <a:pos x="8" y="7"/>
                </a:cxn>
                <a:cxn ang="0">
                  <a:pos x="6" y="10"/>
                </a:cxn>
                <a:cxn ang="0">
                  <a:pos x="1" y="19"/>
                </a:cxn>
                <a:cxn ang="0">
                  <a:pos x="1" y="25"/>
                </a:cxn>
                <a:cxn ang="0">
                  <a:pos x="2" y="27"/>
                </a:cxn>
                <a:cxn ang="0">
                  <a:pos x="4" y="28"/>
                </a:cxn>
                <a:cxn ang="0">
                  <a:pos x="10" y="28"/>
                </a:cxn>
                <a:cxn ang="0">
                  <a:pos x="15" y="27"/>
                </a:cxn>
                <a:cxn ang="0">
                  <a:pos x="18" y="24"/>
                </a:cxn>
                <a:cxn ang="0">
                  <a:pos x="21" y="21"/>
                </a:cxn>
                <a:cxn ang="0">
                  <a:pos x="24" y="14"/>
                </a:cxn>
                <a:cxn ang="0">
                  <a:pos x="22" y="6"/>
                </a:cxn>
                <a:cxn ang="0">
                  <a:pos x="20" y="4"/>
                </a:cxn>
                <a:cxn ang="0">
                  <a:pos x="18" y="2"/>
                </a:cxn>
                <a:cxn ang="0">
                  <a:pos x="21" y="1"/>
                </a:cxn>
              </a:cxnLst>
              <a:rect l="0" t="0" r="r" b="b"/>
              <a:pathLst>
                <a:path w="24" h="29">
                  <a:moveTo>
                    <a:pt x="21" y="1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21" y="0"/>
                    <a:pt x="19" y="0"/>
                    <a:pt x="19" y="0"/>
                  </a:cubicBezTo>
                  <a:cubicBezTo>
                    <a:pt x="16" y="0"/>
                    <a:pt x="13" y="0"/>
                    <a:pt x="11" y="3"/>
                  </a:cubicBezTo>
                  <a:cubicBezTo>
                    <a:pt x="10" y="4"/>
                    <a:pt x="9" y="6"/>
                    <a:pt x="8" y="7"/>
                  </a:cubicBezTo>
                  <a:cubicBezTo>
                    <a:pt x="8" y="8"/>
                    <a:pt x="7" y="9"/>
                    <a:pt x="6" y="10"/>
                  </a:cubicBezTo>
                  <a:cubicBezTo>
                    <a:pt x="4" y="13"/>
                    <a:pt x="2" y="16"/>
                    <a:pt x="1" y="19"/>
                  </a:cubicBezTo>
                  <a:cubicBezTo>
                    <a:pt x="0" y="21"/>
                    <a:pt x="0" y="23"/>
                    <a:pt x="1" y="25"/>
                  </a:cubicBezTo>
                  <a:cubicBezTo>
                    <a:pt x="1" y="26"/>
                    <a:pt x="1" y="27"/>
                    <a:pt x="2" y="27"/>
                  </a:cubicBezTo>
                  <a:cubicBezTo>
                    <a:pt x="2" y="28"/>
                    <a:pt x="3" y="28"/>
                    <a:pt x="4" y="28"/>
                  </a:cubicBezTo>
                  <a:cubicBezTo>
                    <a:pt x="6" y="28"/>
                    <a:pt x="8" y="29"/>
                    <a:pt x="10" y="28"/>
                  </a:cubicBezTo>
                  <a:cubicBezTo>
                    <a:pt x="12" y="28"/>
                    <a:pt x="13" y="28"/>
                    <a:pt x="15" y="27"/>
                  </a:cubicBezTo>
                  <a:cubicBezTo>
                    <a:pt x="16" y="26"/>
                    <a:pt x="17" y="25"/>
                    <a:pt x="18" y="24"/>
                  </a:cubicBezTo>
                  <a:cubicBezTo>
                    <a:pt x="19" y="23"/>
                    <a:pt x="20" y="22"/>
                    <a:pt x="21" y="21"/>
                  </a:cubicBezTo>
                  <a:cubicBezTo>
                    <a:pt x="23" y="19"/>
                    <a:pt x="23" y="16"/>
                    <a:pt x="24" y="14"/>
                  </a:cubicBezTo>
                  <a:cubicBezTo>
                    <a:pt x="24" y="11"/>
                    <a:pt x="24" y="9"/>
                    <a:pt x="22" y="6"/>
                  </a:cubicBezTo>
                  <a:cubicBezTo>
                    <a:pt x="21" y="6"/>
                    <a:pt x="20" y="5"/>
                    <a:pt x="20" y="4"/>
                  </a:cubicBezTo>
                  <a:cubicBezTo>
                    <a:pt x="19" y="4"/>
                    <a:pt x="18" y="3"/>
                    <a:pt x="18" y="2"/>
                  </a:cubicBezTo>
                  <a:lnTo>
                    <a:pt x="21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1" name="Freeform 91"/>
            <p:cNvSpPr>
              <a:spLocks/>
            </p:cNvSpPr>
            <p:nvPr/>
          </p:nvSpPr>
          <p:spPr bwMode="auto">
            <a:xfrm>
              <a:off x="3243263" y="4511675"/>
              <a:ext cx="71438" cy="30163"/>
            </a:xfrm>
            <a:custGeom>
              <a:avLst/>
              <a:gdLst/>
              <a:ahLst/>
              <a:cxnLst>
                <a:cxn ang="0">
                  <a:pos x="29" y="3"/>
                </a:cxn>
                <a:cxn ang="0">
                  <a:pos x="29" y="3"/>
                </a:cxn>
                <a:cxn ang="0">
                  <a:pos x="24" y="1"/>
                </a:cxn>
                <a:cxn ang="0">
                  <a:pos x="13" y="1"/>
                </a:cxn>
                <a:cxn ang="0">
                  <a:pos x="9" y="3"/>
                </a:cxn>
                <a:cxn ang="0">
                  <a:pos x="4" y="4"/>
                </a:cxn>
                <a:cxn ang="0">
                  <a:pos x="1" y="6"/>
                </a:cxn>
                <a:cxn ang="0">
                  <a:pos x="0" y="9"/>
                </a:cxn>
                <a:cxn ang="0">
                  <a:pos x="2" y="12"/>
                </a:cxn>
                <a:cxn ang="0">
                  <a:pos x="6" y="14"/>
                </a:cxn>
                <a:cxn ang="0">
                  <a:pos x="13" y="16"/>
                </a:cxn>
                <a:cxn ang="0">
                  <a:pos x="21" y="16"/>
                </a:cxn>
                <a:cxn ang="0">
                  <a:pos x="29" y="15"/>
                </a:cxn>
                <a:cxn ang="0">
                  <a:pos x="34" y="13"/>
                </a:cxn>
                <a:cxn ang="0">
                  <a:pos x="38" y="10"/>
                </a:cxn>
                <a:cxn ang="0">
                  <a:pos x="36" y="5"/>
                </a:cxn>
                <a:cxn ang="0">
                  <a:pos x="29" y="3"/>
                </a:cxn>
              </a:cxnLst>
              <a:rect l="0" t="0" r="r" b="b"/>
              <a:pathLst>
                <a:path w="38" h="16">
                  <a:moveTo>
                    <a:pt x="29" y="3"/>
                  </a:moveTo>
                  <a:cubicBezTo>
                    <a:pt x="29" y="3"/>
                    <a:pt x="29" y="3"/>
                    <a:pt x="29" y="3"/>
                  </a:cubicBezTo>
                  <a:cubicBezTo>
                    <a:pt x="28" y="2"/>
                    <a:pt x="26" y="1"/>
                    <a:pt x="24" y="1"/>
                  </a:cubicBezTo>
                  <a:cubicBezTo>
                    <a:pt x="21" y="0"/>
                    <a:pt x="17" y="0"/>
                    <a:pt x="13" y="1"/>
                  </a:cubicBezTo>
                  <a:cubicBezTo>
                    <a:pt x="12" y="1"/>
                    <a:pt x="10" y="2"/>
                    <a:pt x="9" y="3"/>
                  </a:cubicBezTo>
                  <a:cubicBezTo>
                    <a:pt x="7" y="3"/>
                    <a:pt x="6" y="4"/>
                    <a:pt x="4" y="4"/>
                  </a:cubicBezTo>
                  <a:cubicBezTo>
                    <a:pt x="3" y="5"/>
                    <a:pt x="2" y="6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0"/>
                    <a:pt x="1" y="11"/>
                    <a:pt x="2" y="12"/>
                  </a:cubicBezTo>
                  <a:cubicBezTo>
                    <a:pt x="3" y="13"/>
                    <a:pt x="4" y="14"/>
                    <a:pt x="6" y="14"/>
                  </a:cubicBezTo>
                  <a:cubicBezTo>
                    <a:pt x="8" y="15"/>
                    <a:pt x="10" y="16"/>
                    <a:pt x="13" y="16"/>
                  </a:cubicBezTo>
                  <a:cubicBezTo>
                    <a:pt x="16" y="16"/>
                    <a:pt x="19" y="16"/>
                    <a:pt x="21" y="16"/>
                  </a:cubicBezTo>
                  <a:cubicBezTo>
                    <a:pt x="24" y="16"/>
                    <a:pt x="27" y="16"/>
                    <a:pt x="29" y="15"/>
                  </a:cubicBezTo>
                  <a:cubicBezTo>
                    <a:pt x="31" y="15"/>
                    <a:pt x="33" y="14"/>
                    <a:pt x="34" y="13"/>
                  </a:cubicBezTo>
                  <a:cubicBezTo>
                    <a:pt x="36" y="12"/>
                    <a:pt x="37" y="11"/>
                    <a:pt x="38" y="10"/>
                  </a:cubicBezTo>
                  <a:cubicBezTo>
                    <a:pt x="38" y="8"/>
                    <a:pt x="37" y="6"/>
                    <a:pt x="36" y="5"/>
                  </a:cubicBezTo>
                  <a:lnTo>
                    <a:pt x="29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2" name="Freeform 92"/>
            <p:cNvSpPr>
              <a:spLocks/>
            </p:cNvSpPr>
            <p:nvPr/>
          </p:nvSpPr>
          <p:spPr bwMode="auto">
            <a:xfrm>
              <a:off x="2382838" y="5722938"/>
              <a:ext cx="365125" cy="711200"/>
            </a:xfrm>
            <a:custGeom>
              <a:avLst/>
              <a:gdLst/>
              <a:ahLst/>
              <a:cxnLst>
                <a:cxn ang="0">
                  <a:pos x="9" y="214"/>
                </a:cxn>
                <a:cxn ang="0">
                  <a:pos x="1" y="233"/>
                </a:cxn>
                <a:cxn ang="0">
                  <a:pos x="0" y="251"/>
                </a:cxn>
                <a:cxn ang="0">
                  <a:pos x="9" y="267"/>
                </a:cxn>
                <a:cxn ang="0">
                  <a:pos x="25" y="280"/>
                </a:cxn>
                <a:cxn ang="0">
                  <a:pos x="36" y="293"/>
                </a:cxn>
                <a:cxn ang="0">
                  <a:pos x="30" y="317"/>
                </a:cxn>
                <a:cxn ang="0">
                  <a:pos x="35" y="341"/>
                </a:cxn>
                <a:cxn ang="0">
                  <a:pos x="34" y="354"/>
                </a:cxn>
                <a:cxn ang="0">
                  <a:pos x="29" y="365"/>
                </a:cxn>
                <a:cxn ang="0">
                  <a:pos x="54" y="374"/>
                </a:cxn>
                <a:cxn ang="0">
                  <a:pos x="67" y="374"/>
                </a:cxn>
                <a:cxn ang="0">
                  <a:pos x="81" y="378"/>
                </a:cxn>
                <a:cxn ang="0">
                  <a:pos x="98" y="375"/>
                </a:cxn>
                <a:cxn ang="0">
                  <a:pos x="105" y="374"/>
                </a:cxn>
                <a:cxn ang="0">
                  <a:pos x="109" y="356"/>
                </a:cxn>
                <a:cxn ang="0">
                  <a:pos x="108" y="349"/>
                </a:cxn>
                <a:cxn ang="0">
                  <a:pos x="110" y="331"/>
                </a:cxn>
                <a:cxn ang="0">
                  <a:pos x="116" y="322"/>
                </a:cxn>
                <a:cxn ang="0">
                  <a:pos x="118" y="315"/>
                </a:cxn>
                <a:cxn ang="0">
                  <a:pos x="129" y="309"/>
                </a:cxn>
                <a:cxn ang="0">
                  <a:pos x="135" y="298"/>
                </a:cxn>
                <a:cxn ang="0">
                  <a:pos x="125" y="290"/>
                </a:cxn>
                <a:cxn ang="0">
                  <a:pos x="122" y="283"/>
                </a:cxn>
                <a:cxn ang="0">
                  <a:pos x="128" y="254"/>
                </a:cxn>
                <a:cxn ang="0">
                  <a:pos x="133" y="234"/>
                </a:cxn>
                <a:cxn ang="0">
                  <a:pos x="123" y="229"/>
                </a:cxn>
                <a:cxn ang="0">
                  <a:pos x="119" y="209"/>
                </a:cxn>
                <a:cxn ang="0">
                  <a:pos x="115" y="206"/>
                </a:cxn>
                <a:cxn ang="0">
                  <a:pos x="117" y="196"/>
                </a:cxn>
                <a:cxn ang="0">
                  <a:pos x="137" y="180"/>
                </a:cxn>
                <a:cxn ang="0">
                  <a:pos x="139" y="156"/>
                </a:cxn>
                <a:cxn ang="0">
                  <a:pos x="145" y="131"/>
                </a:cxn>
                <a:cxn ang="0">
                  <a:pos x="144" y="102"/>
                </a:cxn>
                <a:cxn ang="0">
                  <a:pos x="149" y="85"/>
                </a:cxn>
                <a:cxn ang="0">
                  <a:pos x="166" y="75"/>
                </a:cxn>
                <a:cxn ang="0">
                  <a:pos x="180" y="65"/>
                </a:cxn>
                <a:cxn ang="0">
                  <a:pos x="194" y="46"/>
                </a:cxn>
                <a:cxn ang="0">
                  <a:pos x="177" y="38"/>
                </a:cxn>
                <a:cxn ang="0">
                  <a:pos x="172" y="29"/>
                </a:cxn>
                <a:cxn ang="0">
                  <a:pos x="169" y="18"/>
                </a:cxn>
                <a:cxn ang="0">
                  <a:pos x="155" y="16"/>
                </a:cxn>
                <a:cxn ang="0">
                  <a:pos x="142" y="19"/>
                </a:cxn>
                <a:cxn ang="0">
                  <a:pos x="122" y="29"/>
                </a:cxn>
                <a:cxn ang="0">
                  <a:pos x="112" y="25"/>
                </a:cxn>
                <a:cxn ang="0">
                  <a:pos x="98" y="22"/>
                </a:cxn>
                <a:cxn ang="0">
                  <a:pos x="84" y="30"/>
                </a:cxn>
                <a:cxn ang="0">
                  <a:pos x="86" y="12"/>
                </a:cxn>
                <a:cxn ang="0">
                  <a:pos x="82" y="1"/>
                </a:cxn>
                <a:cxn ang="0">
                  <a:pos x="73" y="7"/>
                </a:cxn>
                <a:cxn ang="0">
                  <a:pos x="47" y="19"/>
                </a:cxn>
                <a:cxn ang="0">
                  <a:pos x="42" y="29"/>
                </a:cxn>
                <a:cxn ang="0">
                  <a:pos x="44" y="42"/>
                </a:cxn>
                <a:cxn ang="0">
                  <a:pos x="44" y="61"/>
                </a:cxn>
                <a:cxn ang="0">
                  <a:pos x="39" y="72"/>
                </a:cxn>
                <a:cxn ang="0">
                  <a:pos x="44" y="90"/>
                </a:cxn>
                <a:cxn ang="0">
                  <a:pos x="44" y="127"/>
                </a:cxn>
                <a:cxn ang="0">
                  <a:pos x="39" y="139"/>
                </a:cxn>
                <a:cxn ang="0">
                  <a:pos x="37" y="147"/>
                </a:cxn>
                <a:cxn ang="0">
                  <a:pos x="38" y="159"/>
                </a:cxn>
                <a:cxn ang="0">
                  <a:pos x="28" y="171"/>
                </a:cxn>
                <a:cxn ang="0">
                  <a:pos x="26" y="186"/>
                </a:cxn>
              </a:cxnLst>
              <a:rect l="0" t="0" r="r" b="b"/>
              <a:pathLst>
                <a:path w="195" h="380">
                  <a:moveTo>
                    <a:pt x="26" y="188"/>
                  </a:moveTo>
                  <a:cubicBezTo>
                    <a:pt x="25" y="192"/>
                    <a:pt x="23" y="197"/>
                    <a:pt x="20" y="200"/>
                  </a:cubicBezTo>
                  <a:cubicBezTo>
                    <a:pt x="17" y="205"/>
                    <a:pt x="13" y="210"/>
                    <a:pt x="9" y="214"/>
                  </a:cubicBezTo>
                  <a:cubicBezTo>
                    <a:pt x="7" y="216"/>
                    <a:pt x="6" y="218"/>
                    <a:pt x="5" y="220"/>
                  </a:cubicBezTo>
                  <a:cubicBezTo>
                    <a:pt x="4" y="222"/>
                    <a:pt x="5" y="224"/>
                    <a:pt x="4" y="226"/>
                  </a:cubicBezTo>
                  <a:cubicBezTo>
                    <a:pt x="4" y="228"/>
                    <a:pt x="2" y="231"/>
                    <a:pt x="1" y="233"/>
                  </a:cubicBezTo>
                  <a:cubicBezTo>
                    <a:pt x="1" y="237"/>
                    <a:pt x="0" y="241"/>
                    <a:pt x="0" y="245"/>
                  </a:cubicBezTo>
                  <a:cubicBezTo>
                    <a:pt x="0" y="246"/>
                    <a:pt x="0" y="247"/>
                    <a:pt x="0" y="249"/>
                  </a:cubicBezTo>
                  <a:cubicBezTo>
                    <a:pt x="0" y="249"/>
                    <a:pt x="0" y="250"/>
                    <a:pt x="0" y="251"/>
                  </a:cubicBezTo>
                  <a:cubicBezTo>
                    <a:pt x="0" y="252"/>
                    <a:pt x="0" y="253"/>
                    <a:pt x="1" y="254"/>
                  </a:cubicBezTo>
                  <a:cubicBezTo>
                    <a:pt x="3" y="255"/>
                    <a:pt x="7" y="253"/>
                    <a:pt x="9" y="256"/>
                  </a:cubicBezTo>
                  <a:cubicBezTo>
                    <a:pt x="10" y="259"/>
                    <a:pt x="8" y="264"/>
                    <a:pt x="9" y="267"/>
                  </a:cubicBezTo>
                  <a:cubicBezTo>
                    <a:pt x="11" y="272"/>
                    <a:pt x="17" y="271"/>
                    <a:pt x="16" y="277"/>
                  </a:cubicBezTo>
                  <a:cubicBezTo>
                    <a:pt x="16" y="280"/>
                    <a:pt x="15" y="278"/>
                    <a:pt x="14" y="281"/>
                  </a:cubicBezTo>
                  <a:cubicBezTo>
                    <a:pt x="12" y="285"/>
                    <a:pt x="22" y="282"/>
                    <a:pt x="25" y="280"/>
                  </a:cubicBezTo>
                  <a:cubicBezTo>
                    <a:pt x="26" y="279"/>
                    <a:pt x="30" y="277"/>
                    <a:pt x="32" y="279"/>
                  </a:cubicBezTo>
                  <a:cubicBezTo>
                    <a:pt x="33" y="279"/>
                    <a:pt x="37" y="284"/>
                    <a:pt x="37" y="285"/>
                  </a:cubicBezTo>
                  <a:cubicBezTo>
                    <a:pt x="38" y="287"/>
                    <a:pt x="36" y="290"/>
                    <a:pt x="36" y="293"/>
                  </a:cubicBezTo>
                  <a:cubicBezTo>
                    <a:pt x="35" y="296"/>
                    <a:pt x="35" y="300"/>
                    <a:pt x="35" y="303"/>
                  </a:cubicBezTo>
                  <a:cubicBezTo>
                    <a:pt x="35" y="306"/>
                    <a:pt x="35" y="307"/>
                    <a:pt x="34" y="310"/>
                  </a:cubicBezTo>
                  <a:cubicBezTo>
                    <a:pt x="33" y="312"/>
                    <a:pt x="30" y="315"/>
                    <a:pt x="30" y="317"/>
                  </a:cubicBezTo>
                  <a:cubicBezTo>
                    <a:pt x="30" y="321"/>
                    <a:pt x="36" y="322"/>
                    <a:pt x="38" y="325"/>
                  </a:cubicBezTo>
                  <a:cubicBezTo>
                    <a:pt x="39" y="327"/>
                    <a:pt x="40" y="330"/>
                    <a:pt x="39" y="332"/>
                  </a:cubicBezTo>
                  <a:cubicBezTo>
                    <a:pt x="38" y="335"/>
                    <a:pt x="36" y="338"/>
                    <a:pt x="35" y="341"/>
                  </a:cubicBezTo>
                  <a:cubicBezTo>
                    <a:pt x="34" y="343"/>
                    <a:pt x="34" y="345"/>
                    <a:pt x="34" y="347"/>
                  </a:cubicBezTo>
                  <a:cubicBezTo>
                    <a:pt x="34" y="348"/>
                    <a:pt x="34" y="348"/>
                    <a:pt x="34" y="349"/>
                  </a:cubicBezTo>
                  <a:cubicBezTo>
                    <a:pt x="34" y="351"/>
                    <a:pt x="34" y="353"/>
                    <a:pt x="34" y="354"/>
                  </a:cubicBezTo>
                  <a:cubicBezTo>
                    <a:pt x="34" y="355"/>
                    <a:pt x="33" y="356"/>
                    <a:pt x="33" y="357"/>
                  </a:cubicBezTo>
                  <a:cubicBezTo>
                    <a:pt x="33" y="358"/>
                    <a:pt x="32" y="360"/>
                    <a:pt x="31" y="361"/>
                  </a:cubicBezTo>
                  <a:cubicBezTo>
                    <a:pt x="30" y="362"/>
                    <a:pt x="30" y="364"/>
                    <a:pt x="29" y="365"/>
                  </a:cubicBezTo>
                  <a:cubicBezTo>
                    <a:pt x="28" y="370"/>
                    <a:pt x="29" y="375"/>
                    <a:pt x="26" y="379"/>
                  </a:cubicBezTo>
                  <a:cubicBezTo>
                    <a:pt x="31" y="380"/>
                    <a:pt x="37" y="375"/>
                    <a:pt x="41" y="374"/>
                  </a:cubicBezTo>
                  <a:cubicBezTo>
                    <a:pt x="45" y="373"/>
                    <a:pt x="50" y="373"/>
                    <a:pt x="54" y="374"/>
                  </a:cubicBezTo>
                  <a:cubicBezTo>
                    <a:pt x="56" y="374"/>
                    <a:pt x="57" y="374"/>
                    <a:pt x="59" y="374"/>
                  </a:cubicBezTo>
                  <a:cubicBezTo>
                    <a:pt x="60" y="374"/>
                    <a:pt x="62" y="374"/>
                    <a:pt x="63" y="374"/>
                  </a:cubicBezTo>
                  <a:cubicBezTo>
                    <a:pt x="65" y="374"/>
                    <a:pt x="66" y="374"/>
                    <a:pt x="67" y="374"/>
                  </a:cubicBezTo>
                  <a:cubicBezTo>
                    <a:pt x="69" y="375"/>
                    <a:pt x="70" y="376"/>
                    <a:pt x="72" y="376"/>
                  </a:cubicBezTo>
                  <a:cubicBezTo>
                    <a:pt x="74" y="377"/>
                    <a:pt x="76" y="378"/>
                    <a:pt x="78" y="379"/>
                  </a:cubicBezTo>
                  <a:cubicBezTo>
                    <a:pt x="80" y="379"/>
                    <a:pt x="80" y="379"/>
                    <a:pt x="81" y="378"/>
                  </a:cubicBezTo>
                  <a:cubicBezTo>
                    <a:pt x="84" y="378"/>
                    <a:pt x="84" y="377"/>
                    <a:pt x="85" y="377"/>
                  </a:cubicBezTo>
                  <a:cubicBezTo>
                    <a:pt x="89" y="375"/>
                    <a:pt x="92" y="375"/>
                    <a:pt x="95" y="375"/>
                  </a:cubicBezTo>
                  <a:cubicBezTo>
                    <a:pt x="96" y="375"/>
                    <a:pt x="97" y="375"/>
                    <a:pt x="98" y="375"/>
                  </a:cubicBezTo>
                  <a:cubicBezTo>
                    <a:pt x="98" y="375"/>
                    <a:pt x="99" y="375"/>
                    <a:pt x="99" y="375"/>
                  </a:cubicBezTo>
                  <a:cubicBezTo>
                    <a:pt x="101" y="375"/>
                    <a:pt x="103" y="374"/>
                    <a:pt x="105" y="374"/>
                  </a:cubicBezTo>
                  <a:cubicBezTo>
                    <a:pt x="105" y="374"/>
                    <a:pt x="105" y="374"/>
                    <a:pt x="105" y="374"/>
                  </a:cubicBezTo>
                  <a:cubicBezTo>
                    <a:pt x="106" y="374"/>
                    <a:pt x="107" y="373"/>
                    <a:pt x="108" y="373"/>
                  </a:cubicBezTo>
                  <a:cubicBezTo>
                    <a:pt x="108" y="371"/>
                    <a:pt x="108" y="369"/>
                    <a:pt x="108" y="367"/>
                  </a:cubicBezTo>
                  <a:cubicBezTo>
                    <a:pt x="109" y="363"/>
                    <a:pt x="109" y="360"/>
                    <a:pt x="109" y="356"/>
                  </a:cubicBezTo>
                  <a:cubicBezTo>
                    <a:pt x="109" y="355"/>
                    <a:pt x="109" y="353"/>
                    <a:pt x="109" y="351"/>
                  </a:cubicBezTo>
                  <a:cubicBezTo>
                    <a:pt x="109" y="351"/>
                    <a:pt x="109" y="351"/>
                    <a:pt x="108" y="351"/>
                  </a:cubicBezTo>
                  <a:cubicBezTo>
                    <a:pt x="108" y="350"/>
                    <a:pt x="108" y="350"/>
                    <a:pt x="108" y="349"/>
                  </a:cubicBezTo>
                  <a:cubicBezTo>
                    <a:pt x="107" y="348"/>
                    <a:pt x="107" y="346"/>
                    <a:pt x="107" y="345"/>
                  </a:cubicBezTo>
                  <a:cubicBezTo>
                    <a:pt x="107" y="344"/>
                    <a:pt x="106" y="343"/>
                    <a:pt x="106" y="341"/>
                  </a:cubicBezTo>
                  <a:cubicBezTo>
                    <a:pt x="106" y="338"/>
                    <a:pt x="108" y="334"/>
                    <a:pt x="110" y="331"/>
                  </a:cubicBezTo>
                  <a:cubicBezTo>
                    <a:pt x="110" y="331"/>
                    <a:pt x="111" y="330"/>
                    <a:pt x="111" y="329"/>
                  </a:cubicBezTo>
                  <a:cubicBezTo>
                    <a:pt x="112" y="328"/>
                    <a:pt x="113" y="326"/>
                    <a:pt x="114" y="325"/>
                  </a:cubicBezTo>
                  <a:cubicBezTo>
                    <a:pt x="115" y="324"/>
                    <a:pt x="116" y="323"/>
                    <a:pt x="116" y="322"/>
                  </a:cubicBezTo>
                  <a:cubicBezTo>
                    <a:pt x="117" y="321"/>
                    <a:pt x="117" y="321"/>
                    <a:pt x="117" y="321"/>
                  </a:cubicBezTo>
                  <a:cubicBezTo>
                    <a:pt x="117" y="320"/>
                    <a:pt x="118" y="319"/>
                    <a:pt x="118" y="318"/>
                  </a:cubicBezTo>
                  <a:cubicBezTo>
                    <a:pt x="119" y="317"/>
                    <a:pt x="118" y="316"/>
                    <a:pt x="118" y="315"/>
                  </a:cubicBezTo>
                  <a:cubicBezTo>
                    <a:pt x="118" y="311"/>
                    <a:pt x="121" y="313"/>
                    <a:pt x="124" y="312"/>
                  </a:cubicBezTo>
                  <a:cubicBezTo>
                    <a:pt x="125" y="312"/>
                    <a:pt x="127" y="312"/>
                    <a:pt x="128" y="311"/>
                  </a:cubicBezTo>
                  <a:cubicBezTo>
                    <a:pt x="128" y="311"/>
                    <a:pt x="129" y="310"/>
                    <a:pt x="129" y="309"/>
                  </a:cubicBezTo>
                  <a:cubicBezTo>
                    <a:pt x="130" y="309"/>
                    <a:pt x="130" y="309"/>
                    <a:pt x="131" y="309"/>
                  </a:cubicBezTo>
                  <a:cubicBezTo>
                    <a:pt x="134" y="308"/>
                    <a:pt x="136" y="307"/>
                    <a:pt x="136" y="304"/>
                  </a:cubicBezTo>
                  <a:cubicBezTo>
                    <a:pt x="136" y="302"/>
                    <a:pt x="137" y="299"/>
                    <a:pt x="135" y="298"/>
                  </a:cubicBezTo>
                  <a:cubicBezTo>
                    <a:pt x="134" y="299"/>
                    <a:pt x="132" y="300"/>
                    <a:pt x="130" y="299"/>
                  </a:cubicBezTo>
                  <a:cubicBezTo>
                    <a:pt x="128" y="298"/>
                    <a:pt x="129" y="297"/>
                    <a:pt x="128" y="295"/>
                  </a:cubicBezTo>
                  <a:cubicBezTo>
                    <a:pt x="128" y="293"/>
                    <a:pt x="126" y="291"/>
                    <a:pt x="125" y="290"/>
                  </a:cubicBezTo>
                  <a:cubicBezTo>
                    <a:pt x="125" y="289"/>
                    <a:pt x="124" y="288"/>
                    <a:pt x="124" y="287"/>
                  </a:cubicBezTo>
                  <a:cubicBezTo>
                    <a:pt x="123" y="286"/>
                    <a:pt x="123" y="285"/>
                    <a:pt x="123" y="284"/>
                  </a:cubicBezTo>
                  <a:cubicBezTo>
                    <a:pt x="123" y="284"/>
                    <a:pt x="122" y="283"/>
                    <a:pt x="122" y="283"/>
                  </a:cubicBezTo>
                  <a:cubicBezTo>
                    <a:pt x="120" y="279"/>
                    <a:pt x="118" y="275"/>
                    <a:pt x="118" y="271"/>
                  </a:cubicBezTo>
                  <a:cubicBezTo>
                    <a:pt x="119" y="267"/>
                    <a:pt x="122" y="264"/>
                    <a:pt x="123" y="261"/>
                  </a:cubicBezTo>
                  <a:cubicBezTo>
                    <a:pt x="124" y="257"/>
                    <a:pt x="125" y="256"/>
                    <a:pt x="128" y="254"/>
                  </a:cubicBezTo>
                  <a:cubicBezTo>
                    <a:pt x="130" y="253"/>
                    <a:pt x="132" y="253"/>
                    <a:pt x="134" y="252"/>
                  </a:cubicBezTo>
                  <a:cubicBezTo>
                    <a:pt x="138" y="248"/>
                    <a:pt x="136" y="241"/>
                    <a:pt x="134" y="237"/>
                  </a:cubicBezTo>
                  <a:cubicBezTo>
                    <a:pt x="134" y="236"/>
                    <a:pt x="134" y="235"/>
                    <a:pt x="133" y="234"/>
                  </a:cubicBezTo>
                  <a:cubicBezTo>
                    <a:pt x="133" y="234"/>
                    <a:pt x="132" y="233"/>
                    <a:pt x="131" y="233"/>
                  </a:cubicBezTo>
                  <a:cubicBezTo>
                    <a:pt x="130" y="232"/>
                    <a:pt x="129" y="232"/>
                    <a:pt x="127" y="231"/>
                  </a:cubicBezTo>
                  <a:cubicBezTo>
                    <a:pt x="126" y="231"/>
                    <a:pt x="124" y="231"/>
                    <a:pt x="123" y="229"/>
                  </a:cubicBezTo>
                  <a:cubicBezTo>
                    <a:pt x="123" y="227"/>
                    <a:pt x="124" y="226"/>
                    <a:pt x="123" y="224"/>
                  </a:cubicBezTo>
                  <a:cubicBezTo>
                    <a:pt x="122" y="223"/>
                    <a:pt x="120" y="222"/>
                    <a:pt x="119" y="223"/>
                  </a:cubicBezTo>
                  <a:cubicBezTo>
                    <a:pt x="119" y="219"/>
                    <a:pt x="120" y="213"/>
                    <a:pt x="119" y="209"/>
                  </a:cubicBezTo>
                  <a:cubicBezTo>
                    <a:pt x="119" y="209"/>
                    <a:pt x="118" y="208"/>
                    <a:pt x="118" y="207"/>
                  </a:cubicBezTo>
                  <a:cubicBezTo>
                    <a:pt x="118" y="207"/>
                    <a:pt x="117" y="207"/>
                    <a:pt x="117" y="207"/>
                  </a:cubicBezTo>
                  <a:cubicBezTo>
                    <a:pt x="116" y="208"/>
                    <a:pt x="115" y="207"/>
                    <a:pt x="115" y="206"/>
                  </a:cubicBezTo>
                  <a:cubicBezTo>
                    <a:pt x="114" y="206"/>
                    <a:pt x="113" y="203"/>
                    <a:pt x="112" y="202"/>
                  </a:cubicBezTo>
                  <a:cubicBezTo>
                    <a:pt x="111" y="201"/>
                    <a:pt x="109" y="199"/>
                    <a:pt x="110" y="197"/>
                  </a:cubicBezTo>
                  <a:cubicBezTo>
                    <a:pt x="110" y="195"/>
                    <a:pt x="115" y="196"/>
                    <a:pt x="117" y="196"/>
                  </a:cubicBezTo>
                  <a:cubicBezTo>
                    <a:pt x="122" y="196"/>
                    <a:pt x="132" y="197"/>
                    <a:pt x="133" y="191"/>
                  </a:cubicBezTo>
                  <a:cubicBezTo>
                    <a:pt x="133" y="189"/>
                    <a:pt x="132" y="186"/>
                    <a:pt x="133" y="184"/>
                  </a:cubicBezTo>
                  <a:cubicBezTo>
                    <a:pt x="133" y="183"/>
                    <a:pt x="136" y="180"/>
                    <a:pt x="137" y="180"/>
                  </a:cubicBezTo>
                  <a:cubicBezTo>
                    <a:pt x="139" y="177"/>
                    <a:pt x="141" y="174"/>
                    <a:pt x="141" y="171"/>
                  </a:cubicBezTo>
                  <a:cubicBezTo>
                    <a:pt x="140" y="166"/>
                    <a:pt x="135" y="164"/>
                    <a:pt x="134" y="159"/>
                  </a:cubicBezTo>
                  <a:cubicBezTo>
                    <a:pt x="136" y="159"/>
                    <a:pt x="137" y="157"/>
                    <a:pt x="139" y="156"/>
                  </a:cubicBezTo>
                  <a:cubicBezTo>
                    <a:pt x="141" y="155"/>
                    <a:pt x="143" y="154"/>
                    <a:pt x="144" y="152"/>
                  </a:cubicBezTo>
                  <a:cubicBezTo>
                    <a:pt x="145" y="149"/>
                    <a:pt x="144" y="143"/>
                    <a:pt x="144" y="140"/>
                  </a:cubicBezTo>
                  <a:cubicBezTo>
                    <a:pt x="144" y="137"/>
                    <a:pt x="145" y="134"/>
                    <a:pt x="145" y="131"/>
                  </a:cubicBezTo>
                  <a:cubicBezTo>
                    <a:pt x="146" y="125"/>
                    <a:pt x="144" y="119"/>
                    <a:pt x="144" y="113"/>
                  </a:cubicBezTo>
                  <a:cubicBezTo>
                    <a:pt x="144" y="110"/>
                    <a:pt x="144" y="107"/>
                    <a:pt x="144" y="105"/>
                  </a:cubicBezTo>
                  <a:cubicBezTo>
                    <a:pt x="144" y="104"/>
                    <a:pt x="144" y="103"/>
                    <a:pt x="144" y="102"/>
                  </a:cubicBezTo>
                  <a:cubicBezTo>
                    <a:pt x="143" y="102"/>
                    <a:pt x="141" y="101"/>
                    <a:pt x="141" y="101"/>
                  </a:cubicBezTo>
                  <a:cubicBezTo>
                    <a:pt x="139" y="98"/>
                    <a:pt x="141" y="97"/>
                    <a:pt x="144" y="96"/>
                  </a:cubicBezTo>
                  <a:cubicBezTo>
                    <a:pt x="144" y="92"/>
                    <a:pt x="147" y="88"/>
                    <a:pt x="149" y="85"/>
                  </a:cubicBezTo>
                  <a:cubicBezTo>
                    <a:pt x="151" y="82"/>
                    <a:pt x="152" y="83"/>
                    <a:pt x="155" y="82"/>
                  </a:cubicBezTo>
                  <a:cubicBezTo>
                    <a:pt x="158" y="82"/>
                    <a:pt x="161" y="81"/>
                    <a:pt x="163" y="79"/>
                  </a:cubicBezTo>
                  <a:cubicBezTo>
                    <a:pt x="164" y="78"/>
                    <a:pt x="165" y="76"/>
                    <a:pt x="166" y="75"/>
                  </a:cubicBezTo>
                  <a:cubicBezTo>
                    <a:pt x="168" y="74"/>
                    <a:pt x="169" y="72"/>
                    <a:pt x="170" y="72"/>
                  </a:cubicBezTo>
                  <a:cubicBezTo>
                    <a:pt x="172" y="70"/>
                    <a:pt x="174" y="69"/>
                    <a:pt x="176" y="67"/>
                  </a:cubicBezTo>
                  <a:cubicBezTo>
                    <a:pt x="177" y="66"/>
                    <a:pt x="178" y="66"/>
                    <a:pt x="180" y="65"/>
                  </a:cubicBezTo>
                  <a:cubicBezTo>
                    <a:pt x="182" y="64"/>
                    <a:pt x="183" y="64"/>
                    <a:pt x="184" y="62"/>
                  </a:cubicBezTo>
                  <a:cubicBezTo>
                    <a:pt x="186" y="60"/>
                    <a:pt x="186" y="58"/>
                    <a:pt x="188" y="56"/>
                  </a:cubicBezTo>
                  <a:cubicBezTo>
                    <a:pt x="191" y="53"/>
                    <a:pt x="194" y="50"/>
                    <a:pt x="194" y="46"/>
                  </a:cubicBezTo>
                  <a:cubicBezTo>
                    <a:pt x="195" y="44"/>
                    <a:pt x="194" y="44"/>
                    <a:pt x="192" y="43"/>
                  </a:cubicBezTo>
                  <a:cubicBezTo>
                    <a:pt x="189" y="42"/>
                    <a:pt x="186" y="40"/>
                    <a:pt x="183" y="39"/>
                  </a:cubicBezTo>
                  <a:cubicBezTo>
                    <a:pt x="181" y="38"/>
                    <a:pt x="179" y="38"/>
                    <a:pt x="177" y="38"/>
                  </a:cubicBezTo>
                  <a:cubicBezTo>
                    <a:pt x="176" y="38"/>
                    <a:pt x="177" y="39"/>
                    <a:pt x="175" y="38"/>
                  </a:cubicBezTo>
                  <a:cubicBezTo>
                    <a:pt x="174" y="38"/>
                    <a:pt x="173" y="35"/>
                    <a:pt x="172" y="34"/>
                  </a:cubicBezTo>
                  <a:cubicBezTo>
                    <a:pt x="171" y="32"/>
                    <a:pt x="171" y="30"/>
                    <a:pt x="172" y="29"/>
                  </a:cubicBezTo>
                  <a:cubicBezTo>
                    <a:pt x="173" y="27"/>
                    <a:pt x="176" y="25"/>
                    <a:pt x="175" y="23"/>
                  </a:cubicBezTo>
                  <a:cubicBezTo>
                    <a:pt x="177" y="17"/>
                    <a:pt x="177" y="17"/>
                    <a:pt x="177" y="17"/>
                  </a:cubicBezTo>
                  <a:cubicBezTo>
                    <a:pt x="174" y="17"/>
                    <a:pt x="172" y="18"/>
                    <a:pt x="169" y="18"/>
                  </a:cubicBezTo>
                  <a:cubicBezTo>
                    <a:pt x="167" y="18"/>
                    <a:pt x="163" y="19"/>
                    <a:pt x="161" y="17"/>
                  </a:cubicBezTo>
                  <a:cubicBezTo>
                    <a:pt x="160" y="15"/>
                    <a:pt x="162" y="14"/>
                    <a:pt x="160" y="14"/>
                  </a:cubicBezTo>
                  <a:cubicBezTo>
                    <a:pt x="159" y="14"/>
                    <a:pt x="157" y="16"/>
                    <a:pt x="155" y="16"/>
                  </a:cubicBezTo>
                  <a:cubicBezTo>
                    <a:pt x="153" y="16"/>
                    <a:pt x="145" y="15"/>
                    <a:pt x="145" y="17"/>
                  </a:cubicBezTo>
                  <a:cubicBezTo>
                    <a:pt x="145" y="17"/>
                    <a:pt x="144" y="16"/>
                    <a:pt x="143" y="16"/>
                  </a:cubicBezTo>
                  <a:cubicBezTo>
                    <a:pt x="142" y="17"/>
                    <a:pt x="143" y="18"/>
                    <a:pt x="142" y="19"/>
                  </a:cubicBezTo>
                  <a:cubicBezTo>
                    <a:pt x="141" y="20"/>
                    <a:pt x="140" y="21"/>
                    <a:pt x="139" y="22"/>
                  </a:cubicBezTo>
                  <a:cubicBezTo>
                    <a:pt x="137" y="24"/>
                    <a:pt x="137" y="25"/>
                    <a:pt x="134" y="26"/>
                  </a:cubicBezTo>
                  <a:cubicBezTo>
                    <a:pt x="130" y="28"/>
                    <a:pt x="122" y="23"/>
                    <a:pt x="122" y="29"/>
                  </a:cubicBezTo>
                  <a:cubicBezTo>
                    <a:pt x="119" y="30"/>
                    <a:pt x="117" y="28"/>
                    <a:pt x="115" y="27"/>
                  </a:cubicBezTo>
                  <a:cubicBezTo>
                    <a:pt x="114" y="27"/>
                    <a:pt x="114" y="29"/>
                    <a:pt x="112" y="28"/>
                  </a:cubicBezTo>
                  <a:cubicBezTo>
                    <a:pt x="112" y="27"/>
                    <a:pt x="112" y="25"/>
                    <a:pt x="112" y="25"/>
                  </a:cubicBezTo>
                  <a:cubicBezTo>
                    <a:pt x="110" y="24"/>
                    <a:pt x="107" y="23"/>
                    <a:pt x="105" y="24"/>
                  </a:cubicBezTo>
                  <a:cubicBezTo>
                    <a:pt x="104" y="25"/>
                    <a:pt x="103" y="27"/>
                    <a:pt x="101" y="26"/>
                  </a:cubicBezTo>
                  <a:cubicBezTo>
                    <a:pt x="99" y="25"/>
                    <a:pt x="99" y="23"/>
                    <a:pt x="98" y="22"/>
                  </a:cubicBezTo>
                  <a:cubicBezTo>
                    <a:pt x="94" y="18"/>
                    <a:pt x="94" y="24"/>
                    <a:pt x="93" y="26"/>
                  </a:cubicBezTo>
                  <a:cubicBezTo>
                    <a:pt x="91" y="28"/>
                    <a:pt x="90" y="27"/>
                    <a:pt x="88" y="28"/>
                  </a:cubicBezTo>
                  <a:cubicBezTo>
                    <a:pt x="87" y="28"/>
                    <a:pt x="85" y="30"/>
                    <a:pt x="84" y="30"/>
                  </a:cubicBezTo>
                  <a:cubicBezTo>
                    <a:pt x="82" y="30"/>
                    <a:pt x="81" y="22"/>
                    <a:pt x="81" y="21"/>
                  </a:cubicBezTo>
                  <a:cubicBezTo>
                    <a:pt x="82" y="19"/>
                    <a:pt x="84" y="19"/>
                    <a:pt x="85" y="17"/>
                  </a:cubicBezTo>
                  <a:cubicBezTo>
                    <a:pt x="86" y="16"/>
                    <a:pt x="86" y="14"/>
                    <a:pt x="86" y="12"/>
                  </a:cubicBezTo>
                  <a:cubicBezTo>
                    <a:pt x="85" y="11"/>
                    <a:pt x="83" y="12"/>
                    <a:pt x="82" y="11"/>
                  </a:cubicBezTo>
                  <a:cubicBezTo>
                    <a:pt x="81" y="10"/>
                    <a:pt x="81" y="7"/>
                    <a:pt x="81" y="6"/>
                  </a:cubicBezTo>
                  <a:cubicBezTo>
                    <a:pt x="82" y="4"/>
                    <a:pt x="84" y="2"/>
                    <a:pt x="82" y="1"/>
                  </a:cubicBezTo>
                  <a:cubicBezTo>
                    <a:pt x="80" y="0"/>
                    <a:pt x="79" y="2"/>
                    <a:pt x="78" y="3"/>
                  </a:cubicBezTo>
                  <a:cubicBezTo>
                    <a:pt x="78" y="4"/>
                    <a:pt x="77" y="6"/>
                    <a:pt x="77" y="6"/>
                  </a:cubicBezTo>
                  <a:cubicBezTo>
                    <a:pt x="76" y="7"/>
                    <a:pt x="74" y="7"/>
                    <a:pt x="73" y="7"/>
                  </a:cubicBezTo>
                  <a:cubicBezTo>
                    <a:pt x="69" y="8"/>
                    <a:pt x="66" y="10"/>
                    <a:pt x="63" y="11"/>
                  </a:cubicBezTo>
                  <a:cubicBezTo>
                    <a:pt x="60" y="13"/>
                    <a:pt x="56" y="15"/>
                    <a:pt x="53" y="16"/>
                  </a:cubicBezTo>
                  <a:cubicBezTo>
                    <a:pt x="51" y="17"/>
                    <a:pt x="48" y="18"/>
                    <a:pt x="47" y="19"/>
                  </a:cubicBezTo>
                  <a:cubicBezTo>
                    <a:pt x="46" y="20"/>
                    <a:pt x="46" y="23"/>
                    <a:pt x="45" y="24"/>
                  </a:cubicBezTo>
                  <a:cubicBezTo>
                    <a:pt x="45" y="24"/>
                    <a:pt x="43" y="26"/>
                    <a:pt x="42" y="26"/>
                  </a:cubicBezTo>
                  <a:cubicBezTo>
                    <a:pt x="42" y="27"/>
                    <a:pt x="42" y="28"/>
                    <a:pt x="42" y="29"/>
                  </a:cubicBezTo>
                  <a:cubicBezTo>
                    <a:pt x="42" y="30"/>
                    <a:pt x="42" y="31"/>
                    <a:pt x="41" y="31"/>
                  </a:cubicBezTo>
                  <a:cubicBezTo>
                    <a:pt x="41" y="33"/>
                    <a:pt x="41" y="35"/>
                    <a:pt x="41" y="36"/>
                  </a:cubicBezTo>
                  <a:cubicBezTo>
                    <a:pt x="42" y="39"/>
                    <a:pt x="43" y="40"/>
                    <a:pt x="44" y="42"/>
                  </a:cubicBezTo>
                  <a:cubicBezTo>
                    <a:pt x="46" y="45"/>
                    <a:pt x="46" y="51"/>
                    <a:pt x="45" y="54"/>
                  </a:cubicBezTo>
                  <a:cubicBezTo>
                    <a:pt x="44" y="55"/>
                    <a:pt x="43" y="56"/>
                    <a:pt x="43" y="57"/>
                  </a:cubicBezTo>
                  <a:cubicBezTo>
                    <a:pt x="42" y="59"/>
                    <a:pt x="44" y="60"/>
                    <a:pt x="44" y="61"/>
                  </a:cubicBezTo>
                  <a:cubicBezTo>
                    <a:pt x="45" y="62"/>
                    <a:pt x="46" y="65"/>
                    <a:pt x="46" y="66"/>
                  </a:cubicBezTo>
                  <a:cubicBezTo>
                    <a:pt x="46" y="69"/>
                    <a:pt x="45" y="68"/>
                    <a:pt x="43" y="69"/>
                  </a:cubicBezTo>
                  <a:cubicBezTo>
                    <a:pt x="42" y="70"/>
                    <a:pt x="39" y="71"/>
                    <a:pt x="39" y="72"/>
                  </a:cubicBezTo>
                  <a:cubicBezTo>
                    <a:pt x="38" y="73"/>
                    <a:pt x="38" y="75"/>
                    <a:pt x="38" y="76"/>
                  </a:cubicBezTo>
                  <a:cubicBezTo>
                    <a:pt x="38" y="81"/>
                    <a:pt x="40" y="83"/>
                    <a:pt x="42" y="87"/>
                  </a:cubicBezTo>
                  <a:cubicBezTo>
                    <a:pt x="43" y="88"/>
                    <a:pt x="44" y="88"/>
                    <a:pt x="44" y="90"/>
                  </a:cubicBezTo>
                  <a:cubicBezTo>
                    <a:pt x="44" y="95"/>
                    <a:pt x="46" y="99"/>
                    <a:pt x="47" y="103"/>
                  </a:cubicBezTo>
                  <a:cubicBezTo>
                    <a:pt x="47" y="108"/>
                    <a:pt x="47" y="113"/>
                    <a:pt x="47" y="118"/>
                  </a:cubicBezTo>
                  <a:cubicBezTo>
                    <a:pt x="47" y="121"/>
                    <a:pt x="46" y="124"/>
                    <a:pt x="44" y="127"/>
                  </a:cubicBezTo>
                  <a:cubicBezTo>
                    <a:pt x="43" y="129"/>
                    <a:pt x="42" y="132"/>
                    <a:pt x="41" y="134"/>
                  </a:cubicBezTo>
                  <a:cubicBezTo>
                    <a:pt x="41" y="134"/>
                    <a:pt x="40" y="135"/>
                    <a:pt x="40" y="136"/>
                  </a:cubicBezTo>
                  <a:cubicBezTo>
                    <a:pt x="40" y="137"/>
                    <a:pt x="39" y="138"/>
                    <a:pt x="39" y="139"/>
                  </a:cubicBezTo>
                  <a:cubicBezTo>
                    <a:pt x="38" y="140"/>
                    <a:pt x="38" y="140"/>
                    <a:pt x="38" y="141"/>
                  </a:cubicBezTo>
                  <a:cubicBezTo>
                    <a:pt x="38" y="142"/>
                    <a:pt x="37" y="143"/>
                    <a:pt x="37" y="145"/>
                  </a:cubicBezTo>
                  <a:cubicBezTo>
                    <a:pt x="37" y="145"/>
                    <a:pt x="37" y="146"/>
                    <a:pt x="37" y="147"/>
                  </a:cubicBezTo>
                  <a:cubicBezTo>
                    <a:pt x="37" y="149"/>
                    <a:pt x="37" y="151"/>
                    <a:pt x="38" y="153"/>
                  </a:cubicBezTo>
                  <a:cubicBezTo>
                    <a:pt x="38" y="154"/>
                    <a:pt x="39" y="156"/>
                    <a:pt x="38" y="157"/>
                  </a:cubicBezTo>
                  <a:cubicBezTo>
                    <a:pt x="38" y="158"/>
                    <a:pt x="38" y="158"/>
                    <a:pt x="38" y="159"/>
                  </a:cubicBezTo>
                  <a:cubicBezTo>
                    <a:pt x="38" y="159"/>
                    <a:pt x="37" y="160"/>
                    <a:pt x="37" y="161"/>
                  </a:cubicBezTo>
                  <a:cubicBezTo>
                    <a:pt x="36" y="162"/>
                    <a:pt x="34" y="163"/>
                    <a:pt x="33" y="164"/>
                  </a:cubicBezTo>
                  <a:cubicBezTo>
                    <a:pt x="32" y="166"/>
                    <a:pt x="30" y="168"/>
                    <a:pt x="28" y="171"/>
                  </a:cubicBezTo>
                  <a:cubicBezTo>
                    <a:pt x="26" y="174"/>
                    <a:pt x="26" y="177"/>
                    <a:pt x="26" y="181"/>
                  </a:cubicBezTo>
                  <a:cubicBezTo>
                    <a:pt x="26" y="182"/>
                    <a:pt x="26" y="183"/>
                    <a:pt x="26" y="184"/>
                  </a:cubicBezTo>
                  <a:cubicBezTo>
                    <a:pt x="26" y="185"/>
                    <a:pt x="26" y="186"/>
                    <a:pt x="26" y="186"/>
                  </a:cubicBezTo>
                  <a:cubicBezTo>
                    <a:pt x="26" y="187"/>
                    <a:pt x="26" y="188"/>
                    <a:pt x="26" y="18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3" name="Freeform 93"/>
            <p:cNvSpPr>
              <a:spLocks noEditPoints="1"/>
            </p:cNvSpPr>
            <p:nvPr/>
          </p:nvSpPr>
          <p:spPr bwMode="auto">
            <a:xfrm>
              <a:off x="2382838" y="5495925"/>
              <a:ext cx="1368425" cy="1063625"/>
            </a:xfrm>
            <a:custGeom>
              <a:avLst/>
              <a:gdLst/>
              <a:ahLst/>
              <a:cxnLst>
                <a:cxn ang="0">
                  <a:pos x="99" y="497"/>
                </a:cxn>
                <a:cxn ang="0">
                  <a:pos x="34" y="469"/>
                </a:cxn>
                <a:cxn ang="0">
                  <a:pos x="34" y="466"/>
                </a:cxn>
                <a:cxn ang="0">
                  <a:pos x="33" y="479"/>
                </a:cxn>
                <a:cxn ang="0">
                  <a:pos x="35" y="465"/>
                </a:cxn>
                <a:cxn ang="0">
                  <a:pos x="37" y="282"/>
                </a:cxn>
                <a:cxn ang="0">
                  <a:pos x="38" y="276"/>
                </a:cxn>
                <a:cxn ang="0">
                  <a:pos x="38" y="457"/>
                </a:cxn>
                <a:cxn ang="0">
                  <a:pos x="26" y="306"/>
                </a:cxn>
                <a:cxn ang="0">
                  <a:pos x="34" y="285"/>
                </a:cxn>
                <a:cxn ang="0">
                  <a:pos x="40" y="258"/>
                </a:cxn>
                <a:cxn ang="0">
                  <a:pos x="45" y="246"/>
                </a:cxn>
                <a:cxn ang="0">
                  <a:pos x="48" y="495"/>
                </a:cxn>
                <a:cxn ang="0">
                  <a:pos x="52" y="496"/>
                </a:cxn>
                <a:cxn ang="0">
                  <a:pos x="0" y="373"/>
                </a:cxn>
                <a:cxn ang="0">
                  <a:pos x="0" y="375"/>
                </a:cxn>
                <a:cxn ang="0">
                  <a:pos x="1" y="359"/>
                </a:cxn>
                <a:cxn ang="0">
                  <a:pos x="499" y="314"/>
                </a:cxn>
                <a:cxn ang="0">
                  <a:pos x="672" y="99"/>
                </a:cxn>
                <a:cxn ang="0">
                  <a:pos x="648" y="101"/>
                </a:cxn>
                <a:cxn ang="0">
                  <a:pos x="621" y="96"/>
                </a:cxn>
                <a:cxn ang="0">
                  <a:pos x="617" y="77"/>
                </a:cxn>
                <a:cxn ang="0">
                  <a:pos x="577" y="77"/>
                </a:cxn>
                <a:cxn ang="0">
                  <a:pos x="490" y="58"/>
                </a:cxn>
                <a:cxn ang="0">
                  <a:pos x="456" y="31"/>
                </a:cxn>
                <a:cxn ang="0">
                  <a:pos x="373" y="28"/>
                </a:cxn>
                <a:cxn ang="0">
                  <a:pos x="285" y="25"/>
                </a:cxn>
                <a:cxn ang="0">
                  <a:pos x="205" y="15"/>
                </a:cxn>
                <a:cxn ang="0">
                  <a:pos x="83" y="15"/>
                </a:cxn>
                <a:cxn ang="0">
                  <a:pos x="63" y="39"/>
                </a:cxn>
                <a:cxn ang="0">
                  <a:pos x="27" y="69"/>
                </a:cxn>
                <a:cxn ang="0">
                  <a:pos x="53" y="92"/>
                </a:cxn>
                <a:cxn ang="0">
                  <a:pos x="24" y="129"/>
                </a:cxn>
                <a:cxn ang="0">
                  <a:pos x="47" y="141"/>
                </a:cxn>
                <a:cxn ang="0">
                  <a:pos x="82" y="133"/>
                </a:cxn>
                <a:cxn ang="0">
                  <a:pos x="101" y="148"/>
                </a:cxn>
                <a:cxn ang="0">
                  <a:pos x="142" y="141"/>
                </a:cxn>
                <a:cxn ang="0">
                  <a:pos x="175" y="145"/>
                </a:cxn>
                <a:cxn ang="0">
                  <a:pos x="188" y="178"/>
                </a:cxn>
                <a:cxn ang="0">
                  <a:pos x="149" y="207"/>
                </a:cxn>
                <a:cxn ang="0">
                  <a:pos x="144" y="274"/>
                </a:cxn>
                <a:cxn ang="0">
                  <a:pos x="110" y="319"/>
                </a:cxn>
                <a:cxn ang="0">
                  <a:pos x="123" y="351"/>
                </a:cxn>
                <a:cxn ang="0">
                  <a:pos x="118" y="393"/>
                </a:cxn>
                <a:cxn ang="0">
                  <a:pos x="136" y="426"/>
                </a:cxn>
                <a:cxn ang="0">
                  <a:pos x="116" y="444"/>
                </a:cxn>
                <a:cxn ang="0">
                  <a:pos x="109" y="473"/>
                </a:cxn>
                <a:cxn ang="0">
                  <a:pos x="159" y="506"/>
                </a:cxn>
                <a:cxn ang="0">
                  <a:pos x="205" y="564"/>
                </a:cxn>
                <a:cxn ang="0">
                  <a:pos x="263" y="534"/>
                </a:cxn>
                <a:cxn ang="0">
                  <a:pos x="351" y="521"/>
                </a:cxn>
                <a:cxn ang="0">
                  <a:pos x="399" y="517"/>
                </a:cxn>
                <a:cxn ang="0">
                  <a:pos x="438" y="466"/>
                </a:cxn>
                <a:cxn ang="0">
                  <a:pos x="472" y="442"/>
                </a:cxn>
                <a:cxn ang="0">
                  <a:pos x="513" y="394"/>
                </a:cxn>
                <a:cxn ang="0">
                  <a:pos x="493" y="328"/>
                </a:cxn>
                <a:cxn ang="0">
                  <a:pos x="547" y="255"/>
                </a:cxn>
                <a:cxn ang="0">
                  <a:pos x="619" y="203"/>
                </a:cxn>
                <a:cxn ang="0">
                  <a:pos x="671" y="178"/>
                </a:cxn>
                <a:cxn ang="0">
                  <a:pos x="731" y="134"/>
                </a:cxn>
              </a:cxnLst>
              <a:rect l="0" t="0" r="r" b="b"/>
              <a:pathLst>
                <a:path w="732" h="569">
                  <a:moveTo>
                    <a:pt x="108" y="495"/>
                  </a:moveTo>
                  <a:cubicBezTo>
                    <a:pt x="107" y="495"/>
                    <a:pt x="106" y="496"/>
                    <a:pt x="105" y="496"/>
                  </a:cubicBezTo>
                  <a:cubicBezTo>
                    <a:pt x="106" y="496"/>
                    <a:pt x="107" y="495"/>
                    <a:pt x="108" y="495"/>
                  </a:cubicBezTo>
                  <a:moveTo>
                    <a:pt x="98" y="497"/>
                  </a:moveTo>
                  <a:cubicBezTo>
                    <a:pt x="97" y="497"/>
                    <a:pt x="96" y="497"/>
                    <a:pt x="95" y="497"/>
                  </a:cubicBezTo>
                  <a:cubicBezTo>
                    <a:pt x="99" y="497"/>
                    <a:pt x="102" y="497"/>
                    <a:pt x="105" y="496"/>
                  </a:cubicBezTo>
                  <a:cubicBezTo>
                    <a:pt x="105" y="496"/>
                    <a:pt x="105" y="496"/>
                    <a:pt x="105" y="496"/>
                  </a:cubicBezTo>
                  <a:cubicBezTo>
                    <a:pt x="103" y="496"/>
                    <a:pt x="101" y="497"/>
                    <a:pt x="99" y="497"/>
                  </a:cubicBezTo>
                  <a:cubicBezTo>
                    <a:pt x="99" y="497"/>
                    <a:pt x="98" y="497"/>
                    <a:pt x="98" y="497"/>
                  </a:cubicBezTo>
                  <a:moveTo>
                    <a:pt x="59" y="496"/>
                  </a:moveTo>
                  <a:cubicBezTo>
                    <a:pt x="57" y="496"/>
                    <a:pt x="56" y="496"/>
                    <a:pt x="54" y="496"/>
                  </a:cubicBezTo>
                  <a:cubicBezTo>
                    <a:pt x="56" y="496"/>
                    <a:pt x="57" y="496"/>
                    <a:pt x="59" y="496"/>
                  </a:cubicBezTo>
                  <a:cubicBezTo>
                    <a:pt x="60" y="496"/>
                    <a:pt x="60" y="496"/>
                    <a:pt x="61" y="496"/>
                  </a:cubicBezTo>
                  <a:cubicBezTo>
                    <a:pt x="60" y="496"/>
                    <a:pt x="60" y="496"/>
                    <a:pt x="59" y="496"/>
                  </a:cubicBezTo>
                  <a:moveTo>
                    <a:pt x="34" y="471"/>
                  </a:moveTo>
                  <a:cubicBezTo>
                    <a:pt x="34" y="470"/>
                    <a:pt x="34" y="470"/>
                    <a:pt x="34" y="469"/>
                  </a:cubicBezTo>
                  <a:cubicBezTo>
                    <a:pt x="34" y="470"/>
                    <a:pt x="34" y="470"/>
                    <a:pt x="34" y="471"/>
                  </a:cubicBezTo>
                  <a:moveTo>
                    <a:pt x="34" y="472"/>
                  </a:moveTo>
                  <a:cubicBezTo>
                    <a:pt x="34" y="472"/>
                    <a:pt x="34" y="471"/>
                    <a:pt x="34" y="471"/>
                  </a:cubicBezTo>
                  <a:cubicBezTo>
                    <a:pt x="34" y="471"/>
                    <a:pt x="34" y="472"/>
                    <a:pt x="34" y="472"/>
                  </a:cubicBezTo>
                  <a:moveTo>
                    <a:pt x="34" y="473"/>
                  </a:moveTo>
                  <a:cubicBezTo>
                    <a:pt x="34" y="473"/>
                    <a:pt x="34" y="474"/>
                    <a:pt x="34" y="474"/>
                  </a:cubicBezTo>
                  <a:cubicBezTo>
                    <a:pt x="34" y="474"/>
                    <a:pt x="34" y="473"/>
                    <a:pt x="34" y="473"/>
                  </a:cubicBezTo>
                  <a:moveTo>
                    <a:pt x="34" y="466"/>
                  </a:moveTo>
                  <a:cubicBezTo>
                    <a:pt x="34" y="467"/>
                    <a:pt x="34" y="467"/>
                    <a:pt x="34" y="467"/>
                  </a:cubicBezTo>
                  <a:cubicBezTo>
                    <a:pt x="34" y="467"/>
                    <a:pt x="34" y="467"/>
                    <a:pt x="34" y="466"/>
                  </a:cubicBezTo>
                  <a:moveTo>
                    <a:pt x="34" y="476"/>
                  </a:moveTo>
                  <a:cubicBezTo>
                    <a:pt x="34" y="476"/>
                    <a:pt x="34" y="475"/>
                    <a:pt x="34" y="475"/>
                  </a:cubicBezTo>
                  <a:cubicBezTo>
                    <a:pt x="34" y="475"/>
                    <a:pt x="34" y="476"/>
                    <a:pt x="34" y="476"/>
                  </a:cubicBezTo>
                  <a:moveTo>
                    <a:pt x="33" y="479"/>
                  </a:moveTo>
                  <a:cubicBezTo>
                    <a:pt x="33" y="478"/>
                    <a:pt x="34" y="477"/>
                    <a:pt x="34" y="476"/>
                  </a:cubicBezTo>
                  <a:cubicBezTo>
                    <a:pt x="34" y="477"/>
                    <a:pt x="33" y="478"/>
                    <a:pt x="33" y="479"/>
                  </a:cubicBezTo>
                  <a:moveTo>
                    <a:pt x="30" y="485"/>
                  </a:moveTo>
                  <a:cubicBezTo>
                    <a:pt x="31" y="484"/>
                    <a:pt x="31" y="484"/>
                    <a:pt x="31" y="483"/>
                  </a:cubicBezTo>
                  <a:cubicBezTo>
                    <a:pt x="31" y="484"/>
                    <a:pt x="31" y="484"/>
                    <a:pt x="30" y="485"/>
                  </a:cubicBezTo>
                  <a:moveTo>
                    <a:pt x="32" y="481"/>
                  </a:moveTo>
                  <a:cubicBezTo>
                    <a:pt x="32" y="481"/>
                    <a:pt x="32" y="481"/>
                    <a:pt x="32" y="481"/>
                  </a:cubicBezTo>
                  <a:cubicBezTo>
                    <a:pt x="32" y="481"/>
                    <a:pt x="32" y="481"/>
                    <a:pt x="32" y="481"/>
                  </a:cubicBezTo>
                  <a:moveTo>
                    <a:pt x="34" y="465"/>
                  </a:moveTo>
                  <a:cubicBezTo>
                    <a:pt x="34" y="465"/>
                    <a:pt x="35" y="465"/>
                    <a:pt x="35" y="465"/>
                  </a:cubicBezTo>
                  <a:cubicBezTo>
                    <a:pt x="35" y="465"/>
                    <a:pt x="34" y="465"/>
                    <a:pt x="34" y="465"/>
                  </a:cubicBezTo>
                  <a:moveTo>
                    <a:pt x="35" y="463"/>
                  </a:moveTo>
                  <a:cubicBezTo>
                    <a:pt x="35" y="462"/>
                    <a:pt x="36" y="461"/>
                    <a:pt x="36" y="461"/>
                  </a:cubicBezTo>
                  <a:cubicBezTo>
                    <a:pt x="36" y="461"/>
                    <a:pt x="35" y="462"/>
                    <a:pt x="35" y="463"/>
                  </a:cubicBezTo>
                  <a:moveTo>
                    <a:pt x="37" y="460"/>
                  </a:moveTo>
                  <a:cubicBezTo>
                    <a:pt x="37" y="459"/>
                    <a:pt x="37" y="459"/>
                    <a:pt x="37" y="458"/>
                  </a:cubicBezTo>
                  <a:cubicBezTo>
                    <a:pt x="37" y="459"/>
                    <a:pt x="37" y="459"/>
                    <a:pt x="37" y="460"/>
                  </a:cubicBezTo>
                  <a:moveTo>
                    <a:pt x="37" y="282"/>
                  </a:moveTo>
                  <a:cubicBezTo>
                    <a:pt x="38" y="282"/>
                    <a:pt x="38" y="282"/>
                    <a:pt x="38" y="282"/>
                  </a:cubicBezTo>
                  <a:cubicBezTo>
                    <a:pt x="38" y="282"/>
                    <a:pt x="38" y="282"/>
                    <a:pt x="37" y="282"/>
                  </a:cubicBezTo>
                  <a:moveTo>
                    <a:pt x="38" y="281"/>
                  </a:moveTo>
                  <a:cubicBezTo>
                    <a:pt x="38" y="281"/>
                    <a:pt x="38" y="281"/>
                    <a:pt x="38" y="281"/>
                  </a:cubicBezTo>
                  <a:cubicBezTo>
                    <a:pt x="38" y="281"/>
                    <a:pt x="38" y="281"/>
                    <a:pt x="38" y="281"/>
                  </a:cubicBezTo>
                  <a:moveTo>
                    <a:pt x="38" y="275"/>
                  </a:moveTo>
                  <a:cubicBezTo>
                    <a:pt x="38" y="274"/>
                    <a:pt x="38" y="274"/>
                    <a:pt x="37" y="273"/>
                  </a:cubicBezTo>
                  <a:cubicBezTo>
                    <a:pt x="38" y="274"/>
                    <a:pt x="38" y="275"/>
                    <a:pt x="38" y="276"/>
                  </a:cubicBezTo>
                  <a:cubicBezTo>
                    <a:pt x="38" y="276"/>
                    <a:pt x="38" y="275"/>
                    <a:pt x="38" y="275"/>
                  </a:cubicBezTo>
                  <a:moveTo>
                    <a:pt x="38" y="278"/>
                  </a:moveTo>
                  <a:cubicBezTo>
                    <a:pt x="39" y="278"/>
                    <a:pt x="39" y="279"/>
                    <a:pt x="38" y="279"/>
                  </a:cubicBezTo>
                  <a:cubicBezTo>
                    <a:pt x="39" y="279"/>
                    <a:pt x="39" y="278"/>
                    <a:pt x="38" y="278"/>
                  </a:cubicBezTo>
                  <a:moveTo>
                    <a:pt x="38" y="278"/>
                  </a:moveTo>
                  <a:cubicBezTo>
                    <a:pt x="38" y="277"/>
                    <a:pt x="38" y="277"/>
                    <a:pt x="38" y="277"/>
                  </a:cubicBezTo>
                  <a:cubicBezTo>
                    <a:pt x="38" y="277"/>
                    <a:pt x="38" y="277"/>
                    <a:pt x="38" y="278"/>
                  </a:cubicBezTo>
                  <a:moveTo>
                    <a:pt x="38" y="457"/>
                  </a:moveTo>
                  <a:cubicBezTo>
                    <a:pt x="38" y="456"/>
                    <a:pt x="38" y="456"/>
                    <a:pt x="38" y="456"/>
                  </a:cubicBezTo>
                  <a:cubicBezTo>
                    <a:pt x="38" y="456"/>
                    <a:pt x="38" y="456"/>
                    <a:pt x="38" y="457"/>
                  </a:cubicBezTo>
                  <a:moveTo>
                    <a:pt x="30" y="485"/>
                  </a:moveTo>
                  <a:cubicBezTo>
                    <a:pt x="30" y="486"/>
                    <a:pt x="29" y="486"/>
                    <a:pt x="29" y="487"/>
                  </a:cubicBezTo>
                  <a:cubicBezTo>
                    <a:pt x="29" y="486"/>
                    <a:pt x="30" y="486"/>
                    <a:pt x="30" y="485"/>
                  </a:cubicBezTo>
                  <a:moveTo>
                    <a:pt x="26" y="306"/>
                  </a:moveTo>
                  <a:cubicBezTo>
                    <a:pt x="26" y="307"/>
                    <a:pt x="26" y="308"/>
                    <a:pt x="26" y="308"/>
                  </a:cubicBezTo>
                  <a:cubicBezTo>
                    <a:pt x="26" y="308"/>
                    <a:pt x="26" y="307"/>
                    <a:pt x="26" y="306"/>
                  </a:cubicBezTo>
                  <a:moveTo>
                    <a:pt x="26" y="303"/>
                  </a:moveTo>
                  <a:cubicBezTo>
                    <a:pt x="26" y="304"/>
                    <a:pt x="26" y="305"/>
                    <a:pt x="26" y="306"/>
                  </a:cubicBezTo>
                  <a:cubicBezTo>
                    <a:pt x="26" y="305"/>
                    <a:pt x="26" y="304"/>
                    <a:pt x="26" y="303"/>
                  </a:cubicBezTo>
                  <a:moveTo>
                    <a:pt x="36" y="284"/>
                  </a:moveTo>
                  <a:cubicBezTo>
                    <a:pt x="36" y="284"/>
                    <a:pt x="36" y="284"/>
                    <a:pt x="35" y="284"/>
                  </a:cubicBezTo>
                  <a:cubicBezTo>
                    <a:pt x="36" y="284"/>
                    <a:pt x="36" y="284"/>
                    <a:pt x="36" y="284"/>
                  </a:cubicBezTo>
                  <a:moveTo>
                    <a:pt x="35" y="285"/>
                  </a:moveTo>
                  <a:cubicBezTo>
                    <a:pt x="35" y="285"/>
                    <a:pt x="34" y="285"/>
                    <a:pt x="34" y="285"/>
                  </a:cubicBezTo>
                  <a:cubicBezTo>
                    <a:pt x="34" y="285"/>
                    <a:pt x="35" y="285"/>
                    <a:pt x="35" y="285"/>
                  </a:cubicBezTo>
                  <a:moveTo>
                    <a:pt x="33" y="286"/>
                  </a:moveTo>
                  <a:cubicBezTo>
                    <a:pt x="33" y="286"/>
                    <a:pt x="34" y="286"/>
                    <a:pt x="34" y="286"/>
                  </a:cubicBezTo>
                  <a:cubicBezTo>
                    <a:pt x="34" y="286"/>
                    <a:pt x="33" y="286"/>
                    <a:pt x="33" y="286"/>
                  </a:cubicBezTo>
                  <a:moveTo>
                    <a:pt x="37" y="282"/>
                  </a:moveTo>
                  <a:cubicBezTo>
                    <a:pt x="37" y="282"/>
                    <a:pt x="37" y="283"/>
                    <a:pt x="37" y="283"/>
                  </a:cubicBezTo>
                  <a:cubicBezTo>
                    <a:pt x="37" y="283"/>
                    <a:pt x="37" y="282"/>
                    <a:pt x="37" y="282"/>
                  </a:cubicBezTo>
                  <a:moveTo>
                    <a:pt x="40" y="258"/>
                  </a:moveTo>
                  <a:cubicBezTo>
                    <a:pt x="40" y="259"/>
                    <a:pt x="39" y="260"/>
                    <a:pt x="39" y="261"/>
                  </a:cubicBezTo>
                  <a:cubicBezTo>
                    <a:pt x="39" y="260"/>
                    <a:pt x="40" y="259"/>
                    <a:pt x="40" y="258"/>
                  </a:cubicBezTo>
                  <a:moveTo>
                    <a:pt x="41" y="153"/>
                  </a:moveTo>
                  <a:cubicBezTo>
                    <a:pt x="42" y="153"/>
                    <a:pt x="42" y="152"/>
                    <a:pt x="42" y="151"/>
                  </a:cubicBezTo>
                  <a:cubicBezTo>
                    <a:pt x="42" y="151"/>
                    <a:pt x="42" y="151"/>
                    <a:pt x="42" y="151"/>
                  </a:cubicBezTo>
                  <a:cubicBezTo>
                    <a:pt x="42" y="152"/>
                    <a:pt x="42" y="153"/>
                    <a:pt x="41" y="153"/>
                  </a:cubicBezTo>
                  <a:moveTo>
                    <a:pt x="45" y="247"/>
                  </a:moveTo>
                  <a:cubicBezTo>
                    <a:pt x="45" y="247"/>
                    <a:pt x="45" y="247"/>
                    <a:pt x="45" y="246"/>
                  </a:cubicBezTo>
                  <a:cubicBezTo>
                    <a:pt x="45" y="247"/>
                    <a:pt x="45" y="247"/>
                    <a:pt x="45" y="247"/>
                  </a:cubicBezTo>
                  <a:moveTo>
                    <a:pt x="46" y="245"/>
                  </a:moveTo>
                  <a:cubicBezTo>
                    <a:pt x="46" y="245"/>
                    <a:pt x="46" y="244"/>
                    <a:pt x="46" y="244"/>
                  </a:cubicBezTo>
                  <a:cubicBezTo>
                    <a:pt x="46" y="244"/>
                    <a:pt x="46" y="245"/>
                    <a:pt x="46" y="245"/>
                  </a:cubicBezTo>
                  <a:moveTo>
                    <a:pt x="46" y="243"/>
                  </a:moveTo>
                  <a:cubicBezTo>
                    <a:pt x="46" y="243"/>
                    <a:pt x="46" y="242"/>
                    <a:pt x="46" y="242"/>
                  </a:cubicBezTo>
                  <a:cubicBezTo>
                    <a:pt x="46" y="242"/>
                    <a:pt x="46" y="243"/>
                    <a:pt x="46" y="243"/>
                  </a:cubicBezTo>
                  <a:moveTo>
                    <a:pt x="48" y="495"/>
                  </a:moveTo>
                  <a:cubicBezTo>
                    <a:pt x="47" y="495"/>
                    <a:pt x="46" y="495"/>
                    <a:pt x="45" y="495"/>
                  </a:cubicBezTo>
                  <a:cubicBezTo>
                    <a:pt x="46" y="495"/>
                    <a:pt x="47" y="495"/>
                    <a:pt x="48" y="495"/>
                  </a:cubicBezTo>
                  <a:moveTo>
                    <a:pt x="43" y="496"/>
                  </a:moveTo>
                  <a:cubicBezTo>
                    <a:pt x="42" y="496"/>
                    <a:pt x="41" y="496"/>
                    <a:pt x="41" y="496"/>
                  </a:cubicBezTo>
                  <a:cubicBezTo>
                    <a:pt x="41" y="496"/>
                    <a:pt x="42" y="496"/>
                    <a:pt x="43" y="496"/>
                  </a:cubicBezTo>
                  <a:moveTo>
                    <a:pt x="52" y="496"/>
                  </a:moveTo>
                  <a:cubicBezTo>
                    <a:pt x="51" y="496"/>
                    <a:pt x="51" y="496"/>
                    <a:pt x="50" y="495"/>
                  </a:cubicBezTo>
                  <a:cubicBezTo>
                    <a:pt x="51" y="496"/>
                    <a:pt x="51" y="496"/>
                    <a:pt x="52" y="496"/>
                  </a:cubicBezTo>
                  <a:moveTo>
                    <a:pt x="50" y="495"/>
                  </a:moveTo>
                  <a:cubicBezTo>
                    <a:pt x="49" y="495"/>
                    <a:pt x="48" y="495"/>
                    <a:pt x="48" y="495"/>
                  </a:cubicBezTo>
                  <a:cubicBezTo>
                    <a:pt x="48" y="495"/>
                    <a:pt x="49" y="495"/>
                    <a:pt x="50" y="495"/>
                  </a:cubicBezTo>
                  <a:moveTo>
                    <a:pt x="45" y="495"/>
                  </a:moveTo>
                  <a:cubicBezTo>
                    <a:pt x="44" y="495"/>
                    <a:pt x="44" y="495"/>
                    <a:pt x="43" y="495"/>
                  </a:cubicBezTo>
                  <a:cubicBezTo>
                    <a:pt x="44" y="495"/>
                    <a:pt x="44" y="495"/>
                    <a:pt x="45" y="495"/>
                  </a:cubicBezTo>
                  <a:moveTo>
                    <a:pt x="0" y="373"/>
                  </a:moveTo>
                  <a:cubicBezTo>
                    <a:pt x="0" y="373"/>
                    <a:pt x="0" y="373"/>
                    <a:pt x="0" y="373"/>
                  </a:cubicBezTo>
                  <a:cubicBezTo>
                    <a:pt x="0" y="373"/>
                    <a:pt x="0" y="373"/>
                    <a:pt x="0" y="373"/>
                  </a:cubicBezTo>
                  <a:moveTo>
                    <a:pt x="0" y="372"/>
                  </a:moveTo>
                  <a:cubicBezTo>
                    <a:pt x="0" y="372"/>
                    <a:pt x="0" y="372"/>
                    <a:pt x="0" y="373"/>
                  </a:cubicBezTo>
                  <a:cubicBezTo>
                    <a:pt x="0" y="372"/>
                    <a:pt x="0" y="372"/>
                    <a:pt x="0" y="372"/>
                  </a:cubicBezTo>
                  <a:moveTo>
                    <a:pt x="1" y="376"/>
                  </a:moveTo>
                  <a:cubicBezTo>
                    <a:pt x="1" y="375"/>
                    <a:pt x="0" y="375"/>
                    <a:pt x="0" y="375"/>
                  </a:cubicBezTo>
                  <a:cubicBezTo>
                    <a:pt x="0" y="375"/>
                    <a:pt x="1" y="375"/>
                    <a:pt x="1" y="376"/>
                  </a:cubicBezTo>
                  <a:moveTo>
                    <a:pt x="0" y="375"/>
                  </a:moveTo>
                  <a:cubicBezTo>
                    <a:pt x="0" y="375"/>
                    <a:pt x="0" y="375"/>
                    <a:pt x="0" y="374"/>
                  </a:cubicBezTo>
                  <a:cubicBezTo>
                    <a:pt x="0" y="375"/>
                    <a:pt x="0" y="375"/>
                    <a:pt x="0" y="375"/>
                  </a:cubicBezTo>
                  <a:moveTo>
                    <a:pt x="0" y="374"/>
                  </a:moveTo>
                  <a:cubicBezTo>
                    <a:pt x="0" y="374"/>
                    <a:pt x="0" y="374"/>
                    <a:pt x="0" y="374"/>
                  </a:cubicBezTo>
                  <a:cubicBezTo>
                    <a:pt x="0" y="374"/>
                    <a:pt x="0" y="374"/>
                    <a:pt x="0" y="374"/>
                  </a:cubicBezTo>
                  <a:moveTo>
                    <a:pt x="1" y="359"/>
                  </a:moveTo>
                  <a:cubicBezTo>
                    <a:pt x="1" y="359"/>
                    <a:pt x="1" y="360"/>
                    <a:pt x="1" y="360"/>
                  </a:cubicBezTo>
                  <a:cubicBezTo>
                    <a:pt x="1" y="360"/>
                    <a:pt x="1" y="359"/>
                    <a:pt x="1" y="359"/>
                  </a:cubicBezTo>
                  <a:moveTo>
                    <a:pt x="0" y="362"/>
                  </a:moveTo>
                  <a:cubicBezTo>
                    <a:pt x="0" y="363"/>
                    <a:pt x="0" y="363"/>
                    <a:pt x="0" y="363"/>
                  </a:cubicBezTo>
                  <a:cubicBezTo>
                    <a:pt x="0" y="363"/>
                    <a:pt x="0" y="363"/>
                    <a:pt x="0" y="362"/>
                  </a:cubicBezTo>
                  <a:moveTo>
                    <a:pt x="447" y="26"/>
                  </a:moveTo>
                  <a:cubicBezTo>
                    <a:pt x="447" y="26"/>
                    <a:pt x="448" y="26"/>
                    <a:pt x="448" y="26"/>
                  </a:cubicBezTo>
                  <a:cubicBezTo>
                    <a:pt x="448" y="26"/>
                    <a:pt x="448" y="26"/>
                    <a:pt x="448" y="26"/>
                  </a:cubicBezTo>
                  <a:cubicBezTo>
                    <a:pt x="451" y="24"/>
                    <a:pt x="447" y="26"/>
                    <a:pt x="447" y="26"/>
                  </a:cubicBezTo>
                  <a:moveTo>
                    <a:pt x="499" y="314"/>
                  </a:moveTo>
                  <a:cubicBezTo>
                    <a:pt x="499" y="313"/>
                    <a:pt x="500" y="313"/>
                    <a:pt x="500" y="313"/>
                  </a:cubicBezTo>
                  <a:cubicBezTo>
                    <a:pt x="500" y="313"/>
                    <a:pt x="499" y="313"/>
                    <a:pt x="499" y="314"/>
                  </a:cubicBezTo>
                  <a:moveTo>
                    <a:pt x="731" y="104"/>
                  </a:moveTo>
                  <a:cubicBezTo>
                    <a:pt x="732" y="100"/>
                    <a:pt x="727" y="98"/>
                    <a:pt x="724" y="97"/>
                  </a:cubicBezTo>
                  <a:cubicBezTo>
                    <a:pt x="719" y="96"/>
                    <a:pt x="714" y="96"/>
                    <a:pt x="709" y="96"/>
                  </a:cubicBezTo>
                  <a:cubicBezTo>
                    <a:pt x="705" y="96"/>
                    <a:pt x="703" y="97"/>
                    <a:pt x="699" y="98"/>
                  </a:cubicBezTo>
                  <a:cubicBezTo>
                    <a:pt x="695" y="100"/>
                    <a:pt x="694" y="103"/>
                    <a:pt x="689" y="102"/>
                  </a:cubicBezTo>
                  <a:cubicBezTo>
                    <a:pt x="684" y="101"/>
                    <a:pt x="677" y="98"/>
                    <a:pt x="672" y="99"/>
                  </a:cubicBezTo>
                  <a:cubicBezTo>
                    <a:pt x="671" y="99"/>
                    <a:pt x="670" y="100"/>
                    <a:pt x="669" y="100"/>
                  </a:cubicBezTo>
                  <a:cubicBezTo>
                    <a:pt x="669" y="101"/>
                    <a:pt x="669" y="101"/>
                    <a:pt x="668" y="102"/>
                  </a:cubicBezTo>
                  <a:cubicBezTo>
                    <a:pt x="668" y="102"/>
                    <a:pt x="667" y="102"/>
                    <a:pt x="667" y="102"/>
                  </a:cubicBezTo>
                  <a:cubicBezTo>
                    <a:pt x="665" y="103"/>
                    <a:pt x="665" y="104"/>
                    <a:pt x="663" y="104"/>
                  </a:cubicBezTo>
                  <a:cubicBezTo>
                    <a:pt x="661" y="105"/>
                    <a:pt x="661" y="104"/>
                    <a:pt x="659" y="103"/>
                  </a:cubicBezTo>
                  <a:cubicBezTo>
                    <a:pt x="659" y="103"/>
                    <a:pt x="659" y="103"/>
                    <a:pt x="659" y="103"/>
                  </a:cubicBezTo>
                  <a:cubicBezTo>
                    <a:pt x="658" y="104"/>
                    <a:pt x="656" y="104"/>
                    <a:pt x="655" y="103"/>
                  </a:cubicBezTo>
                  <a:cubicBezTo>
                    <a:pt x="652" y="103"/>
                    <a:pt x="650" y="102"/>
                    <a:pt x="648" y="101"/>
                  </a:cubicBezTo>
                  <a:cubicBezTo>
                    <a:pt x="647" y="100"/>
                    <a:pt x="646" y="99"/>
                    <a:pt x="645" y="99"/>
                  </a:cubicBezTo>
                  <a:cubicBezTo>
                    <a:pt x="644" y="99"/>
                    <a:pt x="643" y="98"/>
                    <a:pt x="641" y="98"/>
                  </a:cubicBezTo>
                  <a:cubicBezTo>
                    <a:pt x="640" y="98"/>
                    <a:pt x="639" y="98"/>
                    <a:pt x="638" y="98"/>
                  </a:cubicBezTo>
                  <a:cubicBezTo>
                    <a:pt x="637" y="98"/>
                    <a:pt x="636" y="98"/>
                    <a:pt x="636" y="98"/>
                  </a:cubicBezTo>
                  <a:cubicBezTo>
                    <a:pt x="635" y="99"/>
                    <a:pt x="635" y="99"/>
                    <a:pt x="634" y="99"/>
                  </a:cubicBezTo>
                  <a:cubicBezTo>
                    <a:pt x="633" y="100"/>
                    <a:pt x="632" y="100"/>
                    <a:pt x="631" y="99"/>
                  </a:cubicBezTo>
                  <a:cubicBezTo>
                    <a:pt x="629" y="99"/>
                    <a:pt x="627" y="99"/>
                    <a:pt x="625" y="99"/>
                  </a:cubicBezTo>
                  <a:cubicBezTo>
                    <a:pt x="623" y="98"/>
                    <a:pt x="622" y="97"/>
                    <a:pt x="621" y="96"/>
                  </a:cubicBezTo>
                  <a:cubicBezTo>
                    <a:pt x="619" y="94"/>
                    <a:pt x="617" y="93"/>
                    <a:pt x="617" y="91"/>
                  </a:cubicBezTo>
                  <a:cubicBezTo>
                    <a:pt x="616" y="90"/>
                    <a:pt x="616" y="88"/>
                    <a:pt x="617" y="87"/>
                  </a:cubicBezTo>
                  <a:cubicBezTo>
                    <a:pt x="618" y="85"/>
                    <a:pt x="621" y="85"/>
                    <a:pt x="623" y="84"/>
                  </a:cubicBezTo>
                  <a:cubicBezTo>
                    <a:pt x="623" y="83"/>
                    <a:pt x="623" y="83"/>
                    <a:pt x="623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3" y="80"/>
                    <a:pt x="620" y="78"/>
                    <a:pt x="617" y="77"/>
                  </a:cubicBezTo>
                  <a:cubicBezTo>
                    <a:pt x="615" y="76"/>
                    <a:pt x="614" y="75"/>
                    <a:pt x="611" y="74"/>
                  </a:cubicBezTo>
                  <a:cubicBezTo>
                    <a:pt x="609" y="73"/>
                    <a:pt x="607" y="73"/>
                    <a:pt x="605" y="73"/>
                  </a:cubicBezTo>
                  <a:cubicBezTo>
                    <a:pt x="600" y="72"/>
                    <a:pt x="596" y="69"/>
                    <a:pt x="592" y="68"/>
                  </a:cubicBezTo>
                  <a:cubicBezTo>
                    <a:pt x="589" y="68"/>
                    <a:pt x="587" y="66"/>
                    <a:pt x="584" y="65"/>
                  </a:cubicBezTo>
                  <a:cubicBezTo>
                    <a:pt x="584" y="67"/>
                    <a:pt x="584" y="69"/>
                    <a:pt x="583" y="70"/>
                  </a:cubicBezTo>
                  <a:cubicBezTo>
                    <a:pt x="583" y="71"/>
                    <a:pt x="582" y="71"/>
                    <a:pt x="582" y="73"/>
                  </a:cubicBezTo>
                  <a:cubicBezTo>
                    <a:pt x="581" y="74"/>
                    <a:pt x="582" y="75"/>
                    <a:pt x="581" y="76"/>
                  </a:cubicBezTo>
                  <a:cubicBezTo>
                    <a:pt x="580" y="78"/>
                    <a:pt x="579" y="77"/>
                    <a:pt x="577" y="77"/>
                  </a:cubicBezTo>
                  <a:cubicBezTo>
                    <a:pt x="569" y="78"/>
                    <a:pt x="560" y="77"/>
                    <a:pt x="552" y="77"/>
                  </a:cubicBezTo>
                  <a:cubicBezTo>
                    <a:pt x="549" y="77"/>
                    <a:pt x="547" y="78"/>
                    <a:pt x="545" y="78"/>
                  </a:cubicBezTo>
                  <a:cubicBezTo>
                    <a:pt x="543" y="78"/>
                    <a:pt x="541" y="77"/>
                    <a:pt x="540" y="76"/>
                  </a:cubicBezTo>
                  <a:cubicBezTo>
                    <a:pt x="538" y="75"/>
                    <a:pt x="536" y="74"/>
                    <a:pt x="534" y="73"/>
                  </a:cubicBezTo>
                  <a:cubicBezTo>
                    <a:pt x="534" y="72"/>
                    <a:pt x="532" y="70"/>
                    <a:pt x="531" y="70"/>
                  </a:cubicBezTo>
                  <a:cubicBezTo>
                    <a:pt x="529" y="69"/>
                    <a:pt x="525" y="71"/>
                    <a:pt x="522" y="70"/>
                  </a:cubicBezTo>
                  <a:cubicBezTo>
                    <a:pt x="517" y="70"/>
                    <a:pt x="512" y="68"/>
                    <a:pt x="506" y="67"/>
                  </a:cubicBezTo>
                  <a:cubicBezTo>
                    <a:pt x="504" y="58"/>
                    <a:pt x="497" y="61"/>
                    <a:pt x="490" y="58"/>
                  </a:cubicBezTo>
                  <a:cubicBezTo>
                    <a:pt x="488" y="57"/>
                    <a:pt x="486" y="56"/>
                    <a:pt x="484" y="54"/>
                  </a:cubicBezTo>
                  <a:cubicBezTo>
                    <a:pt x="481" y="52"/>
                    <a:pt x="475" y="50"/>
                    <a:pt x="475" y="46"/>
                  </a:cubicBezTo>
                  <a:cubicBezTo>
                    <a:pt x="472" y="45"/>
                    <a:pt x="471" y="48"/>
                    <a:pt x="469" y="49"/>
                  </a:cubicBezTo>
                  <a:cubicBezTo>
                    <a:pt x="467" y="51"/>
                    <a:pt x="465" y="50"/>
                    <a:pt x="464" y="46"/>
                  </a:cubicBezTo>
                  <a:cubicBezTo>
                    <a:pt x="463" y="42"/>
                    <a:pt x="469" y="39"/>
                    <a:pt x="466" y="35"/>
                  </a:cubicBezTo>
                  <a:cubicBezTo>
                    <a:pt x="465" y="33"/>
                    <a:pt x="463" y="34"/>
                    <a:pt x="462" y="33"/>
                  </a:cubicBezTo>
                  <a:cubicBezTo>
                    <a:pt x="461" y="33"/>
                    <a:pt x="460" y="33"/>
                    <a:pt x="459" y="33"/>
                  </a:cubicBezTo>
                  <a:cubicBezTo>
                    <a:pt x="458" y="32"/>
                    <a:pt x="457" y="32"/>
                    <a:pt x="456" y="31"/>
                  </a:cubicBezTo>
                  <a:cubicBezTo>
                    <a:pt x="456" y="31"/>
                    <a:pt x="455" y="30"/>
                    <a:pt x="453" y="30"/>
                  </a:cubicBezTo>
                  <a:cubicBezTo>
                    <a:pt x="453" y="30"/>
                    <a:pt x="452" y="29"/>
                    <a:pt x="451" y="28"/>
                  </a:cubicBezTo>
                  <a:cubicBezTo>
                    <a:pt x="450" y="27"/>
                    <a:pt x="449" y="27"/>
                    <a:pt x="448" y="26"/>
                  </a:cubicBezTo>
                  <a:cubicBezTo>
                    <a:pt x="444" y="29"/>
                    <a:pt x="439" y="31"/>
                    <a:pt x="434" y="31"/>
                  </a:cubicBezTo>
                  <a:cubicBezTo>
                    <a:pt x="429" y="31"/>
                    <a:pt x="424" y="32"/>
                    <a:pt x="419" y="31"/>
                  </a:cubicBezTo>
                  <a:cubicBezTo>
                    <a:pt x="413" y="31"/>
                    <a:pt x="406" y="29"/>
                    <a:pt x="400" y="28"/>
                  </a:cubicBezTo>
                  <a:cubicBezTo>
                    <a:pt x="393" y="28"/>
                    <a:pt x="386" y="27"/>
                    <a:pt x="379" y="27"/>
                  </a:cubicBezTo>
                  <a:cubicBezTo>
                    <a:pt x="377" y="27"/>
                    <a:pt x="375" y="27"/>
                    <a:pt x="373" y="28"/>
                  </a:cubicBezTo>
                  <a:cubicBezTo>
                    <a:pt x="372" y="29"/>
                    <a:pt x="372" y="31"/>
                    <a:pt x="371" y="31"/>
                  </a:cubicBezTo>
                  <a:cubicBezTo>
                    <a:pt x="369" y="32"/>
                    <a:pt x="367" y="29"/>
                    <a:pt x="365" y="28"/>
                  </a:cubicBezTo>
                  <a:cubicBezTo>
                    <a:pt x="363" y="27"/>
                    <a:pt x="362" y="27"/>
                    <a:pt x="360" y="26"/>
                  </a:cubicBezTo>
                  <a:cubicBezTo>
                    <a:pt x="355" y="24"/>
                    <a:pt x="350" y="24"/>
                    <a:pt x="346" y="24"/>
                  </a:cubicBezTo>
                  <a:cubicBezTo>
                    <a:pt x="340" y="23"/>
                    <a:pt x="334" y="24"/>
                    <a:pt x="328" y="24"/>
                  </a:cubicBezTo>
                  <a:cubicBezTo>
                    <a:pt x="319" y="24"/>
                    <a:pt x="311" y="23"/>
                    <a:pt x="303" y="26"/>
                  </a:cubicBezTo>
                  <a:cubicBezTo>
                    <a:pt x="299" y="28"/>
                    <a:pt x="296" y="27"/>
                    <a:pt x="292" y="27"/>
                  </a:cubicBezTo>
                  <a:cubicBezTo>
                    <a:pt x="288" y="27"/>
                    <a:pt x="288" y="27"/>
                    <a:pt x="285" y="25"/>
                  </a:cubicBezTo>
                  <a:cubicBezTo>
                    <a:pt x="279" y="23"/>
                    <a:pt x="272" y="23"/>
                    <a:pt x="266" y="22"/>
                  </a:cubicBezTo>
                  <a:cubicBezTo>
                    <a:pt x="263" y="22"/>
                    <a:pt x="259" y="21"/>
                    <a:pt x="256" y="21"/>
                  </a:cubicBezTo>
                  <a:cubicBezTo>
                    <a:pt x="252" y="20"/>
                    <a:pt x="249" y="20"/>
                    <a:pt x="246" y="20"/>
                  </a:cubicBezTo>
                  <a:cubicBezTo>
                    <a:pt x="244" y="19"/>
                    <a:pt x="242" y="18"/>
                    <a:pt x="240" y="18"/>
                  </a:cubicBezTo>
                  <a:cubicBezTo>
                    <a:pt x="236" y="16"/>
                    <a:pt x="231" y="17"/>
                    <a:pt x="227" y="16"/>
                  </a:cubicBezTo>
                  <a:cubicBezTo>
                    <a:pt x="226" y="11"/>
                    <a:pt x="220" y="12"/>
                    <a:pt x="216" y="12"/>
                  </a:cubicBezTo>
                  <a:cubicBezTo>
                    <a:pt x="214" y="13"/>
                    <a:pt x="212" y="14"/>
                    <a:pt x="209" y="15"/>
                  </a:cubicBezTo>
                  <a:cubicBezTo>
                    <a:pt x="208" y="15"/>
                    <a:pt x="207" y="15"/>
                    <a:pt x="205" y="15"/>
                  </a:cubicBezTo>
                  <a:cubicBezTo>
                    <a:pt x="204" y="16"/>
                    <a:pt x="203" y="16"/>
                    <a:pt x="201" y="16"/>
                  </a:cubicBezTo>
                  <a:cubicBezTo>
                    <a:pt x="194" y="18"/>
                    <a:pt x="185" y="17"/>
                    <a:pt x="178" y="17"/>
                  </a:cubicBezTo>
                  <a:cubicBezTo>
                    <a:pt x="157" y="17"/>
                    <a:pt x="157" y="17"/>
                    <a:pt x="157" y="17"/>
                  </a:cubicBezTo>
                  <a:cubicBezTo>
                    <a:pt x="153" y="17"/>
                    <a:pt x="148" y="18"/>
                    <a:pt x="144" y="15"/>
                  </a:cubicBezTo>
                  <a:cubicBezTo>
                    <a:pt x="139" y="13"/>
                    <a:pt x="135" y="10"/>
                    <a:pt x="130" y="8"/>
                  </a:cubicBezTo>
                  <a:cubicBezTo>
                    <a:pt x="125" y="5"/>
                    <a:pt x="121" y="4"/>
                    <a:pt x="116" y="3"/>
                  </a:cubicBezTo>
                  <a:cubicBezTo>
                    <a:pt x="109" y="2"/>
                    <a:pt x="101" y="0"/>
                    <a:pt x="95" y="2"/>
                  </a:cubicBezTo>
                  <a:cubicBezTo>
                    <a:pt x="88" y="4"/>
                    <a:pt x="87" y="10"/>
                    <a:pt x="83" y="15"/>
                  </a:cubicBezTo>
                  <a:cubicBezTo>
                    <a:pt x="82" y="17"/>
                    <a:pt x="80" y="17"/>
                    <a:pt x="80" y="19"/>
                  </a:cubicBezTo>
                  <a:cubicBezTo>
                    <a:pt x="80" y="20"/>
                    <a:pt x="81" y="22"/>
                    <a:pt x="81" y="23"/>
                  </a:cubicBezTo>
                  <a:cubicBezTo>
                    <a:pt x="82" y="25"/>
                    <a:pt x="83" y="31"/>
                    <a:pt x="81" y="33"/>
                  </a:cubicBezTo>
                  <a:cubicBezTo>
                    <a:pt x="80" y="33"/>
                    <a:pt x="77" y="33"/>
                    <a:pt x="76" y="33"/>
                  </a:cubicBezTo>
                  <a:cubicBezTo>
                    <a:pt x="73" y="33"/>
                    <a:pt x="73" y="33"/>
                    <a:pt x="72" y="35"/>
                  </a:cubicBezTo>
                  <a:cubicBezTo>
                    <a:pt x="71" y="36"/>
                    <a:pt x="70" y="37"/>
                    <a:pt x="68" y="38"/>
                  </a:cubicBezTo>
                  <a:cubicBezTo>
                    <a:pt x="67" y="38"/>
                    <a:pt x="66" y="38"/>
                    <a:pt x="65" y="38"/>
                  </a:cubicBezTo>
                  <a:cubicBezTo>
                    <a:pt x="64" y="38"/>
                    <a:pt x="64" y="39"/>
                    <a:pt x="63" y="39"/>
                  </a:cubicBezTo>
                  <a:cubicBezTo>
                    <a:pt x="59" y="41"/>
                    <a:pt x="54" y="39"/>
                    <a:pt x="49" y="39"/>
                  </a:cubicBezTo>
                  <a:cubicBezTo>
                    <a:pt x="47" y="39"/>
                    <a:pt x="45" y="39"/>
                    <a:pt x="43" y="40"/>
                  </a:cubicBezTo>
                  <a:cubicBezTo>
                    <a:pt x="41" y="40"/>
                    <a:pt x="39" y="42"/>
                    <a:pt x="37" y="43"/>
                  </a:cubicBezTo>
                  <a:cubicBezTo>
                    <a:pt x="33" y="45"/>
                    <a:pt x="30" y="48"/>
                    <a:pt x="27" y="51"/>
                  </a:cubicBezTo>
                  <a:cubicBezTo>
                    <a:pt x="26" y="52"/>
                    <a:pt x="24" y="54"/>
                    <a:pt x="24" y="55"/>
                  </a:cubicBezTo>
                  <a:cubicBezTo>
                    <a:pt x="23" y="56"/>
                    <a:pt x="23" y="58"/>
                    <a:pt x="23" y="60"/>
                  </a:cubicBezTo>
                  <a:cubicBezTo>
                    <a:pt x="23" y="62"/>
                    <a:pt x="23" y="64"/>
                    <a:pt x="23" y="66"/>
                  </a:cubicBezTo>
                  <a:cubicBezTo>
                    <a:pt x="24" y="69"/>
                    <a:pt x="24" y="68"/>
                    <a:pt x="27" y="69"/>
                  </a:cubicBezTo>
                  <a:cubicBezTo>
                    <a:pt x="29" y="70"/>
                    <a:pt x="29" y="70"/>
                    <a:pt x="29" y="73"/>
                  </a:cubicBezTo>
                  <a:cubicBezTo>
                    <a:pt x="29" y="74"/>
                    <a:pt x="29" y="75"/>
                    <a:pt x="30" y="77"/>
                  </a:cubicBezTo>
                  <a:cubicBezTo>
                    <a:pt x="30" y="78"/>
                    <a:pt x="31" y="82"/>
                    <a:pt x="32" y="82"/>
                  </a:cubicBezTo>
                  <a:cubicBezTo>
                    <a:pt x="34" y="84"/>
                    <a:pt x="34" y="81"/>
                    <a:pt x="35" y="80"/>
                  </a:cubicBezTo>
                  <a:cubicBezTo>
                    <a:pt x="40" y="86"/>
                    <a:pt x="32" y="89"/>
                    <a:pt x="34" y="96"/>
                  </a:cubicBezTo>
                  <a:cubicBezTo>
                    <a:pt x="35" y="101"/>
                    <a:pt x="42" y="98"/>
                    <a:pt x="45" y="96"/>
                  </a:cubicBezTo>
                  <a:cubicBezTo>
                    <a:pt x="46" y="94"/>
                    <a:pt x="46" y="90"/>
                    <a:pt x="48" y="89"/>
                  </a:cubicBezTo>
                  <a:cubicBezTo>
                    <a:pt x="49" y="89"/>
                    <a:pt x="52" y="90"/>
                    <a:pt x="53" y="92"/>
                  </a:cubicBezTo>
                  <a:cubicBezTo>
                    <a:pt x="53" y="93"/>
                    <a:pt x="52" y="93"/>
                    <a:pt x="51" y="95"/>
                  </a:cubicBezTo>
                  <a:cubicBezTo>
                    <a:pt x="51" y="96"/>
                    <a:pt x="51" y="99"/>
                    <a:pt x="51" y="101"/>
                  </a:cubicBezTo>
                  <a:cubicBezTo>
                    <a:pt x="51" y="105"/>
                    <a:pt x="49" y="108"/>
                    <a:pt x="48" y="112"/>
                  </a:cubicBezTo>
                  <a:cubicBezTo>
                    <a:pt x="48" y="114"/>
                    <a:pt x="48" y="114"/>
                    <a:pt x="47" y="116"/>
                  </a:cubicBezTo>
                  <a:cubicBezTo>
                    <a:pt x="47" y="117"/>
                    <a:pt x="45" y="118"/>
                    <a:pt x="44" y="119"/>
                  </a:cubicBezTo>
                  <a:cubicBezTo>
                    <a:pt x="43" y="121"/>
                    <a:pt x="45" y="124"/>
                    <a:pt x="44" y="126"/>
                  </a:cubicBezTo>
                  <a:cubicBezTo>
                    <a:pt x="40" y="127"/>
                    <a:pt x="36" y="127"/>
                    <a:pt x="32" y="127"/>
                  </a:cubicBezTo>
                  <a:cubicBezTo>
                    <a:pt x="30" y="127"/>
                    <a:pt x="26" y="128"/>
                    <a:pt x="24" y="129"/>
                  </a:cubicBezTo>
                  <a:cubicBezTo>
                    <a:pt x="23" y="129"/>
                    <a:pt x="23" y="129"/>
                    <a:pt x="22" y="130"/>
                  </a:cubicBezTo>
                  <a:cubicBezTo>
                    <a:pt x="22" y="132"/>
                    <a:pt x="25" y="135"/>
                    <a:pt x="26" y="136"/>
                  </a:cubicBezTo>
                  <a:cubicBezTo>
                    <a:pt x="27" y="138"/>
                    <a:pt x="28" y="139"/>
                    <a:pt x="31" y="139"/>
                  </a:cubicBezTo>
                  <a:cubicBezTo>
                    <a:pt x="34" y="140"/>
                    <a:pt x="36" y="140"/>
                    <a:pt x="38" y="141"/>
                  </a:cubicBezTo>
                  <a:cubicBezTo>
                    <a:pt x="41" y="142"/>
                    <a:pt x="42" y="142"/>
                    <a:pt x="42" y="145"/>
                  </a:cubicBezTo>
                  <a:cubicBezTo>
                    <a:pt x="42" y="146"/>
                    <a:pt x="42" y="147"/>
                    <a:pt x="42" y="148"/>
                  </a:cubicBezTo>
                  <a:cubicBezTo>
                    <a:pt x="43" y="148"/>
                    <a:pt x="45" y="146"/>
                    <a:pt x="45" y="146"/>
                  </a:cubicBezTo>
                  <a:cubicBezTo>
                    <a:pt x="46" y="145"/>
                    <a:pt x="46" y="142"/>
                    <a:pt x="47" y="141"/>
                  </a:cubicBezTo>
                  <a:cubicBezTo>
                    <a:pt x="48" y="140"/>
                    <a:pt x="51" y="139"/>
                    <a:pt x="53" y="138"/>
                  </a:cubicBezTo>
                  <a:cubicBezTo>
                    <a:pt x="56" y="137"/>
                    <a:pt x="60" y="135"/>
                    <a:pt x="63" y="133"/>
                  </a:cubicBezTo>
                  <a:cubicBezTo>
                    <a:pt x="66" y="132"/>
                    <a:pt x="69" y="130"/>
                    <a:pt x="73" y="129"/>
                  </a:cubicBezTo>
                  <a:cubicBezTo>
                    <a:pt x="74" y="129"/>
                    <a:pt x="76" y="129"/>
                    <a:pt x="77" y="128"/>
                  </a:cubicBezTo>
                  <a:cubicBezTo>
                    <a:pt x="77" y="128"/>
                    <a:pt x="78" y="126"/>
                    <a:pt x="78" y="125"/>
                  </a:cubicBezTo>
                  <a:cubicBezTo>
                    <a:pt x="79" y="124"/>
                    <a:pt x="80" y="122"/>
                    <a:pt x="82" y="123"/>
                  </a:cubicBezTo>
                  <a:cubicBezTo>
                    <a:pt x="84" y="124"/>
                    <a:pt x="82" y="126"/>
                    <a:pt x="81" y="128"/>
                  </a:cubicBezTo>
                  <a:cubicBezTo>
                    <a:pt x="81" y="129"/>
                    <a:pt x="81" y="132"/>
                    <a:pt x="82" y="133"/>
                  </a:cubicBezTo>
                  <a:cubicBezTo>
                    <a:pt x="83" y="134"/>
                    <a:pt x="85" y="133"/>
                    <a:pt x="86" y="134"/>
                  </a:cubicBezTo>
                  <a:cubicBezTo>
                    <a:pt x="86" y="136"/>
                    <a:pt x="86" y="138"/>
                    <a:pt x="85" y="139"/>
                  </a:cubicBezTo>
                  <a:cubicBezTo>
                    <a:pt x="84" y="141"/>
                    <a:pt x="82" y="141"/>
                    <a:pt x="81" y="143"/>
                  </a:cubicBezTo>
                  <a:cubicBezTo>
                    <a:pt x="81" y="144"/>
                    <a:pt x="82" y="152"/>
                    <a:pt x="84" y="152"/>
                  </a:cubicBezTo>
                  <a:cubicBezTo>
                    <a:pt x="85" y="152"/>
                    <a:pt x="87" y="150"/>
                    <a:pt x="88" y="150"/>
                  </a:cubicBezTo>
                  <a:cubicBezTo>
                    <a:pt x="90" y="149"/>
                    <a:pt x="91" y="150"/>
                    <a:pt x="93" y="148"/>
                  </a:cubicBezTo>
                  <a:cubicBezTo>
                    <a:pt x="94" y="146"/>
                    <a:pt x="94" y="140"/>
                    <a:pt x="98" y="144"/>
                  </a:cubicBezTo>
                  <a:cubicBezTo>
                    <a:pt x="99" y="145"/>
                    <a:pt x="99" y="147"/>
                    <a:pt x="101" y="148"/>
                  </a:cubicBezTo>
                  <a:cubicBezTo>
                    <a:pt x="103" y="149"/>
                    <a:pt x="104" y="147"/>
                    <a:pt x="105" y="146"/>
                  </a:cubicBezTo>
                  <a:cubicBezTo>
                    <a:pt x="107" y="145"/>
                    <a:pt x="110" y="146"/>
                    <a:pt x="112" y="147"/>
                  </a:cubicBezTo>
                  <a:cubicBezTo>
                    <a:pt x="112" y="147"/>
                    <a:pt x="112" y="149"/>
                    <a:pt x="112" y="150"/>
                  </a:cubicBezTo>
                  <a:cubicBezTo>
                    <a:pt x="114" y="151"/>
                    <a:pt x="114" y="149"/>
                    <a:pt x="115" y="149"/>
                  </a:cubicBezTo>
                  <a:cubicBezTo>
                    <a:pt x="117" y="150"/>
                    <a:pt x="119" y="152"/>
                    <a:pt x="122" y="151"/>
                  </a:cubicBezTo>
                  <a:cubicBezTo>
                    <a:pt x="122" y="145"/>
                    <a:pt x="130" y="150"/>
                    <a:pt x="134" y="148"/>
                  </a:cubicBezTo>
                  <a:cubicBezTo>
                    <a:pt x="137" y="147"/>
                    <a:pt x="137" y="146"/>
                    <a:pt x="139" y="144"/>
                  </a:cubicBezTo>
                  <a:cubicBezTo>
                    <a:pt x="140" y="143"/>
                    <a:pt x="141" y="142"/>
                    <a:pt x="142" y="141"/>
                  </a:cubicBezTo>
                  <a:cubicBezTo>
                    <a:pt x="143" y="140"/>
                    <a:pt x="142" y="139"/>
                    <a:pt x="143" y="138"/>
                  </a:cubicBezTo>
                  <a:cubicBezTo>
                    <a:pt x="144" y="138"/>
                    <a:pt x="144" y="139"/>
                    <a:pt x="145" y="139"/>
                  </a:cubicBezTo>
                  <a:cubicBezTo>
                    <a:pt x="145" y="137"/>
                    <a:pt x="153" y="138"/>
                    <a:pt x="155" y="138"/>
                  </a:cubicBezTo>
                  <a:cubicBezTo>
                    <a:pt x="157" y="138"/>
                    <a:pt x="159" y="136"/>
                    <a:pt x="160" y="136"/>
                  </a:cubicBezTo>
                  <a:cubicBezTo>
                    <a:pt x="162" y="136"/>
                    <a:pt x="160" y="137"/>
                    <a:pt x="161" y="139"/>
                  </a:cubicBezTo>
                  <a:cubicBezTo>
                    <a:pt x="163" y="141"/>
                    <a:pt x="167" y="140"/>
                    <a:pt x="169" y="140"/>
                  </a:cubicBezTo>
                  <a:cubicBezTo>
                    <a:pt x="172" y="140"/>
                    <a:pt x="174" y="139"/>
                    <a:pt x="177" y="139"/>
                  </a:cubicBezTo>
                  <a:cubicBezTo>
                    <a:pt x="175" y="145"/>
                    <a:pt x="175" y="145"/>
                    <a:pt x="175" y="145"/>
                  </a:cubicBezTo>
                  <a:cubicBezTo>
                    <a:pt x="176" y="147"/>
                    <a:pt x="173" y="149"/>
                    <a:pt x="172" y="151"/>
                  </a:cubicBezTo>
                  <a:cubicBezTo>
                    <a:pt x="171" y="152"/>
                    <a:pt x="171" y="154"/>
                    <a:pt x="172" y="156"/>
                  </a:cubicBezTo>
                  <a:cubicBezTo>
                    <a:pt x="173" y="157"/>
                    <a:pt x="174" y="160"/>
                    <a:pt x="175" y="160"/>
                  </a:cubicBezTo>
                  <a:cubicBezTo>
                    <a:pt x="177" y="161"/>
                    <a:pt x="176" y="160"/>
                    <a:pt x="177" y="160"/>
                  </a:cubicBezTo>
                  <a:cubicBezTo>
                    <a:pt x="179" y="160"/>
                    <a:pt x="181" y="160"/>
                    <a:pt x="183" y="161"/>
                  </a:cubicBezTo>
                  <a:cubicBezTo>
                    <a:pt x="186" y="162"/>
                    <a:pt x="189" y="164"/>
                    <a:pt x="192" y="165"/>
                  </a:cubicBezTo>
                  <a:cubicBezTo>
                    <a:pt x="194" y="166"/>
                    <a:pt x="195" y="166"/>
                    <a:pt x="194" y="168"/>
                  </a:cubicBezTo>
                  <a:cubicBezTo>
                    <a:pt x="194" y="172"/>
                    <a:pt x="191" y="175"/>
                    <a:pt x="188" y="178"/>
                  </a:cubicBezTo>
                  <a:cubicBezTo>
                    <a:pt x="186" y="180"/>
                    <a:pt x="186" y="182"/>
                    <a:pt x="184" y="184"/>
                  </a:cubicBezTo>
                  <a:cubicBezTo>
                    <a:pt x="183" y="186"/>
                    <a:pt x="182" y="186"/>
                    <a:pt x="180" y="187"/>
                  </a:cubicBezTo>
                  <a:cubicBezTo>
                    <a:pt x="178" y="188"/>
                    <a:pt x="177" y="188"/>
                    <a:pt x="176" y="189"/>
                  </a:cubicBezTo>
                  <a:cubicBezTo>
                    <a:pt x="174" y="191"/>
                    <a:pt x="172" y="192"/>
                    <a:pt x="170" y="194"/>
                  </a:cubicBezTo>
                  <a:cubicBezTo>
                    <a:pt x="169" y="194"/>
                    <a:pt x="168" y="196"/>
                    <a:pt x="166" y="197"/>
                  </a:cubicBezTo>
                  <a:cubicBezTo>
                    <a:pt x="165" y="198"/>
                    <a:pt x="164" y="200"/>
                    <a:pt x="163" y="201"/>
                  </a:cubicBezTo>
                  <a:cubicBezTo>
                    <a:pt x="161" y="203"/>
                    <a:pt x="158" y="204"/>
                    <a:pt x="155" y="204"/>
                  </a:cubicBezTo>
                  <a:cubicBezTo>
                    <a:pt x="152" y="205"/>
                    <a:pt x="151" y="204"/>
                    <a:pt x="149" y="207"/>
                  </a:cubicBezTo>
                  <a:cubicBezTo>
                    <a:pt x="147" y="210"/>
                    <a:pt x="144" y="214"/>
                    <a:pt x="144" y="218"/>
                  </a:cubicBezTo>
                  <a:cubicBezTo>
                    <a:pt x="141" y="219"/>
                    <a:pt x="139" y="220"/>
                    <a:pt x="141" y="223"/>
                  </a:cubicBezTo>
                  <a:cubicBezTo>
                    <a:pt x="141" y="223"/>
                    <a:pt x="143" y="224"/>
                    <a:pt x="144" y="224"/>
                  </a:cubicBezTo>
                  <a:cubicBezTo>
                    <a:pt x="144" y="225"/>
                    <a:pt x="144" y="226"/>
                    <a:pt x="144" y="227"/>
                  </a:cubicBezTo>
                  <a:cubicBezTo>
                    <a:pt x="144" y="229"/>
                    <a:pt x="144" y="232"/>
                    <a:pt x="144" y="235"/>
                  </a:cubicBezTo>
                  <a:cubicBezTo>
                    <a:pt x="144" y="241"/>
                    <a:pt x="146" y="247"/>
                    <a:pt x="145" y="253"/>
                  </a:cubicBezTo>
                  <a:cubicBezTo>
                    <a:pt x="145" y="256"/>
                    <a:pt x="144" y="259"/>
                    <a:pt x="144" y="262"/>
                  </a:cubicBezTo>
                  <a:cubicBezTo>
                    <a:pt x="144" y="265"/>
                    <a:pt x="145" y="271"/>
                    <a:pt x="144" y="274"/>
                  </a:cubicBezTo>
                  <a:cubicBezTo>
                    <a:pt x="143" y="276"/>
                    <a:pt x="141" y="277"/>
                    <a:pt x="139" y="278"/>
                  </a:cubicBezTo>
                  <a:cubicBezTo>
                    <a:pt x="137" y="279"/>
                    <a:pt x="136" y="281"/>
                    <a:pt x="134" y="281"/>
                  </a:cubicBezTo>
                  <a:cubicBezTo>
                    <a:pt x="135" y="286"/>
                    <a:pt x="140" y="288"/>
                    <a:pt x="141" y="293"/>
                  </a:cubicBezTo>
                  <a:cubicBezTo>
                    <a:pt x="141" y="296"/>
                    <a:pt x="139" y="299"/>
                    <a:pt x="137" y="302"/>
                  </a:cubicBezTo>
                  <a:cubicBezTo>
                    <a:pt x="136" y="302"/>
                    <a:pt x="133" y="305"/>
                    <a:pt x="133" y="306"/>
                  </a:cubicBezTo>
                  <a:cubicBezTo>
                    <a:pt x="132" y="308"/>
                    <a:pt x="133" y="311"/>
                    <a:pt x="133" y="313"/>
                  </a:cubicBezTo>
                  <a:cubicBezTo>
                    <a:pt x="132" y="319"/>
                    <a:pt x="122" y="318"/>
                    <a:pt x="117" y="318"/>
                  </a:cubicBezTo>
                  <a:cubicBezTo>
                    <a:pt x="115" y="318"/>
                    <a:pt x="110" y="317"/>
                    <a:pt x="110" y="319"/>
                  </a:cubicBezTo>
                  <a:cubicBezTo>
                    <a:pt x="109" y="321"/>
                    <a:pt x="111" y="323"/>
                    <a:pt x="112" y="324"/>
                  </a:cubicBezTo>
                  <a:cubicBezTo>
                    <a:pt x="113" y="325"/>
                    <a:pt x="114" y="328"/>
                    <a:pt x="115" y="328"/>
                  </a:cubicBezTo>
                  <a:cubicBezTo>
                    <a:pt x="115" y="329"/>
                    <a:pt x="116" y="330"/>
                    <a:pt x="117" y="329"/>
                  </a:cubicBezTo>
                  <a:cubicBezTo>
                    <a:pt x="117" y="329"/>
                    <a:pt x="118" y="329"/>
                    <a:pt x="118" y="329"/>
                  </a:cubicBezTo>
                  <a:cubicBezTo>
                    <a:pt x="118" y="330"/>
                    <a:pt x="119" y="331"/>
                    <a:pt x="119" y="331"/>
                  </a:cubicBezTo>
                  <a:cubicBezTo>
                    <a:pt x="120" y="335"/>
                    <a:pt x="119" y="341"/>
                    <a:pt x="119" y="345"/>
                  </a:cubicBezTo>
                  <a:cubicBezTo>
                    <a:pt x="120" y="344"/>
                    <a:pt x="122" y="345"/>
                    <a:pt x="123" y="346"/>
                  </a:cubicBezTo>
                  <a:cubicBezTo>
                    <a:pt x="124" y="348"/>
                    <a:pt x="123" y="349"/>
                    <a:pt x="123" y="351"/>
                  </a:cubicBezTo>
                  <a:cubicBezTo>
                    <a:pt x="124" y="353"/>
                    <a:pt x="126" y="353"/>
                    <a:pt x="127" y="353"/>
                  </a:cubicBezTo>
                  <a:cubicBezTo>
                    <a:pt x="129" y="354"/>
                    <a:pt x="130" y="354"/>
                    <a:pt x="131" y="355"/>
                  </a:cubicBezTo>
                  <a:cubicBezTo>
                    <a:pt x="132" y="355"/>
                    <a:pt x="133" y="356"/>
                    <a:pt x="133" y="356"/>
                  </a:cubicBezTo>
                  <a:cubicBezTo>
                    <a:pt x="134" y="357"/>
                    <a:pt x="134" y="358"/>
                    <a:pt x="134" y="359"/>
                  </a:cubicBezTo>
                  <a:cubicBezTo>
                    <a:pt x="136" y="363"/>
                    <a:pt x="138" y="370"/>
                    <a:pt x="134" y="374"/>
                  </a:cubicBezTo>
                  <a:cubicBezTo>
                    <a:pt x="132" y="375"/>
                    <a:pt x="130" y="375"/>
                    <a:pt x="128" y="376"/>
                  </a:cubicBezTo>
                  <a:cubicBezTo>
                    <a:pt x="125" y="378"/>
                    <a:pt x="124" y="379"/>
                    <a:pt x="123" y="383"/>
                  </a:cubicBezTo>
                  <a:cubicBezTo>
                    <a:pt x="122" y="386"/>
                    <a:pt x="119" y="389"/>
                    <a:pt x="118" y="393"/>
                  </a:cubicBezTo>
                  <a:cubicBezTo>
                    <a:pt x="118" y="397"/>
                    <a:pt x="120" y="401"/>
                    <a:pt x="122" y="405"/>
                  </a:cubicBezTo>
                  <a:cubicBezTo>
                    <a:pt x="122" y="405"/>
                    <a:pt x="123" y="406"/>
                    <a:pt x="123" y="406"/>
                  </a:cubicBezTo>
                  <a:cubicBezTo>
                    <a:pt x="123" y="407"/>
                    <a:pt x="123" y="408"/>
                    <a:pt x="124" y="409"/>
                  </a:cubicBezTo>
                  <a:cubicBezTo>
                    <a:pt x="124" y="410"/>
                    <a:pt x="125" y="411"/>
                    <a:pt x="125" y="412"/>
                  </a:cubicBezTo>
                  <a:cubicBezTo>
                    <a:pt x="126" y="413"/>
                    <a:pt x="128" y="415"/>
                    <a:pt x="128" y="417"/>
                  </a:cubicBezTo>
                  <a:cubicBezTo>
                    <a:pt x="129" y="419"/>
                    <a:pt x="128" y="420"/>
                    <a:pt x="130" y="421"/>
                  </a:cubicBezTo>
                  <a:cubicBezTo>
                    <a:pt x="132" y="422"/>
                    <a:pt x="134" y="421"/>
                    <a:pt x="135" y="420"/>
                  </a:cubicBezTo>
                  <a:cubicBezTo>
                    <a:pt x="137" y="421"/>
                    <a:pt x="136" y="424"/>
                    <a:pt x="136" y="426"/>
                  </a:cubicBezTo>
                  <a:cubicBezTo>
                    <a:pt x="136" y="429"/>
                    <a:pt x="134" y="430"/>
                    <a:pt x="131" y="431"/>
                  </a:cubicBezTo>
                  <a:cubicBezTo>
                    <a:pt x="130" y="431"/>
                    <a:pt x="130" y="431"/>
                    <a:pt x="129" y="431"/>
                  </a:cubicBezTo>
                  <a:cubicBezTo>
                    <a:pt x="129" y="432"/>
                    <a:pt x="128" y="433"/>
                    <a:pt x="128" y="433"/>
                  </a:cubicBezTo>
                  <a:cubicBezTo>
                    <a:pt x="127" y="434"/>
                    <a:pt x="125" y="434"/>
                    <a:pt x="124" y="434"/>
                  </a:cubicBezTo>
                  <a:cubicBezTo>
                    <a:pt x="121" y="435"/>
                    <a:pt x="118" y="433"/>
                    <a:pt x="118" y="437"/>
                  </a:cubicBezTo>
                  <a:cubicBezTo>
                    <a:pt x="118" y="438"/>
                    <a:pt x="119" y="439"/>
                    <a:pt x="118" y="440"/>
                  </a:cubicBezTo>
                  <a:cubicBezTo>
                    <a:pt x="118" y="441"/>
                    <a:pt x="117" y="442"/>
                    <a:pt x="117" y="443"/>
                  </a:cubicBezTo>
                  <a:cubicBezTo>
                    <a:pt x="117" y="443"/>
                    <a:pt x="117" y="443"/>
                    <a:pt x="116" y="444"/>
                  </a:cubicBezTo>
                  <a:cubicBezTo>
                    <a:pt x="116" y="445"/>
                    <a:pt x="115" y="446"/>
                    <a:pt x="114" y="447"/>
                  </a:cubicBezTo>
                  <a:cubicBezTo>
                    <a:pt x="113" y="448"/>
                    <a:pt x="112" y="450"/>
                    <a:pt x="111" y="451"/>
                  </a:cubicBezTo>
                  <a:cubicBezTo>
                    <a:pt x="111" y="452"/>
                    <a:pt x="110" y="453"/>
                    <a:pt x="110" y="453"/>
                  </a:cubicBezTo>
                  <a:cubicBezTo>
                    <a:pt x="108" y="456"/>
                    <a:pt x="106" y="460"/>
                    <a:pt x="106" y="463"/>
                  </a:cubicBezTo>
                  <a:cubicBezTo>
                    <a:pt x="106" y="465"/>
                    <a:pt x="107" y="466"/>
                    <a:pt x="107" y="467"/>
                  </a:cubicBezTo>
                  <a:cubicBezTo>
                    <a:pt x="107" y="468"/>
                    <a:pt x="107" y="470"/>
                    <a:pt x="108" y="471"/>
                  </a:cubicBezTo>
                  <a:cubicBezTo>
                    <a:pt x="108" y="472"/>
                    <a:pt x="108" y="472"/>
                    <a:pt x="108" y="473"/>
                  </a:cubicBezTo>
                  <a:cubicBezTo>
                    <a:pt x="109" y="473"/>
                    <a:pt x="109" y="473"/>
                    <a:pt x="109" y="473"/>
                  </a:cubicBezTo>
                  <a:cubicBezTo>
                    <a:pt x="109" y="475"/>
                    <a:pt x="109" y="477"/>
                    <a:pt x="109" y="478"/>
                  </a:cubicBezTo>
                  <a:cubicBezTo>
                    <a:pt x="109" y="482"/>
                    <a:pt x="109" y="485"/>
                    <a:pt x="108" y="489"/>
                  </a:cubicBezTo>
                  <a:cubicBezTo>
                    <a:pt x="108" y="491"/>
                    <a:pt x="108" y="493"/>
                    <a:pt x="108" y="495"/>
                  </a:cubicBezTo>
                  <a:cubicBezTo>
                    <a:pt x="109" y="495"/>
                    <a:pt x="111" y="494"/>
                    <a:pt x="113" y="493"/>
                  </a:cubicBezTo>
                  <a:cubicBezTo>
                    <a:pt x="118" y="490"/>
                    <a:pt x="124" y="492"/>
                    <a:pt x="130" y="492"/>
                  </a:cubicBezTo>
                  <a:cubicBezTo>
                    <a:pt x="137" y="491"/>
                    <a:pt x="145" y="493"/>
                    <a:pt x="150" y="497"/>
                  </a:cubicBezTo>
                  <a:cubicBezTo>
                    <a:pt x="153" y="499"/>
                    <a:pt x="154" y="501"/>
                    <a:pt x="157" y="503"/>
                  </a:cubicBezTo>
                  <a:cubicBezTo>
                    <a:pt x="158" y="504"/>
                    <a:pt x="159" y="504"/>
                    <a:pt x="159" y="506"/>
                  </a:cubicBezTo>
                  <a:cubicBezTo>
                    <a:pt x="161" y="510"/>
                    <a:pt x="162" y="512"/>
                    <a:pt x="163" y="516"/>
                  </a:cubicBezTo>
                  <a:cubicBezTo>
                    <a:pt x="164" y="519"/>
                    <a:pt x="165" y="523"/>
                    <a:pt x="165" y="526"/>
                  </a:cubicBezTo>
                  <a:cubicBezTo>
                    <a:pt x="165" y="530"/>
                    <a:pt x="165" y="531"/>
                    <a:pt x="169" y="533"/>
                  </a:cubicBezTo>
                  <a:cubicBezTo>
                    <a:pt x="173" y="535"/>
                    <a:pt x="175" y="534"/>
                    <a:pt x="176" y="538"/>
                  </a:cubicBezTo>
                  <a:cubicBezTo>
                    <a:pt x="177" y="541"/>
                    <a:pt x="176" y="540"/>
                    <a:pt x="178" y="542"/>
                  </a:cubicBezTo>
                  <a:cubicBezTo>
                    <a:pt x="179" y="544"/>
                    <a:pt x="181" y="546"/>
                    <a:pt x="182" y="548"/>
                  </a:cubicBezTo>
                  <a:cubicBezTo>
                    <a:pt x="184" y="552"/>
                    <a:pt x="186" y="555"/>
                    <a:pt x="190" y="557"/>
                  </a:cubicBezTo>
                  <a:cubicBezTo>
                    <a:pt x="196" y="560"/>
                    <a:pt x="202" y="559"/>
                    <a:pt x="205" y="564"/>
                  </a:cubicBezTo>
                  <a:cubicBezTo>
                    <a:pt x="208" y="567"/>
                    <a:pt x="208" y="568"/>
                    <a:pt x="212" y="568"/>
                  </a:cubicBezTo>
                  <a:cubicBezTo>
                    <a:pt x="216" y="568"/>
                    <a:pt x="219" y="569"/>
                    <a:pt x="221" y="566"/>
                  </a:cubicBezTo>
                  <a:cubicBezTo>
                    <a:pt x="222" y="564"/>
                    <a:pt x="222" y="563"/>
                    <a:pt x="224" y="562"/>
                  </a:cubicBezTo>
                  <a:cubicBezTo>
                    <a:pt x="225" y="561"/>
                    <a:pt x="226" y="560"/>
                    <a:pt x="227" y="559"/>
                  </a:cubicBezTo>
                  <a:cubicBezTo>
                    <a:pt x="229" y="557"/>
                    <a:pt x="230" y="554"/>
                    <a:pt x="232" y="552"/>
                  </a:cubicBezTo>
                  <a:cubicBezTo>
                    <a:pt x="236" y="548"/>
                    <a:pt x="242" y="546"/>
                    <a:pt x="247" y="543"/>
                  </a:cubicBezTo>
                  <a:cubicBezTo>
                    <a:pt x="249" y="542"/>
                    <a:pt x="250" y="541"/>
                    <a:pt x="252" y="540"/>
                  </a:cubicBezTo>
                  <a:cubicBezTo>
                    <a:pt x="256" y="538"/>
                    <a:pt x="260" y="536"/>
                    <a:pt x="263" y="534"/>
                  </a:cubicBezTo>
                  <a:cubicBezTo>
                    <a:pt x="265" y="532"/>
                    <a:pt x="266" y="531"/>
                    <a:pt x="268" y="530"/>
                  </a:cubicBezTo>
                  <a:cubicBezTo>
                    <a:pt x="272" y="529"/>
                    <a:pt x="275" y="527"/>
                    <a:pt x="279" y="526"/>
                  </a:cubicBezTo>
                  <a:cubicBezTo>
                    <a:pt x="282" y="525"/>
                    <a:pt x="285" y="525"/>
                    <a:pt x="288" y="524"/>
                  </a:cubicBezTo>
                  <a:cubicBezTo>
                    <a:pt x="290" y="523"/>
                    <a:pt x="292" y="522"/>
                    <a:pt x="295" y="522"/>
                  </a:cubicBezTo>
                  <a:cubicBezTo>
                    <a:pt x="298" y="521"/>
                    <a:pt x="302" y="522"/>
                    <a:pt x="305" y="522"/>
                  </a:cubicBezTo>
                  <a:cubicBezTo>
                    <a:pt x="313" y="522"/>
                    <a:pt x="322" y="523"/>
                    <a:pt x="330" y="522"/>
                  </a:cubicBezTo>
                  <a:cubicBezTo>
                    <a:pt x="333" y="521"/>
                    <a:pt x="336" y="521"/>
                    <a:pt x="339" y="521"/>
                  </a:cubicBezTo>
                  <a:cubicBezTo>
                    <a:pt x="341" y="521"/>
                    <a:pt x="348" y="522"/>
                    <a:pt x="351" y="521"/>
                  </a:cubicBezTo>
                  <a:cubicBezTo>
                    <a:pt x="352" y="523"/>
                    <a:pt x="356" y="522"/>
                    <a:pt x="359" y="522"/>
                  </a:cubicBezTo>
                  <a:cubicBezTo>
                    <a:pt x="362" y="522"/>
                    <a:pt x="363" y="523"/>
                    <a:pt x="366" y="524"/>
                  </a:cubicBezTo>
                  <a:cubicBezTo>
                    <a:pt x="367" y="524"/>
                    <a:pt x="368" y="524"/>
                    <a:pt x="369" y="524"/>
                  </a:cubicBezTo>
                  <a:cubicBezTo>
                    <a:pt x="369" y="524"/>
                    <a:pt x="369" y="525"/>
                    <a:pt x="370" y="526"/>
                  </a:cubicBezTo>
                  <a:cubicBezTo>
                    <a:pt x="372" y="526"/>
                    <a:pt x="373" y="525"/>
                    <a:pt x="374" y="523"/>
                  </a:cubicBezTo>
                  <a:cubicBezTo>
                    <a:pt x="376" y="520"/>
                    <a:pt x="373" y="518"/>
                    <a:pt x="378" y="517"/>
                  </a:cubicBezTo>
                  <a:cubicBezTo>
                    <a:pt x="381" y="516"/>
                    <a:pt x="385" y="516"/>
                    <a:pt x="389" y="517"/>
                  </a:cubicBezTo>
                  <a:cubicBezTo>
                    <a:pt x="392" y="517"/>
                    <a:pt x="396" y="518"/>
                    <a:pt x="399" y="517"/>
                  </a:cubicBezTo>
                  <a:cubicBezTo>
                    <a:pt x="401" y="517"/>
                    <a:pt x="405" y="517"/>
                    <a:pt x="406" y="516"/>
                  </a:cubicBezTo>
                  <a:cubicBezTo>
                    <a:pt x="409" y="513"/>
                    <a:pt x="410" y="508"/>
                    <a:pt x="411" y="505"/>
                  </a:cubicBezTo>
                  <a:cubicBezTo>
                    <a:pt x="413" y="499"/>
                    <a:pt x="415" y="494"/>
                    <a:pt x="416" y="488"/>
                  </a:cubicBezTo>
                  <a:cubicBezTo>
                    <a:pt x="416" y="484"/>
                    <a:pt x="418" y="481"/>
                    <a:pt x="421" y="479"/>
                  </a:cubicBezTo>
                  <a:cubicBezTo>
                    <a:pt x="423" y="477"/>
                    <a:pt x="424" y="477"/>
                    <a:pt x="426" y="477"/>
                  </a:cubicBezTo>
                  <a:cubicBezTo>
                    <a:pt x="428" y="477"/>
                    <a:pt x="432" y="477"/>
                    <a:pt x="433" y="476"/>
                  </a:cubicBezTo>
                  <a:cubicBezTo>
                    <a:pt x="434" y="476"/>
                    <a:pt x="437" y="473"/>
                    <a:pt x="437" y="473"/>
                  </a:cubicBezTo>
                  <a:cubicBezTo>
                    <a:pt x="438" y="471"/>
                    <a:pt x="436" y="467"/>
                    <a:pt x="438" y="466"/>
                  </a:cubicBezTo>
                  <a:cubicBezTo>
                    <a:pt x="440" y="463"/>
                    <a:pt x="447" y="463"/>
                    <a:pt x="451" y="463"/>
                  </a:cubicBezTo>
                  <a:cubicBezTo>
                    <a:pt x="453" y="462"/>
                    <a:pt x="455" y="462"/>
                    <a:pt x="458" y="462"/>
                  </a:cubicBezTo>
                  <a:cubicBezTo>
                    <a:pt x="461" y="462"/>
                    <a:pt x="464" y="461"/>
                    <a:pt x="467" y="460"/>
                  </a:cubicBezTo>
                  <a:cubicBezTo>
                    <a:pt x="470" y="458"/>
                    <a:pt x="474" y="457"/>
                    <a:pt x="476" y="455"/>
                  </a:cubicBezTo>
                  <a:cubicBezTo>
                    <a:pt x="479" y="453"/>
                    <a:pt x="477" y="453"/>
                    <a:pt x="475" y="452"/>
                  </a:cubicBezTo>
                  <a:cubicBezTo>
                    <a:pt x="474" y="451"/>
                    <a:pt x="472" y="449"/>
                    <a:pt x="472" y="448"/>
                  </a:cubicBezTo>
                  <a:cubicBezTo>
                    <a:pt x="471" y="446"/>
                    <a:pt x="471" y="446"/>
                    <a:pt x="471" y="445"/>
                  </a:cubicBezTo>
                  <a:cubicBezTo>
                    <a:pt x="471" y="444"/>
                    <a:pt x="471" y="443"/>
                    <a:pt x="472" y="442"/>
                  </a:cubicBezTo>
                  <a:cubicBezTo>
                    <a:pt x="472" y="439"/>
                    <a:pt x="472" y="439"/>
                    <a:pt x="475" y="437"/>
                  </a:cubicBezTo>
                  <a:cubicBezTo>
                    <a:pt x="477" y="435"/>
                    <a:pt x="478" y="432"/>
                    <a:pt x="480" y="429"/>
                  </a:cubicBezTo>
                  <a:cubicBezTo>
                    <a:pt x="481" y="427"/>
                    <a:pt x="483" y="426"/>
                    <a:pt x="484" y="424"/>
                  </a:cubicBezTo>
                  <a:cubicBezTo>
                    <a:pt x="486" y="421"/>
                    <a:pt x="487" y="420"/>
                    <a:pt x="487" y="417"/>
                  </a:cubicBezTo>
                  <a:cubicBezTo>
                    <a:pt x="487" y="414"/>
                    <a:pt x="486" y="412"/>
                    <a:pt x="489" y="409"/>
                  </a:cubicBezTo>
                  <a:cubicBezTo>
                    <a:pt x="493" y="407"/>
                    <a:pt x="497" y="404"/>
                    <a:pt x="502" y="403"/>
                  </a:cubicBezTo>
                  <a:cubicBezTo>
                    <a:pt x="506" y="402"/>
                    <a:pt x="511" y="404"/>
                    <a:pt x="515" y="403"/>
                  </a:cubicBezTo>
                  <a:cubicBezTo>
                    <a:pt x="516" y="400"/>
                    <a:pt x="513" y="397"/>
                    <a:pt x="513" y="394"/>
                  </a:cubicBezTo>
                  <a:cubicBezTo>
                    <a:pt x="513" y="389"/>
                    <a:pt x="518" y="390"/>
                    <a:pt x="521" y="387"/>
                  </a:cubicBezTo>
                  <a:cubicBezTo>
                    <a:pt x="525" y="385"/>
                    <a:pt x="524" y="381"/>
                    <a:pt x="522" y="378"/>
                  </a:cubicBezTo>
                  <a:cubicBezTo>
                    <a:pt x="519" y="373"/>
                    <a:pt x="511" y="373"/>
                    <a:pt x="507" y="369"/>
                  </a:cubicBezTo>
                  <a:cubicBezTo>
                    <a:pt x="506" y="368"/>
                    <a:pt x="506" y="367"/>
                    <a:pt x="505" y="366"/>
                  </a:cubicBezTo>
                  <a:cubicBezTo>
                    <a:pt x="503" y="364"/>
                    <a:pt x="500" y="363"/>
                    <a:pt x="499" y="360"/>
                  </a:cubicBezTo>
                  <a:cubicBezTo>
                    <a:pt x="496" y="356"/>
                    <a:pt x="496" y="351"/>
                    <a:pt x="496" y="346"/>
                  </a:cubicBezTo>
                  <a:cubicBezTo>
                    <a:pt x="497" y="344"/>
                    <a:pt x="496" y="342"/>
                    <a:pt x="496" y="341"/>
                  </a:cubicBezTo>
                  <a:cubicBezTo>
                    <a:pt x="494" y="337"/>
                    <a:pt x="494" y="333"/>
                    <a:pt x="493" y="328"/>
                  </a:cubicBezTo>
                  <a:cubicBezTo>
                    <a:pt x="493" y="326"/>
                    <a:pt x="494" y="323"/>
                    <a:pt x="494" y="321"/>
                  </a:cubicBezTo>
                  <a:cubicBezTo>
                    <a:pt x="495" y="318"/>
                    <a:pt x="498" y="311"/>
                    <a:pt x="500" y="309"/>
                  </a:cubicBezTo>
                  <a:cubicBezTo>
                    <a:pt x="500" y="311"/>
                    <a:pt x="501" y="312"/>
                    <a:pt x="500" y="313"/>
                  </a:cubicBezTo>
                  <a:cubicBezTo>
                    <a:pt x="504" y="310"/>
                    <a:pt x="507" y="306"/>
                    <a:pt x="509" y="301"/>
                  </a:cubicBezTo>
                  <a:cubicBezTo>
                    <a:pt x="510" y="298"/>
                    <a:pt x="512" y="293"/>
                    <a:pt x="514" y="290"/>
                  </a:cubicBezTo>
                  <a:cubicBezTo>
                    <a:pt x="518" y="285"/>
                    <a:pt x="524" y="279"/>
                    <a:pt x="529" y="275"/>
                  </a:cubicBezTo>
                  <a:cubicBezTo>
                    <a:pt x="533" y="272"/>
                    <a:pt x="535" y="269"/>
                    <a:pt x="538" y="265"/>
                  </a:cubicBezTo>
                  <a:cubicBezTo>
                    <a:pt x="541" y="262"/>
                    <a:pt x="545" y="259"/>
                    <a:pt x="547" y="255"/>
                  </a:cubicBezTo>
                  <a:cubicBezTo>
                    <a:pt x="551" y="251"/>
                    <a:pt x="555" y="246"/>
                    <a:pt x="557" y="241"/>
                  </a:cubicBezTo>
                  <a:cubicBezTo>
                    <a:pt x="557" y="240"/>
                    <a:pt x="558" y="240"/>
                    <a:pt x="558" y="238"/>
                  </a:cubicBezTo>
                  <a:cubicBezTo>
                    <a:pt x="558" y="236"/>
                    <a:pt x="556" y="237"/>
                    <a:pt x="555" y="235"/>
                  </a:cubicBezTo>
                  <a:cubicBezTo>
                    <a:pt x="555" y="232"/>
                    <a:pt x="561" y="230"/>
                    <a:pt x="563" y="228"/>
                  </a:cubicBezTo>
                  <a:cubicBezTo>
                    <a:pt x="568" y="226"/>
                    <a:pt x="573" y="223"/>
                    <a:pt x="578" y="221"/>
                  </a:cubicBezTo>
                  <a:cubicBezTo>
                    <a:pt x="583" y="218"/>
                    <a:pt x="588" y="215"/>
                    <a:pt x="593" y="213"/>
                  </a:cubicBezTo>
                  <a:cubicBezTo>
                    <a:pt x="598" y="211"/>
                    <a:pt x="602" y="209"/>
                    <a:pt x="606" y="206"/>
                  </a:cubicBezTo>
                  <a:cubicBezTo>
                    <a:pt x="610" y="204"/>
                    <a:pt x="615" y="204"/>
                    <a:pt x="619" y="203"/>
                  </a:cubicBezTo>
                  <a:cubicBezTo>
                    <a:pt x="623" y="202"/>
                    <a:pt x="627" y="200"/>
                    <a:pt x="631" y="200"/>
                  </a:cubicBezTo>
                  <a:cubicBezTo>
                    <a:pt x="635" y="199"/>
                    <a:pt x="638" y="196"/>
                    <a:pt x="639" y="192"/>
                  </a:cubicBezTo>
                  <a:cubicBezTo>
                    <a:pt x="639" y="191"/>
                    <a:pt x="639" y="187"/>
                    <a:pt x="637" y="187"/>
                  </a:cubicBezTo>
                  <a:cubicBezTo>
                    <a:pt x="640" y="187"/>
                    <a:pt x="643" y="187"/>
                    <a:pt x="646" y="187"/>
                  </a:cubicBezTo>
                  <a:cubicBezTo>
                    <a:pt x="647" y="187"/>
                    <a:pt x="649" y="187"/>
                    <a:pt x="650" y="187"/>
                  </a:cubicBezTo>
                  <a:cubicBezTo>
                    <a:pt x="652" y="187"/>
                    <a:pt x="652" y="186"/>
                    <a:pt x="654" y="186"/>
                  </a:cubicBezTo>
                  <a:cubicBezTo>
                    <a:pt x="657" y="185"/>
                    <a:pt x="661" y="184"/>
                    <a:pt x="664" y="183"/>
                  </a:cubicBezTo>
                  <a:cubicBezTo>
                    <a:pt x="666" y="181"/>
                    <a:pt x="670" y="180"/>
                    <a:pt x="671" y="178"/>
                  </a:cubicBezTo>
                  <a:cubicBezTo>
                    <a:pt x="673" y="175"/>
                    <a:pt x="670" y="172"/>
                    <a:pt x="674" y="171"/>
                  </a:cubicBezTo>
                  <a:cubicBezTo>
                    <a:pt x="677" y="170"/>
                    <a:pt x="681" y="172"/>
                    <a:pt x="684" y="172"/>
                  </a:cubicBezTo>
                  <a:cubicBezTo>
                    <a:pt x="688" y="172"/>
                    <a:pt x="692" y="170"/>
                    <a:pt x="696" y="169"/>
                  </a:cubicBezTo>
                  <a:cubicBezTo>
                    <a:pt x="698" y="169"/>
                    <a:pt x="701" y="169"/>
                    <a:pt x="703" y="169"/>
                  </a:cubicBezTo>
                  <a:cubicBezTo>
                    <a:pt x="704" y="166"/>
                    <a:pt x="703" y="164"/>
                    <a:pt x="703" y="161"/>
                  </a:cubicBezTo>
                  <a:cubicBezTo>
                    <a:pt x="703" y="156"/>
                    <a:pt x="710" y="154"/>
                    <a:pt x="715" y="152"/>
                  </a:cubicBezTo>
                  <a:cubicBezTo>
                    <a:pt x="720" y="149"/>
                    <a:pt x="728" y="146"/>
                    <a:pt x="731" y="142"/>
                  </a:cubicBezTo>
                  <a:cubicBezTo>
                    <a:pt x="732" y="139"/>
                    <a:pt x="731" y="136"/>
                    <a:pt x="731" y="134"/>
                  </a:cubicBezTo>
                  <a:cubicBezTo>
                    <a:pt x="730" y="132"/>
                    <a:pt x="730" y="129"/>
                    <a:pt x="729" y="126"/>
                  </a:cubicBezTo>
                  <a:cubicBezTo>
                    <a:pt x="729" y="125"/>
                    <a:pt x="728" y="123"/>
                    <a:pt x="728" y="122"/>
                  </a:cubicBezTo>
                  <a:cubicBezTo>
                    <a:pt x="727" y="120"/>
                    <a:pt x="726" y="120"/>
                    <a:pt x="725" y="119"/>
                  </a:cubicBezTo>
                  <a:cubicBezTo>
                    <a:pt x="722" y="116"/>
                    <a:pt x="727" y="100"/>
                    <a:pt x="731" y="104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4" name="Freeform 94"/>
            <p:cNvSpPr>
              <a:spLocks/>
            </p:cNvSpPr>
            <p:nvPr/>
          </p:nvSpPr>
          <p:spPr bwMode="auto">
            <a:xfrm>
              <a:off x="3575050" y="6048375"/>
              <a:ext cx="119063" cy="93663"/>
            </a:xfrm>
            <a:custGeom>
              <a:avLst/>
              <a:gdLst/>
              <a:ahLst/>
              <a:cxnLst>
                <a:cxn ang="0">
                  <a:pos x="45" y="13"/>
                </a:cxn>
                <a:cxn ang="0">
                  <a:pos x="41" y="6"/>
                </a:cxn>
                <a:cxn ang="0">
                  <a:pos x="40" y="5"/>
                </a:cxn>
                <a:cxn ang="0">
                  <a:pos x="43" y="2"/>
                </a:cxn>
                <a:cxn ang="0">
                  <a:pos x="43" y="1"/>
                </a:cxn>
                <a:cxn ang="0">
                  <a:pos x="32" y="5"/>
                </a:cxn>
                <a:cxn ang="0">
                  <a:pos x="27" y="8"/>
                </a:cxn>
                <a:cxn ang="0">
                  <a:pos x="22" y="10"/>
                </a:cxn>
                <a:cxn ang="0">
                  <a:pos x="17" y="14"/>
                </a:cxn>
                <a:cxn ang="0">
                  <a:pos x="8" y="19"/>
                </a:cxn>
                <a:cxn ang="0">
                  <a:pos x="4" y="22"/>
                </a:cxn>
                <a:cxn ang="0">
                  <a:pos x="1" y="25"/>
                </a:cxn>
                <a:cxn ang="0">
                  <a:pos x="0" y="27"/>
                </a:cxn>
                <a:cxn ang="0">
                  <a:pos x="1" y="30"/>
                </a:cxn>
                <a:cxn ang="0">
                  <a:pos x="5" y="32"/>
                </a:cxn>
                <a:cxn ang="0">
                  <a:pos x="9" y="33"/>
                </a:cxn>
                <a:cxn ang="0">
                  <a:pos x="12" y="29"/>
                </a:cxn>
                <a:cxn ang="0">
                  <a:pos x="13" y="27"/>
                </a:cxn>
                <a:cxn ang="0">
                  <a:pos x="17" y="30"/>
                </a:cxn>
                <a:cxn ang="0">
                  <a:pos x="19" y="32"/>
                </a:cxn>
                <a:cxn ang="0">
                  <a:pos x="20" y="34"/>
                </a:cxn>
                <a:cxn ang="0">
                  <a:pos x="21" y="35"/>
                </a:cxn>
                <a:cxn ang="0">
                  <a:pos x="21" y="38"/>
                </a:cxn>
                <a:cxn ang="0">
                  <a:pos x="23" y="40"/>
                </a:cxn>
                <a:cxn ang="0">
                  <a:pos x="24" y="41"/>
                </a:cxn>
                <a:cxn ang="0">
                  <a:pos x="24" y="41"/>
                </a:cxn>
                <a:cxn ang="0">
                  <a:pos x="27" y="44"/>
                </a:cxn>
                <a:cxn ang="0">
                  <a:pos x="31" y="43"/>
                </a:cxn>
                <a:cxn ang="0">
                  <a:pos x="34" y="44"/>
                </a:cxn>
                <a:cxn ang="0">
                  <a:pos x="35" y="45"/>
                </a:cxn>
                <a:cxn ang="0">
                  <a:pos x="37" y="47"/>
                </a:cxn>
                <a:cxn ang="0">
                  <a:pos x="38" y="49"/>
                </a:cxn>
                <a:cxn ang="0">
                  <a:pos x="39" y="50"/>
                </a:cxn>
                <a:cxn ang="0">
                  <a:pos x="40" y="50"/>
                </a:cxn>
                <a:cxn ang="0">
                  <a:pos x="41" y="47"/>
                </a:cxn>
                <a:cxn ang="0">
                  <a:pos x="45" y="44"/>
                </a:cxn>
                <a:cxn ang="0">
                  <a:pos x="48" y="44"/>
                </a:cxn>
                <a:cxn ang="0">
                  <a:pos x="51" y="42"/>
                </a:cxn>
                <a:cxn ang="0">
                  <a:pos x="51" y="37"/>
                </a:cxn>
                <a:cxn ang="0">
                  <a:pos x="52" y="34"/>
                </a:cxn>
                <a:cxn ang="0">
                  <a:pos x="54" y="30"/>
                </a:cxn>
                <a:cxn ang="0">
                  <a:pos x="58" y="28"/>
                </a:cxn>
                <a:cxn ang="0">
                  <a:pos x="60" y="24"/>
                </a:cxn>
                <a:cxn ang="0">
                  <a:pos x="62" y="18"/>
                </a:cxn>
                <a:cxn ang="0">
                  <a:pos x="53" y="14"/>
                </a:cxn>
                <a:cxn ang="0">
                  <a:pos x="52" y="15"/>
                </a:cxn>
                <a:cxn ang="0">
                  <a:pos x="50" y="16"/>
                </a:cxn>
                <a:cxn ang="0">
                  <a:pos x="49" y="17"/>
                </a:cxn>
                <a:cxn ang="0">
                  <a:pos x="47" y="15"/>
                </a:cxn>
                <a:cxn ang="0">
                  <a:pos x="46" y="13"/>
                </a:cxn>
                <a:cxn ang="0">
                  <a:pos x="45" y="13"/>
                </a:cxn>
              </a:cxnLst>
              <a:rect l="0" t="0" r="r" b="b"/>
              <a:pathLst>
                <a:path w="63" h="50">
                  <a:moveTo>
                    <a:pt x="45" y="13"/>
                  </a:moveTo>
                  <a:cubicBezTo>
                    <a:pt x="45" y="11"/>
                    <a:pt x="45" y="6"/>
                    <a:pt x="41" y="6"/>
                  </a:cubicBezTo>
                  <a:cubicBezTo>
                    <a:pt x="41" y="6"/>
                    <a:pt x="40" y="6"/>
                    <a:pt x="40" y="5"/>
                  </a:cubicBezTo>
                  <a:cubicBezTo>
                    <a:pt x="41" y="3"/>
                    <a:pt x="42" y="3"/>
                    <a:pt x="43" y="2"/>
                  </a:cubicBezTo>
                  <a:cubicBezTo>
                    <a:pt x="43" y="2"/>
                    <a:pt x="44" y="2"/>
                    <a:pt x="43" y="1"/>
                  </a:cubicBezTo>
                  <a:cubicBezTo>
                    <a:pt x="39" y="0"/>
                    <a:pt x="36" y="2"/>
                    <a:pt x="32" y="5"/>
                  </a:cubicBezTo>
                  <a:cubicBezTo>
                    <a:pt x="31" y="6"/>
                    <a:pt x="29" y="7"/>
                    <a:pt x="27" y="8"/>
                  </a:cubicBezTo>
                  <a:cubicBezTo>
                    <a:pt x="25" y="9"/>
                    <a:pt x="23" y="9"/>
                    <a:pt x="22" y="10"/>
                  </a:cubicBezTo>
                  <a:cubicBezTo>
                    <a:pt x="20" y="11"/>
                    <a:pt x="19" y="13"/>
                    <a:pt x="17" y="14"/>
                  </a:cubicBezTo>
                  <a:cubicBezTo>
                    <a:pt x="14" y="15"/>
                    <a:pt x="11" y="17"/>
                    <a:pt x="8" y="19"/>
                  </a:cubicBezTo>
                  <a:cubicBezTo>
                    <a:pt x="6" y="20"/>
                    <a:pt x="5" y="20"/>
                    <a:pt x="4" y="22"/>
                  </a:cubicBezTo>
                  <a:cubicBezTo>
                    <a:pt x="3" y="23"/>
                    <a:pt x="2" y="23"/>
                    <a:pt x="1" y="25"/>
                  </a:cubicBezTo>
                  <a:cubicBezTo>
                    <a:pt x="1" y="26"/>
                    <a:pt x="0" y="26"/>
                    <a:pt x="0" y="27"/>
                  </a:cubicBezTo>
                  <a:cubicBezTo>
                    <a:pt x="0" y="28"/>
                    <a:pt x="1" y="29"/>
                    <a:pt x="1" y="30"/>
                  </a:cubicBezTo>
                  <a:cubicBezTo>
                    <a:pt x="2" y="31"/>
                    <a:pt x="3" y="31"/>
                    <a:pt x="5" y="32"/>
                  </a:cubicBezTo>
                  <a:cubicBezTo>
                    <a:pt x="6" y="32"/>
                    <a:pt x="7" y="34"/>
                    <a:pt x="9" y="33"/>
                  </a:cubicBezTo>
                  <a:cubicBezTo>
                    <a:pt x="10" y="32"/>
                    <a:pt x="11" y="31"/>
                    <a:pt x="12" y="29"/>
                  </a:cubicBezTo>
                  <a:cubicBezTo>
                    <a:pt x="12" y="29"/>
                    <a:pt x="13" y="28"/>
                    <a:pt x="13" y="27"/>
                  </a:cubicBezTo>
                  <a:cubicBezTo>
                    <a:pt x="16" y="26"/>
                    <a:pt x="16" y="28"/>
                    <a:pt x="17" y="30"/>
                  </a:cubicBezTo>
                  <a:cubicBezTo>
                    <a:pt x="18" y="30"/>
                    <a:pt x="18" y="31"/>
                    <a:pt x="19" y="32"/>
                  </a:cubicBezTo>
                  <a:cubicBezTo>
                    <a:pt x="20" y="32"/>
                    <a:pt x="20" y="33"/>
                    <a:pt x="20" y="34"/>
                  </a:cubicBezTo>
                  <a:cubicBezTo>
                    <a:pt x="21" y="34"/>
                    <a:pt x="21" y="35"/>
                    <a:pt x="21" y="35"/>
                  </a:cubicBezTo>
                  <a:cubicBezTo>
                    <a:pt x="21" y="36"/>
                    <a:pt x="21" y="37"/>
                    <a:pt x="21" y="38"/>
                  </a:cubicBezTo>
                  <a:cubicBezTo>
                    <a:pt x="21" y="39"/>
                    <a:pt x="22" y="39"/>
                    <a:pt x="23" y="40"/>
                  </a:cubicBezTo>
                  <a:cubicBezTo>
                    <a:pt x="23" y="40"/>
                    <a:pt x="24" y="40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5" y="42"/>
                    <a:pt x="26" y="43"/>
                    <a:pt x="27" y="44"/>
                  </a:cubicBezTo>
                  <a:cubicBezTo>
                    <a:pt x="28" y="44"/>
                    <a:pt x="29" y="43"/>
                    <a:pt x="31" y="43"/>
                  </a:cubicBezTo>
                  <a:cubicBezTo>
                    <a:pt x="32" y="43"/>
                    <a:pt x="33" y="43"/>
                    <a:pt x="34" y="44"/>
                  </a:cubicBezTo>
                  <a:cubicBezTo>
                    <a:pt x="34" y="44"/>
                    <a:pt x="34" y="45"/>
                    <a:pt x="35" y="45"/>
                  </a:cubicBezTo>
                  <a:cubicBezTo>
                    <a:pt x="36" y="46"/>
                    <a:pt x="36" y="46"/>
                    <a:pt x="37" y="47"/>
                  </a:cubicBezTo>
                  <a:cubicBezTo>
                    <a:pt x="37" y="48"/>
                    <a:pt x="37" y="49"/>
                    <a:pt x="38" y="49"/>
                  </a:cubicBezTo>
                  <a:cubicBezTo>
                    <a:pt x="38" y="50"/>
                    <a:pt x="38" y="50"/>
                    <a:pt x="39" y="50"/>
                  </a:cubicBezTo>
                  <a:cubicBezTo>
                    <a:pt x="39" y="50"/>
                    <a:pt x="40" y="50"/>
                    <a:pt x="40" y="50"/>
                  </a:cubicBezTo>
                  <a:cubicBezTo>
                    <a:pt x="40" y="49"/>
                    <a:pt x="41" y="48"/>
                    <a:pt x="41" y="47"/>
                  </a:cubicBezTo>
                  <a:cubicBezTo>
                    <a:pt x="42" y="46"/>
                    <a:pt x="44" y="45"/>
                    <a:pt x="45" y="44"/>
                  </a:cubicBezTo>
                  <a:cubicBezTo>
                    <a:pt x="46" y="44"/>
                    <a:pt x="47" y="44"/>
                    <a:pt x="48" y="44"/>
                  </a:cubicBezTo>
                  <a:cubicBezTo>
                    <a:pt x="49" y="44"/>
                    <a:pt x="50" y="43"/>
                    <a:pt x="51" y="42"/>
                  </a:cubicBezTo>
                  <a:cubicBezTo>
                    <a:pt x="53" y="41"/>
                    <a:pt x="52" y="39"/>
                    <a:pt x="51" y="37"/>
                  </a:cubicBezTo>
                  <a:cubicBezTo>
                    <a:pt x="50" y="36"/>
                    <a:pt x="51" y="35"/>
                    <a:pt x="52" y="34"/>
                  </a:cubicBezTo>
                  <a:cubicBezTo>
                    <a:pt x="53" y="33"/>
                    <a:pt x="53" y="31"/>
                    <a:pt x="54" y="30"/>
                  </a:cubicBezTo>
                  <a:cubicBezTo>
                    <a:pt x="55" y="29"/>
                    <a:pt x="57" y="29"/>
                    <a:pt x="58" y="28"/>
                  </a:cubicBezTo>
                  <a:cubicBezTo>
                    <a:pt x="59" y="27"/>
                    <a:pt x="59" y="25"/>
                    <a:pt x="60" y="24"/>
                  </a:cubicBezTo>
                  <a:cubicBezTo>
                    <a:pt x="61" y="22"/>
                    <a:pt x="63" y="20"/>
                    <a:pt x="62" y="18"/>
                  </a:cubicBezTo>
                  <a:cubicBezTo>
                    <a:pt x="61" y="14"/>
                    <a:pt x="56" y="12"/>
                    <a:pt x="53" y="14"/>
                  </a:cubicBezTo>
                  <a:cubicBezTo>
                    <a:pt x="53" y="14"/>
                    <a:pt x="53" y="15"/>
                    <a:pt x="52" y="15"/>
                  </a:cubicBezTo>
                  <a:cubicBezTo>
                    <a:pt x="51" y="15"/>
                    <a:pt x="51" y="16"/>
                    <a:pt x="50" y="16"/>
                  </a:cubicBezTo>
                  <a:cubicBezTo>
                    <a:pt x="50" y="17"/>
                    <a:pt x="50" y="17"/>
                    <a:pt x="49" y="17"/>
                  </a:cubicBezTo>
                  <a:cubicBezTo>
                    <a:pt x="48" y="17"/>
                    <a:pt x="48" y="16"/>
                    <a:pt x="47" y="15"/>
                  </a:cubicBezTo>
                  <a:cubicBezTo>
                    <a:pt x="47" y="14"/>
                    <a:pt x="46" y="13"/>
                    <a:pt x="46" y="13"/>
                  </a:cubicBezTo>
                  <a:lnTo>
                    <a:pt x="45" y="1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5" name="Freeform 95"/>
            <p:cNvSpPr>
              <a:spLocks/>
            </p:cNvSpPr>
            <p:nvPr/>
          </p:nvSpPr>
          <p:spPr bwMode="auto">
            <a:xfrm>
              <a:off x="3721100" y="6029325"/>
              <a:ext cx="57150" cy="41275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1" y="11"/>
                </a:cxn>
                <a:cxn ang="0">
                  <a:pos x="1" y="13"/>
                </a:cxn>
                <a:cxn ang="0">
                  <a:pos x="4" y="12"/>
                </a:cxn>
                <a:cxn ang="0">
                  <a:pos x="8" y="12"/>
                </a:cxn>
                <a:cxn ang="0">
                  <a:pos x="9" y="12"/>
                </a:cxn>
                <a:cxn ang="0">
                  <a:pos x="12" y="14"/>
                </a:cxn>
                <a:cxn ang="0">
                  <a:pos x="24" y="20"/>
                </a:cxn>
                <a:cxn ang="0">
                  <a:pos x="27" y="21"/>
                </a:cxn>
                <a:cxn ang="0">
                  <a:pos x="28" y="21"/>
                </a:cxn>
                <a:cxn ang="0">
                  <a:pos x="29" y="16"/>
                </a:cxn>
                <a:cxn ang="0">
                  <a:pos x="27" y="12"/>
                </a:cxn>
                <a:cxn ang="0">
                  <a:pos x="25" y="9"/>
                </a:cxn>
                <a:cxn ang="0">
                  <a:pos x="24" y="5"/>
                </a:cxn>
                <a:cxn ang="0">
                  <a:pos x="21" y="3"/>
                </a:cxn>
                <a:cxn ang="0">
                  <a:pos x="16" y="0"/>
                </a:cxn>
                <a:cxn ang="0">
                  <a:pos x="4" y="3"/>
                </a:cxn>
              </a:cxnLst>
              <a:rect l="0" t="0" r="r" b="b"/>
              <a:pathLst>
                <a:path w="30" h="22">
                  <a:moveTo>
                    <a:pt x="4" y="3"/>
                  </a:moveTo>
                  <a:cubicBezTo>
                    <a:pt x="3" y="3"/>
                    <a:pt x="0" y="3"/>
                    <a:pt x="0" y="4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1" y="7"/>
                    <a:pt x="1" y="9"/>
                    <a:pt x="1" y="11"/>
                  </a:cubicBezTo>
                  <a:cubicBezTo>
                    <a:pt x="1" y="12"/>
                    <a:pt x="1" y="12"/>
                    <a:pt x="1" y="13"/>
                  </a:cubicBezTo>
                  <a:cubicBezTo>
                    <a:pt x="2" y="14"/>
                    <a:pt x="3" y="13"/>
                    <a:pt x="4" y="12"/>
                  </a:cubicBezTo>
                  <a:cubicBezTo>
                    <a:pt x="6" y="12"/>
                    <a:pt x="7" y="12"/>
                    <a:pt x="8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10" y="13"/>
                    <a:pt x="11" y="13"/>
                    <a:pt x="12" y="14"/>
                  </a:cubicBezTo>
                  <a:cubicBezTo>
                    <a:pt x="15" y="18"/>
                    <a:pt x="20" y="18"/>
                    <a:pt x="24" y="20"/>
                  </a:cubicBezTo>
                  <a:cubicBezTo>
                    <a:pt x="25" y="20"/>
                    <a:pt x="26" y="21"/>
                    <a:pt x="27" y="21"/>
                  </a:cubicBezTo>
                  <a:cubicBezTo>
                    <a:pt x="27" y="21"/>
                    <a:pt x="28" y="22"/>
                    <a:pt x="28" y="21"/>
                  </a:cubicBezTo>
                  <a:cubicBezTo>
                    <a:pt x="30" y="21"/>
                    <a:pt x="30" y="17"/>
                    <a:pt x="29" y="16"/>
                  </a:cubicBezTo>
                  <a:cubicBezTo>
                    <a:pt x="29" y="14"/>
                    <a:pt x="28" y="13"/>
                    <a:pt x="27" y="12"/>
                  </a:cubicBezTo>
                  <a:cubicBezTo>
                    <a:pt x="26" y="11"/>
                    <a:pt x="26" y="10"/>
                    <a:pt x="25" y="9"/>
                  </a:cubicBezTo>
                  <a:cubicBezTo>
                    <a:pt x="25" y="8"/>
                    <a:pt x="24" y="7"/>
                    <a:pt x="24" y="5"/>
                  </a:cubicBezTo>
                  <a:cubicBezTo>
                    <a:pt x="23" y="4"/>
                    <a:pt x="22" y="4"/>
                    <a:pt x="21" y="3"/>
                  </a:cubicBezTo>
                  <a:cubicBezTo>
                    <a:pt x="19" y="1"/>
                    <a:pt x="18" y="0"/>
                    <a:pt x="16" y="0"/>
                  </a:cubicBezTo>
                  <a:lnTo>
                    <a:pt x="4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6" name="Freeform 96"/>
            <p:cNvSpPr>
              <a:spLocks/>
            </p:cNvSpPr>
            <p:nvPr/>
          </p:nvSpPr>
          <p:spPr bwMode="auto">
            <a:xfrm>
              <a:off x="3455988" y="6162675"/>
              <a:ext cx="47625" cy="38100"/>
            </a:xfrm>
            <a:custGeom>
              <a:avLst/>
              <a:gdLst/>
              <a:ahLst/>
              <a:cxnLst>
                <a:cxn ang="0">
                  <a:pos x="25" y="2"/>
                </a:cxn>
                <a:cxn ang="0">
                  <a:pos x="24" y="1"/>
                </a:cxn>
                <a:cxn ang="0">
                  <a:pos x="18" y="1"/>
                </a:cxn>
                <a:cxn ang="0">
                  <a:pos x="16" y="2"/>
                </a:cxn>
                <a:cxn ang="0">
                  <a:pos x="13" y="4"/>
                </a:cxn>
                <a:cxn ang="0">
                  <a:pos x="8" y="7"/>
                </a:cxn>
                <a:cxn ang="0">
                  <a:pos x="4" y="10"/>
                </a:cxn>
                <a:cxn ang="0">
                  <a:pos x="1" y="17"/>
                </a:cxn>
                <a:cxn ang="0">
                  <a:pos x="12" y="18"/>
                </a:cxn>
                <a:cxn ang="0">
                  <a:pos x="21" y="13"/>
                </a:cxn>
                <a:cxn ang="0">
                  <a:pos x="24" y="8"/>
                </a:cxn>
                <a:cxn ang="0">
                  <a:pos x="23" y="5"/>
                </a:cxn>
                <a:cxn ang="0">
                  <a:pos x="22" y="2"/>
                </a:cxn>
                <a:cxn ang="0">
                  <a:pos x="25" y="2"/>
                </a:cxn>
              </a:cxnLst>
              <a:rect l="0" t="0" r="r" b="b"/>
              <a:pathLst>
                <a:path w="25" h="20">
                  <a:moveTo>
                    <a:pt x="25" y="2"/>
                  </a:moveTo>
                  <a:cubicBezTo>
                    <a:pt x="25" y="1"/>
                    <a:pt x="25" y="1"/>
                    <a:pt x="24" y="1"/>
                  </a:cubicBezTo>
                  <a:cubicBezTo>
                    <a:pt x="22" y="0"/>
                    <a:pt x="20" y="1"/>
                    <a:pt x="18" y="1"/>
                  </a:cubicBezTo>
                  <a:cubicBezTo>
                    <a:pt x="17" y="1"/>
                    <a:pt x="17" y="1"/>
                    <a:pt x="16" y="2"/>
                  </a:cubicBezTo>
                  <a:cubicBezTo>
                    <a:pt x="15" y="3"/>
                    <a:pt x="14" y="4"/>
                    <a:pt x="13" y="4"/>
                  </a:cubicBezTo>
                  <a:cubicBezTo>
                    <a:pt x="12" y="5"/>
                    <a:pt x="10" y="6"/>
                    <a:pt x="8" y="7"/>
                  </a:cubicBezTo>
                  <a:cubicBezTo>
                    <a:pt x="7" y="8"/>
                    <a:pt x="5" y="9"/>
                    <a:pt x="4" y="10"/>
                  </a:cubicBezTo>
                  <a:cubicBezTo>
                    <a:pt x="2" y="11"/>
                    <a:pt x="0" y="15"/>
                    <a:pt x="1" y="17"/>
                  </a:cubicBezTo>
                  <a:cubicBezTo>
                    <a:pt x="4" y="20"/>
                    <a:pt x="9" y="19"/>
                    <a:pt x="12" y="18"/>
                  </a:cubicBezTo>
                  <a:cubicBezTo>
                    <a:pt x="15" y="16"/>
                    <a:pt x="18" y="16"/>
                    <a:pt x="21" y="13"/>
                  </a:cubicBezTo>
                  <a:cubicBezTo>
                    <a:pt x="22" y="11"/>
                    <a:pt x="24" y="10"/>
                    <a:pt x="24" y="8"/>
                  </a:cubicBezTo>
                  <a:cubicBezTo>
                    <a:pt x="24" y="7"/>
                    <a:pt x="23" y="6"/>
                    <a:pt x="23" y="5"/>
                  </a:cubicBezTo>
                  <a:cubicBezTo>
                    <a:pt x="23" y="4"/>
                    <a:pt x="23" y="3"/>
                    <a:pt x="22" y="2"/>
                  </a:cubicBezTo>
                  <a:lnTo>
                    <a:pt x="25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7" name="Freeform 97"/>
            <p:cNvSpPr>
              <a:spLocks/>
            </p:cNvSpPr>
            <p:nvPr/>
          </p:nvSpPr>
          <p:spPr bwMode="auto">
            <a:xfrm>
              <a:off x="3803650" y="3973513"/>
              <a:ext cx="403225" cy="454025"/>
            </a:xfrm>
            <a:custGeom>
              <a:avLst/>
              <a:gdLst/>
              <a:ahLst/>
              <a:cxnLst>
                <a:cxn ang="0">
                  <a:pos x="180" y="6"/>
                </a:cxn>
                <a:cxn ang="0">
                  <a:pos x="144" y="10"/>
                </a:cxn>
                <a:cxn ang="0">
                  <a:pos x="119" y="23"/>
                </a:cxn>
                <a:cxn ang="0">
                  <a:pos x="116" y="34"/>
                </a:cxn>
                <a:cxn ang="0">
                  <a:pos x="109" y="42"/>
                </a:cxn>
                <a:cxn ang="0">
                  <a:pos x="121" y="55"/>
                </a:cxn>
                <a:cxn ang="0">
                  <a:pos x="126" y="74"/>
                </a:cxn>
                <a:cxn ang="0">
                  <a:pos x="117" y="83"/>
                </a:cxn>
                <a:cxn ang="0">
                  <a:pos x="109" y="93"/>
                </a:cxn>
                <a:cxn ang="0">
                  <a:pos x="114" y="112"/>
                </a:cxn>
                <a:cxn ang="0">
                  <a:pos x="98" y="105"/>
                </a:cxn>
                <a:cxn ang="0">
                  <a:pos x="96" y="89"/>
                </a:cxn>
                <a:cxn ang="0">
                  <a:pos x="97" y="78"/>
                </a:cxn>
                <a:cxn ang="0">
                  <a:pos x="113" y="75"/>
                </a:cxn>
                <a:cxn ang="0">
                  <a:pos x="102" y="58"/>
                </a:cxn>
                <a:cxn ang="0">
                  <a:pos x="100" y="46"/>
                </a:cxn>
                <a:cxn ang="0">
                  <a:pos x="82" y="47"/>
                </a:cxn>
                <a:cxn ang="0">
                  <a:pos x="69" y="71"/>
                </a:cxn>
                <a:cxn ang="0">
                  <a:pos x="70" y="90"/>
                </a:cxn>
                <a:cxn ang="0">
                  <a:pos x="65" y="96"/>
                </a:cxn>
                <a:cxn ang="0">
                  <a:pos x="54" y="122"/>
                </a:cxn>
                <a:cxn ang="0">
                  <a:pos x="39" y="133"/>
                </a:cxn>
                <a:cxn ang="0">
                  <a:pos x="34" y="147"/>
                </a:cxn>
                <a:cxn ang="0">
                  <a:pos x="22" y="158"/>
                </a:cxn>
                <a:cxn ang="0">
                  <a:pos x="29" y="164"/>
                </a:cxn>
                <a:cxn ang="0">
                  <a:pos x="40" y="176"/>
                </a:cxn>
                <a:cxn ang="0">
                  <a:pos x="25" y="167"/>
                </a:cxn>
                <a:cxn ang="0">
                  <a:pos x="6" y="179"/>
                </a:cxn>
                <a:cxn ang="0">
                  <a:pos x="35" y="182"/>
                </a:cxn>
                <a:cxn ang="0">
                  <a:pos x="44" y="190"/>
                </a:cxn>
                <a:cxn ang="0">
                  <a:pos x="11" y="186"/>
                </a:cxn>
                <a:cxn ang="0">
                  <a:pos x="6" y="197"/>
                </a:cxn>
                <a:cxn ang="0">
                  <a:pos x="38" y="203"/>
                </a:cxn>
                <a:cxn ang="0">
                  <a:pos x="49" y="193"/>
                </a:cxn>
                <a:cxn ang="0">
                  <a:pos x="61" y="183"/>
                </a:cxn>
                <a:cxn ang="0">
                  <a:pos x="92" y="184"/>
                </a:cxn>
                <a:cxn ang="0">
                  <a:pos x="97" y="192"/>
                </a:cxn>
                <a:cxn ang="0">
                  <a:pos x="113" y="199"/>
                </a:cxn>
                <a:cxn ang="0">
                  <a:pos x="132" y="204"/>
                </a:cxn>
                <a:cxn ang="0">
                  <a:pos x="132" y="216"/>
                </a:cxn>
                <a:cxn ang="0">
                  <a:pos x="126" y="239"/>
                </a:cxn>
                <a:cxn ang="0">
                  <a:pos x="149" y="239"/>
                </a:cxn>
                <a:cxn ang="0">
                  <a:pos x="151" y="226"/>
                </a:cxn>
                <a:cxn ang="0">
                  <a:pos x="146" y="219"/>
                </a:cxn>
                <a:cxn ang="0">
                  <a:pos x="152" y="205"/>
                </a:cxn>
                <a:cxn ang="0">
                  <a:pos x="158" y="188"/>
                </a:cxn>
                <a:cxn ang="0">
                  <a:pos x="155" y="168"/>
                </a:cxn>
                <a:cxn ang="0">
                  <a:pos x="148" y="146"/>
                </a:cxn>
                <a:cxn ang="0">
                  <a:pos x="171" y="145"/>
                </a:cxn>
                <a:cxn ang="0">
                  <a:pos x="188" y="133"/>
                </a:cxn>
                <a:cxn ang="0">
                  <a:pos x="197" y="117"/>
                </a:cxn>
                <a:cxn ang="0">
                  <a:pos x="204" y="97"/>
                </a:cxn>
                <a:cxn ang="0">
                  <a:pos x="182" y="80"/>
                </a:cxn>
                <a:cxn ang="0">
                  <a:pos x="195" y="72"/>
                </a:cxn>
                <a:cxn ang="0">
                  <a:pos x="209" y="57"/>
                </a:cxn>
                <a:cxn ang="0">
                  <a:pos x="215" y="31"/>
                </a:cxn>
                <a:cxn ang="0">
                  <a:pos x="207" y="10"/>
                </a:cxn>
              </a:cxnLst>
              <a:rect l="0" t="0" r="r" b="b"/>
              <a:pathLst>
                <a:path w="216" h="243">
                  <a:moveTo>
                    <a:pt x="206" y="9"/>
                  </a:moveTo>
                  <a:cubicBezTo>
                    <a:pt x="204" y="9"/>
                    <a:pt x="202" y="9"/>
                    <a:pt x="201" y="9"/>
                  </a:cubicBezTo>
                  <a:cubicBezTo>
                    <a:pt x="199" y="9"/>
                    <a:pt x="199" y="9"/>
                    <a:pt x="198" y="8"/>
                  </a:cubicBezTo>
                  <a:cubicBezTo>
                    <a:pt x="198" y="5"/>
                    <a:pt x="200" y="2"/>
                    <a:pt x="197" y="1"/>
                  </a:cubicBezTo>
                  <a:cubicBezTo>
                    <a:pt x="194" y="0"/>
                    <a:pt x="192" y="2"/>
                    <a:pt x="190" y="2"/>
                  </a:cubicBezTo>
                  <a:cubicBezTo>
                    <a:pt x="187" y="4"/>
                    <a:pt x="183" y="4"/>
                    <a:pt x="180" y="6"/>
                  </a:cubicBezTo>
                  <a:cubicBezTo>
                    <a:pt x="180" y="6"/>
                    <a:pt x="179" y="6"/>
                    <a:pt x="179" y="6"/>
                  </a:cubicBezTo>
                  <a:cubicBezTo>
                    <a:pt x="179" y="7"/>
                    <a:pt x="179" y="7"/>
                    <a:pt x="179" y="7"/>
                  </a:cubicBezTo>
                  <a:cubicBezTo>
                    <a:pt x="177" y="9"/>
                    <a:pt x="173" y="8"/>
                    <a:pt x="170" y="8"/>
                  </a:cubicBezTo>
                  <a:cubicBezTo>
                    <a:pt x="166" y="8"/>
                    <a:pt x="162" y="5"/>
                    <a:pt x="158" y="5"/>
                  </a:cubicBezTo>
                  <a:cubicBezTo>
                    <a:pt x="154" y="5"/>
                    <a:pt x="153" y="6"/>
                    <a:pt x="150" y="8"/>
                  </a:cubicBezTo>
                  <a:cubicBezTo>
                    <a:pt x="148" y="8"/>
                    <a:pt x="146" y="9"/>
                    <a:pt x="144" y="10"/>
                  </a:cubicBezTo>
                  <a:cubicBezTo>
                    <a:pt x="140" y="10"/>
                    <a:pt x="137" y="10"/>
                    <a:pt x="135" y="12"/>
                  </a:cubicBezTo>
                  <a:cubicBezTo>
                    <a:pt x="134" y="13"/>
                    <a:pt x="134" y="13"/>
                    <a:pt x="134" y="13"/>
                  </a:cubicBezTo>
                  <a:cubicBezTo>
                    <a:pt x="133" y="14"/>
                    <a:pt x="132" y="14"/>
                    <a:pt x="131" y="15"/>
                  </a:cubicBezTo>
                  <a:cubicBezTo>
                    <a:pt x="129" y="16"/>
                    <a:pt x="127" y="16"/>
                    <a:pt x="125" y="18"/>
                  </a:cubicBezTo>
                  <a:cubicBezTo>
                    <a:pt x="124" y="18"/>
                    <a:pt x="123" y="20"/>
                    <a:pt x="122" y="21"/>
                  </a:cubicBezTo>
                  <a:cubicBezTo>
                    <a:pt x="121" y="21"/>
                    <a:pt x="119" y="22"/>
                    <a:pt x="119" y="23"/>
                  </a:cubicBezTo>
                  <a:cubicBezTo>
                    <a:pt x="119" y="24"/>
                    <a:pt x="119" y="25"/>
                    <a:pt x="119" y="25"/>
                  </a:cubicBezTo>
                  <a:cubicBezTo>
                    <a:pt x="119" y="26"/>
                    <a:pt x="118" y="27"/>
                    <a:pt x="118" y="27"/>
                  </a:cubicBezTo>
                  <a:cubicBezTo>
                    <a:pt x="118" y="27"/>
                    <a:pt x="117" y="28"/>
                    <a:pt x="117" y="29"/>
                  </a:cubicBezTo>
                  <a:cubicBezTo>
                    <a:pt x="117" y="30"/>
                    <a:pt x="117" y="31"/>
                    <a:pt x="117" y="31"/>
                  </a:cubicBezTo>
                  <a:cubicBezTo>
                    <a:pt x="117" y="32"/>
                    <a:pt x="116" y="32"/>
                    <a:pt x="116" y="32"/>
                  </a:cubicBezTo>
                  <a:cubicBezTo>
                    <a:pt x="116" y="33"/>
                    <a:pt x="117" y="33"/>
                    <a:pt x="116" y="34"/>
                  </a:cubicBezTo>
                  <a:cubicBezTo>
                    <a:pt x="116" y="34"/>
                    <a:pt x="114" y="35"/>
                    <a:pt x="113" y="35"/>
                  </a:cubicBezTo>
                  <a:cubicBezTo>
                    <a:pt x="111" y="36"/>
                    <a:pt x="109" y="36"/>
                    <a:pt x="109" y="33"/>
                  </a:cubicBezTo>
                  <a:cubicBezTo>
                    <a:pt x="108" y="32"/>
                    <a:pt x="108" y="31"/>
                    <a:pt x="107" y="30"/>
                  </a:cubicBezTo>
                  <a:cubicBezTo>
                    <a:pt x="105" y="29"/>
                    <a:pt x="103" y="36"/>
                    <a:pt x="103" y="38"/>
                  </a:cubicBezTo>
                  <a:cubicBezTo>
                    <a:pt x="104" y="39"/>
                    <a:pt x="104" y="40"/>
                    <a:pt x="104" y="41"/>
                  </a:cubicBezTo>
                  <a:cubicBezTo>
                    <a:pt x="105" y="43"/>
                    <a:pt x="107" y="43"/>
                    <a:pt x="109" y="42"/>
                  </a:cubicBezTo>
                  <a:cubicBezTo>
                    <a:pt x="110" y="41"/>
                    <a:pt x="110" y="39"/>
                    <a:pt x="112" y="41"/>
                  </a:cubicBezTo>
                  <a:cubicBezTo>
                    <a:pt x="112" y="41"/>
                    <a:pt x="113" y="42"/>
                    <a:pt x="113" y="42"/>
                  </a:cubicBezTo>
                  <a:cubicBezTo>
                    <a:pt x="113" y="43"/>
                    <a:pt x="114" y="43"/>
                    <a:pt x="114" y="43"/>
                  </a:cubicBezTo>
                  <a:cubicBezTo>
                    <a:pt x="116" y="46"/>
                    <a:pt x="115" y="51"/>
                    <a:pt x="115" y="54"/>
                  </a:cubicBezTo>
                  <a:cubicBezTo>
                    <a:pt x="115" y="56"/>
                    <a:pt x="115" y="56"/>
                    <a:pt x="118" y="56"/>
                  </a:cubicBezTo>
                  <a:cubicBezTo>
                    <a:pt x="119" y="56"/>
                    <a:pt x="120" y="55"/>
                    <a:pt x="121" y="55"/>
                  </a:cubicBezTo>
                  <a:cubicBezTo>
                    <a:pt x="123" y="56"/>
                    <a:pt x="124" y="57"/>
                    <a:pt x="125" y="57"/>
                  </a:cubicBezTo>
                  <a:cubicBezTo>
                    <a:pt x="126" y="60"/>
                    <a:pt x="130" y="56"/>
                    <a:pt x="131" y="57"/>
                  </a:cubicBezTo>
                  <a:cubicBezTo>
                    <a:pt x="132" y="58"/>
                    <a:pt x="132" y="59"/>
                    <a:pt x="131" y="60"/>
                  </a:cubicBezTo>
                  <a:cubicBezTo>
                    <a:pt x="129" y="62"/>
                    <a:pt x="126" y="61"/>
                    <a:pt x="125" y="63"/>
                  </a:cubicBezTo>
                  <a:cubicBezTo>
                    <a:pt x="124" y="65"/>
                    <a:pt x="125" y="68"/>
                    <a:pt x="125" y="70"/>
                  </a:cubicBezTo>
                  <a:cubicBezTo>
                    <a:pt x="125" y="72"/>
                    <a:pt x="125" y="72"/>
                    <a:pt x="126" y="74"/>
                  </a:cubicBezTo>
                  <a:cubicBezTo>
                    <a:pt x="126" y="74"/>
                    <a:pt x="127" y="75"/>
                    <a:pt x="127" y="75"/>
                  </a:cubicBezTo>
                  <a:cubicBezTo>
                    <a:pt x="127" y="76"/>
                    <a:pt x="127" y="77"/>
                    <a:pt x="127" y="78"/>
                  </a:cubicBezTo>
                  <a:cubicBezTo>
                    <a:pt x="129" y="78"/>
                    <a:pt x="130" y="77"/>
                    <a:pt x="129" y="80"/>
                  </a:cubicBezTo>
                  <a:cubicBezTo>
                    <a:pt x="129" y="81"/>
                    <a:pt x="129" y="81"/>
                    <a:pt x="127" y="81"/>
                  </a:cubicBezTo>
                  <a:cubicBezTo>
                    <a:pt x="124" y="82"/>
                    <a:pt x="122" y="81"/>
                    <a:pt x="119" y="82"/>
                  </a:cubicBezTo>
                  <a:cubicBezTo>
                    <a:pt x="118" y="82"/>
                    <a:pt x="118" y="83"/>
                    <a:pt x="117" y="83"/>
                  </a:cubicBezTo>
                  <a:cubicBezTo>
                    <a:pt x="116" y="83"/>
                    <a:pt x="116" y="83"/>
                    <a:pt x="115" y="83"/>
                  </a:cubicBezTo>
                  <a:cubicBezTo>
                    <a:pt x="113" y="83"/>
                    <a:pt x="113" y="83"/>
                    <a:pt x="112" y="84"/>
                  </a:cubicBezTo>
                  <a:cubicBezTo>
                    <a:pt x="110" y="85"/>
                    <a:pt x="110" y="85"/>
                    <a:pt x="110" y="87"/>
                  </a:cubicBezTo>
                  <a:cubicBezTo>
                    <a:pt x="110" y="87"/>
                    <a:pt x="109" y="88"/>
                    <a:pt x="109" y="88"/>
                  </a:cubicBezTo>
                  <a:cubicBezTo>
                    <a:pt x="109" y="89"/>
                    <a:pt x="109" y="90"/>
                    <a:pt x="109" y="91"/>
                  </a:cubicBezTo>
                  <a:cubicBezTo>
                    <a:pt x="109" y="92"/>
                    <a:pt x="109" y="92"/>
                    <a:pt x="109" y="93"/>
                  </a:cubicBezTo>
                  <a:cubicBezTo>
                    <a:pt x="110" y="94"/>
                    <a:pt x="110" y="94"/>
                    <a:pt x="110" y="95"/>
                  </a:cubicBezTo>
                  <a:cubicBezTo>
                    <a:pt x="110" y="96"/>
                    <a:pt x="109" y="97"/>
                    <a:pt x="108" y="98"/>
                  </a:cubicBezTo>
                  <a:cubicBezTo>
                    <a:pt x="107" y="101"/>
                    <a:pt x="109" y="101"/>
                    <a:pt x="110" y="104"/>
                  </a:cubicBezTo>
                  <a:cubicBezTo>
                    <a:pt x="110" y="105"/>
                    <a:pt x="110" y="106"/>
                    <a:pt x="111" y="107"/>
                  </a:cubicBezTo>
                  <a:cubicBezTo>
                    <a:pt x="111" y="108"/>
                    <a:pt x="112" y="109"/>
                    <a:pt x="113" y="109"/>
                  </a:cubicBezTo>
                  <a:cubicBezTo>
                    <a:pt x="114" y="110"/>
                    <a:pt x="115" y="111"/>
                    <a:pt x="114" y="112"/>
                  </a:cubicBezTo>
                  <a:cubicBezTo>
                    <a:pt x="114" y="112"/>
                    <a:pt x="114" y="112"/>
                    <a:pt x="113" y="112"/>
                  </a:cubicBezTo>
                  <a:cubicBezTo>
                    <a:pt x="113" y="112"/>
                    <a:pt x="112" y="111"/>
                    <a:pt x="112" y="111"/>
                  </a:cubicBezTo>
                  <a:cubicBezTo>
                    <a:pt x="111" y="110"/>
                    <a:pt x="110" y="109"/>
                    <a:pt x="109" y="108"/>
                  </a:cubicBezTo>
                  <a:cubicBezTo>
                    <a:pt x="108" y="107"/>
                    <a:pt x="108" y="107"/>
                    <a:pt x="107" y="106"/>
                  </a:cubicBezTo>
                  <a:cubicBezTo>
                    <a:pt x="105" y="105"/>
                    <a:pt x="104" y="106"/>
                    <a:pt x="103" y="106"/>
                  </a:cubicBezTo>
                  <a:cubicBezTo>
                    <a:pt x="101" y="106"/>
                    <a:pt x="99" y="105"/>
                    <a:pt x="98" y="105"/>
                  </a:cubicBezTo>
                  <a:cubicBezTo>
                    <a:pt x="96" y="104"/>
                    <a:pt x="95" y="104"/>
                    <a:pt x="94" y="104"/>
                  </a:cubicBezTo>
                  <a:cubicBezTo>
                    <a:pt x="92" y="103"/>
                    <a:pt x="91" y="100"/>
                    <a:pt x="93" y="99"/>
                  </a:cubicBezTo>
                  <a:cubicBezTo>
                    <a:pt x="94" y="98"/>
                    <a:pt x="100" y="100"/>
                    <a:pt x="99" y="97"/>
                  </a:cubicBezTo>
                  <a:cubicBezTo>
                    <a:pt x="98" y="95"/>
                    <a:pt x="97" y="96"/>
                    <a:pt x="97" y="95"/>
                  </a:cubicBezTo>
                  <a:cubicBezTo>
                    <a:pt x="97" y="94"/>
                    <a:pt x="97" y="92"/>
                    <a:pt x="97" y="91"/>
                  </a:cubicBezTo>
                  <a:cubicBezTo>
                    <a:pt x="97" y="90"/>
                    <a:pt x="96" y="90"/>
                    <a:pt x="96" y="89"/>
                  </a:cubicBezTo>
                  <a:cubicBezTo>
                    <a:pt x="96" y="89"/>
                    <a:pt x="97" y="88"/>
                    <a:pt x="97" y="88"/>
                  </a:cubicBezTo>
                  <a:cubicBezTo>
                    <a:pt x="97" y="88"/>
                    <a:pt x="97" y="87"/>
                    <a:pt x="97" y="86"/>
                  </a:cubicBezTo>
                  <a:cubicBezTo>
                    <a:pt x="96" y="84"/>
                    <a:pt x="95" y="83"/>
                    <a:pt x="94" y="82"/>
                  </a:cubicBezTo>
                  <a:cubicBezTo>
                    <a:pt x="94" y="81"/>
                    <a:pt x="94" y="81"/>
                    <a:pt x="94" y="80"/>
                  </a:cubicBezTo>
                  <a:cubicBezTo>
                    <a:pt x="93" y="80"/>
                    <a:pt x="93" y="80"/>
                    <a:pt x="93" y="79"/>
                  </a:cubicBezTo>
                  <a:cubicBezTo>
                    <a:pt x="93" y="77"/>
                    <a:pt x="95" y="78"/>
                    <a:pt x="97" y="78"/>
                  </a:cubicBezTo>
                  <a:cubicBezTo>
                    <a:pt x="98" y="78"/>
                    <a:pt x="98" y="78"/>
                    <a:pt x="100" y="78"/>
                  </a:cubicBezTo>
                  <a:cubicBezTo>
                    <a:pt x="101" y="78"/>
                    <a:pt x="102" y="77"/>
                    <a:pt x="102" y="77"/>
                  </a:cubicBezTo>
                  <a:cubicBezTo>
                    <a:pt x="103" y="77"/>
                    <a:pt x="104" y="77"/>
                    <a:pt x="105" y="77"/>
                  </a:cubicBezTo>
                  <a:cubicBezTo>
                    <a:pt x="107" y="76"/>
                    <a:pt x="106" y="76"/>
                    <a:pt x="107" y="75"/>
                  </a:cubicBezTo>
                  <a:cubicBezTo>
                    <a:pt x="108" y="72"/>
                    <a:pt x="109" y="75"/>
                    <a:pt x="111" y="75"/>
                  </a:cubicBezTo>
                  <a:cubicBezTo>
                    <a:pt x="111" y="75"/>
                    <a:pt x="112" y="75"/>
                    <a:pt x="113" y="75"/>
                  </a:cubicBezTo>
                  <a:cubicBezTo>
                    <a:pt x="113" y="74"/>
                    <a:pt x="113" y="72"/>
                    <a:pt x="112" y="72"/>
                  </a:cubicBezTo>
                  <a:cubicBezTo>
                    <a:pt x="112" y="71"/>
                    <a:pt x="111" y="71"/>
                    <a:pt x="110" y="71"/>
                  </a:cubicBezTo>
                  <a:cubicBezTo>
                    <a:pt x="110" y="70"/>
                    <a:pt x="108" y="69"/>
                    <a:pt x="108" y="68"/>
                  </a:cubicBezTo>
                  <a:cubicBezTo>
                    <a:pt x="107" y="68"/>
                    <a:pt x="108" y="67"/>
                    <a:pt x="108" y="66"/>
                  </a:cubicBezTo>
                  <a:cubicBezTo>
                    <a:pt x="108" y="64"/>
                    <a:pt x="107" y="64"/>
                    <a:pt x="105" y="63"/>
                  </a:cubicBezTo>
                  <a:cubicBezTo>
                    <a:pt x="103" y="62"/>
                    <a:pt x="103" y="60"/>
                    <a:pt x="102" y="58"/>
                  </a:cubicBezTo>
                  <a:cubicBezTo>
                    <a:pt x="101" y="57"/>
                    <a:pt x="99" y="56"/>
                    <a:pt x="98" y="55"/>
                  </a:cubicBezTo>
                  <a:cubicBezTo>
                    <a:pt x="97" y="54"/>
                    <a:pt x="97" y="55"/>
                    <a:pt x="97" y="53"/>
                  </a:cubicBezTo>
                  <a:cubicBezTo>
                    <a:pt x="97" y="52"/>
                    <a:pt x="98" y="51"/>
                    <a:pt x="99" y="50"/>
                  </a:cubicBezTo>
                  <a:cubicBezTo>
                    <a:pt x="100" y="49"/>
                    <a:pt x="101" y="48"/>
                    <a:pt x="102" y="47"/>
                  </a:cubicBezTo>
                  <a:cubicBezTo>
                    <a:pt x="104" y="47"/>
                    <a:pt x="105" y="46"/>
                    <a:pt x="106" y="45"/>
                  </a:cubicBezTo>
                  <a:cubicBezTo>
                    <a:pt x="104" y="45"/>
                    <a:pt x="102" y="45"/>
                    <a:pt x="100" y="46"/>
                  </a:cubicBezTo>
                  <a:cubicBezTo>
                    <a:pt x="99" y="47"/>
                    <a:pt x="98" y="48"/>
                    <a:pt x="97" y="49"/>
                  </a:cubicBezTo>
                  <a:cubicBezTo>
                    <a:pt x="95" y="51"/>
                    <a:pt x="93" y="53"/>
                    <a:pt x="92" y="53"/>
                  </a:cubicBezTo>
                  <a:cubicBezTo>
                    <a:pt x="90" y="53"/>
                    <a:pt x="86" y="53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4" y="50"/>
                    <a:pt x="84" y="49"/>
                  </a:cubicBezTo>
                  <a:cubicBezTo>
                    <a:pt x="84" y="48"/>
                    <a:pt x="83" y="47"/>
                    <a:pt x="82" y="47"/>
                  </a:cubicBezTo>
                  <a:cubicBezTo>
                    <a:pt x="78" y="47"/>
                    <a:pt x="77" y="50"/>
                    <a:pt x="77" y="53"/>
                  </a:cubicBezTo>
                  <a:cubicBezTo>
                    <a:pt x="77" y="56"/>
                    <a:pt x="77" y="57"/>
                    <a:pt x="75" y="60"/>
                  </a:cubicBezTo>
                  <a:cubicBezTo>
                    <a:pt x="75" y="60"/>
                    <a:pt x="74" y="62"/>
                    <a:pt x="73" y="62"/>
                  </a:cubicBezTo>
                  <a:cubicBezTo>
                    <a:pt x="72" y="63"/>
                    <a:pt x="69" y="61"/>
                    <a:pt x="67" y="60"/>
                  </a:cubicBezTo>
                  <a:cubicBezTo>
                    <a:pt x="67" y="61"/>
                    <a:pt x="67" y="62"/>
                    <a:pt x="67" y="63"/>
                  </a:cubicBezTo>
                  <a:cubicBezTo>
                    <a:pt x="66" y="66"/>
                    <a:pt x="68" y="68"/>
                    <a:pt x="69" y="71"/>
                  </a:cubicBezTo>
                  <a:cubicBezTo>
                    <a:pt x="69" y="72"/>
                    <a:pt x="68" y="73"/>
                    <a:pt x="69" y="74"/>
                  </a:cubicBezTo>
                  <a:cubicBezTo>
                    <a:pt x="69" y="75"/>
                    <a:pt x="72" y="75"/>
                    <a:pt x="73" y="77"/>
                  </a:cubicBezTo>
                  <a:cubicBezTo>
                    <a:pt x="73" y="79"/>
                    <a:pt x="72" y="80"/>
                    <a:pt x="72" y="81"/>
                  </a:cubicBezTo>
                  <a:cubicBezTo>
                    <a:pt x="72" y="83"/>
                    <a:pt x="72" y="84"/>
                    <a:pt x="72" y="85"/>
                  </a:cubicBezTo>
                  <a:cubicBezTo>
                    <a:pt x="72" y="86"/>
                    <a:pt x="71" y="87"/>
                    <a:pt x="71" y="88"/>
                  </a:cubicBezTo>
                  <a:cubicBezTo>
                    <a:pt x="71" y="89"/>
                    <a:pt x="70" y="90"/>
                    <a:pt x="70" y="90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70" y="92"/>
                    <a:pt x="70" y="92"/>
                    <a:pt x="70" y="92"/>
                  </a:cubicBezTo>
                  <a:cubicBezTo>
                    <a:pt x="70" y="92"/>
                    <a:pt x="69" y="93"/>
                    <a:pt x="69" y="93"/>
                  </a:cubicBezTo>
                  <a:cubicBezTo>
                    <a:pt x="69" y="94"/>
                    <a:pt x="68" y="93"/>
                    <a:pt x="68" y="94"/>
                  </a:cubicBezTo>
                  <a:cubicBezTo>
                    <a:pt x="67" y="94"/>
                    <a:pt x="66" y="95"/>
                    <a:pt x="66" y="95"/>
                  </a:cubicBezTo>
                  <a:cubicBezTo>
                    <a:pt x="65" y="95"/>
                    <a:pt x="65" y="95"/>
                    <a:pt x="65" y="96"/>
                  </a:cubicBezTo>
                  <a:cubicBezTo>
                    <a:pt x="64" y="97"/>
                    <a:pt x="65" y="97"/>
                    <a:pt x="65" y="98"/>
                  </a:cubicBezTo>
                  <a:cubicBezTo>
                    <a:pt x="65" y="98"/>
                    <a:pt x="64" y="99"/>
                    <a:pt x="64" y="99"/>
                  </a:cubicBezTo>
                  <a:cubicBezTo>
                    <a:pt x="63" y="100"/>
                    <a:pt x="63" y="102"/>
                    <a:pt x="63" y="103"/>
                  </a:cubicBezTo>
                  <a:cubicBezTo>
                    <a:pt x="63" y="104"/>
                    <a:pt x="63" y="106"/>
                    <a:pt x="62" y="107"/>
                  </a:cubicBezTo>
                  <a:cubicBezTo>
                    <a:pt x="62" y="109"/>
                    <a:pt x="60" y="110"/>
                    <a:pt x="60" y="111"/>
                  </a:cubicBezTo>
                  <a:cubicBezTo>
                    <a:pt x="58" y="114"/>
                    <a:pt x="55" y="117"/>
                    <a:pt x="54" y="122"/>
                  </a:cubicBezTo>
                  <a:cubicBezTo>
                    <a:pt x="53" y="121"/>
                    <a:pt x="51" y="123"/>
                    <a:pt x="50" y="124"/>
                  </a:cubicBezTo>
                  <a:cubicBezTo>
                    <a:pt x="49" y="125"/>
                    <a:pt x="49" y="126"/>
                    <a:pt x="49" y="127"/>
                  </a:cubicBezTo>
                  <a:cubicBezTo>
                    <a:pt x="49" y="127"/>
                    <a:pt x="49" y="128"/>
                    <a:pt x="48" y="128"/>
                  </a:cubicBezTo>
                  <a:cubicBezTo>
                    <a:pt x="48" y="126"/>
                    <a:pt x="43" y="126"/>
                    <a:pt x="42" y="127"/>
                  </a:cubicBezTo>
                  <a:cubicBezTo>
                    <a:pt x="41" y="128"/>
                    <a:pt x="41" y="128"/>
                    <a:pt x="41" y="129"/>
                  </a:cubicBezTo>
                  <a:cubicBezTo>
                    <a:pt x="40" y="130"/>
                    <a:pt x="40" y="131"/>
                    <a:pt x="39" y="133"/>
                  </a:cubicBezTo>
                  <a:cubicBezTo>
                    <a:pt x="39" y="134"/>
                    <a:pt x="38" y="134"/>
                    <a:pt x="38" y="135"/>
                  </a:cubicBezTo>
                  <a:cubicBezTo>
                    <a:pt x="38" y="136"/>
                    <a:pt x="38" y="137"/>
                    <a:pt x="38" y="138"/>
                  </a:cubicBezTo>
                  <a:cubicBezTo>
                    <a:pt x="38" y="140"/>
                    <a:pt x="39" y="140"/>
                    <a:pt x="39" y="141"/>
                  </a:cubicBezTo>
                  <a:cubicBezTo>
                    <a:pt x="40" y="143"/>
                    <a:pt x="39" y="144"/>
                    <a:pt x="40" y="145"/>
                  </a:cubicBezTo>
                  <a:cubicBezTo>
                    <a:pt x="39" y="145"/>
                    <a:pt x="39" y="145"/>
                    <a:pt x="38" y="146"/>
                  </a:cubicBezTo>
                  <a:cubicBezTo>
                    <a:pt x="36" y="146"/>
                    <a:pt x="36" y="146"/>
                    <a:pt x="34" y="147"/>
                  </a:cubicBezTo>
                  <a:cubicBezTo>
                    <a:pt x="34" y="147"/>
                    <a:pt x="33" y="147"/>
                    <a:pt x="32" y="147"/>
                  </a:cubicBezTo>
                  <a:cubicBezTo>
                    <a:pt x="32" y="148"/>
                    <a:pt x="32" y="148"/>
                    <a:pt x="32" y="149"/>
                  </a:cubicBezTo>
                  <a:cubicBezTo>
                    <a:pt x="30" y="150"/>
                    <a:pt x="30" y="149"/>
                    <a:pt x="29" y="151"/>
                  </a:cubicBezTo>
                  <a:cubicBezTo>
                    <a:pt x="29" y="152"/>
                    <a:pt x="29" y="154"/>
                    <a:pt x="29" y="156"/>
                  </a:cubicBezTo>
                  <a:cubicBezTo>
                    <a:pt x="29" y="158"/>
                    <a:pt x="28" y="157"/>
                    <a:pt x="26" y="157"/>
                  </a:cubicBezTo>
                  <a:cubicBezTo>
                    <a:pt x="25" y="157"/>
                    <a:pt x="23" y="158"/>
                    <a:pt x="22" y="158"/>
                  </a:cubicBezTo>
                  <a:cubicBezTo>
                    <a:pt x="20" y="159"/>
                    <a:pt x="15" y="162"/>
                    <a:pt x="16" y="164"/>
                  </a:cubicBezTo>
                  <a:cubicBezTo>
                    <a:pt x="17" y="165"/>
                    <a:pt x="19" y="165"/>
                    <a:pt x="20" y="164"/>
                  </a:cubicBezTo>
                  <a:cubicBezTo>
                    <a:pt x="20" y="164"/>
                    <a:pt x="21" y="163"/>
                    <a:pt x="21" y="163"/>
                  </a:cubicBezTo>
                  <a:cubicBezTo>
                    <a:pt x="22" y="162"/>
                    <a:pt x="24" y="162"/>
                    <a:pt x="24" y="162"/>
                  </a:cubicBezTo>
                  <a:cubicBezTo>
                    <a:pt x="26" y="161"/>
                    <a:pt x="26" y="161"/>
                    <a:pt x="28" y="162"/>
                  </a:cubicBezTo>
                  <a:cubicBezTo>
                    <a:pt x="28" y="162"/>
                    <a:pt x="29" y="163"/>
                    <a:pt x="29" y="164"/>
                  </a:cubicBezTo>
                  <a:cubicBezTo>
                    <a:pt x="30" y="164"/>
                    <a:pt x="32" y="164"/>
                    <a:pt x="33" y="164"/>
                  </a:cubicBezTo>
                  <a:cubicBezTo>
                    <a:pt x="34" y="164"/>
                    <a:pt x="40" y="161"/>
                    <a:pt x="40" y="163"/>
                  </a:cubicBezTo>
                  <a:cubicBezTo>
                    <a:pt x="41" y="164"/>
                    <a:pt x="37" y="167"/>
                    <a:pt x="36" y="167"/>
                  </a:cubicBezTo>
                  <a:cubicBezTo>
                    <a:pt x="35" y="168"/>
                    <a:pt x="35" y="169"/>
                    <a:pt x="35" y="170"/>
                  </a:cubicBezTo>
                  <a:cubicBezTo>
                    <a:pt x="37" y="170"/>
                    <a:pt x="39" y="171"/>
                    <a:pt x="40" y="172"/>
                  </a:cubicBezTo>
                  <a:cubicBezTo>
                    <a:pt x="40" y="173"/>
                    <a:pt x="40" y="175"/>
                    <a:pt x="40" y="176"/>
                  </a:cubicBezTo>
                  <a:cubicBezTo>
                    <a:pt x="41" y="177"/>
                    <a:pt x="44" y="177"/>
                    <a:pt x="44" y="178"/>
                  </a:cubicBezTo>
                  <a:cubicBezTo>
                    <a:pt x="45" y="179"/>
                    <a:pt x="44" y="180"/>
                    <a:pt x="44" y="181"/>
                  </a:cubicBezTo>
                  <a:cubicBezTo>
                    <a:pt x="39" y="181"/>
                    <a:pt x="36" y="176"/>
                    <a:pt x="34" y="172"/>
                  </a:cubicBezTo>
                  <a:cubicBezTo>
                    <a:pt x="33" y="171"/>
                    <a:pt x="31" y="170"/>
                    <a:pt x="30" y="169"/>
                  </a:cubicBezTo>
                  <a:cubicBezTo>
                    <a:pt x="29" y="169"/>
                    <a:pt x="28" y="169"/>
                    <a:pt x="28" y="168"/>
                  </a:cubicBezTo>
                  <a:cubicBezTo>
                    <a:pt x="27" y="167"/>
                    <a:pt x="27" y="167"/>
                    <a:pt x="25" y="167"/>
                  </a:cubicBezTo>
                  <a:cubicBezTo>
                    <a:pt x="23" y="167"/>
                    <a:pt x="23" y="168"/>
                    <a:pt x="22" y="169"/>
                  </a:cubicBezTo>
                  <a:cubicBezTo>
                    <a:pt x="20" y="170"/>
                    <a:pt x="17" y="169"/>
                    <a:pt x="15" y="169"/>
                  </a:cubicBezTo>
                  <a:cubicBezTo>
                    <a:pt x="13" y="169"/>
                    <a:pt x="13" y="169"/>
                    <a:pt x="12" y="169"/>
                  </a:cubicBezTo>
                  <a:cubicBezTo>
                    <a:pt x="12" y="170"/>
                    <a:pt x="11" y="170"/>
                    <a:pt x="11" y="171"/>
                  </a:cubicBezTo>
                  <a:cubicBezTo>
                    <a:pt x="10" y="171"/>
                    <a:pt x="10" y="171"/>
                    <a:pt x="9" y="172"/>
                  </a:cubicBezTo>
                  <a:cubicBezTo>
                    <a:pt x="8" y="173"/>
                    <a:pt x="5" y="177"/>
                    <a:pt x="6" y="179"/>
                  </a:cubicBezTo>
                  <a:cubicBezTo>
                    <a:pt x="8" y="179"/>
                    <a:pt x="12" y="178"/>
                    <a:pt x="13" y="180"/>
                  </a:cubicBezTo>
                  <a:cubicBezTo>
                    <a:pt x="14" y="180"/>
                    <a:pt x="14" y="181"/>
                    <a:pt x="14" y="182"/>
                  </a:cubicBezTo>
                  <a:cubicBezTo>
                    <a:pt x="15" y="183"/>
                    <a:pt x="16" y="183"/>
                    <a:pt x="18" y="184"/>
                  </a:cubicBezTo>
                  <a:cubicBezTo>
                    <a:pt x="22" y="184"/>
                    <a:pt x="23" y="187"/>
                    <a:pt x="27" y="185"/>
                  </a:cubicBezTo>
                  <a:cubicBezTo>
                    <a:pt x="29" y="184"/>
                    <a:pt x="31" y="183"/>
                    <a:pt x="33" y="182"/>
                  </a:cubicBezTo>
                  <a:cubicBezTo>
                    <a:pt x="34" y="182"/>
                    <a:pt x="34" y="182"/>
                    <a:pt x="35" y="182"/>
                  </a:cubicBezTo>
                  <a:cubicBezTo>
                    <a:pt x="36" y="182"/>
                    <a:pt x="37" y="181"/>
                    <a:pt x="37" y="181"/>
                  </a:cubicBezTo>
                  <a:cubicBezTo>
                    <a:pt x="38" y="181"/>
                    <a:pt x="39" y="182"/>
                    <a:pt x="40" y="183"/>
                  </a:cubicBezTo>
                  <a:cubicBezTo>
                    <a:pt x="40" y="185"/>
                    <a:pt x="39" y="186"/>
                    <a:pt x="41" y="186"/>
                  </a:cubicBezTo>
                  <a:cubicBezTo>
                    <a:pt x="42" y="187"/>
                    <a:pt x="46" y="184"/>
                    <a:pt x="47" y="186"/>
                  </a:cubicBezTo>
                  <a:cubicBezTo>
                    <a:pt x="48" y="186"/>
                    <a:pt x="48" y="190"/>
                    <a:pt x="48" y="190"/>
                  </a:cubicBezTo>
                  <a:cubicBezTo>
                    <a:pt x="47" y="191"/>
                    <a:pt x="45" y="190"/>
                    <a:pt x="44" y="190"/>
                  </a:cubicBezTo>
                  <a:cubicBezTo>
                    <a:pt x="41" y="189"/>
                    <a:pt x="39" y="189"/>
                    <a:pt x="36" y="188"/>
                  </a:cubicBezTo>
                  <a:cubicBezTo>
                    <a:pt x="35" y="188"/>
                    <a:pt x="34" y="187"/>
                    <a:pt x="33" y="188"/>
                  </a:cubicBezTo>
                  <a:cubicBezTo>
                    <a:pt x="32" y="188"/>
                    <a:pt x="31" y="188"/>
                    <a:pt x="30" y="188"/>
                  </a:cubicBezTo>
                  <a:cubicBezTo>
                    <a:pt x="27" y="189"/>
                    <a:pt x="24" y="188"/>
                    <a:pt x="21" y="188"/>
                  </a:cubicBezTo>
                  <a:cubicBezTo>
                    <a:pt x="18" y="188"/>
                    <a:pt x="16" y="188"/>
                    <a:pt x="13" y="187"/>
                  </a:cubicBezTo>
                  <a:cubicBezTo>
                    <a:pt x="12" y="187"/>
                    <a:pt x="11" y="186"/>
                    <a:pt x="11" y="186"/>
                  </a:cubicBezTo>
                  <a:cubicBezTo>
                    <a:pt x="9" y="185"/>
                    <a:pt x="8" y="183"/>
                    <a:pt x="6" y="183"/>
                  </a:cubicBezTo>
                  <a:cubicBezTo>
                    <a:pt x="3" y="182"/>
                    <a:pt x="1" y="184"/>
                    <a:pt x="1" y="187"/>
                  </a:cubicBezTo>
                  <a:cubicBezTo>
                    <a:pt x="1" y="188"/>
                    <a:pt x="1" y="189"/>
                    <a:pt x="0" y="190"/>
                  </a:cubicBezTo>
                  <a:cubicBezTo>
                    <a:pt x="0" y="192"/>
                    <a:pt x="1" y="192"/>
                    <a:pt x="1" y="193"/>
                  </a:cubicBezTo>
                  <a:cubicBezTo>
                    <a:pt x="2" y="194"/>
                    <a:pt x="2" y="195"/>
                    <a:pt x="3" y="196"/>
                  </a:cubicBezTo>
                  <a:cubicBezTo>
                    <a:pt x="4" y="197"/>
                    <a:pt x="5" y="197"/>
                    <a:pt x="6" y="197"/>
                  </a:cubicBezTo>
                  <a:cubicBezTo>
                    <a:pt x="7" y="198"/>
                    <a:pt x="9" y="199"/>
                    <a:pt x="11" y="198"/>
                  </a:cubicBezTo>
                  <a:cubicBezTo>
                    <a:pt x="12" y="197"/>
                    <a:pt x="12" y="196"/>
                    <a:pt x="12" y="196"/>
                  </a:cubicBezTo>
                  <a:cubicBezTo>
                    <a:pt x="13" y="195"/>
                    <a:pt x="17" y="194"/>
                    <a:pt x="18" y="194"/>
                  </a:cubicBezTo>
                  <a:cubicBezTo>
                    <a:pt x="21" y="194"/>
                    <a:pt x="22" y="196"/>
                    <a:pt x="23" y="198"/>
                  </a:cubicBezTo>
                  <a:cubicBezTo>
                    <a:pt x="25" y="200"/>
                    <a:pt x="30" y="201"/>
                    <a:pt x="33" y="202"/>
                  </a:cubicBezTo>
                  <a:cubicBezTo>
                    <a:pt x="35" y="203"/>
                    <a:pt x="36" y="204"/>
                    <a:pt x="38" y="203"/>
                  </a:cubicBezTo>
                  <a:cubicBezTo>
                    <a:pt x="39" y="203"/>
                    <a:pt x="40" y="202"/>
                    <a:pt x="41" y="201"/>
                  </a:cubicBezTo>
                  <a:cubicBezTo>
                    <a:pt x="41" y="200"/>
                    <a:pt x="42" y="199"/>
                    <a:pt x="42" y="199"/>
                  </a:cubicBezTo>
                  <a:cubicBezTo>
                    <a:pt x="42" y="198"/>
                    <a:pt x="43" y="197"/>
                    <a:pt x="44" y="196"/>
                  </a:cubicBezTo>
                  <a:cubicBezTo>
                    <a:pt x="44" y="195"/>
                    <a:pt x="44" y="195"/>
                    <a:pt x="46" y="194"/>
                  </a:cubicBezTo>
                  <a:cubicBezTo>
                    <a:pt x="47" y="194"/>
                    <a:pt x="48" y="194"/>
                    <a:pt x="49" y="193"/>
                  </a:cubicBezTo>
                  <a:cubicBezTo>
                    <a:pt x="49" y="193"/>
                    <a:pt x="49" y="193"/>
                    <a:pt x="49" y="193"/>
                  </a:cubicBezTo>
                  <a:cubicBezTo>
                    <a:pt x="49" y="192"/>
                    <a:pt x="49" y="192"/>
                    <a:pt x="50" y="192"/>
                  </a:cubicBezTo>
                  <a:cubicBezTo>
                    <a:pt x="51" y="191"/>
                    <a:pt x="51" y="191"/>
                    <a:pt x="51" y="190"/>
                  </a:cubicBezTo>
                  <a:cubicBezTo>
                    <a:pt x="52" y="189"/>
                    <a:pt x="53" y="188"/>
                    <a:pt x="54" y="188"/>
                  </a:cubicBezTo>
                  <a:cubicBezTo>
                    <a:pt x="55" y="187"/>
                    <a:pt x="55" y="187"/>
                    <a:pt x="56" y="187"/>
                  </a:cubicBezTo>
                  <a:cubicBezTo>
                    <a:pt x="57" y="186"/>
                    <a:pt x="58" y="186"/>
                    <a:pt x="59" y="185"/>
                  </a:cubicBezTo>
                  <a:cubicBezTo>
                    <a:pt x="60" y="185"/>
                    <a:pt x="60" y="184"/>
                    <a:pt x="61" y="183"/>
                  </a:cubicBezTo>
                  <a:cubicBezTo>
                    <a:pt x="62" y="183"/>
                    <a:pt x="63" y="183"/>
                    <a:pt x="64" y="183"/>
                  </a:cubicBezTo>
                  <a:cubicBezTo>
                    <a:pt x="65" y="183"/>
                    <a:pt x="66" y="182"/>
                    <a:pt x="67" y="182"/>
                  </a:cubicBezTo>
                  <a:cubicBezTo>
                    <a:pt x="70" y="182"/>
                    <a:pt x="73" y="182"/>
                    <a:pt x="76" y="182"/>
                  </a:cubicBezTo>
                  <a:cubicBezTo>
                    <a:pt x="79" y="182"/>
                    <a:pt x="80" y="184"/>
                    <a:pt x="82" y="184"/>
                  </a:cubicBezTo>
                  <a:cubicBezTo>
                    <a:pt x="84" y="185"/>
                    <a:pt x="86" y="184"/>
                    <a:pt x="88" y="184"/>
                  </a:cubicBezTo>
                  <a:cubicBezTo>
                    <a:pt x="89" y="184"/>
                    <a:pt x="91" y="184"/>
                    <a:pt x="92" y="184"/>
                  </a:cubicBezTo>
                  <a:cubicBezTo>
                    <a:pt x="93" y="184"/>
                    <a:pt x="94" y="183"/>
                    <a:pt x="96" y="182"/>
                  </a:cubicBezTo>
                  <a:cubicBezTo>
                    <a:pt x="96" y="182"/>
                    <a:pt x="97" y="182"/>
                    <a:pt x="98" y="182"/>
                  </a:cubicBezTo>
                  <a:cubicBezTo>
                    <a:pt x="99" y="182"/>
                    <a:pt x="100" y="182"/>
                    <a:pt x="100" y="182"/>
                  </a:cubicBezTo>
                  <a:cubicBezTo>
                    <a:pt x="103" y="182"/>
                    <a:pt x="104" y="185"/>
                    <a:pt x="103" y="187"/>
                  </a:cubicBezTo>
                  <a:cubicBezTo>
                    <a:pt x="103" y="188"/>
                    <a:pt x="100" y="190"/>
                    <a:pt x="98" y="191"/>
                  </a:cubicBezTo>
                  <a:cubicBezTo>
                    <a:pt x="98" y="191"/>
                    <a:pt x="97" y="191"/>
                    <a:pt x="97" y="192"/>
                  </a:cubicBezTo>
                  <a:cubicBezTo>
                    <a:pt x="97" y="193"/>
                    <a:pt x="98" y="193"/>
                    <a:pt x="99" y="193"/>
                  </a:cubicBezTo>
                  <a:cubicBezTo>
                    <a:pt x="101" y="194"/>
                    <a:pt x="102" y="194"/>
                    <a:pt x="104" y="195"/>
                  </a:cubicBezTo>
                  <a:cubicBezTo>
                    <a:pt x="106" y="196"/>
                    <a:pt x="106" y="196"/>
                    <a:pt x="107" y="197"/>
                  </a:cubicBezTo>
                  <a:cubicBezTo>
                    <a:pt x="107" y="197"/>
                    <a:pt x="108" y="198"/>
                    <a:pt x="108" y="198"/>
                  </a:cubicBezTo>
                  <a:cubicBezTo>
                    <a:pt x="109" y="198"/>
                    <a:pt x="109" y="199"/>
                    <a:pt x="109" y="199"/>
                  </a:cubicBezTo>
                  <a:cubicBezTo>
                    <a:pt x="111" y="200"/>
                    <a:pt x="112" y="200"/>
                    <a:pt x="113" y="199"/>
                  </a:cubicBezTo>
                  <a:cubicBezTo>
                    <a:pt x="116" y="198"/>
                    <a:pt x="118" y="197"/>
                    <a:pt x="121" y="197"/>
                  </a:cubicBezTo>
                  <a:cubicBezTo>
                    <a:pt x="123" y="197"/>
                    <a:pt x="123" y="197"/>
                    <a:pt x="124" y="199"/>
                  </a:cubicBezTo>
                  <a:cubicBezTo>
                    <a:pt x="124" y="199"/>
                    <a:pt x="125" y="200"/>
                    <a:pt x="125" y="200"/>
                  </a:cubicBezTo>
                  <a:cubicBezTo>
                    <a:pt x="126" y="201"/>
                    <a:pt x="126" y="201"/>
                    <a:pt x="127" y="202"/>
                  </a:cubicBezTo>
                  <a:cubicBezTo>
                    <a:pt x="127" y="202"/>
                    <a:pt x="128" y="203"/>
                    <a:pt x="129" y="203"/>
                  </a:cubicBezTo>
                  <a:cubicBezTo>
                    <a:pt x="130" y="204"/>
                    <a:pt x="131" y="204"/>
                    <a:pt x="132" y="204"/>
                  </a:cubicBezTo>
                  <a:cubicBezTo>
                    <a:pt x="133" y="205"/>
                    <a:pt x="135" y="205"/>
                    <a:pt x="136" y="205"/>
                  </a:cubicBezTo>
                  <a:cubicBezTo>
                    <a:pt x="136" y="206"/>
                    <a:pt x="137" y="207"/>
                    <a:pt x="137" y="208"/>
                  </a:cubicBezTo>
                  <a:cubicBezTo>
                    <a:pt x="136" y="209"/>
                    <a:pt x="136" y="209"/>
                    <a:pt x="135" y="210"/>
                  </a:cubicBezTo>
                  <a:cubicBezTo>
                    <a:pt x="135" y="211"/>
                    <a:pt x="134" y="212"/>
                    <a:pt x="134" y="213"/>
                  </a:cubicBezTo>
                  <a:cubicBezTo>
                    <a:pt x="133" y="214"/>
                    <a:pt x="133" y="214"/>
                    <a:pt x="132" y="214"/>
                  </a:cubicBezTo>
                  <a:cubicBezTo>
                    <a:pt x="132" y="215"/>
                    <a:pt x="132" y="215"/>
                    <a:pt x="132" y="216"/>
                  </a:cubicBezTo>
                  <a:cubicBezTo>
                    <a:pt x="131" y="218"/>
                    <a:pt x="130" y="219"/>
                    <a:pt x="129" y="221"/>
                  </a:cubicBezTo>
                  <a:cubicBezTo>
                    <a:pt x="129" y="222"/>
                    <a:pt x="129" y="223"/>
                    <a:pt x="128" y="224"/>
                  </a:cubicBezTo>
                  <a:cubicBezTo>
                    <a:pt x="128" y="226"/>
                    <a:pt x="128" y="227"/>
                    <a:pt x="127" y="228"/>
                  </a:cubicBezTo>
                  <a:cubicBezTo>
                    <a:pt x="126" y="229"/>
                    <a:pt x="126" y="229"/>
                    <a:pt x="126" y="231"/>
                  </a:cubicBezTo>
                  <a:cubicBezTo>
                    <a:pt x="126" y="231"/>
                    <a:pt x="126" y="232"/>
                    <a:pt x="126" y="233"/>
                  </a:cubicBezTo>
                  <a:cubicBezTo>
                    <a:pt x="126" y="234"/>
                    <a:pt x="125" y="238"/>
                    <a:pt x="126" y="239"/>
                  </a:cubicBezTo>
                  <a:cubicBezTo>
                    <a:pt x="127" y="241"/>
                    <a:pt x="131" y="240"/>
                    <a:pt x="133" y="240"/>
                  </a:cubicBezTo>
                  <a:cubicBezTo>
                    <a:pt x="134" y="240"/>
                    <a:pt x="135" y="241"/>
                    <a:pt x="137" y="241"/>
                  </a:cubicBezTo>
                  <a:cubicBezTo>
                    <a:pt x="139" y="243"/>
                    <a:pt x="142" y="243"/>
                    <a:pt x="145" y="243"/>
                  </a:cubicBezTo>
                  <a:cubicBezTo>
                    <a:pt x="145" y="243"/>
                    <a:pt x="145" y="243"/>
                    <a:pt x="145" y="243"/>
                  </a:cubicBezTo>
                  <a:cubicBezTo>
                    <a:pt x="146" y="242"/>
                    <a:pt x="146" y="241"/>
                    <a:pt x="146" y="241"/>
                  </a:cubicBezTo>
                  <a:cubicBezTo>
                    <a:pt x="147" y="240"/>
                    <a:pt x="148" y="240"/>
                    <a:pt x="149" y="239"/>
                  </a:cubicBezTo>
                  <a:cubicBezTo>
                    <a:pt x="149" y="239"/>
                    <a:pt x="148" y="239"/>
                    <a:pt x="148" y="238"/>
                  </a:cubicBezTo>
                  <a:cubicBezTo>
                    <a:pt x="148" y="238"/>
                    <a:pt x="148" y="237"/>
                    <a:pt x="149" y="236"/>
                  </a:cubicBezTo>
                  <a:cubicBezTo>
                    <a:pt x="149" y="235"/>
                    <a:pt x="149" y="235"/>
                    <a:pt x="149" y="233"/>
                  </a:cubicBezTo>
                  <a:cubicBezTo>
                    <a:pt x="149" y="233"/>
                    <a:pt x="149" y="233"/>
                    <a:pt x="149" y="232"/>
                  </a:cubicBezTo>
                  <a:cubicBezTo>
                    <a:pt x="149" y="232"/>
                    <a:pt x="149" y="231"/>
                    <a:pt x="149" y="230"/>
                  </a:cubicBezTo>
                  <a:cubicBezTo>
                    <a:pt x="150" y="229"/>
                    <a:pt x="150" y="227"/>
                    <a:pt x="151" y="226"/>
                  </a:cubicBezTo>
                  <a:cubicBezTo>
                    <a:pt x="151" y="224"/>
                    <a:pt x="151" y="222"/>
                    <a:pt x="151" y="221"/>
                  </a:cubicBezTo>
                  <a:cubicBezTo>
                    <a:pt x="151" y="220"/>
                    <a:pt x="150" y="219"/>
                    <a:pt x="150" y="219"/>
                  </a:cubicBezTo>
                  <a:cubicBezTo>
                    <a:pt x="149" y="219"/>
                    <a:pt x="149" y="219"/>
                    <a:pt x="149" y="219"/>
                  </a:cubicBezTo>
                  <a:cubicBezTo>
                    <a:pt x="149" y="219"/>
                    <a:pt x="149" y="219"/>
                    <a:pt x="149" y="219"/>
                  </a:cubicBezTo>
                  <a:cubicBezTo>
                    <a:pt x="149" y="219"/>
                    <a:pt x="148" y="219"/>
                    <a:pt x="147" y="219"/>
                  </a:cubicBezTo>
                  <a:cubicBezTo>
                    <a:pt x="146" y="219"/>
                    <a:pt x="146" y="219"/>
                    <a:pt x="146" y="219"/>
                  </a:cubicBezTo>
                  <a:cubicBezTo>
                    <a:pt x="145" y="217"/>
                    <a:pt x="146" y="215"/>
                    <a:pt x="146" y="213"/>
                  </a:cubicBezTo>
                  <a:cubicBezTo>
                    <a:pt x="147" y="212"/>
                    <a:pt x="146" y="212"/>
                    <a:pt x="148" y="212"/>
                  </a:cubicBezTo>
                  <a:cubicBezTo>
                    <a:pt x="149" y="211"/>
                    <a:pt x="149" y="211"/>
                    <a:pt x="150" y="210"/>
                  </a:cubicBezTo>
                  <a:cubicBezTo>
                    <a:pt x="150" y="209"/>
                    <a:pt x="152" y="209"/>
                    <a:pt x="153" y="208"/>
                  </a:cubicBezTo>
                  <a:cubicBezTo>
                    <a:pt x="152" y="207"/>
                    <a:pt x="152" y="207"/>
                    <a:pt x="152" y="206"/>
                  </a:cubicBezTo>
                  <a:cubicBezTo>
                    <a:pt x="152" y="206"/>
                    <a:pt x="152" y="205"/>
                    <a:pt x="152" y="205"/>
                  </a:cubicBezTo>
                  <a:cubicBezTo>
                    <a:pt x="152" y="204"/>
                    <a:pt x="152" y="204"/>
                    <a:pt x="151" y="204"/>
                  </a:cubicBezTo>
                  <a:cubicBezTo>
                    <a:pt x="151" y="203"/>
                    <a:pt x="152" y="203"/>
                    <a:pt x="153" y="202"/>
                  </a:cubicBezTo>
                  <a:cubicBezTo>
                    <a:pt x="154" y="199"/>
                    <a:pt x="152" y="196"/>
                    <a:pt x="154" y="194"/>
                  </a:cubicBezTo>
                  <a:cubicBezTo>
                    <a:pt x="154" y="193"/>
                    <a:pt x="155" y="193"/>
                    <a:pt x="155" y="192"/>
                  </a:cubicBezTo>
                  <a:cubicBezTo>
                    <a:pt x="156" y="191"/>
                    <a:pt x="157" y="191"/>
                    <a:pt x="157" y="190"/>
                  </a:cubicBezTo>
                  <a:cubicBezTo>
                    <a:pt x="158" y="189"/>
                    <a:pt x="158" y="190"/>
                    <a:pt x="158" y="188"/>
                  </a:cubicBezTo>
                  <a:cubicBezTo>
                    <a:pt x="158" y="187"/>
                    <a:pt x="158" y="185"/>
                    <a:pt x="158" y="184"/>
                  </a:cubicBezTo>
                  <a:cubicBezTo>
                    <a:pt x="157" y="182"/>
                    <a:pt x="157" y="179"/>
                    <a:pt x="157" y="177"/>
                  </a:cubicBezTo>
                  <a:cubicBezTo>
                    <a:pt x="156" y="176"/>
                    <a:pt x="156" y="176"/>
                    <a:pt x="156" y="175"/>
                  </a:cubicBezTo>
                  <a:cubicBezTo>
                    <a:pt x="156" y="174"/>
                    <a:pt x="156" y="173"/>
                    <a:pt x="156" y="172"/>
                  </a:cubicBezTo>
                  <a:cubicBezTo>
                    <a:pt x="156" y="171"/>
                    <a:pt x="155" y="170"/>
                    <a:pt x="155" y="169"/>
                  </a:cubicBezTo>
                  <a:cubicBezTo>
                    <a:pt x="155" y="169"/>
                    <a:pt x="155" y="169"/>
                    <a:pt x="155" y="168"/>
                  </a:cubicBezTo>
                  <a:cubicBezTo>
                    <a:pt x="154" y="167"/>
                    <a:pt x="152" y="167"/>
                    <a:pt x="151" y="165"/>
                  </a:cubicBezTo>
                  <a:cubicBezTo>
                    <a:pt x="150" y="164"/>
                    <a:pt x="151" y="162"/>
                    <a:pt x="150" y="160"/>
                  </a:cubicBezTo>
                  <a:cubicBezTo>
                    <a:pt x="150" y="158"/>
                    <a:pt x="147" y="157"/>
                    <a:pt x="146" y="156"/>
                  </a:cubicBezTo>
                  <a:cubicBezTo>
                    <a:pt x="145" y="155"/>
                    <a:pt x="145" y="155"/>
                    <a:pt x="145" y="153"/>
                  </a:cubicBezTo>
                  <a:cubicBezTo>
                    <a:pt x="145" y="153"/>
                    <a:pt x="145" y="152"/>
                    <a:pt x="145" y="151"/>
                  </a:cubicBezTo>
                  <a:cubicBezTo>
                    <a:pt x="145" y="149"/>
                    <a:pt x="146" y="146"/>
                    <a:pt x="148" y="146"/>
                  </a:cubicBezTo>
                  <a:cubicBezTo>
                    <a:pt x="150" y="146"/>
                    <a:pt x="151" y="146"/>
                    <a:pt x="153" y="146"/>
                  </a:cubicBezTo>
                  <a:cubicBezTo>
                    <a:pt x="153" y="146"/>
                    <a:pt x="153" y="145"/>
                    <a:pt x="153" y="144"/>
                  </a:cubicBezTo>
                  <a:cubicBezTo>
                    <a:pt x="153" y="141"/>
                    <a:pt x="156" y="141"/>
                    <a:pt x="158" y="141"/>
                  </a:cubicBezTo>
                  <a:cubicBezTo>
                    <a:pt x="160" y="142"/>
                    <a:pt x="162" y="143"/>
                    <a:pt x="164" y="144"/>
                  </a:cubicBezTo>
                  <a:cubicBezTo>
                    <a:pt x="165" y="145"/>
                    <a:pt x="166" y="145"/>
                    <a:pt x="167" y="145"/>
                  </a:cubicBezTo>
                  <a:cubicBezTo>
                    <a:pt x="168" y="145"/>
                    <a:pt x="170" y="145"/>
                    <a:pt x="171" y="145"/>
                  </a:cubicBezTo>
                  <a:cubicBezTo>
                    <a:pt x="172" y="145"/>
                    <a:pt x="173" y="144"/>
                    <a:pt x="174" y="144"/>
                  </a:cubicBezTo>
                  <a:cubicBezTo>
                    <a:pt x="176" y="144"/>
                    <a:pt x="175" y="144"/>
                    <a:pt x="176" y="143"/>
                  </a:cubicBezTo>
                  <a:cubicBezTo>
                    <a:pt x="177" y="142"/>
                    <a:pt x="179" y="142"/>
                    <a:pt x="180" y="142"/>
                  </a:cubicBezTo>
                  <a:cubicBezTo>
                    <a:pt x="182" y="141"/>
                    <a:pt x="185" y="139"/>
                    <a:pt x="187" y="138"/>
                  </a:cubicBezTo>
                  <a:cubicBezTo>
                    <a:pt x="188" y="138"/>
                    <a:pt x="189" y="137"/>
                    <a:pt x="189" y="136"/>
                  </a:cubicBezTo>
                  <a:cubicBezTo>
                    <a:pt x="190" y="134"/>
                    <a:pt x="189" y="134"/>
                    <a:pt x="188" y="133"/>
                  </a:cubicBezTo>
                  <a:cubicBezTo>
                    <a:pt x="188" y="132"/>
                    <a:pt x="188" y="130"/>
                    <a:pt x="188" y="129"/>
                  </a:cubicBezTo>
                  <a:cubicBezTo>
                    <a:pt x="188" y="128"/>
                    <a:pt x="188" y="127"/>
                    <a:pt x="188" y="126"/>
                  </a:cubicBezTo>
                  <a:cubicBezTo>
                    <a:pt x="188" y="126"/>
                    <a:pt x="188" y="125"/>
                    <a:pt x="189" y="124"/>
                  </a:cubicBezTo>
                  <a:cubicBezTo>
                    <a:pt x="189" y="124"/>
                    <a:pt x="189" y="124"/>
                    <a:pt x="190" y="124"/>
                  </a:cubicBezTo>
                  <a:cubicBezTo>
                    <a:pt x="190" y="123"/>
                    <a:pt x="191" y="123"/>
                    <a:pt x="191" y="122"/>
                  </a:cubicBezTo>
                  <a:cubicBezTo>
                    <a:pt x="193" y="120"/>
                    <a:pt x="195" y="119"/>
                    <a:pt x="197" y="117"/>
                  </a:cubicBezTo>
                  <a:cubicBezTo>
                    <a:pt x="198" y="116"/>
                    <a:pt x="198" y="115"/>
                    <a:pt x="199" y="114"/>
                  </a:cubicBezTo>
                  <a:cubicBezTo>
                    <a:pt x="201" y="114"/>
                    <a:pt x="202" y="113"/>
                    <a:pt x="203" y="112"/>
                  </a:cubicBezTo>
                  <a:cubicBezTo>
                    <a:pt x="205" y="110"/>
                    <a:pt x="203" y="107"/>
                    <a:pt x="204" y="105"/>
                  </a:cubicBezTo>
                  <a:cubicBezTo>
                    <a:pt x="204" y="104"/>
                    <a:pt x="205" y="104"/>
                    <a:pt x="205" y="103"/>
                  </a:cubicBezTo>
                  <a:cubicBezTo>
                    <a:pt x="206" y="102"/>
                    <a:pt x="206" y="100"/>
                    <a:pt x="206" y="99"/>
                  </a:cubicBezTo>
                  <a:cubicBezTo>
                    <a:pt x="205" y="98"/>
                    <a:pt x="205" y="98"/>
                    <a:pt x="204" y="97"/>
                  </a:cubicBezTo>
                  <a:cubicBezTo>
                    <a:pt x="204" y="97"/>
                    <a:pt x="204" y="96"/>
                    <a:pt x="204" y="96"/>
                  </a:cubicBezTo>
                  <a:cubicBezTo>
                    <a:pt x="204" y="96"/>
                    <a:pt x="204" y="95"/>
                    <a:pt x="203" y="95"/>
                  </a:cubicBezTo>
                  <a:cubicBezTo>
                    <a:pt x="203" y="95"/>
                    <a:pt x="203" y="95"/>
                    <a:pt x="203" y="95"/>
                  </a:cubicBezTo>
                  <a:cubicBezTo>
                    <a:pt x="199" y="93"/>
                    <a:pt x="182" y="94"/>
                    <a:pt x="185" y="85"/>
                  </a:cubicBezTo>
                  <a:cubicBezTo>
                    <a:pt x="186" y="83"/>
                    <a:pt x="185" y="83"/>
                    <a:pt x="183" y="81"/>
                  </a:cubicBezTo>
                  <a:cubicBezTo>
                    <a:pt x="183" y="81"/>
                    <a:pt x="182" y="80"/>
                    <a:pt x="182" y="80"/>
                  </a:cubicBezTo>
                  <a:cubicBezTo>
                    <a:pt x="181" y="80"/>
                    <a:pt x="180" y="78"/>
                    <a:pt x="180" y="78"/>
                  </a:cubicBezTo>
                  <a:cubicBezTo>
                    <a:pt x="179" y="77"/>
                    <a:pt x="179" y="76"/>
                    <a:pt x="180" y="76"/>
                  </a:cubicBezTo>
                  <a:cubicBezTo>
                    <a:pt x="181" y="76"/>
                    <a:pt x="182" y="74"/>
                    <a:pt x="183" y="74"/>
                  </a:cubicBezTo>
                  <a:cubicBezTo>
                    <a:pt x="184" y="74"/>
                    <a:pt x="186" y="74"/>
                    <a:pt x="187" y="74"/>
                  </a:cubicBezTo>
                  <a:cubicBezTo>
                    <a:pt x="189" y="74"/>
                    <a:pt x="191" y="74"/>
                    <a:pt x="193" y="74"/>
                  </a:cubicBezTo>
                  <a:cubicBezTo>
                    <a:pt x="194" y="73"/>
                    <a:pt x="194" y="73"/>
                    <a:pt x="195" y="72"/>
                  </a:cubicBezTo>
                  <a:cubicBezTo>
                    <a:pt x="195" y="71"/>
                    <a:pt x="195" y="71"/>
                    <a:pt x="197" y="71"/>
                  </a:cubicBezTo>
                  <a:cubicBezTo>
                    <a:pt x="198" y="71"/>
                    <a:pt x="200" y="72"/>
                    <a:pt x="201" y="71"/>
                  </a:cubicBezTo>
                  <a:cubicBezTo>
                    <a:pt x="202" y="71"/>
                    <a:pt x="203" y="69"/>
                    <a:pt x="204" y="68"/>
                  </a:cubicBezTo>
                  <a:cubicBezTo>
                    <a:pt x="205" y="67"/>
                    <a:pt x="208" y="67"/>
                    <a:pt x="209" y="65"/>
                  </a:cubicBezTo>
                  <a:cubicBezTo>
                    <a:pt x="209" y="64"/>
                    <a:pt x="208" y="64"/>
                    <a:pt x="208" y="63"/>
                  </a:cubicBezTo>
                  <a:cubicBezTo>
                    <a:pt x="206" y="60"/>
                    <a:pt x="207" y="59"/>
                    <a:pt x="209" y="57"/>
                  </a:cubicBezTo>
                  <a:cubicBezTo>
                    <a:pt x="209" y="56"/>
                    <a:pt x="210" y="56"/>
                    <a:pt x="210" y="55"/>
                  </a:cubicBezTo>
                  <a:cubicBezTo>
                    <a:pt x="212" y="54"/>
                    <a:pt x="212" y="53"/>
                    <a:pt x="213" y="51"/>
                  </a:cubicBezTo>
                  <a:cubicBezTo>
                    <a:pt x="214" y="49"/>
                    <a:pt x="214" y="47"/>
                    <a:pt x="214" y="44"/>
                  </a:cubicBezTo>
                  <a:cubicBezTo>
                    <a:pt x="214" y="42"/>
                    <a:pt x="213" y="39"/>
                    <a:pt x="214" y="37"/>
                  </a:cubicBezTo>
                  <a:cubicBezTo>
                    <a:pt x="214" y="36"/>
                    <a:pt x="214" y="36"/>
                    <a:pt x="214" y="35"/>
                  </a:cubicBezTo>
                  <a:cubicBezTo>
                    <a:pt x="215" y="33"/>
                    <a:pt x="215" y="32"/>
                    <a:pt x="215" y="31"/>
                  </a:cubicBezTo>
                  <a:cubicBezTo>
                    <a:pt x="215" y="28"/>
                    <a:pt x="215" y="25"/>
                    <a:pt x="215" y="22"/>
                  </a:cubicBezTo>
                  <a:cubicBezTo>
                    <a:pt x="215" y="20"/>
                    <a:pt x="216" y="18"/>
                    <a:pt x="216" y="16"/>
                  </a:cubicBezTo>
                  <a:cubicBezTo>
                    <a:pt x="213" y="14"/>
                    <a:pt x="213" y="14"/>
                    <a:pt x="213" y="14"/>
                  </a:cubicBezTo>
                  <a:cubicBezTo>
                    <a:pt x="212" y="14"/>
                    <a:pt x="212" y="14"/>
                    <a:pt x="211" y="14"/>
                  </a:cubicBezTo>
                  <a:cubicBezTo>
                    <a:pt x="210" y="14"/>
                    <a:pt x="209" y="14"/>
                    <a:pt x="209" y="14"/>
                  </a:cubicBezTo>
                  <a:cubicBezTo>
                    <a:pt x="208" y="13"/>
                    <a:pt x="208" y="11"/>
                    <a:pt x="207" y="10"/>
                  </a:cubicBezTo>
                  <a:lnTo>
                    <a:pt x="206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8" name="Freeform 98"/>
            <p:cNvSpPr>
              <a:spLocks/>
            </p:cNvSpPr>
            <p:nvPr/>
          </p:nvSpPr>
          <p:spPr bwMode="auto">
            <a:xfrm>
              <a:off x="3946525" y="4025900"/>
              <a:ext cx="22225" cy="30163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1" y="10"/>
                </a:cxn>
                <a:cxn ang="0">
                  <a:pos x="1" y="14"/>
                </a:cxn>
                <a:cxn ang="0">
                  <a:pos x="5" y="16"/>
                </a:cxn>
                <a:cxn ang="0">
                  <a:pos x="12" y="6"/>
                </a:cxn>
                <a:cxn ang="0">
                  <a:pos x="10" y="1"/>
                </a:cxn>
                <a:cxn ang="0">
                  <a:pos x="7" y="0"/>
                </a:cxn>
                <a:cxn ang="0">
                  <a:pos x="6" y="0"/>
                </a:cxn>
                <a:cxn ang="0">
                  <a:pos x="4" y="5"/>
                </a:cxn>
              </a:cxnLst>
              <a:rect l="0" t="0" r="r" b="b"/>
              <a:pathLst>
                <a:path w="12" h="16">
                  <a:moveTo>
                    <a:pt x="4" y="5"/>
                  </a:moveTo>
                  <a:cubicBezTo>
                    <a:pt x="3" y="6"/>
                    <a:pt x="2" y="8"/>
                    <a:pt x="1" y="10"/>
                  </a:cubicBezTo>
                  <a:cubicBezTo>
                    <a:pt x="0" y="11"/>
                    <a:pt x="0" y="13"/>
                    <a:pt x="1" y="14"/>
                  </a:cubicBezTo>
                  <a:cubicBezTo>
                    <a:pt x="2" y="15"/>
                    <a:pt x="4" y="16"/>
                    <a:pt x="5" y="16"/>
                  </a:cubicBezTo>
                  <a:cubicBezTo>
                    <a:pt x="9" y="16"/>
                    <a:pt x="12" y="10"/>
                    <a:pt x="12" y="6"/>
                  </a:cubicBezTo>
                  <a:cubicBezTo>
                    <a:pt x="12" y="4"/>
                    <a:pt x="11" y="2"/>
                    <a:pt x="10" y="1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5" y="4"/>
                    <a:pt x="4" y="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9" name="Freeform 99"/>
            <p:cNvSpPr>
              <a:spLocks/>
            </p:cNvSpPr>
            <p:nvPr/>
          </p:nvSpPr>
          <p:spPr bwMode="auto">
            <a:xfrm>
              <a:off x="3970338" y="4002088"/>
              <a:ext cx="14288" cy="1270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3" y="3"/>
                </a:cxn>
                <a:cxn ang="0">
                  <a:pos x="2" y="5"/>
                </a:cxn>
                <a:cxn ang="0">
                  <a:pos x="2" y="7"/>
                </a:cxn>
                <a:cxn ang="0">
                  <a:pos x="4" y="6"/>
                </a:cxn>
                <a:cxn ang="0">
                  <a:pos x="5" y="5"/>
                </a:cxn>
                <a:cxn ang="0">
                  <a:pos x="7" y="3"/>
                </a:cxn>
                <a:cxn ang="0">
                  <a:pos x="8" y="2"/>
                </a:cxn>
                <a:cxn ang="0">
                  <a:pos x="8" y="1"/>
                </a:cxn>
                <a:cxn ang="0">
                  <a:pos x="7" y="0"/>
                </a:cxn>
              </a:cxnLst>
              <a:rect l="0" t="0" r="r" b="b"/>
              <a:pathLst>
                <a:path w="8" h="7">
                  <a:moveTo>
                    <a:pt x="7" y="0"/>
                  </a:moveTo>
                  <a:cubicBezTo>
                    <a:pt x="6" y="1"/>
                    <a:pt x="4" y="1"/>
                    <a:pt x="3" y="3"/>
                  </a:cubicBezTo>
                  <a:cubicBezTo>
                    <a:pt x="3" y="3"/>
                    <a:pt x="2" y="4"/>
                    <a:pt x="2" y="5"/>
                  </a:cubicBezTo>
                  <a:cubicBezTo>
                    <a:pt x="1" y="5"/>
                    <a:pt x="0" y="7"/>
                    <a:pt x="2" y="7"/>
                  </a:cubicBezTo>
                  <a:cubicBezTo>
                    <a:pt x="2" y="7"/>
                    <a:pt x="3" y="6"/>
                    <a:pt x="4" y="6"/>
                  </a:cubicBezTo>
                  <a:cubicBezTo>
                    <a:pt x="4" y="5"/>
                    <a:pt x="5" y="5"/>
                    <a:pt x="5" y="5"/>
                  </a:cubicBezTo>
                  <a:cubicBezTo>
                    <a:pt x="6" y="4"/>
                    <a:pt x="7" y="4"/>
                    <a:pt x="7" y="3"/>
                  </a:cubicBezTo>
                  <a:cubicBezTo>
                    <a:pt x="7" y="3"/>
                    <a:pt x="7" y="3"/>
                    <a:pt x="8" y="2"/>
                  </a:cubicBezTo>
                  <a:cubicBezTo>
                    <a:pt x="8" y="2"/>
                    <a:pt x="8" y="2"/>
                    <a:pt x="8" y="1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0" name="Freeform 100"/>
            <p:cNvSpPr>
              <a:spLocks/>
            </p:cNvSpPr>
            <p:nvPr/>
          </p:nvSpPr>
          <p:spPr bwMode="auto">
            <a:xfrm>
              <a:off x="3994150" y="3984625"/>
              <a:ext cx="26988" cy="14288"/>
            </a:xfrm>
            <a:custGeom>
              <a:avLst/>
              <a:gdLst/>
              <a:ahLst/>
              <a:cxnLst>
                <a:cxn ang="0">
                  <a:pos x="10" y="1"/>
                </a:cxn>
                <a:cxn ang="0">
                  <a:pos x="9" y="1"/>
                </a:cxn>
                <a:cxn ang="0">
                  <a:pos x="5" y="2"/>
                </a:cxn>
                <a:cxn ang="0">
                  <a:pos x="2" y="4"/>
                </a:cxn>
                <a:cxn ang="0">
                  <a:pos x="1" y="6"/>
                </a:cxn>
                <a:cxn ang="0">
                  <a:pos x="6" y="6"/>
                </a:cxn>
                <a:cxn ang="0">
                  <a:pos x="12" y="3"/>
                </a:cxn>
                <a:cxn ang="0">
                  <a:pos x="13" y="1"/>
                </a:cxn>
                <a:cxn ang="0">
                  <a:pos x="11" y="1"/>
                </a:cxn>
                <a:cxn ang="0">
                  <a:pos x="10" y="1"/>
                </a:cxn>
              </a:cxnLst>
              <a:rect l="0" t="0" r="r" b="b"/>
              <a:pathLst>
                <a:path w="14" h="7">
                  <a:moveTo>
                    <a:pt x="10" y="1"/>
                  </a:moveTo>
                  <a:cubicBezTo>
                    <a:pt x="10" y="1"/>
                    <a:pt x="9" y="1"/>
                    <a:pt x="9" y="1"/>
                  </a:cubicBezTo>
                  <a:cubicBezTo>
                    <a:pt x="8" y="2"/>
                    <a:pt x="6" y="2"/>
                    <a:pt x="5" y="2"/>
                  </a:cubicBezTo>
                  <a:cubicBezTo>
                    <a:pt x="4" y="3"/>
                    <a:pt x="3" y="3"/>
                    <a:pt x="2" y="4"/>
                  </a:cubicBezTo>
                  <a:cubicBezTo>
                    <a:pt x="1" y="5"/>
                    <a:pt x="0" y="6"/>
                    <a:pt x="1" y="6"/>
                  </a:cubicBezTo>
                  <a:cubicBezTo>
                    <a:pt x="3" y="7"/>
                    <a:pt x="4" y="7"/>
                    <a:pt x="6" y="6"/>
                  </a:cubicBezTo>
                  <a:cubicBezTo>
                    <a:pt x="8" y="6"/>
                    <a:pt x="10" y="5"/>
                    <a:pt x="12" y="3"/>
                  </a:cubicBezTo>
                  <a:cubicBezTo>
                    <a:pt x="12" y="3"/>
                    <a:pt x="14" y="2"/>
                    <a:pt x="13" y="1"/>
                  </a:cubicBezTo>
                  <a:cubicBezTo>
                    <a:pt x="13" y="0"/>
                    <a:pt x="12" y="1"/>
                    <a:pt x="11" y="1"/>
                  </a:cubicBez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1" name="Freeform 101"/>
            <p:cNvSpPr>
              <a:spLocks/>
            </p:cNvSpPr>
            <p:nvPr/>
          </p:nvSpPr>
          <p:spPr bwMode="auto">
            <a:xfrm>
              <a:off x="4046538" y="3973513"/>
              <a:ext cx="28575" cy="7938"/>
            </a:xfrm>
            <a:custGeom>
              <a:avLst/>
              <a:gdLst/>
              <a:ahLst/>
              <a:cxnLst>
                <a:cxn ang="0">
                  <a:pos x="9" y="1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4"/>
                </a:cxn>
                <a:cxn ang="0">
                  <a:pos x="4" y="4"/>
                </a:cxn>
                <a:cxn ang="0">
                  <a:pos x="11" y="3"/>
                </a:cxn>
                <a:cxn ang="0">
                  <a:pos x="14" y="1"/>
                </a:cxn>
                <a:cxn ang="0">
                  <a:pos x="12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5" y="1"/>
                </a:cxn>
                <a:cxn ang="0">
                  <a:pos x="9" y="1"/>
                </a:cxn>
              </a:cxnLst>
              <a:rect l="0" t="0" r="r" b="b"/>
              <a:pathLst>
                <a:path w="15" h="4">
                  <a:moveTo>
                    <a:pt x="9" y="1"/>
                  </a:moveTo>
                  <a:cubicBezTo>
                    <a:pt x="6" y="1"/>
                    <a:pt x="3" y="1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1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7" y="4"/>
                    <a:pt x="9" y="4"/>
                    <a:pt x="11" y="3"/>
                  </a:cubicBezTo>
                  <a:cubicBezTo>
                    <a:pt x="12" y="3"/>
                    <a:pt x="15" y="2"/>
                    <a:pt x="14" y="1"/>
                  </a:cubicBezTo>
                  <a:cubicBezTo>
                    <a:pt x="14" y="1"/>
                    <a:pt x="13" y="0"/>
                    <a:pt x="12" y="0"/>
                  </a:cubicBezTo>
                  <a:cubicBezTo>
                    <a:pt x="11" y="0"/>
                    <a:pt x="10" y="0"/>
                    <a:pt x="9" y="0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6" y="1"/>
                    <a:pt x="6" y="1"/>
                    <a:pt x="5" y="1"/>
                  </a:cubicBezTo>
                  <a:lnTo>
                    <a:pt x="9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2" name="Freeform 102"/>
            <p:cNvSpPr>
              <a:spLocks/>
            </p:cNvSpPr>
            <p:nvPr/>
          </p:nvSpPr>
          <p:spPr bwMode="auto">
            <a:xfrm>
              <a:off x="4095750" y="3968750"/>
              <a:ext cx="20638" cy="4763"/>
            </a:xfrm>
            <a:custGeom>
              <a:avLst/>
              <a:gdLst/>
              <a:ahLst/>
              <a:cxnLst>
                <a:cxn ang="0">
                  <a:pos x="9" y="1"/>
                </a:cxn>
                <a:cxn ang="0">
                  <a:pos x="9" y="0"/>
                </a:cxn>
                <a:cxn ang="0">
                  <a:pos x="5" y="1"/>
                </a:cxn>
                <a:cxn ang="0">
                  <a:pos x="1" y="1"/>
                </a:cxn>
                <a:cxn ang="0">
                  <a:pos x="2" y="2"/>
                </a:cxn>
                <a:cxn ang="0">
                  <a:pos x="5" y="3"/>
                </a:cxn>
                <a:cxn ang="0">
                  <a:pos x="9" y="3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9" y="1"/>
                </a:cxn>
              </a:cxnLst>
              <a:rect l="0" t="0" r="r" b="b"/>
              <a:pathLst>
                <a:path w="11" h="3">
                  <a:moveTo>
                    <a:pt x="9" y="1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4" y="1"/>
                    <a:pt x="2" y="1"/>
                    <a:pt x="1" y="1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3" y="2"/>
                    <a:pt x="4" y="3"/>
                    <a:pt x="5" y="3"/>
                  </a:cubicBezTo>
                  <a:cubicBezTo>
                    <a:pt x="6" y="3"/>
                    <a:pt x="7" y="3"/>
                    <a:pt x="9" y="3"/>
                  </a:cubicBezTo>
                  <a:cubicBezTo>
                    <a:pt x="9" y="3"/>
                    <a:pt x="10" y="3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lnTo>
                    <a:pt x="9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3" name="Freeform 103"/>
            <p:cNvSpPr>
              <a:spLocks/>
            </p:cNvSpPr>
            <p:nvPr/>
          </p:nvSpPr>
          <p:spPr bwMode="auto">
            <a:xfrm>
              <a:off x="2676525" y="2338388"/>
              <a:ext cx="114300" cy="109538"/>
            </a:xfrm>
            <a:custGeom>
              <a:avLst/>
              <a:gdLst/>
              <a:ahLst/>
              <a:cxnLst>
                <a:cxn ang="0">
                  <a:pos x="50" y="10"/>
                </a:cxn>
                <a:cxn ang="0">
                  <a:pos x="48" y="3"/>
                </a:cxn>
                <a:cxn ang="0">
                  <a:pos x="43" y="2"/>
                </a:cxn>
                <a:cxn ang="0">
                  <a:pos x="42" y="6"/>
                </a:cxn>
                <a:cxn ang="0">
                  <a:pos x="39" y="13"/>
                </a:cxn>
                <a:cxn ang="0">
                  <a:pos x="38" y="17"/>
                </a:cxn>
                <a:cxn ang="0">
                  <a:pos x="35" y="14"/>
                </a:cxn>
                <a:cxn ang="0">
                  <a:pos x="31" y="8"/>
                </a:cxn>
                <a:cxn ang="0">
                  <a:pos x="32" y="19"/>
                </a:cxn>
                <a:cxn ang="0">
                  <a:pos x="24" y="14"/>
                </a:cxn>
                <a:cxn ang="0">
                  <a:pos x="20" y="18"/>
                </a:cxn>
                <a:cxn ang="0">
                  <a:pos x="13" y="18"/>
                </a:cxn>
                <a:cxn ang="0">
                  <a:pos x="10" y="24"/>
                </a:cxn>
                <a:cxn ang="0">
                  <a:pos x="6" y="19"/>
                </a:cxn>
                <a:cxn ang="0">
                  <a:pos x="7" y="31"/>
                </a:cxn>
                <a:cxn ang="0">
                  <a:pos x="4" y="33"/>
                </a:cxn>
                <a:cxn ang="0">
                  <a:pos x="0" y="38"/>
                </a:cxn>
                <a:cxn ang="0">
                  <a:pos x="2" y="43"/>
                </a:cxn>
                <a:cxn ang="0">
                  <a:pos x="4" y="47"/>
                </a:cxn>
                <a:cxn ang="0">
                  <a:pos x="7" y="47"/>
                </a:cxn>
                <a:cxn ang="0">
                  <a:pos x="12" y="50"/>
                </a:cxn>
                <a:cxn ang="0">
                  <a:pos x="21" y="50"/>
                </a:cxn>
                <a:cxn ang="0">
                  <a:pos x="23" y="52"/>
                </a:cxn>
                <a:cxn ang="0">
                  <a:pos x="31" y="54"/>
                </a:cxn>
                <a:cxn ang="0">
                  <a:pos x="33" y="58"/>
                </a:cxn>
                <a:cxn ang="0">
                  <a:pos x="42" y="54"/>
                </a:cxn>
                <a:cxn ang="0">
                  <a:pos x="34" y="50"/>
                </a:cxn>
                <a:cxn ang="0">
                  <a:pos x="40" y="45"/>
                </a:cxn>
                <a:cxn ang="0">
                  <a:pos x="39" y="37"/>
                </a:cxn>
                <a:cxn ang="0">
                  <a:pos x="40" y="34"/>
                </a:cxn>
                <a:cxn ang="0">
                  <a:pos x="44" y="34"/>
                </a:cxn>
                <a:cxn ang="0">
                  <a:pos x="45" y="33"/>
                </a:cxn>
                <a:cxn ang="0">
                  <a:pos x="49" y="33"/>
                </a:cxn>
                <a:cxn ang="0">
                  <a:pos x="61" y="30"/>
                </a:cxn>
                <a:cxn ang="0">
                  <a:pos x="55" y="18"/>
                </a:cxn>
                <a:cxn ang="0">
                  <a:pos x="57" y="11"/>
                </a:cxn>
                <a:cxn ang="0">
                  <a:pos x="52" y="10"/>
                </a:cxn>
                <a:cxn ang="0">
                  <a:pos x="52" y="9"/>
                </a:cxn>
                <a:cxn ang="0">
                  <a:pos x="50" y="10"/>
                </a:cxn>
              </a:cxnLst>
              <a:rect l="0" t="0" r="r" b="b"/>
              <a:pathLst>
                <a:path w="61" h="59">
                  <a:moveTo>
                    <a:pt x="50" y="10"/>
                  </a:moveTo>
                  <a:cubicBezTo>
                    <a:pt x="50" y="7"/>
                    <a:pt x="50" y="5"/>
                    <a:pt x="48" y="3"/>
                  </a:cubicBezTo>
                  <a:cubicBezTo>
                    <a:pt x="47" y="2"/>
                    <a:pt x="45" y="0"/>
                    <a:pt x="43" y="2"/>
                  </a:cubicBezTo>
                  <a:cubicBezTo>
                    <a:pt x="43" y="2"/>
                    <a:pt x="43" y="5"/>
                    <a:pt x="42" y="6"/>
                  </a:cubicBezTo>
                  <a:cubicBezTo>
                    <a:pt x="41" y="8"/>
                    <a:pt x="39" y="10"/>
                    <a:pt x="39" y="13"/>
                  </a:cubicBezTo>
                  <a:cubicBezTo>
                    <a:pt x="37" y="13"/>
                    <a:pt x="36" y="16"/>
                    <a:pt x="38" y="17"/>
                  </a:cubicBezTo>
                  <a:cubicBezTo>
                    <a:pt x="41" y="15"/>
                    <a:pt x="35" y="9"/>
                    <a:pt x="35" y="14"/>
                  </a:cubicBezTo>
                  <a:cubicBezTo>
                    <a:pt x="35" y="11"/>
                    <a:pt x="33" y="9"/>
                    <a:pt x="31" y="8"/>
                  </a:cubicBezTo>
                  <a:cubicBezTo>
                    <a:pt x="29" y="11"/>
                    <a:pt x="33" y="16"/>
                    <a:pt x="32" y="19"/>
                  </a:cubicBezTo>
                  <a:cubicBezTo>
                    <a:pt x="29" y="19"/>
                    <a:pt x="27" y="14"/>
                    <a:pt x="24" y="14"/>
                  </a:cubicBezTo>
                  <a:cubicBezTo>
                    <a:pt x="21" y="14"/>
                    <a:pt x="20" y="15"/>
                    <a:pt x="20" y="18"/>
                  </a:cubicBezTo>
                  <a:cubicBezTo>
                    <a:pt x="18" y="19"/>
                    <a:pt x="15" y="18"/>
                    <a:pt x="13" y="18"/>
                  </a:cubicBezTo>
                  <a:cubicBezTo>
                    <a:pt x="13" y="19"/>
                    <a:pt x="12" y="24"/>
                    <a:pt x="10" y="24"/>
                  </a:cubicBezTo>
                  <a:cubicBezTo>
                    <a:pt x="9" y="22"/>
                    <a:pt x="8" y="19"/>
                    <a:pt x="6" y="19"/>
                  </a:cubicBezTo>
                  <a:cubicBezTo>
                    <a:pt x="5" y="23"/>
                    <a:pt x="8" y="27"/>
                    <a:pt x="7" y="31"/>
                  </a:cubicBezTo>
                  <a:cubicBezTo>
                    <a:pt x="5" y="31"/>
                    <a:pt x="5" y="32"/>
                    <a:pt x="4" y="33"/>
                  </a:cubicBezTo>
                  <a:cubicBezTo>
                    <a:pt x="2" y="35"/>
                    <a:pt x="0" y="36"/>
                    <a:pt x="0" y="38"/>
                  </a:cubicBezTo>
                  <a:cubicBezTo>
                    <a:pt x="0" y="41"/>
                    <a:pt x="1" y="41"/>
                    <a:pt x="2" y="43"/>
                  </a:cubicBezTo>
                  <a:cubicBezTo>
                    <a:pt x="3" y="44"/>
                    <a:pt x="3" y="46"/>
                    <a:pt x="4" y="47"/>
                  </a:cubicBezTo>
                  <a:cubicBezTo>
                    <a:pt x="5" y="48"/>
                    <a:pt x="6" y="47"/>
                    <a:pt x="7" y="47"/>
                  </a:cubicBezTo>
                  <a:cubicBezTo>
                    <a:pt x="10" y="48"/>
                    <a:pt x="8" y="50"/>
                    <a:pt x="12" y="50"/>
                  </a:cubicBezTo>
                  <a:cubicBezTo>
                    <a:pt x="14" y="50"/>
                    <a:pt x="19" y="49"/>
                    <a:pt x="21" y="50"/>
                  </a:cubicBezTo>
                  <a:cubicBezTo>
                    <a:pt x="22" y="50"/>
                    <a:pt x="22" y="52"/>
                    <a:pt x="23" y="52"/>
                  </a:cubicBezTo>
                  <a:cubicBezTo>
                    <a:pt x="25" y="53"/>
                    <a:pt x="29" y="52"/>
                    <a:pt x="31" y="54"/>
                  </a:cubicBezTo>
                  <a:cubicBezTo>
                    <a:pt x="32" y="54"/>
                    <a:pt x="33" y="56"/>
                    <a:pt x="33" y="58"/>
                  </a:cubicBezTo>
                  <a:cubicBezTo>
                    <a:pt x="36" y="59"/>
                    <a:pt x="40" y="56"/>
                    <a:pt x="42" y="54"/>
                  </a:cubicBezTo>
                  <a:cubicBezTo>
                    <a:pt x="39" y="54"/>
                    <a:pt x="36" y="51"/>
                    <a:pt x="34" y="50"/>
                  </a:cubicBezTo>
                  <a:cubicBezTo>
                    <a:pt x="36" y="49"/>
                    <a:pt x="39" y="48"/>
                    <a:pt x="40" y="45"/>
                  </a:cubicBezTo>
                  <a:cubicBezTo>
                    <a:pt x="47" y="45"/>
                    <a:pt x="39" y="40"/>
                    <a:pt x="39" y="37"/>
                  </a:cubicBezTo>
                  <a:cubicBezTo>
                    <a:pt x="39" y="36"/>
                    <a:pt x="40" y="34"/>
                    <a:pt x="40" y="34"/>
                  </a:cubicBezTo>
                  <a:cubicBezTo>
                    <a:pt x="42" y="33"/>
                    <a:pt x="42" y="34"/>
                    <a:pt x="44" y="34"/>
                  </a:cubicBezTo>
                  <a:cubicBezTo>
                    <a:pt x="45" y="34"/>
                    <a:pt x="45" y="33"/>
                    <a:pt x="45" y="33"/>
                  </a:cubicBezTo>
                  <a:cubicBezTo>
                    <a:pt x="46" y="32"/>
                    <a:pt x="47" y="33"/>
                    <a:pt x="49" y="33"/>
                  </a:cubicBezTo>
                  <a:cubicBezTo>
                    <a:pt x="52" y="33"/>
                    <a:pt x="61" y="35"/>
                    <a:pt x="61" y="30"/>
                  </a:cubicBezTo>
                  <a:cubicBezTo>
                    <a:pt x="60" y="25"/>
                    <a:pt x="55" y="23"/>
                    <a:pt x="55" y="18"/>
                  </a:cubicBezTo>
                  <a:cubicBezTo>
                    <a:pt x="55" y="15"/>
                    <a:pt x="57" y="13"/>
                    <a:pt x="57" y="11"/>
                  </a:cubicBezTo>
                  <a:cubicBezTo>
                    <a:pt x="55" y="10"/>
                    <a:pt x="54" y="11"/>
                    <a:pt x="52" y="10"/>
                  </a:cubicBezTo>
                  <a:cubicBezTo>
                    <a:pt x="52" y="10"/>
                    <a:pt x="52" y="9"/>
                    <a:pt x="52" y="9"/>
                  </a:cubicBezTo>
                  <a:lnTo>
                    <a:pt x="50" y="1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4" name="Freeform 104"/>
            <p:cNvSpPr>
              <a:spLocks/>
            </p:cNvSpPr>
            <p:nvPr/>
          </p:nvSpPr>
          <p:spPr bwMode="auto">
            <a:xfrm>
              <a:off x="2719388" y="2454275"/>
              <a:ext cx="31750" cy="31750"/>
            </a:xfrm>
            <a:custGeom>
              <a:avLst/>
              <a:gdLst/>
              <a:ahLst/>
              <a:cxnLst>
                <a:cxn ang="0">
                  <a:pos x="13" y="6"/>
                </a:cxn>
                <a:cxn ang="0">
                  <a:pos x="6" y="2"/>
                </a:cxn>
                <a:cxn ang="0">
                  <a:pos x="1" y="5"/>
                </a:cxn>
                <a:cxn ang="0">
                  <a:pos x="4" y="10"/>
                </a:cxn>
                <a:cxn ang="0">
                  <a:pos x="6" y="13"/>
                </a:cxn>
                <a:cxn ang="0">
                  <a:pos x="16" y="17"/>
                </a:cxn>
                <a:cxn ang="0">
                  <a:pos x="16" y="10"/>
                </a:cxn>
                <a:cxn ang="0">
                  <a:pos x="13" y="6"/>
                </a:cxn>
              </a:cxnLst>
              <a:rect l="0" t="0" r="r" b="b"/>
              <a:pathLst>
                <a:path w="17" h="17">
                  <a:moveTo>
                    <a:pt x="13" y="6"/>
                  </a:moveTo>
                  <a:cubicBezTo>
                    <a:pt x="10" y="6"/>
                    <a:pt x="8" y="3"/>
                    <a:pt x="6" y="2"/>
                  </a:cubicBezTo>
                  <a:cubicBezTo>
                    <a:pt x="3" y="0"/>
                    <a:pt x="0" y="0"/>
                    <a:pt x="1" y="5"/>
                  </a:cubicBezTo>
                  <a:cubicBezTo>
                    <a:pt x="1" y="8"/>
                    <a:pt x="2" y="7"/>
                    <a:pt x="4" y="10"/>
                  </a:cubicBezTo>
                  <a:cubicBezTo>
                    <a:pt x="5" y="11"/>
                    <a:pt x="5" y="12"/>
                    <a:pt x="6" y="13"/>
                  </a:cubicBezTo>
                  <a:cubicBezTo>
                    <a:pt x="7" y="15"/>
                    <a:pt x="14" y="17"/>
                    <a:pt x="16" y="17"/>
                  </a:cubicBezTo>
                  <a:cubicBezTo>
                    <a:pt x="16" y="15"/>
                    <a:pt x="17" y="12"/>
                    <a:pt x="16" y="10"/>
                  </a:cubicBezTo>
                  <a:lnTo>
                    <a:pt x="13" y="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5" name="Freeform 105"/>
            <p:cNvSpPr>
              <a:spLocks/>
            </p:cNvSpPr>
            <p:nvPr/>
          </p:nvSpPr>
          <p:spPr bwMode="auto">
            <a:xfrm>
              <a:off x="2716213" y="2506663"/>
              <a:ext cx="28575" cy="50800"/>
            </a:xfrm>
            <a:custGeom>
              <a:avLst/>
              <a:gdLst/>
              <a:ahLst/>
              <a:cxnLst>
                <a:cxn ang="0">
                  <a:pos x="11" y="4"/>
                </a:cxn>
                <a:cxn ang="0">
                  <a:pos x="2" y="2"/>
                </a:cxn>
                <a:cxn ang="0">
                  <a:pos x="2" y="9"/>
                </a:cxn>
                <a:cxn ang="0">
                  <a:pos x="9" y="16"/>
                </a:cxn>
                <a:cxn ang="0">
                  <a:pos x="7" y="21"/>
                </a:cxn>
                <a:cxn ang="0">
                  <a:pos x="9" y="26"/>
                </a:cxn>
                <a:cxn ang="0">
                  <a:pos x="12" y="27"/>
                </a:cxn>
                <a:cxn ang="0">
                  <a:pos x="12" y="16"/>
                </a:cxn>
                <a:cxn ang="0">
                  <a:pos x="13" y="10"/>
                </a:cxn>
                <a:cxn ang="0">
                  <a:pos x="11" y="4"/>
                </a:cxn>
              </a:cxnLst>
              <a:rect l="0" t="0" r="r" b="b"/>
              <a:pathLst>
                <a:path w="15" h="27">
                  <a:moveTo>
                    <a:pt x="11" y="4"/>
                  </a:moveTo>
                  <a:cubicBezTo>
                    <a:pt x="9" y="3"/>
                    <a:pt x="3" y="0"/>
                    <a:pt x="2" y="2"/>
                  </a:cubicBezTo>
                  <a:cubicBezTo>
                    <a:pt x="0" y="3"/>
                    <a:pt x="1" y="7"/>
                    <a:pt x="2" y="9"/>
                  </a:cubicBezTo>
                  <a:cubicBezTo>
                    <a:pt x="3" y="12"/>
                    <a:pt x="8" y="13"/>
                    <a:pt x="9" y="16"/>
                  </a:cubicBezTo>
                  <a:cubicBezTo>
                    <a:pt x="9" y="18"/>
                    <a:pt x="8" y="19"/>
                    <a:pt x="7" y="21"/>
                  </a:cubicBezTo>
                  <a:cubicBezTo>
                    <a:pt x="7" y="22"/>
                    <a:pt x="7" y="25"/>
                    <a:pt x="9" y="26"/>
                  </a:cubicBezTo>
                  <a:cubicBezTo>
                    <a:pt x="9" y="26"/>
                    <a:pt x="12" y="27"/>
                    <a:pt x="12" y="27"/>
                  </a:cubicBezTo>
                  <a:cubicBezTo>
                    <a:pt x="15" y="26"/>
                    <a:pt x="13" y="18"/>
                    <a:pt x="12" y="16"/>
                  </a:cubicBezTo>
                  <a:cubicBezTo>
                    <a:pt x="12" y="15"/>
                    <a:pt x="12" y="12"/>
                    <a:pt x="13" y="10"/>
                  </a:cubicBezTo>
                  <a:lnTo>
                    <a:pt x="11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6" name="Freeform 106"/>
            <p:cNvSpPr>
              <a:spLocks noEditPoints="1"/>
            </p:cNvSpPr>
            <p:nvPr/>
          </p:nvSpPr>
          <p:spPr bwMode="auto">
            <a:xfrm>
              <a:off x="4294188" y="3221038"/>
              <a:ext cx="300038" cy="554038"/>
            </a:xfrm>
            <a:custGeom>
              <a:avLst/>
              <a:gdLst/>
              <a:ahLst/>
              <a:cxnLst>
                <a:cxn ang="0">
                  <a:pos x="92" y="72"/>
                </a:cxn>
                <a:cxn ang="0">
                  <a:pos x="75" y="76"/>
                </a:cxn>
                <a:cxn ang="0">
                  <a:pos x="65" y="79"/>
                </a:cxn>
                <a:cxn ang="0">
                  <a:pos x="62" y="97"/>
                </a:cxn>
                <a:cxn ang="0">
                  <a:pos x="69" y="109"/>
                </a:cxn>
                <a:cxn ang="0">
                  <a:pos x="60" y="103"/>
                </a:cxn>
                <a:cxn ang="0">
                  <a:pos x="45" y="81"/>
                </a:cxn>
                <a:cxn ang="0">
                  <a:pos x="58" y="74"/>
                </a:cxn>
                <a:cxn ang="0">
                  <a:pos x="80" y="70"/>
                </a:cxn>
                <a:cxn ang="0">
                  <a:pos x="99" y="67"/>
                </a:cxn>
                <a:cxn ang="0">
                  <a:pos x="152" y="264"/>
                </a:cxn>
                <a:cxn ang="0">
                  <a:pos x="145" y="261"/>
                </a:cxn>
                <a:cxn ang="0">
                  <a:pos x="151" y="239"/>
                </a:cxn>
                <a:cxn ang="0">
                  <a:pos x="142" y="225"/>
                </a:cxn>
                <a:cxn ang="0">
                  <a:pos x="148" y="222"/>
                </a:cxn>
                <a:cxn ang="0">
                  <a:pos x="128" y="207"/>
                </a:cxn>
                <a:cxn ang="0">
                  <a:pos x="96" y="204"/>
                </a:cxn>
                <a:cxn ang="0">
                  <a:pos x="100" y="187"/>
                </a:cxn>
                <a:cxn ang="0">
                  <a:pos x="118" y="185"/>
                </a:cxn>
                <a:cxn ang="0">
                  <a:pos x="120" y="164"/>
                </a:cxn>
                <a:cxn ang="0">
                  <a:pos x="136" y="155"/>
                </a:cxn>
                <a:cxn ang="0">
                  <a:pos x="149" y="152"/>
                </a:cxn>
                <a:cxn ang="0">
                  <a:pos x="158" y="131"/>
                </a:cxn>
                <a:cxn ang="0">
                  <a:pos x="125" y="109"/>
                </a:cxn>
                <a:cxn ang="0">
                  <a:pos x="122" y="92"/>
                </a:cxn>
                <a:cxn ang="0">
                  <a:pos x="129" y="66"/>
                </a:cxn>
                <a:cxn ang="0">
                  <a:pos x="139" y="50"/>
                </a:cxn>
                <a:cxn ang="0">
                  <a:pos x="136" y="26"/>
                </a:cxn>
                <a:cxn ang="0">
                  <a:pos x="140" y="2"/>
                </a:cxn>
                <a:cxn ang="0">
                  <a:pos x="108" y="16"/>
                </a:cxn>
                <a:cxn ang="0">
                  <a:pos x="87" y="45"/>
                </a:cxn>
                <a:cxn ang="0">
                  <a:pos x="55" y="58"/>
                </a:cxn>
                <a:cxn ang="0">
                  <a:pos x="24" y="72"/>
                </a:cxn>
                <a:cxn ang="0">
                  <a:pos x="19" y="105"/>
                </a:cxn>
                <a:cxn ang="0">
                  <a:pos x="31" y="104"/>
                </a:cxn>
                <a:cxn ang="0">
                  <a:pos x="39" y="106"/>
                </a:cxn>
                <a:cxn ang="0">
                  <a:pos x="38" y="124"/>
                </a:cxn>
                <a:cxn ang="0">
                  <a:pos x="21" y="118"/>
                </a:cxn>
                <a:cxn ang="0">
                  <a:pos x="5" y="120"/>
                </a:cxn>
                <a:cxn ang="0">
                  <a:pos x="6" y="160"/>
                </a:cxn>
                <a:cxn ang="0">
                  <a:pos x="15" y="167"/>
                </a:cxn>
                <a:cxn ang="0">
                  <a:pos x="12" y="177"/>
                </a:cxn>
                <a:cxn ang="0">
                  <a:pos x="5" y="207"/>
                </a:cxn>
                <a:cxn ang="0">
                  <a:pos x="13" y="227"/>
                </a:cxn>
                <a:cxn ang="0">
                  <a:pos x="22" y="223"/>
                </a:cxn>
                <a:cxn ang="0">
                  <a:pos x="28" y="224"/>
                </a:cxn>
                <a:cxn ang="0">
                  <a:pos x="34" y="240"/>
                </a:cxn>
                <a:cxn ang="0">
                  <a:pos x="32" y="261"/>
                </a:cxn>
                <a:cxn ang="0">
                  <a:pos x="49" y="272"/>
                </a:cxn>
                <a:cxn ang="0">
                  <a:pos x="63" y="274"/>
                </a:cxn>
                <a:cxn ang="0">
                  <a:pos x="72" y="279"/>
                </a:cxn>
                <a:cxn ang="0">
                  <a:pos x="86" y="277"/>
                </a:cxn>
                <a:cxn ang="0">
                  <a:pos x="105" y="281"/>
                </a:cxn>
                <a:cxn ang="0">
                  <a:pos x="102" y="259"/>
                </a:cxn>
                <a:cxn ang="0">
                  <a:pos x="88" y="264"/>
                </a:cxn>
                <a:cxn ang="0">
                  <a:pos x="90" y="246"/>
                </a:cxn>
                <a:cxn ang="0">
                  <a:pos x="104" y="244"/>
                </a:cxn>
                <a:cxn ang="0">
                  <a:pos x="120" y="257"/>
                </a:cxn>
                <a:cxn ang="0">
                  <a:pos x="138" y="275"/>
                </a:cxn>
                <a:cxn ang="0">
                  <a:pos x="149" y="288"/>
                </a:cxn>
                <a:cxn ang="0">
                  <a:pos x="155" y="271"/>
                </a:cxn>
              </a:cxnLst>
              <a:rect l="0" t="0" r="r" b="b"/>
              <a:pathLst>
                <a:path w="161" h="297">
                  <a:moveTo>
                    <a:pt x="35" y="281"/>
                  </a:moveTo>
                  <a:cubicBezTo>
                    <a:pt x="35" y="281"/>
                    <a:pt x="35" y="281"/>
                    <a:pt x="36" y="281"/>
                  </a:cubicBezTo>
                  <a:cubicBezTo>
                    <a:pt x="36" y="281"/>
                    <a:pt x="36" y="281"/>
                    <a:pt x="36" y="280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80"/>
                    <a:pt x="35" y="281"/>
                    <a:pt x="35" y="281"/>
                  </a:cubicBezTo>
                  <a:moveTo>
                    <a:pt x="92" y="72"/>
                  </a:moveTo>
                  <a:cubicBezTo>
                    <a:pt x="90" y="72"/>
                    <a:pt x="90" y="72"/>
                    <a:pt x="89" y="74"/>
                  </a:cubicBezTo>
                  <a:cubicBezTo>
                    <a:pt x="88" y="75"/>
                    <a:pt x="88" y="76"/>
                    <a:pt x="87" y="77"/>
                  </a:cubicBezTo>
                  <a:cubicBezTo>
                    <a:pt x="86" y="77"/>
                    <a:pt x="85" y="77"/>
                    <a:pt x="85" y="77"/>
                  </a:cubicBezTo>
                  <a:cubicBezTo>
                    <a:pt x="84" y="77"/>
                    <a:pt x="84" y="78"/>
                    <a:pt x="83" y="78"/>
                  </a:cubicBezTo>
                  <a:cubicBezTo>
                    <a:pt x="81" y="78"/>
                    <a:pt x="80" y="78"/>
                    <a:pt x="79" y="77"/>
                  </a:cubicBezTo>
                  <a:cubicBezTo>
                    <a:pt x="77" y="76"/>
                    <a:pt x="77" y="76"/>
                    <a:pt x="75" y="76"/>
                  </a:cubicBezTo>
                  <a:cubicBezTo>
                    <a:pt x="73" y="76"/>
                    <a:pt x="72" y="78"/>
                    <a:pt x="71" y="78"/>
                  </a:cubicBezTo>
                  <a:cubicBezTo>
                    <a:pt x="69" y="78"/>
                    <a:pt x="69" y="78"/>
                    <a:pt x="68" y="79"/>
                  </a:cubicBezTo>
                  <a:cubicBezTo>
                    <a:pt x="67" y="79"/>
                    <a:pt x="67" y="79"/>
                    <a:pt x="66" y="79"/>
                  </a:cubicBezTo>
                  <a:cubicBezTo>
                    <a:pt x="66" y="80"/>
                    <a:pt x="67" y="81"/>
                    <a:pt x="65" y="80"/>
                  </a:cubicBezTo>
                  <a:cubicBezTo>
                    <a:pt x="68" y="76"/>
                    <a:pt x="68" y="76"/>
                    <a:pt x="68" y="76"/>
                  </a:cubicBezTo>
                  <a:cubicBezTo>
                    <a:pt x="66" y="77"/>
                    <a:pt x="66" y="78"/>
                    <a:pt x="65" y="79"/>
                  </a:cubicBezTo>
                  <a:cubicBezTo>
                    <a:pt x="64" y="80"/>
                    <a:pt x="62" y="81"/>
                    <a:pt x="61" y="82"/>
                  </a:cubicBezTo>
                  <a:cubicBezTo>
                    <a:pt x="61" y="83"/>
                    <a:pt x="61" y="84"/>
                    <a:pt x="61" y="84"/>
                  </a:cubicBezTo>
                  <a:cubicBezTo>
                    <a:pt x="61" y="85"/>
                    <a:pt x="60" y="85"/>
                    <a:pt x="60" y="85"/>
                  </a:cubicBezTo>
                  <a:cubicBezTo>
                    <a:pt x="60" y="88"/>
                    <a:pt x="64" y="88"/>
                    <a:pt x="63" y="91"/>
                  </a:cubicBezTo>
                  <a:cubicBezTo>
                    <a:pt x="62" y="92"/>
                    <a:pt x="62" y="93"/>
                    <a:pt x="62" y="94"/>
                  </a:cubicBezTo>
                  <a:cubicBezTo>
                    <a:pt x="61" y="95"/>
                    <a:pt x="62" y="96"/>
                    <a:pt x="62" y="97"/>
                  </a:cubicBezTo>
                  <a:cubicBezTo>
                    <a:pt x="62" y="98"/>
                    <a:pt x="62" y="99"/>
                    <a:pt x="62" y="100"/>
                  </a:cubicBezTo>
                  <a:cubicBezTo>
                    <a:pt x="62" y="101"/>
                    <a:pt x="63" y="101"/>
                    <a:pt x="63" y="102"/>
                  </a:cubicBezTo>
                  <a:cubicBezTo>
                    <a:pt x="63" y="102"/>
                    <a:pt x="63" y="103"/>
                    <a:pt x="63" y="104"/>
                  </a:cubicBezTo>
                  <a:cubicBezTo>
                    <a:pt x="64" y="104"/>
                    <a:pt x="65" y="104"/>
                    <a:pt x="66" y="104"/>
                  </a:cubicBezTo>
                  <a:cubicBezTo>
                    <a:pt x="67" y="104"/>
                    <a:pt x="67" y="104"/>
                    <a:pt x="68" y="104"/>
                  </a:cubicBezTo>
                  <a:cubicBezTo>
                    <a:pt x="69" y="105"/>
                    <a:pt x="70" y="108"/>
                    <a:pt x="69" y="109"/>
                  </a:cubicBezTo>
                  <a:cubicBezTo>
                    <a:pt x="69" y="110"/>
                    <a:pt x="66" y="111"/>
                    <a:pt x="65" y="111"/>
                  </a:cubicBezTo>
                  <a:cubicBezTo>
                    <a:pt x="62" y="111"/>
                    <a:pt x="60" y="110"/>
                    <a:pt x="57" y="110"/>
                  </a:cubicBezTo>
                  <a:cubicBezTo>
                    <a:pt x="54" y="109"/>
                    <a:pt x="55" y="112"/>
                    <a:pt x="54" y="115"/>
                  </a:cubicBezTo>
                  <a:cubicBezTo>
                    <a:pt x="53" y="113"/>
                    <a:pt x="54" y="110"/>
                    <a:pt x="55" y="108"/>
                  </a:cubicBezTo>
                  <a:cubicBezTo>
                    <a:pt x="55" y="107"/>
                    <a:pt x="58" y="107"/>
                    <a:pt x="58" y="107"/>
                  </a:cubicBezTo>
                  <a:cubicBezTo>
                    <a:pt x="58" y="106"/>
                    <a:pt x="60" y="103"/>
                    <a:pt x="60" y="103"/>
                  </a:cubicBezTo>
                  <a:cubicBezTo>
                    <a:pt x="60" y="99"/>
                    <a:pt x="56" y="98"/>
                    <a:pt x="56" y="94"/>
                  </a:cubicBezTo>
                  <a:cubicBezTo>
                    <a:pt x="55" y="92"/>
                    <a:pt x="51" y="91"/>
                    <a:pt x="51" y="88"/>
                  </a:cubicBezTo>
                  <a:cubicBezTo>
                    <a:pt x="50" y="88"/>
                    <a:pt x="49" y="89"/>
                    <a:pt x="48" y="90"/>
                  </a:cubicBezTo>
                  <a:cubicBezTo>
                    <a:pt x="47" y="92"/>
                    <a:pt x="47" y="92"/>
                    <a:pt x="46" y="91"/>
                  </a:cubicBezTo>
                  <a:cubicBezTo>
                    <a:pt x="43" y="90"/>
                    <a:pt x="41" y="85"/>
                    <a:pt x="45" y="84"/>
                  </a:cubicBezTo>
                  <a:cubicBezTo>
                    <a:pt x="45" y="83"/>
                    <a:pt x="45" y="82"/>
                    <a:pt x="45" y="81"/>
                  </a:cubicBezTo>
                  <a:cubicBezTo>
                    <a:pt x="44" y="81"/>
                    <a:pt x="44" y="82"/>
                    <a:pt x="43" y="82"/>
                  </a:cubicBezTo>
                  <a:cubicBezTo>
                    <a:pt x="42" y="83"/>
                    <a:pt x="41" y="84"/>
                    <a:pt x="40" y="84"/>
                  </a:cubicBezTo>
                  <a:cubicBezTo>
                    <a:pt x="36" y="85"/>
                    <a:pt x="37" y="81"/>
                    <a:pt x="36" y="79"/>
                  </a:cubicBezTo>
                  <a:cubicBezTo>
                    <a:pt x="39" y="77"/>
                    <a:pt x="43" y="79"/>
                    <a:pt x="46" y="78"/>
                  </a:cubicBezTo>
                  <a:cubicBezTo>
                    <a:pt x="49" y="78"/>
                    <a:pt x="50" y="76"/>
                    <a:pt x="52" y="75"/>
                  </a:cubicBezTo>
                  <a:cubicBezTo>
                    <a:pt x="53" y="74"/>
                    <a:pt x="56" y="74"/>
                    <a:pt x="58" y="74"/>
                  </a:cubicBezTo>
                  <a:cubicBezTo>
                    <a:pt x="59" y="74"/>
                    <a:pt x="61" y="74"/>
                    <a:pt x="62" y="73"/>
                  </a:cubicBezTo>
                  <a:cubicBezTo>
                    <a:pt x="63" y="73"/>
                    <a:pt x="64" y="74"/>
                    <a:pt x="64" y="76"/>
                  </a:cubicBezTo>
                  <a:cubicBezTo>
                    <a:pt x="66" y="76"/>
                    <a:pt x="67" y="75"/>
                    <a:pt x="68" y="74"/>
                  </a:cubicBezTo>
                  <a:cubicBezTo>
                    <a:pt x="69" y="74"/>
                    <a:pt x="70" y="73"/>
                    <a:pt x="71" y="73"/>
                  </a:cubicBezTo>
                  <a:cubicBezTo>
                    <a:pt x="73" y="73"/>
                    <a:pt x="74" y="73"/>
                    <a:pt x="75" y="72"/>
                  </a:cubicBezTo>
                  <a:cubicBezTo>
                    <a:pt x="77" y="71"/>
                    <a:pt x="78" y="70"/>
                    <a:pt x="80" y="70"/>
                  </a:cubicBezTo>
                  <a:cubicBezTo>
                    <a:pt x="81" y="70"/>
                    <a:pt x="82" y="71"/>
                    <a:pt x="83" y="70"/>
                  </a:cubicBezTo>
                  <a:cubicBezTo>
                    <a:pt x="83" y="69"/>
                    <a:pt x="83" y="67"/>
                    <a:pt x="83" y="67"/>
                  </a:cubicBezTo>
                  <a:cubicBezTo>
                    <a:pt x="84" y="64"/>
                    <a:pt x="85" y="63"/>
                    <a:pt x="88" y="63"/>
                  </a:cubicBezTo>
                  <a:cubicBezTo>
                    <a:pt x="88" y="65"/>
                    <a:pt x="88" y="66"/>
                    <a:pt x="89" y="66"/>
                  </a:cubicBezTo>
                  <a:cubicBezTo>
                    <a:pt x="90" y="67"/>
                    <a:pt x="93" y="66"/>
                    <a:pt x="94" y="66"/>
                  </a:cubicBezTo>
                  <a:cubicBezTo>
                    <a:pt x="97" y="65"/>
                    <a:pt x="98" y="64"/>
                    <a:pt x="99" y="67"/>
                  </a:cubicBezTo>
                  <a:cubicBezTo>
                    <a:pt x="99" y="68"/>
                    <a:pt x="100" y="70"/>
                    <a:pt x="99" y="71"/>
                  </a:cubicBezTo>
                  <a:cubicBezTo>
                    <a:pt x="99" y="72"/>
                    <a:pt x="94" y="72"/>
                    <a:pt x="92" y="72"/>
                  </a:cubicBezTo>
                  <a:moveTo>
                    <a:pt x="160" y="255"/>
                  </a:moveTo>
                  <a:cubicBezTo>
                    <a:pt x="160" y="254"/>
                    <a:pt x="161" y="254"/>
                    <a:pt x="160" y="253"/>
                  </a:cubicBezTo>
                  <a:cubicBezTo>
                    <a:pt x="159" y="251"/>
                    <a:pt x="156" y="254"/>
                    <a:pt x="155" y="255"/>
                  </a:cubicBezTo>
                  <a:cubicBezTo>
                    <a:pt x="153" y="258"/>
                    <a:pt x="153" y="261"/>
                    <a:pt x="152" y="264"/>
                  </a:cubicBezTo>
                  <a:cubicBezTo>
                    <a:pt x="151" y="266"/>
                    <a:pt x="150" y="268"/>
                    <a:pt x="148" y="269"/>
                  </a:cubicBezTo>
                  <a:cubicBezTo>
                    <a:pt x="147" y="270"/>
                    <a:pt x="146" y="271"/>
                    <a:pt x="145" y="271"/>
                  </a:cubicBezTo>
                  <a:cubicBezTo>
                    <a:pt x="144" y="271"/>
                    <a:pt x="145" y="270"/>
                    <a:pt x="144" y="270"/>
                  </a:cubicBezTo>
                  <a:cubicBezTo>
                    <a:pt x="144" y="269"/>
                    <a:pt x="143" y="270"/>
                    <a:pt x="143" y="270"/>
                  </a:cubicBezTo>
                  <a:cubicBezTo>
                    <a:pt x="141" y="269"/>
                    <a:pt x="142" y="265"/>
                    <a:pt x="142" y="263"/>
                  </a:cubicBezTo>
                  <a:cubicBezTo>
                    <a:pt x="143" y="262"/>
                    <a:pt x="144" y="262"/>
                    <a:pt x="145" y="261"/>
                  </a:cubicBezTo>
                  <a:cubicBezTo>
                    <a:pt x="146" y="260"/>
                    <a:pt x="146" y="259"/>
                    <a:pt x="146" y="259"/>
                  </a:cubicBezTo>
                  <a:cubicBezTo>
                    <a:pt x="148" y="257"/>
                    <a:pt x="149" y="256"/>
                    <a:pt x="150" y="254"/>
                  </a:cubicBezTo>
                  <a:cubicBezTo>
                    <a:pt x="150" y="253"/>
                    <a:pt x="151" y="251"/>
                    <a:pt x="152" y="249"/>
                  </a:cubicBezTo>
                  <a:cubicBezTo>
                    <a:pt x="152" y="248"/>
                    <a:pt x="152" y="248"/>
                    <a:pt x="152" y="247"/>
                  </a:cubicBezTo>
                  <a:cubicBezTo>
                    <a:pt x="152" y="245"/>
                    <a:pt x="153" y="242"/>
                    <a:pt x="152" y="241"/>
                  </a:cubicBezTo>
                  <a:cubicBezTo>
                    <a:pt x="152" y="240"/>
                    <a:pt x="151" y="240"/>
                    <a:pt x="151" y="239"/>
                  </a:cubicBezTo>
                  <a:cubicBezTo>
                    <a:pt x="151" y="239"/>
                    <a:pt x="150" y="238"/>
                    <a:pt x="150" y="238"/>
                  </a:cubicBezTo>
                  <a:cubicBezTo>
                    <a:pt x="150" y="237"/>
                    <a:pt x="150" y="236"/>
                    <a:pt x="150" y="235"/>
                  </a:cubicBezTo>
                  <a:cubicBezTo>
                    <a:pt x="150" y="234"/>
                    <a:pt x="150" y="234"/>
                    <a:pt x="150" y="233"/>
                  </a:cubicBezTo>
                  <a:cubicBezTo>
                    <a:pt x="149" y="232"/>
                    <a:pt x="149" y="231"/>
                    <a:pt x="148" y="230"/>
                  </a:cubicBezTo>
                  <a:cubicBezTo>
                    <a:pt x="147" y="229"/>
                    <a:pt x="145" y="228"/>
                    <a:pt x="144" y="227"/>
                  </a:cubicBezTo>
                  <a:cubicBezTo>
                    <a:pt x="144" y="226"/>
                    <a:pt x="144" y="226"/>
                    <a:pt x="142" y="225"/>
                  </a:cubicBezTo>
                  <a:cubicBezTo>
                    <a:pt x="141" y="225"/>
                    <a:pt x="139" y="225"/>
                    <a:pt x="137" y="224"/>
                  </a:cubicBezTo>
                  <a:cubicBezTo>
                    <a:pt x="136" y="224"/>
                    <a:pt x="136" y="223"/>
                    <a:pt x="135" y="223"/>
                  </a:cubicBezTo>
                  <a:cubicBezTo>
                    <a:pt x="136" y="222"/>
                    <a:pt x="136" y="221"/>
                    <a:pt x="138" y="220"/>
                  </a:cubicBezTo>
                  <a:cubicBezTo>
                    <a:pt x="140" y="219"/>
                    <a:pt x="139" y="220"/>
                    <a:pt x="140" y="221"/>
                  </a:cubicBezTo>
                  <a:cubicBezTo>
                    <a:pt x="142" y="224"/>
                    <a:pt x="145" y="225"/>
                    <a:pt x="148" y="225"/>
                  </a:cubicBezTo>
                  <a:cubicBezTo>
                    <a:pt x="148" y="224"/>
                    <a:pt x="149" y="223"/>
                    <a:pt x="148" y="222"/>
                  </a:cubicBezTo>
                  <a:cubicBezTo>
                    <a:pt x="148" y="220"/>
                    <a:pt x="147" y="220"/>
                    <a:pt x="147" y="218"/>
                  </a:cubicBezTo>
                  <a:cubicBezTo>
                    <a:pt x="146" y="218"/>
                    <a:pt x="147" y="216"/>
                    <a:pt x="147" y="215"/>
                  </a:cubicBezTo>
                  <a:cubicBezTo>
                    <a:pt x="146" y="214"/>
                    <a:pt x="146" y="212"/>
                    <a:pt x="145" y="211"/>
                  </a:cubicBezTo>
                  <a:cubicBezTo>
                    <a:pt x="145" y="208"/>
                    <a:pt x="144" y="207"/>
                    <a:pt x="141" y="207"/>
                  </a:cubicBezTo>
                  <a:cubicBezTo>
                    <a:pt x="139" y="207"/>
                    <a:pt x="137" y="208"/>
                    <a:pt x="136" y="208"/>
                  </a:cubicBezTo>
                  <a:cubicBezTo>
                    <a:pt x="133" y="208"/>
                    <a:pt x="130" y="208"/>
                    <a:pt x="128" y="207"/>
                  </a:cubicBezTo>
                  <a:cubicBezTo>
                    <a:pt x="127" y="206"/>
                    <a:pt x="125" y="205"/>
                    <a:pt x="124" y="205"/>
                  </a:cubicBezTo>
                  <a:cubicBezTo>
                    <a:pt x="122" y="205"/>
                    <a:pt x="119" y="205"/>
                    <a:pt x="117" y="205"/>
                  </a:cubicBezTo>
                  <a:cubicBezTo>
                    <a:pt x="114" y="205"/>
                    <a:pt x="111" y="207"/>
                    <a:pt x="108" y="207"/>
                  </a:cubicBezTo>
                  <a:cubicBezTo>
                    <a:pt x="106" y="207"/>
                    <a:pt x="103" y="207"/>
                    <a:pt x="101" y="207"/>
                  </a:cubicBezTo>
                  <a:cubicBezTo>
                    <a:pt x="99" y="206"/>
                    <a:pt x="95" y="207"/>
                    <a:pt x="94" y="206"/>
                  </a:cubicBezTo>
                  <a:cubicBezTo>
                    <a:pt x="95" y="206"/>
                    <a:pt x="95" y="204"/>
                    <a:pt x="96" y="204"/>
                  </a:cubicBezTo>
                  <a:cubicBezTo>
                    <a:pt x="96" y="204"/>
                    <a:pt x="98" y="204"/>
                    <a:pt x="98" y="204"/>
                  </a:cubicBezTo>
                  <a:cubicBezTo>
                    <a:pt x="100" y="203"/>
                    <a:pt x="101" y="201"/>
                    <a:pt x="102" y="200"/>
                  </a:cubicBezTo>
                  <a:cubicBezTo>
                    <a:pt x="104" y="199"/>
                    <a:pt x="107" y="200"/>
                    <a:pt x="108" y="198"/>
                  </a:cubicBezTo>
                  <a:cubicBezTo>
                    <a:pt x="108" y="197"/>
                    <a:pt x="108" y="195"/>
                    <a:pt x="108" y="193"/>
                  </a:cubicBezTo>
                  <a:cubicBezTo>
                    <a:pt x="108" y="192"/>
                    <a:pt x="108" y="191"/>
                    <a:pt x="107" y="191"/>
                  </a:cubicBezTo>
                  <a:cubicBezTo>
                    <a:pt x="105" y="189"/>
                    <a:pt x="101" y="191"/>
                    <a:pt x="100" y="187"/>
                  </a:cubicBezTo>
                  <a:cubicBezTo>
                    <a:pt x="99" y="183"/>
                    <a:pt x="102" y="185"/>
                    <a:pt x="105" y="185"/>
                  </a:cubicBezTo>
                  <a:cubicBezTo>
                    <a:pt x="106" y="185"/>
                    <a:pt x="107" y="185"/>
                    <a:pt x="108" y="185"/>
                  </a:cubicBezTo>
                  <a:cubicBezTo>
                    <a:pt x="109" y="185"/>
                    <a:pt x="110" y="184"/>
                    <a:pt x="111" y="184"/>
                  </a:cubicBezTo>
                  <a:cubicBezTo>
                    <a:pt x="112" y="184"/>
                    <a:pt x="112" y="184"/>
                    <a:pt x="114" y="186"/>
                  </a:cubicBezTo>
                  <a:cubicBezTo>
                    <a:pt x="114" y="186"/>
                    <a:pt x="115" y="189"/>
                    <a:pt x="117" y="189"/>
                  </a:cubicBezTo>
                  <a:cubicBezTo>
                    <a:pt x="117" y="187"/>
                    <a:pt x="116" y="186"/>
                    <a:pt x="118" y="185"/>
                  </a:cubicBezTo>
                  <a:cubicBezTo>
                    <a:pt x="119" y="184"/>
                    <a:pt x="119" y="185"/>
                    <a:pt x="120" y="184"/>
                  </a:cubicBezTo>
                  <a:cubicBezTo>
                    <a:pt x="120" y="184"/>
                    <a:pt x="120" y="182"/>
                    <a:pt x="120" y="182"/>
                  </a:cubicBezTo>
                  <a:cubicBezTo>
                    <a:pt x="121" y="178"/>
                    <a:pt x="122" y="175"/>
                    <a:pt x="121" y="172"/>
                  </a:cubicBezTo>
                  <a:cubicBezTo>
                    <a:pt x="121" y="171"/>
                    <a:pt x="121" y="169"/>
                    <a:pt x="121" y="168"/>
                  </a:cubicBezTo>
                  <a:cubicBezTo>
                    <a:pt x="121" y="168"/>
                    <a:pt x="121" y="167"/>
                    <a:pt x="120" y="167"/>
                  </a:cubicBezTo>
                  <a:cubicBezTo>
                    <a:pt x="120" y="166"/>
                    <a:pt x="120" y="165"/>
                    <a:pt x="120" y="164"/>
                  </a:cubicBezTo>
                  <a:cubicBezTo>
                    <a:pt x="120" y="162"/>
                    <a:pt x="119" y="162"/>
                    <a:pt x="119" y="160"/>
                  </a:cubicBezTo>
                  <a:cubicBezTo>
                    <a:pt x="119" y="159"/>
                    <a:pt x="119" y="158"/>
                    <a:pt x="120" y="157"/>
                  </a:cubicBezTo>
                  <a:cubicBezTo>
                    <a:pt x="121" y="154"/>
                    <a:pt x="121" y="152"/>
                    <a:pt x="124" y="151"/>
                  </a:cubicBezTo>
                  <a:cubicBezTo>
                    <a:pt x="127" y="151"/>
                    <a:pt x="129" y="152"/>
                    <a:pt x="130" y="154"/>
                  </a:cubicBezTo>
                  <a:cubicBezTo>
                    <a:pt x="131" y="156"/>
                    <a:pt x="130" y="156"/>
                    <a:pt x="132" y="156"/>
                  </a:cubicBezTo>
                  <a:cubicBezTo>
                    <a:pt x="134" y="156"/>
                    <a:pt x="135" y="156"/>
                    <a:pt x="136" y="155"/>
                  </a:cubicBezTo>
                  <a:cubicBezTo>
                    <a:pt x="138" y="153"/>
                    <a:pt x="138" y="151"/>
                    <a:pt x="141" y="151"/>
                  </a:cubicBezTo>
                  <a:cubicBezTo>
                    <a:pt x="141" y="153"/>
                    <a:pt x="139" y="156"/>
                    <a:pt x="140" y="158"/>
                  </a:cubicBezTo>
                  <a:cubicBezTo>
                    <a:pt x="141" y="159"/>
                    <a:pt x="143" y="158"/>
                    <a:pt x="145" y="158"/>
                  </a:cubicBezTo>
                  <a:cubicBezTo>
                    <a:pt x="146" y="158"/>
                    <a:pt x="147" y="159"/>
                    <a:pt x="147" y="157"/>
                  </a:cubicBezTo>
                  <a:cubicBezTo>
                    <a:pt x="147" y="157"/>
                    <a:pt x="147" y="156"/>
                    <a:pt x="148" y="155"/>
                  </a:cubicBezTo>
                  <a:cubicBezTo>
                    <a:pt x="148" y="154"/>
                    <a:pt x="148" y="153"/>
                    <a:pt x="149" y="152"/>
                  </a:cubicBezTo>
                  <a:cubicBezTo>
                    <a:pt x="149" y="151"/>
                    <a:pt x="151" y="151"/>
                    <a:pt x="151" y="150"/>
                  </a:cubicBezTo>
                  <a:cubicBezTo>
                    <a:pt x="152" y="149"/>
                    <a:pt x="152" y="147"/>
                    <a:pt x="152" y="146"/>
                  </a:cubicBezTo>
                  <a:cubicBezTo>
                    <a:pt x="152" y="146"/>
                    <a:pt x="152" y="145"/>
                    <a:pt x="152" y="144"/>
                  </a:cubicBezTo>
                  <a:cubicBezTo>
                    <a:pt x="152" y="143"/>
                    <a:pt x="153" y="142"/>
                    <a:pt x="154" y="141"/>
                  </a:cubicBezTo>
                  <a:cubicBezTo>
                    <a:pt x="155" y="139"/>
                    <a:pt x="155" y="137"/>
                    <a:pt x="157" y="135"/>
                  </a:cubicBezTo>
                  <a:cubicBezTo>
                    <a:pt x="157" y="133"/>
                    <a:pt x="158" y="132"/>
                    <a:pt x="158" y="131"/>
                  </a:cubicBezTo>
                  <a:cubicBezTo>
                    <a:pt x="158" y="128"/>
                    <a:pt x="158" y="126"/>
                    <a:pt x="156" y="124"/>
                  </a:cubicBezTo>
                  <a:cubicBezTo>
                    <a:pt x="154" y="122"/>
                    <a:pt x="150" y="123"/>
                    <a:pt x="147" y="123"/>
                  </a:cubicBezTo>
                  <a:cubicBezTo>
                    <a:pt x="143" y="124"/>
                    <a:pt x="139" y="125"/>
                    <a:pt x="135" y="124"/>
                  </a:cubicBezTo>
                  <a:cubicBezTo>
                    <a:pt x="133" y="123"/>
                    <a:pt x="131" y="121"/>
                    <a:pt x="129" y="119"/>
                  </a:cubicBezTo>
                  <a:cubicBezTo>
                    <a:pt x="127" y="118"/>
                    <a:pt x="127" y="118"/>
                    <a:pt x="126" y="117"/>
                  </a:cubicBezTo>
                  <a:cubicBezTo>
                    <a:pt x="126" y="114"/>
                    <a:pt x="125" y="111"/>
                    <a:pt x="125" y="109"/>
                  </a:cubicBezTo>
                  <a:cubicBezTo>
                    <a:pt x="125" y="107"/>
                    <a:pt x="125" y="106"/>
                    <a:pt x="125" y="104"/>
                  </a:cubicBezTo>
                  <a:cubicBezTo>
                    <a:pt x="124" y="103"/>
                    <a:pt x="124" y="101"/>
                    <a:pt x="123" y="100"/>
                  </a:cubicBezTo>
                  <a:cubicBezTo>
                    <a:pt x="123" y="99"/>
                    <a:pt x="123" y="98"/>
                    <a:pt x="123" y="97"/>
                  </a:cubicBezTo>
                  <a:cubicBezTo>
                    <a:pt x="123" y="96"/>
                    <a:pt x="123" y="95"/>
                    <a:pt x="123" y="94"/>
                  </a:cubicBezTo>
                  <a:cubicBezTo>
                    <a:pt x="123" y="94"/>
                    <a:pt x="122" y="94"/>
                    <a:pt x="122" y="93"/>
                  </a:cubicBezTo>
                  <a:cubicBezTo>
                    <a:pt x="122" y="93"/>
                    <a:pt x="122" y="92"/>
                    <a:pt x="122" y="92"/>
                  </a:cubicBezTo>
                  <a:cubicBezTo>
                    <a:pt x="122" y="90"/>
                    <a:pt x="122" y="87"/>
                    <a:pt x="122" y="85"/>
                  </a:cubicBezTo>
                  <a:cubicBezTo>
                    <a:pt x="122" y="83"/>
                    <a:pt x="122" y="82"/>
                    <a:pt x="122" y="80"/>
                  </a:cubicBezTo>
                  <a:cubicBezTo>
                    <a:pt x="122" y="79"/>
                    <a:pt x="121" y="78"/>
                    <a:pt x="122" y="77"/>
                  </a:cubicBezTo>
                  <a:cubicBezTo>
                    <a:pt x="123" y="76"/>
                    <a:pt x="124" y="76"/>
                    <a:pt x="125" y="75"/>
                  </a:cubicBezTo>
                  <a:cubicBezTo>
                    <a:pt x="126" y="74"/>
                    <a:pt x="128" y="72"/>
                    <a:pt x="128" y="71"/>
                  </a:cubicBezTo>
                  <a:cubicBezTo>
                    <a:pt x="129" y="70"/>
                    <a:pt x="129" y="67"/>
                    <a:pt x="129" y="66"/>
                  </a:cubicBezTo>
                  <a:cubicBezTo>
                    <a:pt x="129" y="63"/>
                    <a:pt x="129" y="63"/>
                    <a:pt x="130" y="62"/>
                  </a:cubicBezTo>
                  <a:cubicBezTo>
                    <a:pt x="130" y="61"/>
                    <a:pt x="130" y="60"/>
                    <a:pt x="131" y="59"/>
                  </a:cubicBezTo>
                  <a:cubicBezTo>
                    <a:pt x="132" y="58"/>
                    <a:pt x="133" y="58"/>
                    <a:pt x="134" y="57"/>
                  </a:cubicBezTo>
                  <a:cubicBezTo>
                    <a:pt x="135" y="56"/>
                    <a:pt x="135" y="55"/>
                    <a:pt x="136" y="55"/>
                  </a:cubicBezTo>
                  <a:cubicBezTo>
                    <a:pt x="136" y="54"/>
                    <a:pt x="138" y="54"/>
                    <a:pt x="138" y="53"/>
                  </a:cubicBezTo>
                  <a:cubicBezTo>
                    <a:pt x="139" y="52"/>
                    <a:pt x="139" y="51"/>
                    <a:pt x="139" y="50"/>
                  </a:cubicBezTo>
                  <a:cubicBezTo>
                    <a:pt x="139" y="48"/>
                    <a:pt x="138" y="47"/>
                    <a:pt x="138" y="45"/>
                  </a:cubicBezTo>
                  <a:cubicBezTo>
                    <a:pt x="138" y="43"/>
                    <a:pt x="138" y="42"/>
                    <a:pt x="138" y="40"/>
                  </a:cubicBezTo>
                  <a:cubicBezTo>
                    <a:pt x="138" y="38"/>
                    <a:pt x="138" y="35"/>
                    <a:pt x="138" y="33"/>
                  </a:cubicBezTo>
                  <a:cubicBezTo>
                    <a:pt x="138" y="32"/>
                    <a:pt x="137" y="30"/>
                    <a:pt x="137" y="29"/>
                  </a:cubicBezTo>
                  <a:cubicBezTo>
                    <a:pt x="137" y="28"/>
                    <a:pt x="136" y="28"/>
                    <a:pt x="136" y="28"/>
                  </a:cubicBezTo>
                  <a:cubicBezTo>
                    <a:pt x="136" y="27"/>
                    <a:pt x="136" y="26"/>
                    <a:pt x="136" y="26"/>
                  </a:cubicBezTo>
                  <a:cubicBezTo>
                    <a:pt x="136" y="24"/>
                    <a:pt x="134" y="22"/>
                    <a:pt x="133" y="21"/>
                  </a:cubicBezTo>
                  <a:cubicBezTo>
                    <a:pt x="131" y="20"/>
                    <a:pt x="131" y="19"/>
                    <a:pt x="130" y="16"/>
                  </a:cubicBezTo>
                  <a:cubicBezTo>
                    <a:pt x="130" y="15"/>
                    <a:pt x="130" y="13"/>
                    <a:pt x="130" y="11"/>
                  </a:cubicBezTo>
                  <a:cubicBezTo>
                    <a:pt x="131" y="9"/>
                    <a:pt x="133" y="8"/>
                    <a:pt x="134" y="6"/>
                  </a:cubicBezTo>
                  <a:cubicBezTo>
                    <a:pt x="136" y="5"/>
                    <a:pt x="141" y="3"/>
                    <a:pt x="142" y="0"/>
                  </a:cubicBezTo>
                  <a:cubicBezTo>
                    <a:pt x="140" y="2"/>
                    <a:pt x="140" y="2"/>
                    <a:pt x="140" y="2"/>
                  </a:cubicBezTo>
                  <a:cubicBezTo>
                    <a:pt x="139" y="2"/>
                    <a:pt x="138" y="2"/>
                    <a:pt x="137" y="2"/>
                  </a:cubicBezTo>
                  <a:cubicBezTo>
                    <a:pt x="135" y="3"/>
                    <a:pt x="135" y="3"/>
                    <a:pt x="134" y="5"/>
                  </a:cubicBezTo>
                  <a:cubicBezTo>
                    <a:pt x="133" y="5"/>
                    <a:pt x="131" y="6"/>
                    <a:pt x="130" y="7"/>
                  </a:cubicBezTo>
                  <a:cubicBezTo>
                    <a:pt x="128" y="7"/>
                    <a:pt x="127" y="9"/>
                    <a:pt x="125" y="10"/>
                  </a:cubicBezTo>
                  <a:cubicBezTo>
                    <a:pt x="123" y="10"/>
                    <a:pt x="122" y="11"/>
                    <a:pt x="120" y="11"/>
                  </a:cubicBezTo>
                  <a:cubicBezTo>
                    <a:pt x="116" y="12"/>
                    <a:pt x="112" y="16"/>
                    <a:pt x="108" y="16"/>
                  </a:cubicBezTo>
                  <a:cubicBezTo>
                    <a:pt x="105" y="16"/>
                    <a:pt x="102" y="16"/>
                    <a:pt x="99" y="16"/>
                  </a:cubicBezTo>
                  <a:cubicBezTo>
                    <a:pt x="99" y="17"/>
                    <a:pt x="99" y="18"/>
                    <a:pt x="98" y="20"/>
                  </a:cubicBezTo>
                  <a:cubicBezTo>
                    <a:pt x="98" y="22"/>
                    <a:pt x="96" y="23"/>
                    <a:pt x="95" y="25"/>
                  </a:cubicBezTo>
                  <a:cubicBezTo>
                    <a:pt x="93" y="28"/>
                    <a:pt x="91" y="30"/>
                    <a:pt x="90" y="33"/>
                  </a:cubicBezTo>
                  <a:cubicBezTo>
                    <a:pt x="90" y="35"/>
                    <a:pt x="89" y="37"/>
                    <a:pt x="89" y="39"/>
                  </a:cubicBezTo>
                  <a:cubicBezTo>
                    <a:pt x="89" y="42"/>
                    <a:pt x="89" y="44"/>
                    <a:pt x="87" y="45"/>
                  </a:cubicBezTo>
                  <a:cubicBezTo>
                    <a:pt x="85" y="47"/>
                    <a:pt x="84" y="48"/>
                    <a:pt x="83" y="49"/>
                  </a:cubicBezTo>
                  <a:cubicBezTo>
                    <a:pt x="81" y="50"/>
                    <a:pt x="80" y="51"/>
                    <a:pt x="79" y="52"/>
                  </a:cubicBezTo>
                  <a:cubicBezTo>
                    <a:pt x="77" y="54"/>
                    <a:pt x="76" y="54"/>
                    <a:pt x="73" y="55"/>
                  </a:cubicBezTo>
                  <a:cubicBezTo>
                    <a:pt x="70" y="55"/>
                    <a:pt x="68" y="56"/>
                    <a:pt x="66" y="58"/>
                  </a:cubicBezTo>
                  <a:cubicBezTo>
                    <a:pt x="65" y="58"/>
                    <a:pt x="65" y="58"/>
                    <a:pt x="64" y="58"/>
                  </a:cubicBezTo>
                  <a:cubicBezTo>
                    <a:pt x="61" y="58"/>
                    <a:pt x="58" y="58"/>
                    <a:pt x="55" y="58"/>
                  </a:cubicBezTo>
                  <a:cubicBezTo>
                    <a:pt x="52" y="58"/>
                    <a:pt x="50" y="59"/>
                    <a:pt x="47" y="60"/>
                  </a:cubicBezTo>
                  <a:cubicBezTo>
                    <a:pt x="46" y="60"/>
                    <a:pt x="44" y="60"/>
                    <a:pt x="43" y="61"/>
                  </a:cubicBezTo>
                  <a:cubicBezTo>
                    <a:pt x="42" y="61"/>
                    <a:pt x="41" y="62"/>
                    <a:pt x="41" y="63"/>
                  </a:cubicBezTo>
                  <a:cubicBezTo>
                    <a:pt x="39" y="65"/>
                    <a:pt x="36" y="66"/>
                    <a:pt x="33" y="66"/>
                  </a:cubicBezTo>
                  <a:cubicBezTo>
                    <a:pt x="32" y="66"/>
                    <a:pt x="31" y="66"/>
                    <a:pt x="30" y="66"/>
                  </a:cubicBezTo>
                  <a:cubicBezTo>
                    <a:pt x="27" y="68"/>
                    <a:pt x="24" y="72"/>
                    <a:pt x="24" y="72"/>
                  </a:cubicBezTo>
                  <a:cubicBezTo>
                    <a:pt x="24" y="73"/>
                    <a:pt x="20" y="77"/>
                    <a:pt x="20" y="78"/>
                  </a:cubicBezTo>
                  <a:cubicBezTo>
                    <a:pt x="18" y="80"/>
                    <a:pt x="17" y="80"/>
                    <a:pt x="14" y="85"/>
                  </a:cubicBezTo>
                  <a:cubicBezTo>
                    <a:pt x="12" y="86"/>
                    <a:pt x="12" y="88"/>
                    <a:pt x="12" y="90"/>
                  </a:cubicBezTo>
                  <a:cubicBezTo>
                    <a:pt x="12" y="93"/>
                    <a:pt x="12" y="96"/>
                    <a:pt x="14" y="98"/>
                  </a:cubicBezTo>
                  <a:cubicBezTo>
                    <a:pt x="15" y="99"/>
                    <a:pt x="16" y="100"/>
                    <a:pt x="17" y="101"/>
                  </a:cubicBezTo>
                  <a:cubicBezTo>
                    <a:pt x="18" y="101"/>
                    <a:pt x="19" y="105"/>
                    <a:pt x="19" y="105"/>
                  </a:cubicBezTo>
                  <a:cubicBezTo>
                    <a:pt x="21" y="107"/>
                    <a:pt x="24" y="107"/>
                    <a:pt x="25" y="109"/>
                  </a:cubicBezTo>
                  <a:cubicBezTo>
                    <a:pt x="26" y="110"/>
                    <a:pt x="26" y="114"/>
                    <a:pt x="28" y="115"/>
                  </a:cubicBezTo>
                  <a:cubicBezTo>
                    <a:pt x="31" y="116"/>
                    <a:pt x="31" y="113"/>
                    <a:pt x="31" y="112"/>
                  </a:cubicBezTo>
                  <a:cubicBezTo>
                    <a:pt x="31" y="111"/>
                    <a:pt x="31" y="110"/>
                    <a:pt x="31" y="109"/>
                  </a:cubicBezTo>
                  <a:cubicBezTo>
                    <a:pt x="31" y="108"/>
                    <a:pt x="32" y="108"/>
                    <a:pt x="32" y="107"/>
                  </a:cubicBezTo>
                  <a:cubicBezTo>
                    <a:pt x="32" y="106"/>
                    <a:pt x="32" y="105"/>
                    <a:pt x="31" y="104"/>
                  </a:cubicBezTo>
                  <a:cubicBezTo>
                    <a:pt x="31" y="103"/>
                    <a:pt x="29" y="103"/>
                    <a:pt x="29" y="103"/>
                  </a:cubicBezTo>
                  <a:cubicBezTo>
                    <a:pt x="28" y="100"/>
                    <a:pt x="29" y="98"/>
                    <a:pt x="31" y="98"/>
                  </a:cubicBezTo>
                  <a:cubicBezTo>
                    <a:pt x="33" y="98"/>
                    <a:pt x="33" y="98"/>
                    <a:pt x="34" y="99"/>
                  </a:cubicBezTo>
                  <a:cubicBezTo>
                    <a:pt x="34" y="100"/>
                    <a:pt x="34" y="100"/>
                    <a:pt x="34" y="101"/>
                  </a:cubicBezTo>
                  <a:cubicBezTo>
                    <a:pt x="34" y="102"/>
                    <a:pt x="35" y="103"/>
                    <a:pt x="36" y="103"/>
                  </a:cubicBezTo>
                  <a:cubicBezTo>
                    <a:pt x="36" y="104"/>
                    <a:pt x="37" y="106"/>
                    <a:pt x="39" y="106"/>
                  </a:cubicBezTo>
                  <a:cubicBezTo>
                    <a:pt x="40" y="106"/>
                    <a:pt x="41" y="105"/>
                    <a:pt x="43" y="106"/>
                  </a:cubicBezTo>
                  <a:cubicBezTo>
                    <a:pt x="42" y="107"/>
                    <a:pt x="40" y="108"/>
                    <a:pt x="39" y="109"/>
                  </a:cubicBezTo>
                  <a:cubicBezTo>
                    <a:pt x="38" y="110"/>
                    <a:pt x="38" y="111"/>
                    <a:pt x="38" y="113"/>
                  </a:cubicBezTo>
                  <a:cubicBezTo>
                    <a:pt x="39" y="114"/>
                    <a:pt x="39" y="115"/>
                    <a:pt x="40" y="116"/>
                  </a:cubicBezTo>
                  <a:cubicBezTo>
                    <a:pt x="41" y="117"/>
                    <a:pt x="42" y="116"/>
                    <a:pt x="43" y="116"/>
                  </a:cubicBezTo>
                  <a:cubicBezTo>
                    <a:pt x="46" y="117"/>
                    <a:pt x="41" y="125"/>
                    <a:pt x="38" y="124"/>
                  </a:cubicBezTo>
                  <a:cubicBezTo>
                    <a:pt x="37" y="124"/>
                    <a:pt x="36" y="124"/>
                    <a:pt x="35" y="123"/>
                  </a:cubicBezTo>
                  <a:cubicBezTo>
                    <a:pt x="34" y="123"/>
                    <a:pt x="32" y="124"/>
                    <a:pt x="31" y="123"/>
                  </a:cubicBezTo>
                  <a:cubicBezTo>
                    <a:pt x="30" y="123"/>
                    <a:pt x="31" y="123"/>
                    <a:pt x="30" y="122"/>
                  </a:cubicBezTo>
                  <a:cubicBezTo>
                    <a:pt x="30" y="122"/>
                    <a:pt x="30" y="121"/>
                    <a:pt x="30" y="121"/>
                  </a:cubicBezTo>
                  <a:cubicBezTo>
                    <a:pt x="29" y="121"/>
                    <a:pt x="27" y="121"/>
                    <a:pt x="27" y="121"/>
                  </a:cubicBezTo>
                  <a:cubicBezTo>
                    <a:pt x="25" y="121"/>
                    <a:pt x="22" y="120"/>
                    <a:pt x="21" y="118"/>
                  </a:cubicBezTo>
                  <a:cubicBezTo>
                    <a:pt x="19" y="117"/>
                    <a:pt x="20" y="116"/>
                    <a:pt x="18" y="116"/>
                  </a:cubicBezTo>
                  <a:cubicBezTo>
                    <a:pt x="16" y="116"/>
                    <a:pt x="14" y="118"/>
                    <a:pt x="11" y="117"/>
                  </a:cubicBezTo>
                  <a:cubicBezTo>
                    <a:pt x="9" y="117"/>
                    <a:pt x="12" y="116"/>
                    <a:pt x="12" y="114"/>
                  </a:cubicBezTo>
                  <a:cubicBezTo>
                    <a:pt x="11" y="113"/>
                    <a:pt x="8" y="111"/>
                    <a:pt x="7" y="112"/>
                  </a:cubicBezTo>
                  <a:cubicBezTo>
                    <a:pt x="6" y="112"/>
                    <a:pt x="5" y="116"/>
                    <a:pt x="5" y="118"/>
                  </a:cubicBezTo>
                  <a:cubicBezTo>
                    <a:pt x="5" y="118"/>
                    <a:pt x="5" y="119"/>
                    <a:pt x="5" y="120"/>
                  </a:cubicBezTo>
                  <a:cubicBezTo>
                    <a:pt x="5" y="121"/>
                    <a:pt x="4" y="121"/>
                    <a:pt x="4" y="122"/>
                  </a:cubicBezTo>
                  <a:cubicBezTo>
                    <a:pt x="4" y="123"/>
                    <a:pt x="4" y="125"/>
                    <a:pt x="4" y="126"/>
                  </a:cubicBezTo>
                  <a:cubicBezTo>
                    <a:pt x="4" y="128"/>
                    <a:pt x="4" y="129"/>
                    <a:pt x="4" y="131"/>
                  </a:cubicBezTo>
                  <a:cubicBezTo>
                    <a:pt x="4" y="135"/>
                    <a:pt x="4" y="139"/>
                    <a:pt x="5" y="143"/>
                  </a:cubicBezTo>
                  <a:cubicBezTo>
                    <a:pt x="6" y="146"/>
                    <a:pt x="5" y="150"/>
                    <a:pt x="5" y="153"/>
                  </a:cubicBezTo>
                  <a:cubicBezTo>
                    <a:pt x="6" y="155"/>
                    <a:pt x="6" y="158"/>
                    <a:pt x="6" y="160"/>
                  </a:cubicBezTo>
                  <a:cubicBezTo>
                    <a:pt x="6" y="164"/>
                    <a:pt x="6" y="167"/>
                    <a:pt x="6" y="171"/>
                  </a:cubicBezTo>
                  <a:cubicBezTo>
                    <a:pt x="7" y="170"/>
                    <a:pt x="8" y="170"/>
                    <a:pt x="9" y="170"/>
                  </a:cubicBezTo>
                  <a:cubicBezTo>
                    <a:pt x="10" y="169"/>
                    <a:pt x="10" y="169"/>
                    <a:pt x="9" y="167"/>
                  </a:cubicBezTo>
                  <a:cubicBezTo>
                    <a:pt x="9" y="165"/>
                    <a:pt x="9" y="163"/>
                    <a:pt x="11" y="163"/>
                  </a:cubicBezTo>
                  <a:cubicBezTo>
                    <a:pt x="13" y="162"/>
                    <a:pt x="15" y="164"/>
                    <a:pt x="14" y="165"/>
                  </a:cubicBezTo>
                  <a:cubicBezTo>
                    <a:pt x="15" y="167"/>
                    <a:pt x="15" y="167"/>
                    <a:pt x="15" y="167"/>
                  </a:cubicBezTo>
                  <a:cubicBezTo>
                    <a:pt x="15" y="169"/>
                    <a:pt x="13" y="169"/>
                    <a:pt x="13" y="171"/>
                  </a:cubicBezTo>
                  <a:cubicBezTo>
                    <a:pt x="13" y="173"/>
                    <a:pt x="13" y="174"/>
                    <a:pt x="14" y="175"/>
                  </a:cubicBezTo>
                  <a:cubicBezTo>
                    <a:pt x="17" y="177"/>
                    <a:pt x="23" y="180"/>
                    <a:pt x="19" y="183"/>
                  </a:cubicBezTo>
                  <a:cubicBezTo>
                    <a:pt x="17" y="184"/>
                    <a:pt x="14" y="186"/>
                    <a:pt x="13" y="184"/>
                  </a:cubicBezTo>
                  <a:cubicBezTo>
                    <a:pt x="13" y="183"/>
                    <a:pt x="13" y="181"/>
                    <a:pt x="13" y="180"/>
                  </a:cubicBezTo>
                  <a:cubicBezTo>
                    <a:pt x="13" y="179"/>
                    <a:pt x="13" y="177"/>
                    <a:pt x="12" y="177"/>
                  </a:cubicBezTo>
                  <a:cubicBezTo>
                    <a:pt x="11" y="176"/>
                    <a:pt x="7" y="178"/>
                    <a:pt x="7" y="178"/>
                  </a:cubicBezTo>
                  <a:cubicBezTo>
                    <a:pt x="7" y="178"/>
                    <a:pt x="6" y="178"/>
                    <a:pt x="6" y="178"/>
                  </a:cubicBezTo>
                  <a:cubicBezTo>
                    <a:pt x="7" y="181"/>
                    <a:pt x="7" y="185"/>
                    <a:pt x="8" y="188"/>
                  </a:cubicBezTo>
                  <a:cubicBezTo>
                    <a:pt x="8" y="190"/>
                    <a:pt x="8" y="192"/>
                    <a:pt x="8" y="195"/>
                  </a:cubicBezTo>
                  <a:cubicBezTo>
                    <a:pt x="8" y="196"/>
                    <a:pt x="8" y="198"/>
                    <a:pt x="8" y="199"/>
                  </a:cubicBezTo>
                  <a:cubicBezTo>
                    <a:pt x="8" y="202"/>
                    <a:pt x="7" y="205"/>
                    <a:pt x="5" y="207"/>
                  </a:cubicBezTo>
                  <a:cubicBezTo>
                    <a:pt x="5" y="208"/>
                    <a:pt x="4" y="209"/>
                    <a:pt x="3" y="209"/>
                  </a:cubicBezTo>
                  <a:cubicBezTo>
                    <a:pt x="2" y="211"/>
                    <a:pt x="2" y="212"/>
                    <a:pt x="0" y="213"/>
                  </a:cubicBezTo>
                  <a:cubicBezTo>
                    <a:pt x="1" y="214"/>
                    <a:pt x="2" y="214"/>
                    <a:pt x="3" y="215"/>
                  </a:cubicBezTo>
                  <a:cubicBezTo>
                    <a:pt x="5" y="216"/>
                    <a:pt x="6" y="218"/>
                    <a:pt x="8" y="220"/>
                  </a:cubicBezTo>
                  <a:cubicBezTo>
                    <a:pt x="9" y="222"/>
                    <a:pt x="11" y="223"/>
                    <a:pt x="12" y="224"/>
                  </a:cubicBezTo>
                  <a:cubicBezTo>
                    <a:pt x="12" y="225"/>
                    <a:pt x="12" y="226"/>
                    <a:pt x="13" y="227"/>
                  </a:cubicBezTo>
                  <a:cubicBezTo>
                    <a:pt x="15" y="230"/>
                    <a:pt x="17" y="231"/>
                    <a:pt x="20" y="233"/>
                  </a:cubicBezTo>
                  <a:cubicBezTo>
                    <a:pt x="21" y="234"/>
                    <a:pt x="22" y="235"/>
                    <a:pt x="23" y="235"/>
                  </a:cubicBezTo>
                  <a:cubicBezTo>
                    <a:pt x="26" y="234"/>
                    <a:pt x="26" y="231"/>
                    <a:pt x="26" y="229"/>
                  </a:cubicBezTo>
                  <a:cubicBezTo>
                    <a:pt x="25" y="228"/>
                    <a:pt x="25" y="228"/>
                    <a:pt x="24" y="227"/>
                  </a:cubicBezTo>
                  <a:cubicBezTo>
                    <a:pt x="24" y="226"/>
                    <a:pt x="24" y="226"/>
                    <a:pt x="24" y="226"/>
                  </a:cubicBezTo>
                  <a:cubicBezTo>
                    <a:pt x="23" y="225"/>
                    <a:pt x="23" y="224"/>
                    <a:pt x="22" y="223"/>
                  </a:cubicBezTo>
                  <a:cubicBezTo>
                    <a:pt x="21" y="222"/>
                    <a:pt x="19" y="221"/>
                    <a:pt x="18" y="220"/>
                  </a:cubicBezTo>
                  <a:cubicBezTo>
                    <a:pt x="17" y="218"/>
                    <a:pt x="14" y="218"/>
                    <a:pt x="16" y="215"/>
                  </a:cubicBezTo>
                  <a:cubicBezTo>
                    <a:pt x="17" y="212"/>
                    <a:pt x="19" y="214"/>
                    <a:pt x="21" y="215"/>
                  </a:cubicBezTo>
                  <a:cubicBezTo>
                    <a:pt x="22" y="216"/>
                    <a:pt x="23" y="220"/>
                    <a:pt x="24" y="220"/>
                  </a:cubicBezTo>
                  <a:cubicBezTo>
                    <a:pt x="24" y="221"/>
                    <a:pt x="26" y="221"/>
                    <a:pt x="26" y="222"/>
                  </a:cubicBezTo>
                  <a:cubicBezTo>
                    <a:pt x="27" y="223"/>
                    <a:pt x="27" y="223"/>
                    <a:pt x="28" y="224"/>
                  </a:cubicBezTo>
                  <a:cubicBezTo>
                    <a:pt x="29" y="225"/>
                    <a:pt x="31" y="226"/>
                    <a:pt x="32" y="227"/>
                  </a:cubicBezTo>
                  <a:cubicBezTo>
                    <a:pt x="32" y="227"/>
                    <a:pt x="34" y="228"/>
                    <a:pt x="34" y="228"/>
                  </a:cubicBezTo>
                  <a:cubicBezTo>
                    <a:pt x="34" y="228"/>
                    <a:pt x="34" y="228"/>
                    <a:pt x="34" y="229"/>
                  </a:cubicBezTo>
                  <a:cubicBezTo>
                    <a:pt x="35" y="231"/>
                    <a:pt x="36" y="232"/>
                    <a:pt x="35" y="234"/>
                  </a:cubicBezTo>
                  <a:cubicBezTo>
                    <a:pt x="35" y="236"/>
                    <a:pt x="34" y="235"/>
                    <a:pt x="34" y="237"/>
                  </a:cubicBezTo>
                  <a:cubicBezTo>
                    <a:pt x="33" y="238"/>
                    <a:pt x="34" y="239"/>
                    <a:pt x="34" y="240"/>
                  </a:cubicBezTo>
                  <a:cubicBezTo>
                    <a:pt x="34" y="241"/>
                    <a:pt x="33" y="244"/>
                    <a:pt x="34" y="245"/>
                  </a:cubicBezTo>
                  <a:cubicBezTo>
                    <a:pt x="34" y="246"/>
                    <a:pt x="35" y="246"/>
                    <a:pt x="35" y="247"/>
                  </a:cubicBezTo>
                  <a:cubicBezTo>
                    <a:pt x="37" y="250"/>
                    <a:pt x="35" y="252"/>
                    <a:pt x="34" y="254"/>
                  </a:cubicBezTo>
                  <a:cubicBezTo>
                    <a:pt x="34" y="255"/>
                    <a:pt x="34" y="255"/>
                    <a:pt x="33" y="256"/>
                  </a:cubicBezTo>
                  <a:cubicBezTo>
                    <a:pt x="33" y="257"/>
                    <a:pt x="32" y="257"/>
                    <a:pt x="32" y="258"/>
                  </a:cubicBezTo>
                  <a:cubicBezTo>
                    <a:pt x="32" y="259"/>
                    <a:pt x="32" y="260"/>
                    <a:pt x="32" y="261"/>
                  </a:cubicBezTo>
                  <a:cubicBezTo>
                    <a:pt x="32" y="263"/>
                    <a:pt x="32" y="266"/>
                    <a:pt x="32" y="268"/>
                  </a:cubicBezTo>
                  <a:cubicBezTo>
                    <a:pt x="32" y="269"/>
                    <a:pt x="32" y="270"/>
                    <a:pt x="32" y="272"/>
                  </a:cubicBezTo>
                  <a:cubicBezTo>
                    <a:pt x="32" y="271"/>
                    <a:pt x="32" y="271"/>
                    <a:pt x="32" y="271"/>
                  </a:cubicBezTo>
                  <a:cubicBezTo>
                    <a:pt x="35" y="271"/>
                    <a:pt x="37" y="272"/>
                    <a:pt x="40" y="272"/>
                  </a:cubicBezTo>
                  <a:cubicBezTo>
                    <a:pt x="41" y="272"/>
                    <a:pt x="43" y="272"/>
                    <a:pt x="45" y="272"/>
                  </a:cubicBezTo>
                  <a:cubicBezTo>
                    <a:pt x="46" y="272"/>
                    <a:pt x="48" y="272"/>
                    <a:pt x="49" y="272"/>
                  </a:cubicBezTo>
                  <a:cubicBezTo>
                    <a:pt x="50" y="273"/>
                    <a:pt x="51" y="274"/>
                    <a:pt x="52" y="274"/>
                  </a:cubicBezTo>
                  <a:cubicBezTo>
                    <a:pt x="53" y="274"/>
                    <a:pt x="55" y="274"/>
                    <a:pt x="56" y="274"/>
                  </a:cubicBezTo>
                  <a:cubicBezTo>
                    <a:pt x="56" y="274"/>
                    <a:pt x="57" y="274"/>
                    <a:pt x="58" y="274"/>
                  </a:cubicBezTo>
                  <a:cubicBezTo>
                    <a:pt x="58" y="273"/>
                    <a:pt x="58" y="273"/>
                    <a:pt x="59" y="272"/>
                  </a:cubicBezTo>
                  <a:cubicBezTo>
                    <a:pt x="59" y="272"/>
                    <a:pt x="61" y="272"/>
                    <a:pt x="62" y="272"/>
                  </a:cubicBezTo>
                  <a:cubicBezTo>
                    <a:pt x="62" y="273"/>
                    <a:pt x="62" y="274"/>
                    <a:pt x="63" y="274"/>
                  </a:cubicBezTo>
                  <a:cubicBezTo>
                    <a:pt x="62" y="275"/>
                    <a:pt x="63" y="275"/>
                    <a:pt x="63" y="275"/>
                  </a:cubicBezTo>
                  <a:cubicBezTo>
                    <a:pt x="63" y="276"/>
                    <a:pt x="63" y="276"/>
                    <a:pt x="63" y="276"/>
                  </a:cubicBezTo>
                  <a:cubicBezTo>
                    <a:pt x="64" y="277"/>
                    <a:pt x="64" y="278"/>
                    <a:pt x="64" y="280"/>
                  </a:cubicBezTo>
                  <a:cubicBezTo>
                    <a:pt x="64" y="282"/>
                    <a:pt x="65" y="282"/>
                    <a:pt x="67" y="282"/>
                  </a:cubicBezTo>
                  <a:cubicBezTo>
                    <a:pt x="68" y="282"/>
                    <a:pt x="69" y="282"/>
                    <a:pt x="70" y="282"/>
                  </a:cubicBezTo>
                  <a:cubicBezTo>
                    <a:pt x="71" y="281"/>
                    <a:pt x="71" y="280"/>
                    <a:pt x="72" y="279"/>
                  </a:cubicBezTo>
                  <a:cubicBezTo>
                    <a:pt x="74" y="279"/>
                    <a:pt x="74" y="279"/>
                    <a:pt x="75" y="278"/>
                  </a:cubicBezTo>
                  <a:cubicBezTo>
                    <a:pt x="76" y="277"/>
                    <a:pt x="76" y="276"/>
                    <a:pt x="77" y="276"/>
                  </a:cubicBezTo>
                  <a:cubicBezTo>
                    <a:pt x="78" y="275"/>
                    <a:pt x="79" y="276"/>
                    <a:pt x="79" y="276"/>
                  </a:cubicBezTo>
                  <a:cubicBezTo>
                    <a:pt x="80" y="276"/>
                    <a:pt x="81" y="276"/>
                    <a:pt x="81" y="276"/>
                  </a:cubicBezTo>
                  <a:cubicBezTo>
                    <a:pt x="82" y="276"/>
                    <a:pt x="82" y="276"/>
                    <a:pt x="83" y="276"/>
                  </a:cubicBezTo>
                  <a:cubicBezTo>
                    <a:pt x="84" y="276"/>
                    <a:pt x="85" y="277"/>
                    <a:pt x="86" y="277"/>
                  </a:cubicBezTo>
                  <a:cubicBezTo>
                    <a:pt x="87" y="279"/>
                    <a:pt x="87" y="280"/>
                    <a:pt x="89" y="280"/>
                  </a:cubicBezTo>
                  <a:cubicBezTo>
                    <a:pt x="91" y="280"/>
                    <a:pt x="92" y="280"/>
                    <a:pt x="94" y="281"/>
                  </a:cubicBezTo>
                  <a:cubicBezTo>
                    <a:pt x="95" y="282"/>
                    <a:pt x="95" y="282"/>
                    <a:pt x="96" y="283"/>
                  </a:cubicBezTo>
                  <a:cubicBezTo>
                    <a:pt x="97" y="283"/>
                    <a:pt x="98" y="284"/>
                    <a:pt x="99" y="284"/>
                  </a:cubicBezTo>
                  <a:cubicBezTo>
                    <a:pt x="100" y="284"/>
                    <a:pt x="100" y="283"/>
                    <a:pt x="101" y="282"/>
                  </a:cubicBezTo>
                  <a:cubicBezTo>
                    <a:pt x="102" y="282"/>
                    <a:pt x="104" y="280"/>
                    <a:pt x="105" y="281"/>
                  </a:cubicBezTo>
                  <a:cubicBezTo>
                    <a:pt x="106" y="281"/>
                    <a:pt x="106" y="282"/>
                    <a:pt x="106" y="282"/>
                  </a:cubicBezTo>
                  <a:cubicBezTo>
                    <a:pt x="107" y="282"/>
                    <a:pt x="107" y="281"/>
                    <a:pt x="108" y="280"/>
                  </a:cubicBezTo>
                  <a:cubicBezTo>
                    <a:pt x="109" y="279"/>
                    <a:pt x="111" y="277"/>
                    <a:pt x="112" y="275"/>
                  </a:cubicBezTo>
                  <a:cubicBezTo>
                    <a:pt x="113" y="272"/>
                    <a:pt x="114" y="267"/>
                    <a:pt x="111" y="264"/>
                  </a:cubicBezTo>
                  <a:cubicBezTo>
                    <a:pt x="108" y="262"/>
                    <a:pt x="105" y="264"/>
                    <a:pt x="103" y="261"/>
                  </a:cubicBezTo>
                  <a:cubicBezTo>
                    <a:pt x="103" y="260"/>
                    <a:pt x="103" y="259"/>
                    <a:pt x="102" y="259"/>
                  </a:cubicBezTo>
                  <a:cubicBezTo>
                    <a:pt x="102" y="258"/>
                    <a:pt x="101" y="258"/>
                    <a:pt x="100" y="258"/>
                  </a:cubicBezTo>
                  <a:cubicBezTo>
                    <a:pt x="99" y="257"/>
                    <a:pt x="99" y="257"/>
                    <a:pt x="98" y="256"/>
                  </a:cubicBezTo>
                  <a:cubicBezTo>
                    <a:pt x="96" y="255"/>
                    <a:pt x="91" y="254"/>
                    <a:pt x="89" y="256"/>
                  </a:cubicBezTo>
                  <a:cubicBezTo>
                    <a:pt x="86" y="258"/>
                    <a:pt x="95" y="263"/>
                    <a:pt x="94" y="267"/>
                  </a:cubicBezTo>
                  <a:cubicBezTo>
                    <a:pt x="92" y="267"/>
                    <a:pt x="93" y="266"/>
                    <a:pt x="92" y="266"/>
                  </a:cubicBezTo>
                  <a:cubicBezTo>
                    <a:pt x="91" y="265"/>
                    <a:pt x="89" y="265"/>
                    <a:pt x="88" y="264"/>
                  </a:cubicBezTo>
                  <a:cubicBezTo>
                    <a:pt x="87" y="263"/>
                    <a:pt x="86" y="262"/>
                    <a:pt x="84" y="261"/>
                  </a:cubicBezTo>
                  <a:cubicBezTo>
                    <a:pt x="82" y="260"/>
                    <a:pt x="81" y="261"/>
                    <a:pt x="81" y="258"/>
                  </a:cubicBezTo>
                  <a:cubicBezTo>
                    <a:pt x="81" y="256"/>
                    <a:pt x="81" y="254"/>
                    <a:pt x="82" y="253"/>
                  </a:cubicBezTo>
                  <a:cubicBezTo>
                    <a:pt x="83" y="252"/>
                    <a:pt x="84" y="251"/>
                    <a:pt x="84" y="250"/>
                  </a:cubicBezTo>
                  <a:cubicBezTo>
                    <a:pt x="85" y="250"/>
                    <a:pt x="88" y="250"/>
                    <a:pt x="89" y="250"/>
                  </a:cubicBezTo>
                  <a:cubicBezTo>
                    <a:pt x="92" y="249"/>
                    <a:pt x="89" y="248"/>
                    <a:pt x="90" y="246"/>
                  </a:cubicBezTo>
                  <a:cubicBezTo>
                    <a:pt x="91" y="244"/>
                    <a:pt x="94" y="244"/>
                    <a:pt x="92" y="242"/>
                  </a:cubicBezTo>
                  <a:cubicBezTo>
                    <a:pt x="92" y="241"/>
                    <a:pt x="91" y="242"/>
                    <a:pt x="90" y="241"/>
                  </a:cubicBezTo>
                  <a:cubicBezTo>
                    <a:pt x="90" y="240"/>
                    <a:pt x="90" y="239"/>
                    <a:pt x="90" y="239"/>
                  </a:cubicBezTo>
                  <a:cubicBezTo>
                    <a:pt x="91" y="233"/>
                    <a:pt x="99" y="237"/>
                    <a:pt x="101" y="239"/>
                  </a:cubicBezTo>
                  <a:cubicBezTo>
                    <a:pt x="102" y="239"/>
                    <a:pt x="103" y="240"/>
                    <a:pt x="103" y="241"/>
                  </a:cubicBezTo>
                  <a:cubicBezTo>
                    <a:pt x="104" y="242"/>
                    <a:pt x="104" y="243"/>
                    <a:pt x="104" y="244"/>
                  </a:cubicBezTo>
                  <a:cubicBezTo>
                    <a:pt x="104" y="245"/>
                    <a:pt x="104" y="244"/>
                    <a:pt x="105" y="245"/>
                  </a:cubicBezTo>
                  <a:cubicBezTo>
                    <a:pt x="107" y="247"/>
                    <a:pt x="109" y="248"/>
                    <a:pt x="111" y="250"/>
                  </a:cubicBezTo>
                  <a:cubicBezTo>
                    <a:pt x="112" y="252"/>
                    <a:pt x="111" y="253"/>
                    <a:pt x="111" y="255"/>
                  </a:cubicBezTo>
                  <a:cubicBezTo>
                    <a:pt x="111" y="257"/>
                    <a:pt x="112" y="257"/>
                    <a:pt x="114" y="257"/>
                  </a:cubicBezTo>
                  <a:cubicBezTo>
                    <a:pt x="115" y="257"/>
                    <a:pt x="117" y="256"/>
                    <a:pt x="117" y="255"/>
                  </a:cubicBezTo>
                  <a:cubicBezTo>
                    <a:pt x="118" y="255"/>
                    <a:pt x="120" y="255"/>
                    <a:pt x="120" y="257"/>
                  </a:cubicBezTo>
                  <a:cubicBezTo>
                    <a:pt x="121" y="258"/>
                    <a:pt x="120" y="259"/>
                    <a:pt x="121" y="259"/>
                  </a:cubicBezTo>
                  <a:cubicBezTo>
                    <a:pt x="122" y="260"/>
                    <a:pt x="125" y="260"/>
                    <a:pt x="126" y="261"/>
                  </a:cubicBezTo>
                  <a:cubicBezTo>
                    <a:pt x="127" y="261"/>
                    <a:pt x="129" y="262"/>
                    <a:pt x="130" y="263"/>
                  </a:cubicBezTo>
                  <a:cubicBezTo>
                    <a:pt x="131" y="263"/>
                    <a:pt x="132" y="264"/>
                    <a:pt x="133" y="264"/>
                  </a:cubicBezTo>
                  <a:cubicBezTo>
                    <a:pt x="136" y="266"/>
                    <a:pt x="137" y="268"/>
                    <a:pt x="137" y="272"/>
                  </a:cubicBezTo>
                  <a:cubicBezTo>
                    <a:pt x="137" y="273"/>
                    <a:pt x="137" y="274"/>
                    <a:pt x="138" y="275"/>
                  </a:cubicBezTo>
                  <a:cubicBezTo>
                    <a:pt x="139" y="276"/>
                    <a:pt x="140" y="277"/>
                    <a:pt x="141" y="278"/>
                  </a:cubicBezTo>
                  <a:cubicBezTo>
                    <a:pt x="142" y="279"/>
                    <a:pt x="142" y="278"/>
                    <a:pt x="143" y="280"/>
                  </a:cubicBezTo>
                  <a:cubicBezTo>
                    <a:pt x="143" y="281"/>
                    <a:pt x="143" y="283"/>
                    <a:pt x="143" y="284"/>
                  </a:cubicBezTo>
                  <a:cubicBezTo>
                    <a:pt x="143" y="286"/>
                    <a:pt x="143" y="297"/>
                    <a:pt x="146" y="296"/>
                  </a:cubicBezTo>
                  <a:cubicBezTo>
                    <a:pt x="147" y="296"/>
                    <a:pt x="147" y="294"/>
                    <a:pt x="148" y="293"/>
                  </a:cubicBezTo>
                  <a:cubicBezTo>
                    <a:pt x="148" y="292"/>
                    <a:pt x="149" y="290"/>
                    <a:pt x="149" y="288"/>
                  </a:cubicBezTo>
                  <a:cubicBezTo>
                    <a:pt x="150" y="286"/>
                    <a:pt x="150" y="284"/>
                    <a:pt x="151" y="282"/>
                  </a:cubicBezTo>
                  <a:cubicBezTo>
                    <a:pt x="152" y="281"/>
                    <a:pt x="152" y="280"/>
                    <a:pt x="152" y="279"/>
                  </a:cubicBezTo>
                  <a:cubicBezTo>
                    <a:pt x="153" y="279"/>
                    <a:pt x="154" y="278"/>
                    <a:pt x="154" y="278"/>
                  </a:cubicBezTo>
                  <a:cubicBezTo>
                    <a:pt x="154" y="277"/>
                    <a:pt x="154" y="276"/>
                    <a:pt x="154" y="275"/>
                  </a:cubicBezTo>
                  <a:cubicBezTo>
                    <a:pt x="154" y="274"/>
                    <a:pt x="155" y="275"/>
                    <a:pt x="155" y="274"/>
                  </a:cubicBezTo>
                  <a:cubicBezTo>
                    <a:pt x="155" y="273"/>
                    <a:pt x="155" y="272"/>
                    <a:pt x="155" y="271"/>
                  </a:cubicBezTo>
                  <a:cubicBezTo>
                    <a:pt x="155" y="268"/>
                    <a:pt x="156" y="265"/>
                    <a:pt x="157" y="261"/>
                  </a:cubicBezTo>
                  <a:cubicBezTo>
                    <a:pt x="157" y="259"/>
                    <a:pt x="159" y="257"/>
                    <a:pt x="160" y="255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highlight>
                  <a:srgbClr val="FFFF00"/>
                </a:highlight>
              </a:endParaRPr>
            </a:p>
          </p:txBody>
        </p:sp>
        <p:sp>
          <p:nvSpPr>
            <p:cNvPr id="277" name="Freeform 107"/>
            <p:cNvSpPr>
              <a:spLocks/>
            </p:cNvSpPr>
            <p:nvPr/>
          </p:nvSpPr>
          <p:spPr bwMode="auto">
            <a:xfrm>
              <a:off x="4589463" y="3495675"/>
              <a:ext cx="180975" cy="300038"/>
            </a:xfrm>
            <a:custGeom>
              <a:avLst/>
              <a:gdLst/>
              <a:ahLst/>
              <a:cxnLst>
                <a:cxn ang="0">
                  <a:pos x="44" y="49"/>
                </a:cxn>
                <a:cxn ang="0">
                  <a:pos x="52" y="51"/>
                </a:cxn>
                <a:cxn ang="0">
                  <a:pos x="63" y="54"/>
                </a:cxn>
                <a:cxn ang="0">
                  <a:pos x="57" y="52"/>
                </a:cxn>
                <a:cxn ang="0">
                  <a:pos x="53" y="43"/>
                </a:cxn>
                <a:cxn ang="0">
                  <a:pos x="54" y="32"/>
                </a:cxn>
                <a:cxn ang="0">
                  <a:pos x="60" y="34"/>
                </a:cxn>
                <a:cxn ang="0">
                  <a:pos x="51" y="33"/>
                </a:cxn>
                <a:cxn ang="0">
                  <a:pos x="59" y="19"/>
                </a:cxn>
                <a:cxn ang="0">
                  <a:pos x="68" y="14"/>
                </a:cxn>
                <a:cxn ang="0">
                  <a:pos x="73" y="3"/>
                </a:cxn>
                <a:cxn ang="0">
                  <a:pos x="80" y="11"/>
                </a:cxn>
                <a:cxn ang="0">
                  <a:pos x="89" y="19"/>
                </a:cxn>
                <a:cxn ang="0">
                  <a:pos x="86" y="29"/>
                </a:cxn>
                <a:cxn ang="0">
                  <a:pos x="93" y="34"/>
                </a:cxn>
                <a:cxn ang="0">
                  <a:pos x="96" y="43"/>
                </a:cxn>
                <a:cxn ang="0">
                  <a:pos x="93" y="48"/>
                </a:cxn>
                <a:cxn ang="0">
                  <a:pos x="95" y="59"/>
                </a:cxn>
                <a:cxn ang="0">
                  <a:pos x="94" y="65"/>
                </a:cxn>
                <a:cxn ang="0">
                  <a:pos x="78" y="67"/>
                </a:cxn>
                <a:cxn ang="0">
                  <a:pos x="75" y="79"/>
                </a:cxn>
                <a:cxn ang="0">
                  <a:pos x="82" y="91"/>
                </a:cxn>
                <a:cxn ang="0">
                  <a:pos x="71" y="99"/>
                </a:cxn>
                <a:cxn ang="0">
                  <a:pos x="60" y="108"/>
                </a:cxn>
                <a:cxn ang="0">
                  <a:pos x="66" y="125"/>
                </a:cxn>
                <a:cxn ang="0">
                  <a:pos x="75" y="117"/>
                </a:cxn>
                <a:cxn ang="0">
                  <a:pos x="81" y="124"/>
                </a:cxn>
                <a:cxn ang="0">
                  <a:pos x="72" y="130"/>
                </a:cxn>
                <a:cxn ang="0">
                  <a:pos x="67" y="131"/>
                </a:cxn>
                <a:cxn ang="0">
                  <a:pos x="62" y="141"/>
                </a:cxn>
                <a:cxn ang="0">
                  <a:pos x="50" y="153"/>
                </a:cxn>
                <a:cxn ang="0">
                  <a:pos x="50" y="158"/>
                </a:cxn>
                <a:cxn ang="0">
                  <a:pos x="42" y="154"/>
                </a:cxn>
                <a:cxn ang="0">
                  <a:pos x="34" y="155"/>
                </a:cxn>
                <a:cxn ang="0">
                  <a:pos x="25" y="151"/>
                </a:cxn>
                <a:cxn ang="0">
                  <a:pos x="7" y="139"/>
                </a:cxn>
                <a:cxn ang="0">
                  <a:pos x="10" y="135"/>
                </a:cxn>
                <a:cxn ang="0">
                  <a:pos x="9" y="129"/>
                </a:cxn>
                <a:cxn ang="0">
                  <a:pos x="16" y="126"/>
                </a:cxn>
                <a:cxn ang="0">
                  <a:pos x="23" y="128"/>
                </a:cxn>
                <a:cxn ang="0">
                  <a:pos x="33" y="133"/>
                </a:cxn>
                <a:cxn ang="0">
                  <a:pos x="42" y="132"/>
                </a:cxn>
                <a:cxn ang="0">
                  <a:pos x="49" y="127"/>
                </a:cxn>
                <a:cxn ang="0">
                  <a:pos x="56" y="124"/>
                </a:cxn>
                <a:cxn ang="0">
                  <a:pos x="51" y="119"/>
                </a:cxn>
                <a:cxn ang="0">
                  <a:pos x="41" y="104"/>
                </a:cxn>
                <a:cxn ang="0">
                  <a:pos x="29" y="102"/>
                </a:cxn>
                <a:cxn ang="0">
                  <a:pos x="18" y="98"/>
                </a:cxn>
                <a:cxn ang="0">
                  <a:pos x="13" y="84"/>
                </a:cxn>
                <a:cxn ang="0">
                  <a:pos x="10" y="68"/>
                </a:cxn>
                <a:cxn ang="0">
                  <a:pos x="3" y="56"/>
                </a:cxn>
                <a:cxn ang="0">
                  <a:pos x="4" y="50"/>
                </a:cxn>
                <a:cxn ang="0">
                  <a:pos x="18" y="50"/>
                </a:cxn>
                <a:cxn ang="0">
                  <a:pos x="34" y="37"/>
                </a:cxn>
                <a:cxn ang="0">
                  <a:pos x="21" y="30"/>
                </a:cxn>
                <a:cxn ang="0">
                  <a:pos x="34" y="31"/>
                </a:cxn>
                <a:cxn ang="0">
                  <a:pos x="49" y="35"/>
                </a:cxn>
                <a:cxn ang="0">
                  <a:pos x="45" y="42"/>
                </a:cxn>
              </a:cxnLst>
              <a:rect l="0" t="0" r="r" b="b"/>
              <a:pathLst>
                <a:path w="97" h="161">
                  <a:moveTo>
                    <a:pt x="45" y="42"/>
                  </a:moveTo>
                  <a:cubicBezTo>
                    <a:pt x="45" y="43"/>
                    <a:pt x="41" y="46"/>
                    <a:pt x="42" y="48"/>
                  </a:cubicBezTo>
                  <a:cubicBezTo>
                    <a:pt x="42" y="49"/>
                    <a:pt x="43" y="49"/>
                    <a:pt x="44" y="49"/>
                  </a:cubicBezTo>
                  <a:cubicBezTo>
                    <a:pt x="46" y="49"/>
                    <a:pt x="46" y="49"/>
                    <a:pt x="48" y="50"/>
                  </a:cubicBezTo>
                  <a:cubicBezTo>
                    <a:pt x="49" y="52"/>
                    <a:pt x="48" y="54"/>
                    <a:pt x="50" y="56"/>
                  </a:cubicBezTo>
                  <a:cubicBezTo>
                    <a:pt x="53" y="59"/>
                    <a:pt x="52" y="53"/>
                    <a:pt x="52" y="51"/>
                  </a:cubicBezTo>
                  <a:cubicBezTo>
                    <a:pt x="55" y="52"/>
                    <a:pt x="58" y="54"/>
                    <a:pt x="60" y="54"/>
                  </a:cubicBezTo>
                  <a:cubicBezTo>
                    <a:pt x="61" y="54"/>
                    <a:pt x="61" y="54"/>
                    <a:pt x="62" y="54"/>
                  </a:cubicBezTo>
                  <a:cubicBezTo>
                    <a:pt x="62" y="54"/>
                    <a:pt x="62" y="54"/>
                    <a:pt x="63" y="54"/>
                  </a:cubicBezTo>
                  <a:cubicBezTo>
                    <a:pt x="64" y="53"/>
                    <a:pt x="60" y="50"/>
                    <a:pt x="59" y="51"/>
                  </a:cubicBezTo>
                  <a:cubicBezTo>
                    <a:pt x="59" y="51"/>
                    <a:pt x="59" y="52"/>
                    <a:pt x="59" y="52"/>
                  </a:cubicBezTo>
                  <a:cubicBezTo>
                    <a:pt x="58" y="52"/>
                    <a:pt x="58" y="52"/>
                    <a:pt x="57" y="52"/>
                  </a:cubicBezTo>
                  <a:cubicBezTo>
                    <a:pt x="57" y="52"/>
                    <a:pt x="54" y="50"/>
                    <a:pt x="54" y="50"/>
                  </a:cubicBezTo>
                  <a:cubicBezTo>
                    <a:pt x="53" y="49"/>
                    <a:pt x="53" y="48"/>
                    <a:pt x="53" y="48"/>
                  </a:cubicBezTo>
                  <a:cubicBezTo>
                    <a:pt x="52" y="47"/>
                    <a:pt x="52" y="44"/>
                    <a:pt x="53" y="43"/>
                  </a:cubicBezTo>
                  <a:cubicBezTo>
                    <a:pt x="53" y="42"/>
                    <a:pt x="55" y="42"/>
                    <a:pt x="55" y="41"/>
                  </a:cubicBezTo>
                  <a:cubicBezTo>
                    <a:pt x="57" y="39"/>
                    <a:pt x="54" y="38"/>
                    <a:pt x="54" y="36"/>
                  </a:cubicBezTo>
                  <a:cubicBezTo>
                    <a:pt x="53" y="35"/>
                    <a:pt x="54" y="34"/>
                    <a:pt x="54" y="32"/>
                  </a:cubicBezTo>
                  <a:cubicBezTo>
                    <a:pt x="54" y="31"/>
                    <a:pt x="53" y="29"/>
                    <a:pt x="55" y="30"/>
                  </a:cubicBezTo>
                  <a:cubicBezTo>
                    <a:pt x="57" y="30"/>
                    <a:pt x="56" y="34"/>
                    <a:pt x="58" y="35"/>
                  </a:cubicBezTo>
                  <a:cubicBezTo>
                    <a:pt x="58" y="36"/>
                    <a:pt x="60" y="36"/>
                    <a:pt x="60" y="34"/>
                  </a:cubicBezTo>
                  <a:cubicBezTo>
                    <a:pt x="61" y="33"/>
                    <a:pt x="59" y="32"/>
                    <a:pt x="58" y="31"/>
                  </a:cubicBezTo>
                  <a:cubicBezTo>
                    <a:pt x="57" y="31"/>
                    <a:pt x="55" y="31"/>
                    <a:pt x="54" y="31"/>
                  </a:cubicBezTo>
                  <a:cubicBezTo>
                    <a:pt x="52" y="31"/>
                    <a:pt x="52" y="32"/>
                    <a:pt x="51" y="33"/>
                  </a:cubicBezTo>
                  <a:cubicBezTo>
                    <a:pt x="50" y="32"/>
                    <a:pt x="49" y="27"/>
                    <a:pt x="50" y="26"/>
                  </a:cubicBezTo>
                  <a:cubicBezTo>
                    <a:pt x="51" y="25"/>
                    <a:pt x="54" y="26"/>
                    <a:pt x="55" y="25"/>
                  </a:cubicBezTo>
                  <a:cubicBezTo>
                    <a:pt x="57" y="23"/>
                    <a:pt x="58" y="20"/>
                    <a:pt x="59" y="19"/>
                  </a:cubicBezTo>
                  <a:cubicBezTo>
                    <a:pt x="60" y="17"/>
                    <a:pt x="62" y="15"/>
                    <a:pt x="63" y="14"/>
                  </a:cubicBezTo>
                  <a:cubicBezTo>
                    <a:pt x="64" y="14"/>
                    <a:pt x="65" y="13"/>
                    <a:pt x="67" y="12"/>
                  </a:cubicBezTo>
                  <a:cubicBezTo>
                    <a:pt x="67" y="13"/>
                    <a:pt x="67" y="13"/>
                    <a:pt x="68" y="14"/>
                  </a:cubicBezTo>
                  <a:cubicBezTo>
                    <a:pt x="67" y="11"/>
                    <a:pt x="65" y="9"/>
                    <a:pt x="66" y="7"/>
                  </a:cubicBezTo>
                  <a:cubicBezTo>
                    <a:pt x="66" y="4"/>
                    <a:pt x="67" y="0"/>
                    <a:pt x="70" y="0"/>
                  </a:cubicBezTo>
                  <a:cubicBezTo>
                    <a:pt x="72" y="0"/>
                    <a:pt x="72" y="1"/>
                    <a:pt x="73" y="3"/>
                  </a:cubicBezTo>
                  <a:cubicBezTo>
                    <a:pt x="74" y="4"/>
                    <a:pt x="74" y="7"/>
                    <a:pt x="76" y="8"/>
                  </a:cubicBezTo>
                  <a:cubicBezTo>
                    <a:pt x="77" y="8"/>
                    <a:pt x="78" y="7"/>
                    <a:pt x="79" y="8"/>
                  </a:cubicBezTo>
                  <a:cubicBezTo>
                    <a:pt x="79" y="8"/>
                    <a:pt x="79" y="10"/>
                    <a:pt x="80" y="11"/>
                  </a:cubicBezTo>
                  <a:cubicBezTo>
                    <a:pt x="80" y="12"/>
                    <a:pt x="81" y="13"/>
                    <a:pt x="82" y="14"/>
                  </a:cubicBezTo>
                  <a:cubicBezTo>
                    <a:pt x="83" y="14"/>
                    <a:pt x="83" y="12"/>
                    <a:pt x="84" y="11"/>
                  </a:cubicBezTo>
                  <a:cubicBezTo>
                    <a:pt x="86" y="14"/>
                    <a:pt x="89" y="16"/>
                    <a:pt x="89" y="19"/>
                  </a:cubicBezTo>
                  <a:cubicBezTo>
                    <a:pt x="90" y="20"/>
                    <a:pt x="91" y="20"/>
                    <a:pt x="92" y="22"/>
                  </a:cubicBezTo>
                  <a:cubicBezTo>
                    <a:pt x="92" y="23"/>
                    <a:pt x="90" y="23"/>
                    <a:pt x="89" y="24"/>
                  </a:cubicBezTo>
                  <a:cubicBezTo>
                    <a:pt x="87" y="26"/>
                    <a:pt x="85" y="27"/>
                    <a:pt x="86" y="29"/>
                  </a:cubicBezTo>
                  <a:cubicBezTo>
                    <a:pt x="87" y="30"/>
                    <a:pt x="87" y="31"/>
                    <a:pt x="87" y="33"/>
                  </a:cubicBezTo>
                  <a:cubicBezTo>
                    <a:pt x="87" y="33"/>
                    <a:pt x="87" y="36"/>
                    <a:pt x="87" y="36"/>
                  </a:cubicBezTo>
                  <a:cubicBezTo>
                    <a:pt x="89" y="38"/>
                    <a:pt x="91" y="34"/>
                    <a:pt x="93" y="34"/>
                  </a:cubicBezTo>
                  <a:cubicBezTo>
                    <a:pt x="94" y="34"/>
                    <a:pt x="95" y="37"/>
                    <a:pt x="96" y="38"/>
                  </a:cubicBezTo>
                  <a:cubicBezTo>
                    <a:pt x="96" y="39"/>
                    <a:pt x="97" y="40"/>
                    <a:pt x="97" y="41"/>
                  </a:cubicBezTo>
                  <a:cubicBezTo>
                    <a:pt x="97" y="42"/>
                    <a:pt x="96" y="42"/>
                    <a:pt x="96" y="43"/>
                  </a:cubicBezTo>
                  <a:cubicBezTo>
                    <a:pt x="96" y="43"/>
                    <a:pt x="96" y="43"/>
                    <a:pt x="95" y="44"/>
                  </a:cubicBezTo>
                  <a:cubicBezTo>
                    <a:pt x="95" y="45"/>
                    <a:pt x="96" y="45"/>
                    <a:pt x="95" y="46"/>
                  </a:cubicBezTo>
                  <a:cubicBezTo>
                    <a:pt x="95" y="47"/>
                    <a:pt x="95" y="47"/>
                    <a:pt x="93" y="48"/>
                  </a:cubicBezTo>
                  <a:cubicBezTo>
                    <a:pt x="88" y="49"/>
                    <a:pt x="93" y="52"/>
                    <a:pt x="95" y="54"/>
                  </a:cubicBezTo>
                  <a:cubicBezTo>
                    <a:pt x="95" y="55"/>
                    <a:pt x="95" y="56"/>
                    <a:pt x="95" y="57"/>
                  </a:cubicBezTo>
                  <a:cubicBezTo>
                    <a:pt x="95" y="58"/>
                    <a:pt x="95" y="58"/>
                    <a:pt x="95" y="59"/>
                  </a:cubicBezTo>
                  <a:cubicBezTo>
                    <a:pt x="96" y="60"/>
                    <a:pt x="96" y="60"/>
                    <a:pt x="96" y="60"/>
                  </a:cubicBezTo>
                  <a:cubicBezTo>
                    <a:pt x="97" y="62"/>
                    <a:pt x="97" y="60"/>
                    <a:pt x="97" y="62"/>
                  </a:cubicBezTo>
                  <a:cubicBezTo>
                    <a:pt x="96" y="63"/>
                    <a:pt x="94" y="64"/>
                    <a:pt x="94" y="65"/>
                  </a:cubicBezTo>
                  <a:cubicBezTo>
                    <a:pt x="92" y="65"/>
                    <a:pt x="90" y="67"/>
                    <a:pt x="88" y="67"/>
                  </a:cubicBezTo>
                  <a:cubicBezTo>
                    <a:pt x="86" y="66"/>
                    <a:pt x="88" y="65"/>
                    <a:pt x="86" y="65"/>
                  </a:cubicBezTo>
                  <a:cubicBezTo>
                    <a:pt x="84" y="64"/>
                    <a:pt x="80" y="66"/>
                    <a:pt x="78" y="67"/>
                  </a:cubicBezTo>
                  <a:cubicBezTo>
                    <a:pt x="76" y="68"/>
                    <a:pt x="73" y="69"/>
                    <a:pt x="71" y="70"/>
                  </a:cubicBezTo>
                  <a:cubicBezTo>
                    <a:pt x="68" y="71"/>
                    <a:pt x="67" y="72"/>
                    <a:pt x="68" y="75"/>
                  </a:cubicBezTo>
                  <a:cubicBezTo>
                    <a:pt x="69" y="78"/>
                    <a:pt x="72" y="78"/>
                    <a:pt x="75" y="79"/>
                  </a:cubicBezTo>
                  <a:cubicBezTo>
                    <a:pt x="77" y="80"/>
                    <a:pt x="80" y="81"/>
                    <a:pt x="81" y="83"/>
                  </a:cubicBezTo>
                  <a:cubicBezTo>
                    <a:pt x="81" y="84"/>
                    <a:pt x="82" y="85"/>
                    <a:pt x="82" y="86"/>
                  </a:cubicBezTo>
                  <a:cubicBezTo>
                    <a:pt x="83" y="88"/>
                    <a:pt x="82" y="90"/>
                    <a:pt x="82" y="91"/>
                  </a:cubicBezTo>
                  <a:cubicBezTo>
                    <a:pt x="82" y="93"/>
                    <a:pt x="82" y="95"/>
                    <a:pt x="80" y="97"/>
                  </a:cubicBezTo>
                  <a:cubicBezTo>
                    <a:pt x="79" y="98"/>
                    <a:pt x="77" y="99"/>
                    <a:pt x="75" y="99"/>
                  </a:cubicBezTo>
                  <a:cubicBezTo>
                    <a:pt x="74" y="99"/>
                    <a:pt x="72" y="98"/>
                    <a:pt x="71" y="99"/>
                  </a:cubicBezTo>
                  <a:cubicBezTo>
                    <a:pt x="69" y="100"/>
                    <a:pt x="70" y="102"/>
                    <a:pt x="69" y="103"/>
                  </a:cubicBezTo>
                  <a:cubicBezTo>
                    <a:pt x="68" y="104"/>
                    <a:pt x="67" y="105"/>
                    <a:pt x="65" y="105"/>
                  </a:cubicBezTo>
                  <a:cubicBezTo>
                    <a:pt x="63" y="106"/>
                    <a:pt x="60" y="104"/>
                    <a:pt x="60" y="108"/>
                  </a:cubicBezTo>
                  <a:cubicBezTo>
                    <a:pt x="63" y="108"/>
                    <a:pt x="68" y="108"/>
                    <a:pt x="66" y="112"/>
                  </a:cubicBezTo>
                  <a:cubicBezTo>
                    <a:pt x="66" y="115"/>
                    <a:pt x="64" y="116"/>
                    <a:pt x="65" y="119"/>
                  </a:cubicBezTo>
                  <a:cubicBezTo>
                    <a:pt x="67" y="117"/>
                    <a:pt x="66" y="124"/>
                    <a:pt x="66" y="125"/>
                  </a:cubicBezTo>
                  <a:cubicBezTo>
                    <a:pt x="69" y="122"/>
                    <a:pt x="70" y="121"/>
                    <a:pt x="73" y="121"/>
                  </a:cubicBezTo>
                  <a:cubicBezTo>
                    <a:pt x="75" y="121"/>
                    <a:pt x="75" y="122"/>
                    <a:pt x="75" y="120"/>
                  </a:cubicBezTo>
                  <a:cubicBezTo>
                    <a:pt x="76" y="119"/>
                    <a:pt x="75" y="118"/>
                    <a:pt x="75" y="117"/>
                  </a:cubicBezTo>
                  <a:cubicBezTo>
                    <a:pt x="79" y="116"/>
                    <a:pt x="85" y="118"/>
                    <a:pt x="87" y="121"/>
                  </a:cubicBezTo>
                  <a:cubicBezTo>
                    <a:pt x="87" y="123"/>
                    <a:pt x="88" y="123"/>
                    <a:pt x="86" y="124"/>
                  </a:cubicBezTo>
                  <a:cubicBezTo>
                    <a:pt x="85" y="124"/>
                    <a:pt x="83" y="124"/>
                    <a:pt x="81" y="124"/>
                  </a:cubicBezTo>
                  <a:cubicBezTo>
                    <a:pt x="79" y="124"/>
                    <a:pt x="78" y="124"/>
                    <a:pt x="77" y="126"/>
                  </a:cubicBezTo>
                  <a:cubicBezTo>
                    <a:pt x="77" y="126"/>
                    <a:pt x="77" y="128"/>
                    <a:pt x="76" y="128"/>
                  </a:cubicBezTo>
                  <a:cubicBezTo>
                    <a:pt x="74" y="129"/>
                    <a:pt x="73" y="128"/>
                    <a:pt x="72" y="130"/>
                  </a:cubicBezTo>
                  <a:cubicBezTo>
                    <a:pt x="71" y="131"/>
                    <a:pt x="71" y="132"/>
                    <a:pt x="71" y="133"/>
                  </a:cubicBezTo>
                  <a:cubicBezTo>
                    <a:pt x="70" y="133"/>
                    <a:pt x="67" y="134"/>
                    <a:pt x="67" y="133"/>
                  </a:cubicBezTo>
                  <a:cubicBezTo>
                    <a:pt x="66" y="133"/>
                    <a:pt x="67" y="132"/>
                    <a:pt x="67" y="131"/>
                  </a:cubicBezTo>
                  <a:cubicBezTo>
                    <a:pt x="64" y="130"/>
                    <a:pt x="63" y="131"/>
                    <a:pt x="64" y="133"/>
                  </a:cubicBezTo>
                  <a:cubicBezTo>
                    <a:pt x="65" y="135"/>
                    <a:pt x="66" y="138"/>
                    <a:pt x="65" y="139"/>
                  </a:cubicBezTo>
                  <a:cubicBezTo>
                    <a:pt x="64" y="141"/>
                    <a:pt x="63" y="141"/>
                    <a:pt x="62" y="141"/>
                  </a:cubicBezTo>
                  <a:cubicBezTo>
                    <a:pt x="61" y="142"/>
                    <a:pt x="60" y="142"/>
                    <a:pt x="59" y="143"/>
                  </a:cubicBezTo>
                  <a:cubicBezTo>
                    <a:pt x="58" y="144"/>
                    <a:pt x="57" y="145"/>
                    <a:pt x="56" y="146"/>
                  </a:cubicBezTo>
                  <a:cubicBezTo>
                    <a:pt x="54" y="149"/>
                    <a:pt x="53" y="151"/>
                    <a:pt x="50" y="153"/>
                  </a:cubicBezTo>
                  <a:cubicBezTo>
                    <a:pt x="49" y="154"/>
                    <a:pt x="49" y="154"/>
                    <a:pt x="49" y="155"/>
                  </a:cubicBezTo>
                  <a:cubicBezTo>
                    <a:pt x="48" y="157"/>
                    <a:pt x="49" y="159"/>
                    <a:pt x="49" y="161"/>
                  </a:cubicBezTo>
                  <a:cubicBezTo>
                    <a:pt x="49" y="160"/>
                    <a:pt x="50" y="159"/>
                    <a:pt x="50" y="158"/>
                  </a:cubicBezTo>
                  <a:cubicBezTo>
                    <a:pt x="51" y="157"/>
                    <a:pt x="50" y="156"/>
                    <a:pt x="49" y="155"/>
                  </a:cubicBezTo>
                  <a:cubicBezTo>
                    <a:pt x="47" y="154"/>
                    <a:pt x="47" y="154"/>
                    <a:pt x="45" y="154"/>
                  </a:cubicBezTo>
                  <a:cubicBezTo>
                    <a:pt x="44" y="154"/>
                    <a:pt x="43" y="153"/>
                    <a:pt x="42" y="154"/>
                  </a:cubicBezTo>
                  <a:cubicBezTo>
                    <a:pt x="41" y="154"/>
                    <a:pt x="40" y="154"/>
                    <a:pt x="39" y="154"/>
                  </a:cubicBezTo>
                  <a:cubicBezTo>
                    <a:pt x="38" y="154"/>
                    <a:pt x="37" y="154"/>
                    <a:pt x="36" y="154"/>
                  </a:cubicBezTo>
                  <a:cubicBezTo>
                    <a:pt x="35" y="154"/>
                    <a:pt x="35" y="154"/>
                    <a:pt x="34" y="155"/>
                  </a:cubicBezTo>
                  <a:cubicBezTo>
                    <a:pt x="33" y="155"/>
                    <a:pt x="29" y="156"/>
                    <a:pt x="28" y="155"/>
                  </a:cubicBezTo>
                  <a:cubicBezTo>
                    <a:pt x="27" y="154"/>
                    <a:pt x="28" y="153"/>
                    <a:pt x="27" y="153"/>
                  </a:cubicBezTo>
                  <a:cubicBezTo>
                    <a:pt x="27" y="152"/>
                    <a:pt x="26" y="151"/>
                    <a:pt x="25" y="151"/>
                  </a:cubicBezTo>
                  <a:cubicBezTo>
                    <a:pt x="21" y="149"/>
                    <a:pt x="18" y="147"/>
                    <a:pt x="14" y="147"/>
                  </a:cubicBezTo>
                  <a:cubicBezTo>
                    <a:pt x="11" y="147"/>
                    <a:pt x="11" y="146"/>
                    <a:pt x="10" y="144"/>
                  </a:cubicBezTo>
                  <a:cubicBezTo>
                    <a:pt x="8" y="143"/>
                    <a:pt x="5" y="142"/>
                    <a:pt x="7" y="139"/>
                  </a:cubicBezTo>
                  <a:cubicBezTo>
                    <a:pt x="7" y="139"/>
                    <a:pt x="7" y="138"/>
                    <a:pt x="8" y="137"/>
                  </a:cubicBezTo>
                  <a:cubicBezTo>
                    <a:pt x="8" y="137"/>
                    <a:pt x="9" y="137"/>
                    <a:pt x="10" y="137"/>
                  </a:cubicBezTo>
                  <a:cubicBezTo>
                    <a:pt x="10" y="136"/>
                    <a:pt x="11" y="136"/>
                    <a:pt x="10" y="135"/>
                  </a:cubicBezTo>
                  <a:cubicBezTo>
                    <a:pt x="10" y="135"/>
                    <a:pt x="10" y="134"/>
                    <a:pt x="9" y="134"/>
                  </a:cubicBezTo>
                  <a:cubicBezTo>
                    <a:pt x="9" y="134"/>
                    <a:pt x="9" y="134"/>
                    <a:pt x="9" y="133"/>
                  </a:cubicBezTo>
                  <a:cubicBezTo>
                    <a:pt x="8" y="132"/>
                    <a:pt x="8" y="130"/>
                    <a:pt x="9" y="129"/>
                  </a:cubicBezTo>
                  <a:cubicBezTo>
                    <a:pt x="9" y="127"/>
                    <a:pt x="10" y="126"/>
                    <a:pt x="12" y="125"/>
                  </a:cubicBezTo>
                  <a:cubicBezTo>
                    <a:pt x="13" y="125"/>
                    <a:pt x="14" y="124"/>
                    <a:pt x="15" y="125"/>
                  </a:cubicBezTo>
                  <a:cubicBezTo>
                    <a:pt x="16" y="125"/>
                    <a:pt x="16" y="125"/>
                    <a:pt x="16" y="126"/>
                  </a:cubicBezTo>
                  <a:cubicBezTo>
                    <a:pt x="17" y="126"/>
                    <a:pt x="18" y="127"/>
                    <a:pt x="19" y="128"/>
                  </a:cubicBezTo>
                  <a:cubicBezTo>
                    <a:pt x="20" y="128"/>
                    <a:pt x="21" y="128"/>
                    <a:pt x="22" y="128"/>
                  </a:cubicBezTo>
                  <a:cubicBezTo>
                    <a:pt x="22" y="128"/>
                    <a:pt x="22" y="128"/>
                    <a:pt x="23" y="128"/>
                  </a:cubicBezTo>
                  <a:cubicBezTo>
                    <a:pt x="23" y="128"/>
                    <a:pt x="24" y="130"/>
                    <a:pt x="24" y="130"/>
                  </a:cubicBezTo>
                  <a:cubicBezTo>
                    <a:pt x="26" y="132"/>
                    <a:pt x="28" y="133"/>
                    <a:pt x="30" y="132"/>
                  </a:cubicBezTo>
                  <a:cubicBezTo>
                    <a:pt x="32" y="132"/>
                    <a:pt x="32" y="132"/>
                    <a:pt x="33" y="133"/>
                  </a:cubicBezTo>
                  <a:cubicBezTo>
                    <a:pt x="34" y="135"/>
                    <a:pt x="35" y="137"/>
                    <a:pt x="37" y="135"/>
                  </a:cubicBezTo>
                  <a:cubicBezTo>
                    <a:pt x="38" y="134"/>
                    <a:pt x="38" y="133"/>
                    <a:pt x="40" y="132"/>
                  </a:cubicBezTo>
                  <a:cubicBezTo>
                    <a:pt x="40" y="132"/>
                    <a:pt x="41" y="132"/>
                    <a:pt x="42" y="132"/>
                  </a:cubicBezTo>
                  <a:cubicBezTo>
                    <a:pt x="42" y="130"/>
                    <a:pt x="41" y="128"/>
                    <a:pt x="42" y="127"/>
                  </a:cubicBezTo>
                  <a:cubicBezTo>
                    <a:pt x="43" y="126"/>
                    <a:pt x="46" y="124"/>
                    <a:pt x="47" y="125"/>
                  </a:cubicBezTo>
                  <a:cubicBezTo>
                    <a:pt x="48" y="125"/>
                    <a:pt x="48" y="126"/>
                    <a:pt x="49" y="127"/>
                  </a:cubicBezTo>
                  <a:cubicBezTo>
                    <a:pt x="49" y="125"/>
                    <a:pt x="48" y="120"/>
                    <a:pt x="49" y="119"/>
                  </a:cubicBezTo>
                  <a:cubicBezTo>
                    <a:pt x="50" y="119"/>
                    <a:pt x="52" y="121"/>
                    <a:pt x="52" y="121"/>
                  </a:cubicBezTo>
                  <a:cubicBezTo>
                    <a:pt x="54" y="123"/>
                    <a:pt x="54" y="123"/>
                    <a:pt x="56" y="124"/>
                  </a:cubicBezTo>
                  <a:cubicBezTo>
                    <a:pt x="57" y="124"/>
                    <a:pt x="57" y="125"/>
                    <a:pt x="58" y="125"/>
                  </a:cubicBezTo>
                  <a:cubicBezTo>
                    <a:pt x="58" y="124"/>
                    <a:pt x="58" y="123"/>
                    <a:pt x="58" y="123"/>
                  </a:cubicBezTo>
                  <a:cubicBezTo>
                    <a:pt x="57" y="121"/>
                    <a:pt x="52" y="119"/>
                    <a:pt x="51" y="119"/>
                  </a:cubicBezTo>
                  <a:cubicBezTo>
                    <a:pt x="50" y="117"/>
                    <a:pt x="48" y="115"/>
                    <a:pt x="46" y="113"/>
                  </a:cubicBezTo>
                  <a:cubicBezTo>
                    <a:pt x="44" y="112"/>
                    <a:pt x="44" y="111"/>
                    <a:pt x="44" y="109"/>
                  </a:cubicBezTo>
                  <a:cubicBezTo>
                    <a:pt x="44" y="106"/>
                    <a:pt x="44" y="106"/>
                    <a:pt x="41" y="104"/>
                  </a:cubicBezTo>
                  <a:cubicBezTo>
                    <a:pt x="39" y="104"/>
                    <a:pt x="38" y="104"/>
                    <a:pt x="36" y="103"/>
                  </a:cubicBezTo>
                  <a:cubicBezTo>
                    <a:pt x="35" y="103"/>
                    <a:pt x="35" y="103"/>
                    <a:pt x="34" y="102"/>
                  </a:cubicBezTo>
                  <a:cubicBezTo>
                    <a:pt x="33" y="102"/>
                    <a:pt x="31" y="102"/>
                    <a:pt x="29" y="102"/>
                  </a:cubicBezTo>
                  <a:cubicBezTo>
                    <a:pt x="28" y="102"/>
                    <a:pt x="27" y="103"/>
                    <a:pt x="26" y="103"/>
                  </a:cubicBezTo>
                  <a:cubicBezTo>
                    <a:pt x="25" y="103"/>
                    <a:pt x="23" y="101"/>
                    <a:pt x="22" y="100"/>
                  </a:cubicBezTo>
                  <a:cubicBezTo>
                    <a:pt x="21" y="100"/>
                    <a:pt x="18" y="98"/>
                    <a:pt x="18" y="98"/>
                  </a:cubicBezTo>
                  <a:cubicBezTo>
                    <a:pt x="18" y="97"/>
                    <a:pt x="18" y="96"/>
                    <a:pt x="18" y="96"/>
                  </a:cubicBezTo>
                  <a:cubicBezTo>
                    <a:pt x="18" y="93"/>
                    <a:pt x="17" y="77"/>
                    <a:pt x="13" y="78"/>
                  </a:cubicBezTo>
                  <a:cubicBezTo>
                    <a:pt x="12" y="80"/>
                    <a:pt x="13" y="82"/>
                    <a:pt x="13" y="84"/>
                  </a:cubicBezTo>
                  <a:cubicBezTo>
                    <a:pt x="13" y="82"/>
                    <a:pt x="12" y="77"/>
                    <a:pt x="14" y="76"/>
                  </a:cubicBezTo>
                  <a:cubicBezTo>
                    <a:pt x="14" y="75"/>
                    <a:pt x="16" y="75"/>
                    <a:pt x="15" y="73"/>
                  </a:cubicBezTo>
                  <a:cubicBezTo>
                    <a:pt x="14" y="71"/>
                    <a:pt x="11" y="71"/>
                    <a:pt x="10" y="68"/>
                  </a:cubicBezTo>
                  <a:cubicBezTo>
                    <a:pt x="9" y="67"/>
                    <a:pt x="10" y="65"/>
                    <a:pt x="10" y="64"/>
                  </a:cubicBezTo>
                  <a:cubicBezTo>
                    <a:pt x="10" y="63"/>
                    <a:pt x="10" y="62"/>
                    <a:pt x="10" y="61"/>
                  </a:cubicBezTo>
                  <a:cubicBezTo>
                    <a:pt x="9" y="58"/>
                    <a:pt x="5" y="58"/>
                    <a:pt x="3" y="56"/>
                  </a:cubicBezTo>
                  <a:cubicBezTo>
                    <a:pt x="2" y="55"/>
                    <a:pt x="2" y="55"/>
                    <a:pt x="2" y="53"/>
                  </a:cubicBezTo>
                  <a:cubicBezTo>
                    <a:pt x="1" y="52"/>
                    <a:pt x="0" y="51"/>
                    <a:pt x="1" y="50"/>
                  </a:cubicBezTo>
                  <a:cubicBezTo>
                    <a:pt x="2" y="49"/>
                    <a:pt x="3" y="49"/>
                    <a:pt x="4" y="50"/>
                  </a:cubicBezTo>
                  <a:cubicBezTo>
                    <a:pt x="5" y="51"/>
                    <a:pt x="6" y="53"/>
                    <a:pt x="7" y="54"/>
                  </a:cubicBezTo>
                  <a:cubicBezTo>
                    <a:pt x="9" y="55"/>
                    <a:pt x="10" y="50"/>
                    <a:pt x="11" y="49"/>
                  </a:cubicBezTo>
                  <a:cubicBezTo>
                    <a:pt x="13" y="46"/>
                    <a:pt x="16" y="51"/>
                    <a:pt x="18" y="50"/>
                  </a:cubicBezTo>
                  <a:cubicBezTo>
                    <a:pt x="21" y="50"/>
                    <a:pt x="23" y="45"/>
                    <a:pt x="25" y="43"/>
                  </a:cubicBezTo>
                  <a:cubicBezTo>
                    <a:pt x="27" y="42"/>
                    <a:pt x="28" y="41"/>
                    <a:pt x="30" y="41"/>
                  </a:cubicBezTo>
                  <a:cubicBezTo>
                    <a:pt x="31" y="40"/>
                    <a:pt x="35" y="40"/>
                    <a:pt x="34" y="37"/>
                  </a:cubicBezTo>
                  <a:cubicBezTo>
                    <a:pt x="34" y="36"/>
                    <a:pt x="33" y="36"/>
                    <a:pt x="32" y="35"/>
                  </a:cubicBezTo>
                  <a:cubicBezTo>
                    <a:pt x="31" y="35"/>
                    <a:pt x="30" y="34"/>
                    <a:pt x="28" y="33"/>
                  </a:cubicBezTo>
                  <a:cubicBezTo>
                    <a:pt x="26" y="31"/>
                    <a:pt x="24" y="31"/>
                    <a:pt x="21" y="30"/>
                  </a:cubicBezTo>
                  <a:cubicBezTo>
                    <a:pt x="20" y="29"/>
                    <a:pt x="20" y="29"/>
                    <a:pt x="20" y="28"/>
                  </a:cubicBezTo>
                  <a:cubicBezTo>
                    <a:pt x="23" y="27"/>
                    <a:pt x="25" y="29"/>
                    <a:pt x="28" y="30"/>
                  </a:cubicBezTo>
                  <a:cubicBezTo>
                    <a:pt x="30" y="31"/>
                    <a:pt x="32" y="31"/>
                    <a:pt x="34" y="31"/>
                  </a:cubicBezTo>
                  <a:cubicBezTo>
                    <a:pt x="35" y="30"/>
                    <a:pt x="36" y="30"/>
                    <a:pt x="36" y="29"/>
                  </a:cubicBezTo>
                  <a:cubicBezTo>
                    <a:pt x="40" y="28"/>
                    <a:pt x="45" y="28"/>
                    <a:pt x="48" y="28"/>
                  </a:cubicBezTo>
                  <a:cubicBezTo>
                    <a:pt x="49" y="30"/>
                    <a:pt x="50" y="34"/>
                    <a:pt x="49" y="35"/>
                  </a:cubicBezTo>
                  <a:cubicBezTo>
                    <a:pt x="49" y="36"/>
                    <a:pt x="46" y="36"/>
                    <a:pt x="46" y="37"/>
                  </a:cubicBezTo>
                  <a:cubicBezTo>
                    <a:pt x="45" y="39"/>
                    <a:pt x="46" y="41"/>
                    <a:pt x="46" y="43"/>
                  </a:cubicBezTo>
                  <a:lnTo>
                    <a:pt x="45" y="42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78" name="Freeform 108"/>
            <p:cNvSpPr>
              <a:spLocks/>
            </p:cNvSpPr>
            <p:nvPr/>
          </p:nvSpPr>
          <p:spPr bwMode="auto">
            <a:xfrm>
              <a:off x="4960938" y="3663950"/>
              <a:ext cx="55563" cy="58738"/>
            </a:xfrm>
            <a:custGeom>
              <a:avLst/>
              <a:gdLst/>
              <a:ahLst/>
              <a:cxnLst>
                <a:cxn ang="0">
                  <a:pos x="26" y="15"/>
                </a:cxn>
                <a:cxn ang="0">
                  <a:pos x="20" y="8"/>
                </a:cxn>
                <a:cxn ang="0">
                  <a:pos x="9" y="0"/>
                </a:cxn>
                <a:cxn ang="0">
                  <a:pos x="2" y="5"/>
                </a:cxn>
                <a:cxn ang="0">
                  <a:pos x="3" y="18"/>
                </a:cxn>
                <a:cxn ang="0">
                  <a:pos x="10" y="29"/>
                </a:cxn>
                <a:cxn ang="0">
                  <a:pos x="19" y="31"/>
                </a:cxn>
                <a:cxn ang="0">
                  <a:pos x="28" y="28"/>
                </a:cxn>
                <a:cxn ang="0">
                  <a:pos x="28" y="16"/>
                </a:cxn>
              </a:cxnLst>
              <a:rect l="0" t="0" r="r" b="b"/>
              <a:pathLst>
                <a:path w="30" h="32">
                  <a:moveTo>
                    <a:pt x="26" y="15"/>
                  </a:moveTo>
                  <a:cubicBezTo>
                    <a:pt x="25" y="12"/>
                    <a:pt x="22" y="10"/>
                    <a:pt x="20" y="8"/>
                  </a:cubicBezTo>
                  <a:cubicBezTo>
                    <a:pt x="17" y="5"/>
                    <a:pt x="13" y="0"/>
                    <a:pt x="9" y="0"/>
                  </a:cubicBezTo>
                  <a:cubicBezTo>
                    <a:pt x="7" y="0"/>
                    <a:pt x="3" y="3"/>
                    <a:pt x="2" y="5"/>
                  </a:cubicBezTo>
                  <a:cubicBezTo>
                    <a:pt x="0" y="8"/>
                    <a:pt x="2" y="15"/>
                    <a:pt x="3" y="18"/>
                  </a:cubicBezTo>
                  <a:cubicBezTo>
                    <a:pt x="5" y="22"/>
                    <a:pt x="7" y="26"/>
                    <a:pt x="10" y="29"/>
                  </a:cubicBezTo>
                  <a:cubicBezTo>
                    <a:pt x="12" y="32"/>
                    <a:pt x="15" y="32"/>
                    <a:pt x="19" y="31"/>
                  </a:cubicBezTo>
                  <a:cubicBezTo>
                    <a:pt x="22" y="31"/>
                    <a:pt x="27" y="31"/>
                    <a:pt x="28" y="28"/>
                  </a:cubicBezTo>
                  <a:cubicBezTo>
                    <a:pt x="30" y="26"/>
                    <a:pt x="30" y="18"/>
                    <a:pt x="28" y="16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9" name="Freeform 109"/>
            <p:cNvSpPr>
              <a:spLocks/>
            </p:cNvSpPr>
            <p:nvPr/>
          </p:nvSpPr>
          <p:spPr bwMode="auto">
            <a:xfrm>
              <a:off x="4075113" y="3727450"/>
              <a:ext cx="927100" cy="1235075"/>
            </a:xfrm>
            <a:custGeom>
              <a:avLst/>
              <a:gdLst/>
              <a:ahLst/>
              <a:cxnLst>
                <a:cxn ang="0">
                  <a:pos x="480" y="297"/>
                </a:cxn>
                <a:cxn ang="0">
                  <a:pos x="483" y="257"/>
                </a:cxn>
                <a:cxn ang="0">
                  <a:pos x="476" y="216"/>
                </a:cxn>
                <a:cxn ang="0">
                  <a:pos x="458" y="173"/>
                </a:cxn>
                <a:cxn ang="0">
                  <a:pos x="446" y="106"/>
                </a:cxn>
                <a:cxn ang="0">
                  <a:pos x="445" y="78"/>
                </a:cxn>
                <a:cxn ang="0">
                  <a:pos x="401" y="61"/>
                </a:cxn>
                <a:cxn ang="0">
                  <a:pos x="426" y="54"/>
                </a:cxn>
                <a:cxn ang="0">
                  <a:pos x="419" y="31"/>
                </a:cxn>
                <a:cxn ang="0">
                  <a:pos x="405" y="38"/>
                </a:cxn>
                <a:cxn ang="0">
                  <a:pos x="398" y="38"/>
                </a:cxn>
                <a:cxn ang="0">
                  <a:pos x="390" y="49"/>
                </a:cxn>
                <a:cxn ang="0">
                  <a:pos x="352" y="57"/>
                </a:cxn>
                <a:cxn ang="0">
                  <a:pos x="321" y="60"/>
                </a:cxn>
                <a:cxn ang="0">
                  <a:pos x="304" y="84"/>
                </a:cxn>
                <a:cxn ang="0">
                  <a:pos x="286" y="66"/>
                </a:cxn>
                <a:cxn ang="0">
                  <a:pos x="282" y="34"/>
                </a:cxn>
                <a:cxn ang="0">
                  <a:pos x="256" y="48"/>
                </a:cxn>
                <a:cxn ang="0">
                  <a:pos x="223" y="42"/>
                </a:cxn>
                <a:cxn ang="0">
                  <a:pos x="222" y="10"/>
                </a:cxn>
                <a:cxn ang="0">
                  <a:pos x="187" y="11"/>
                </a:cxn>
                <a:cxn ang="0">
                  <a:pos x="157" y="1"/>
                </a:cxn>
                <a:cxn ang="0">
                  <a:pos x="163" y="30"/>
                </a:cxn>
                <a:cxn ang="0">
                  <a:pos x="173" y="41"/>
                </a:cxn>
                <a:cxn ang="0">
                  <a:pos x="155" y="59"/>
                </a:cxn>
                <a:cxn ang="0">
                  <a:pos x="158" y="74"/>
                </a:cxn>
                <a:cxn ang="0">
                  <a:pos x="169" y="96"/>
                </a:cxn>
                <a:cxn ang="0">
                  <a:pos x="169" y="101"/>
                </a:cxn>
                <a:cxn ang="0">
                  <a:pos x="138" y="113"/>
                </a:cxn>
                <a:cxn ang="0">
                  <a:pos x="123" y="134"/>
                </a:cxn>
                <a:cxn ang="0">
                  <a:pos x="96" y="112"/>
                </a:cxn>
                <a:cxn ang="0">
                  <a:pos x="66" y="146"/>
                </a:cxn>
                <a:cxn ang="0">
                  <a:pos x="56" y="203"/>
                </a:cxn>
                <a:cxn ang="0">
                  <a:pos x="59" y="228"/>
                </a:cxn>
                <a:cxn ang="0">
                  <a:pos x="43" y="265"/>
                </a:cxn>
                <a:cxn ang="0">
                  <a:pos x="0" y="283"/>
                </a:cxn>
                <a:cxn ang="0">
                  <a:pos x="10" y="324"/>
                </a:cxn>
                <a:cxn ang="0">
                  <a:pos x="4" y="351"/>
                </a:cxn>
                <a:cxn ang="0">
                  <a:pos x="1" y="377"/>
                </a:cxn>
                <a:cxn ang="0">
                  <a:pos x="13" y="414"/>
                </a:cxn>
                <a:cxn ang="0">
                  <a:pos x="28" y="457"/>
                </a:cxn>
                <a:cxn ang="0">
                  <a:pos x="79" y="505"/>
                </a:cxn>
                <a:cxn ang="0">
                  <a:pos x="95" y="563"/>
                </a:cxn>
                <a:cxn ang="0">
                  <a:pos x="110" y="637"/>
                </a:cxn>
                <a:cxn ang="0">
                  <a:pos x="147" y="627"/>
                </a:cxn>
                <a:cxn ang="0">
                  <a:pos x="189" y="640"/>
                </a:cxn>
                <a:cxn ang="0">
                  <a:pos x="233" y="655"/>
                </a:cxn>
                <a:cxn ang="0">
                  <a:pos x="289" y="643"/>
                </a:cxn>
                <a:cxn ang="0">
                  <a:pos x="341" y="629"/>
                </a:cxn>
                <a:cxn ang="0">
                  <a:pos x="375" y="634"/>
                </a:cxn>
                <a:cxn ang="0">
                  <a:pos x="364" y="603"/>
                </a:cxn>
                <a:cxn ang="0">
                  <a:pos x="398" y="571"/>
                </a:cxn>
                <a:cxn ang="0">
                  <a:pos x="418" y="552"/>
                </a:cxn>
                <a:cxn ang="0">
                  <a:pos x="398" y="517"/>
                </a:cxn>
                <a:cxn ang="0">
                  <a:pos x="365" y="488"/>
                </a:cxn>
                <a:cxn ang="0">
                  <a:pos x="354" y="445"/>
                </a:cxn>
                <a:cxn ang="0">
                  <a:pos x="339" y="413"/>
                </a:cxn>
                <a:cxn ang="0">
                  <a:pos x="361" y="401"/>
                </a:cxn>
                <a:cxn ang="0">
                  <a:pos x="392" y="392"/>
                </a:cxn>
                <a:cxn ang="0">
                  <a:pos x="412" y="380"/>
                </a:cxn>
                <a:cxn ang="0">
                  <a:pos x="446" y="363"/>
                </a:cxn>
                <a:cxn ang="0">
                  <a:pos x="472" y="359"/>
                </a:cxn>
                <a:cxn ang="0">
                  <a:pos x="496" y="326"/>
                </a:cxn>
              </a:cxnLst>
              <a:rect l="0" t="0" r="r" b="b"/>
              <a:pathLst>
                <a:path w="496" h="661">
                  <a:moveTo>
                    <a:pt x="496" y="323"/>
                  </a:moveTo>
                  <a:cubicBezTo>
                    <a:pt x="495" y="322"/>
                    <a:pt x="495" y="321"/>
                    <a:pt x="494" y="320"/>
                  </a:cubicBezTo>
                  <a:cubicBezTo>
                    <a:pt x="494" y="319"/>
                    <a:pt x="493" y="318"/>
                    <a:pt x="492" y="317"/>
                  </a:cubicBezTo>
                  <a:cubicBezTo>
                    <a:pt x="492" y="317"/>
                    <a:pt x="491" y="317"/>
                    <a:pt x="491" y="316"/>
                  </a:cubicBezTo>
                  <a:cubicBezTo>
                    <a:pt x="491" y="316"/>
                    <a:pt x="491" y="315"/>
                    <a:pt x="490" y="314"/>
                  </a:cubicBezTo>
                  <a:cubicBezTo>
                    <a:pt x="490" y="312"/>
                    <a:pt x="490" y="311"/>
                    <a:pt x="489" y="309"/>
                  </a:cubicBezTo>
                  <a:cubicBezTo>
                    <a:pt x="488" y="308"/>
                    <a:pt x="488" y="308"/>
                    <a:pt x="487" y="307"/>
                  </a:cubicBezTo>
                  <a:cubicBezTo>
                    <a:pt x="486" y="306"/>
                    <a:pt x="484" y="306"/>
                    <a:pt x="483" y="305"/>
                  </a:cubicBezTo>
                  <a:cubicBezTo>
                    <a:pt x="482" y="304"/>
                    <a:pt x="481" y="303"/>
                    <a:pt x="479" y="302"/>
                  </a:cubicBezTo>
                  <a:cubicBezTo>
                    <a:pt x="478" y="301"/>
                    <a:pt x="478" y="301"/>
                    <a:pt x="478" y="301"/>
                  </a:cubicBezTo>
                  <a:cubicBezTo>
                    <a:pt x="477" y="300"/>
                    <a:pt x="476" y="299"/>
                    <a:pt x="477" y="298"/>
                  </a:cubicBezTo>
                  <a:cubicBezTo>
                    <a:pt x="478" y="298"/>
                    <a:pt x="479" y="298"/>
                    <a:pt x="479" y="297"/>
                  </a:cubicBezTo>
                  <a:cubicBezTo>
                    <a:pt x="479" y="297"/>
                    <a:pt x="480" y="297"/>
                    <a:pt x="480" y="297"/>
                  </a:cubicBezTo>
                  <a:cubicBezTo>
                    <a:pt x="480" y="296"/>
                    <a:pt x="481" y="296"/>
                    <a:pt x="481" y="295"/>
                  </a:cubicBezTo>
                  <a:cubicBezTo>
                    <a:pt x="481" y="293"/>
                    <a:pt x="480" y="291"/>
                    <a:pt x="480" y="289"/>
                  </a:cubicBezTo>
                  <a:cubicBezTo>
                    <a:pt x="480" y="290"/>
                    <a:pt x="479" y="288"/>
                    <a:pt x="479" y="288"/>
                  </a:cubicBezTo>
                  <a:cubicBezTo>
                    <a:pt x="479" y="288"/>
                    <a:pt x="478" y="288"/>
                    <a:pt x="478" y="287"/>
                  </a:cubicBezTo>
                  <a:cubicBezTo>
                    <a:pt x="478" y="287"/>
                    <a:pt x="478" y="286"/>
                    <a:pt x="478" y="286"/>
                  </a:cubicBezTo>
                  <a:cubicBezTo>
                    <a:pt x="477" y="284"/>
                    <a:pt x="475" y="282"/>
                    <a:pt x="474" y="280"/>
                  </a:cubicBezTo>
                  <a:cubicBezTo>
                    <a:pt x="475" y="279"/>
                    <a:pt x="476" y="278"/>
                    <a:pt x="477" y="278"/>
                  </a:cubicBezTo>
                  <a:cubicBezTo>
                    <a:pt x="476" y="278"/>
                    <a:pt x="475" y="279"/>
                    <a:pt x="474" y="278"/>
                  </a:cubicBezTo>
                  <a:cubicBezTo>
                    <a:pt x="474" y="277"/>
                    <a:pt x="474" y="274"/>
                    <a:pt x="474" y="273"/>
                  </a:cubicBezTo>
                  <a:cubicBezTo>
                    <a:pt x="474" y="270"/>
                    <a:pt x="473" y="269"/>
                    <a:pt x="477" y="268"/>
                  </a:cubicBezTo>
                  <a:cubicBezTo>
                    <a:pt x="479" y="268"/>
                    <a:pt x="481" y="268"/>
                    <a:pt x="482" y="266"/>
                  </a:cubicBezTo>
                  <a:cubicBezTo>
                    <a:pt x="482" y="265"/>
                    <a:pt x="482" y="265"/>
                    <a:pt x="482" y="265"/>
                  </a:cubicBezTo>
                  <a:cubicBezTo>
                    <a:pt x="482" y="262"/>
                    <a:pt x="482" y="260"/>
                    <a:pt x="483" y="257"/>
                  </a:cubicBezTo>
                  <a:cubicBezTo>
                    <a:pt x="483" y="254"/>
                    <a:pt x="485" y="251"/>
                    <a:pt x="482" y="249"/>
                  </a:cubicBezTo>
                  <a:cubicBezTo>
                    <a:pt x="482" y="248"/>
                    <a:pt x="479" y="247"/>
                    <a:pt x="479" y="246"/>
                  </a:cubicBezTo>
                  <a:cubicBezTo>
                    <a:pt x="478" y="245"/>
                    <a:pt x="479" y="245"/>
                    <a:pt x="479" y="244"/>
                  </a:cubicBezTo>
                  <a:cubicBezTo>
                    <a:pt x="479" y="243"/>
                    <a:pt x="478" y="242"/>
                    <a:pt x="478" y="240"/>
                  </a:cubicBezTo>
                  <a:cubicBezTo>
                    <a:pt x="478" y="240"/>
                    <a:pt x="478" y="238"/>
                    <a:pt x="478" y="238"/>
                  </a:cubicBezTo>
                  <a:cubicBezTo>
                    <a:pt x="477" y="237"/>
                    <a:pt x="476" y="237"/>
                    <a:pt x="476" y="237"/>
                  </a:cubicBezTo>
                  <a:cubicBezTo>
                    <a:pt x="476" y="237"/>
                    <a:pt x="476" y="236"/>
                    <a:pt x="475" y="236"/>
                  </a:cubicBezTo>
                  <a:cubicBezTo>
                    <a:pt x="475" y="236"/>
                    <a:pt x="475" y="236"/>
                    <a:pt x="474" y="235"/>
                  </a:cubicBezTo>
                  <a:cubicBezTo>
                    <a:pt x="474" y="234"/>
                    <a:pt x="473" y="231"/>
                    <a:pt x="473" y="230"/>
                  </a:cubicBezTo>
                  <a:cubicBezTo>
                    <a:pt x="473" y="228"/>
                    <a:pt x="473" y="227"/>
                    <a:pt x="473" y="225"/>
                  </a:cubicBezTo>
                  <a:cubicBezTo>
                    <a:pt x="472" y="223"/>
                    <a:pt x="472" y="224"/>
                    <a:pt x="473" y="223"/>
                  </a:cubicBezTo>
                  <a:cubicBezTo>
                    <a:pt x="474" y="221"/>
                    <a:pt x="475" y="221"/>
                    <a:pt x="475" y="219"/>
                  </a:cubicBezTo>
                  <a:cubicBezTo>
                    <a:pt x="476" y="218"/>
                    <a:pt x="476" y="217"/>
                    <a:pt x="476" y="216"/>
                  </a:cubicBezTo>
                  <a:cubicBezTo>
                    <a:pt x="476" y="215"/>
                    <a:pt x="477" y="213"/>
                    <a:pt x="477" y="212"/>
                  </a:cubicBezTo>
                  <a:cubicBezTo>
                    <a:pt x="476" y="209"/>
                    <a:pt x="472" y="209"/>
                    <a:pt x="470" y="206"/>
                  </a:cubicBezTo>
                  <a:cubicBezTo>
                    <a:pt x="470" y="206"/>
                    <a:pt x="470" y="205"/>
                    <a:pt x="470" y="205"/>
                  </a:cubicBezTo>
                  <a:cubicBezTo>
                    <a:pt x="469" y="203"/>
                    <a:pt x="469" y="201"/>
                    <a:pt x="467" y="200"/>
                  </a:cubicBezTo>
                  <a:cubicBezTo>
                    <a:pt x="466" y="198"/>
                    <a:pt x="465" y="198"/>
                    <a:pt x="464" y="197"/>
                  </a:cubicBezTo>
                  <a:cubicBezTo>
                    <a:pt x="463" y="196"/>
                    <a:pt x="462" y="196"/>
                    <a:pt x="461" y="195"/>
                  </a:cubicBezTo>
                  <a:cubicBezTo>
                    <a:pt x="459" y="194"/>
                    <a:pt x="458" y="193"/>
                    <a:pt x="457" y="191"/>
                  </a:cubicBezTo>
                  <a:cubicBezTo>
                    <a:pt x="456" y="190"/>
                    <a:pt x="455" y="189"/>
                    <a:pt x="453" y="188"/>
                  </a:cubicBezTo>
                  <a:cubicBezTo>
                    <a:pt x="453" y="187"/>
                    <a:pt x="451" y="187"/>
                    <a:pt x="451" y="185"/>
                  </a:cubicBezTo>
                  <a:cubicBezTo>
                    <a:pt x="451" y="185"/>
                    <a:pt x="452" y="184"/>
                    <a:pt x="452" y="184"/>
                  </a:cubicBezTo>
                  <a:cubicBezTo>
                    <a:pt x="452" y="184"/>
                    <a:pt x="452" y="183"/>
                    <a:pt x="452" y="183"/>
                  </a:cubicBezTo>
                  <a:cubicBezTo>
                    <a:pt x="453" y="181"/>
                    <a:pt x="454" y="179"/>
                    <a:pt x="455" y="177"/>
                  </a:cubicBezTo>
                  <a:cubicBezTo>
                    <a:pt x="456" y="176"/>
                    <a:pt x="457" y="175"/>
                    <a:pt x="458" y="173"/>
                  </a:cubicBezTo>
                  <a:cubicBezTo>
                    <a:pt x="458" y="172"/>
                    <a:pt x="459" y="171"/>
                    <a:pt x="459" y="170"/>
                  </a:cubicBezTo>
                  <a:cubicBezTo>
                    <a:pt x="460" y="169"/>
                    <a:pt x="461" y="169"/>
                    <a:pt x="461" y="169"/>
                  </a:cubicBezTo>
                  <a:cubicBezTo>
                    <a:pt x="462" y="168"/>
                    <a:pt x="463" y="165"/>
                    <a:pt x="464" y="164"/>
                  </a:cubicBezTo>
                  <a:cubicBezTo>
                    <a:pt x="466" y="162"/>
                    <a:pt x="467" y="161"/>
                    <a:pt x="468" y="158"/>
                  </a:cubicBezTo>
                  <a:cubicBezTo>
                    <a:pt x="469" y="156"/>
                    <a:pt x="469" y="154"/>
                    <a:pt x="469" y="151"/>
                  </a:cubicBezTo>
                  <a:cubicBezTo>
                    <a:pt x="469" y="149"/>
                    <a:pt x="470" y="145"/>
                    <a:pt x="469" y="143"/>
                  </a:cubicBezTo>
                  <a:cubicBezTo>
                    <a:pt x="468" y="140"/>
                    <a:pt x="466" y="137"/>
                    <a:pt x="465" y="135"/>
                  </a:cubicBezTo>
                  <a:cubicBezTo>
                    <a:pt x="463" y="130"/>
                    <a:pt x="462" y="126"/>
                    <a:pt x="460" y="121"/>
                  </a:cubicBezTo>
                  <a:cubicBezTo>
                    <a:pt x="460" y="119"/>
                    <a:pt x="459" y="116"/>
                    <a:pt x="459" y="114"/>
                  </a:cubicBezTo>
                  <a:cubicBezTo>
                    <a:pt x="458" y="112"/>
                    <a:pt x="459" y="109"/>
                    <a:pt x="459" y="107"/>
                  </a:cubicBezTo>
                  <a:cubicBezTo>
                    <a:pt x="459" y="106"/>
                    <a:pt x="458" y="101"/>
                    <a:pt x="457" y="102"/>
                  </a:cubicBezTo>
                  <a:cubicBezTo>
                    <a:pt x="456" y="103"/>
                    <a:pt x="454" y="106"/>
                    <a:pt x="452" y="106"/>
                  </a:cubicBezTo>
                  <a:cubicBezTo>
                    <a:pt x="450" y="107"/>
                    <a:pt x="447" y="106"/>
                    <a:pt x="446" y="106"/>
                  </a:cubicBezTo>
                  <a:cubicBezTo>
                    <a:pt x="445" y="105"/>
                    <a:pt x="444" y="104"/>
                    <a:pt x="443" y="103"/>
                  </a:cubicBezTo>
                  <a:cubicBezTo>
                    <a:pt x="441" y="102"/>
                    <a:pt x="438" y="101"/>
                    <a:pt x="437" y="100"/>
                  </a:cubicBezTo>
                  <a:cubicBezTo>
                    <a:pt x="437" y="100"/>
                    <a:pt x="437" y="99"/>
                    <a:pt x="437" y="98"/>
                  </a:cubicBezTo>
                  <a:cubicBezTo>
                    <a:pt x="437" y="98"/>
                    <a:pt x="436" y="97"/>
                    <a:pt x="436" y="96"/>
                  </a:cubicBezTo>
                  <a:cubicBezTo>
                    <a:pt x="439" y="94"/>
                    <a:pt x="442" y="95"/>
                    <a:pt x="445" y="95"/>
                  </a:cubicBezTo>
                  <a:cubicBezTo>
                    <a:pt x="447" y="95"/>
                    <a:pt x="448" y="94"/>
                    <a:pt x="450" y="94"/>
                  </a:cubicBezTo>
                  <a:cubicBezTo>
                    <a:pt x="451" y="93"/>
                    <a:pt x="452" y="93"/>
                    <a:pt x="453" y="93"/>
                  </a:cubicBezTo>
                  <a:cubicBezTo>
                    <a:pt x="454" y="93"/>
                    <a:pt x="455" y="93"/>
                    <a:pt x="456" y="93"/>
                  </a:cubicBezTo>
                  <a:cubicBezTo>
                    <a:pt x="456" y="92"/>
                    <a:pt x="455" y="92"/>
                    <a:pt x="455" y="91"/>
                  </a:cubicBezTo>
                  <a:cubicBezTo>
                    <a:pt x="454" y="90"/>
                    <a:pt x="454" y="90"/>
                    <a:pt x="454" y="89"/>
                  </a:cubicBezTo>
                  <a:cubicBezTo>
                    <a:pt x="453" y="88"/>
                    <a:pt x="452" y="87"/>
                    <a:pt x="451" y="86"/>
                  </a:cubicBezTo>
                  <a:cubicBezTo>
                    <a:pt x="450" y="84"/>
                    <a:pt x="449" y="83"/>
                    <a:pt x="448" y="81"/>
                  </a:cubicBezTo>
                  <a:cubicBezTo>
                    <a:pt x="447" y="80"/>
                    <a:pt x="446" y="80"/>
                    <a:pt x="445" y="78"/>
                  </a:cubicBezTo>
                  <a:cubicBezTo>
                    <a:pt x="443" y="76"/>
                    <a:pt x="440" y="74"/>
                    <a:pt x="438" y="72"/>
                  </a:cubicBezTo>
                  <a:cubicBezTo>
                    <a:pt x="437" y="72"/>
                    <a:pt x="436" y="71"/>
                    <a:pt x="434" y="71"/>
                  </a:cubicBezTo>
                  <a:cubicBezTo>
                    <a:pt x="434" y="69"/>
                    <a:pt x="426" y="67"/>
                    <a:pt x="426" y="70"/>
                  </a:cubicBezTo>
                  <a:cubicBezTo>
                    <a:pt x="427" y="72"/>
                    <a:pt x="431" y="73"/>
                    <a:pt x="431" y="75"/>
                  </a:cubicBezTo>
                  <a:cubicBezTo>
                    <a:pt x="431" y="77"/>
                    <a:pt x="428" y="75"/>
                    <a:pt x="427" y="74"/>
                  </a:cubicBezTo>
                  <a:cubicBezTo>
                    <a:pt x="425" y="73"/>
                    <a:pt x="424" y="73"/>
                    <a:pt x="422" y="73"/>
                  </a:cubicBezTo>
                  <a:cubicBezTo>
                    <a:pt x="421" y="72"/>
                    <a:pt x="421" y="72"/>
                    <a:pt x="420" y="72"/>
                  </a:cubicBezTo>
                  <a:cubicBezTo>
                    <a:pt x="418" y="71"/>
                    <a:pt x="418" y="72"/>
                    <a:pt x="416" y="72"/>
                  </a:cubicBezTo>
                  <a:cubicBezTo>
                    <a:pt x="415" y="72"/>
                    <a:pt x="413" y="72"/>
                    <a:pt x="412" y="71"/>
                  </a:cubicBezTo>
                  <a:cubicBezTo>
                    <a:pt x="410" y="70"/>
                    <a:pt x="410" y="69"/>
                    <a:pt x="409" y="67"/>
                  </a:cubicBezTo>
                  <a:cubicBezTo>
                    <a:pt x="408" y="66"/>
                    <a:pt x="405" y="65"/>
                    <a:pt x="404" y="63"/>
                  </a:cubicBezTo>
                  <a:cubicBezTo>
                    <a:pt x="403" y="63"/>
                    <a:pt x="403" y="61"/>
                    <a:pt x="402" y="61"/>
                  </a:cubicBezTo>
                  <a:cubicBezTo>
                    <a:pt x="402" y="61"/>
                    <a:pt x="401" y="61"/>
                    <a:pt x="401" y="61"/>
                  </a:cubicBezTo>
                  <a:cubicBezTo>
                    <a:pt x="399" y="61"/>
                    <a:pt x="398" y="60"/>
                    <a:pt x="397" y="60"/>
                  </a:cubicBezTo>
                  <a:cubicBezTo>
                    <a:pt x="396" y="59"/>
                    <a:pt x="396" y="59"/>
                    <a:pt x="395" y="59"/>
                  </a:cubicBezTo>
                  <a:cubicBezTo>
                    <a:pt x="394" y="58"/>
                    <a:pt x="394" y="58"/>
                    <a:pt x="396" y="56"/>
                  </a:cubicBezTo>
                  <a:cubicBezTo>
                    <a:pt x="397" y="55"/>
                    <a:pt x="397" y="55"/>
                    <a:pt x="399" y="55"/>
                  </a:cubicBezTo>
                  <a:cubicBezTo>
                    <a:pt x="399" y="58"/>
                    <a:pt x="403" y="57"/>
                    <a:pt x="405" y="57"/>
                  </a:cubicBezTo>
                  <a:cubicBezTo>
                    <a:pt x="406" y="59"/>
                    <a:pt x="405" y="61"/>
                    <a:pt x="407" y="62"/>
                  </a:cubicBezTo>
                  <a:cubicBezTo>
                    <a:pt x="409" y="63"/>
                    <a:pt x="410" y="61"/>
                    <a:pt x="410" y="59"/>
                  </a:cubicBezTo>
                  <a:cubicBezTo>
                    <a:pt x="410" y="59"/>
                    <a:pt x="410" y="58"/>
                    <a:pt x="410" y="57"/>
                  </a:cubicBezTo>
                  <a:cubicBezTo>
                    <a:pt x="410" y="56"/>
                    <a:pt x="410" y="56"/>
                    <a:pt x="410" y="55"/>
                  </a:cubicBezTo>
                  <a:cubicBezTo>
                    <a:pt x="410" y="53"/>
                    <a:pt x="409" y="51"/>
                    <a:pt x="411" y="50"/>
                  </a:cubicBezTo>
                  <a:cubicBezTo>
                    <a:pt x="413" y="50"/>
                    <a:pt x="413" y="52"/>
                    <a:pt x="415" y="52"/>
                  </a:cubicBezTo>
                  <a:cubicBezTo>
                    <a:pt x="416" y="52"/>
                    <a:pt x="416" y="50"/>
                    <a:pt x="418" y="50"/>
                  </a:cubicBezTo>
                  <a:cubicBezTo>
                    <a:pt x="421" y="50"/>
                    <a:pt x="423" y="53"/>
                    <a:pt x="426" y="54"/>
                  </a:cubicBezTo>
                  <a:cubicBezTo>
                    <a:pt x="429" y="55"/>
                    <a:pt x="429" y="53"/>
                    <a:pt x="429" y="50"/>
                  </a:cubicBezTo>
                  <a:cubicBezTo>
                    <a:pt x="428" y="50"/>
                    <a:pt x="427" y="50"/>
                    <a:pt x="425" y="49"/>
                  </a:cubicBezTo>
                  <a:cubicBezTo>
                    <a:pt x="424" y="49"/>
                    <a:pt x="424" y="48"/>
                    <a:pt x="424" y="47"/>
                  </a:cubicBezTo>
                  <a:cubicBezTo>
                    <a:pt x="422" y="46"/>
                    <a:pt x="420" y="46"/>
                    <a:pt x="419" y="46"/>
                  </a:cubicBezTo>
                  <a:cubicBezTo>
                    <a:pt x="418" y="45"/>
                    <a:pt x="417" y="45"/>
                    <a:pt x="416" y="44"/>
                  </a:cubicBezTo>
                  <a:cubicBezTo>
                    <a:pt x="415" y="44"/>
                    <a:pt x="413" y="43"/>
                    <a:pt x="414" y="42"/>
                  </a:cubicBezTo>
                  <a:cubicBezTo>
                    <a:pt x="415" y="41"/>
                    <a:pt x="418" y="40"/>
                    <a:pt x="419" y="40"/>
                  </a:cubicBezTo>
                  <a:cubicBezTo>
                    <a:pt x="419" y="39"/>
                    <a:pt x="419" y="39"/>
                    <a:pt x="420" y="39"/>
                  </a:cubicBezTo>
                  <a:cubicBezTo>
                    <a:pt x="420" y="38"/>
                    <a:pt x="420" y="38"/>
                    <a:pt x="420" y="37"/>
                  </a:cubicBezTo>
                  <a:cubicBezTo>
                    <a:pt x="420" y="36"/>
                    <a:pt x="421" y="36"/>
                    <a:pt x="422" y="36"/>
                  </a:cubicBezTo>
                  <a:cubicBezTo>
                    <a:pt x="424" y="35"/>
                    <a:pt x="425" y="36"/>
                    <a:pt x="425" y="34"/>
                  </a:cubicBezTo>
                  <a:cubicBezTo>
                    <a:pt x="425" y="33"/>
                    <a:pt x="425" y="32"/>
                    <a:pt x="424" y="31"/>
                  </a:cubicBezTo>
                  <a:cubicBezTo>
                    <a:pt x="422" y="31"/>
                    <a:pt x="421" y="31"/>
                    <a:pt x="419" y="31"/>
                  </a:cubicBezTo>
                  <a:cubicBezTo>
                    <a:pt x="418" y="32"/>
                    <a:pt x="417" y="32"/>
                    <a:pt x="416" y="32"/>
                  </a:cubicBezTo>
                  <a:cubicBezTo>
                    <a:pt x="415" y="32"/>
                    <a:pt x="415" y="31"/>
                    <a:pt x="414" y="31"/>
                  </a:cubicBezTo>
                  <a:cubicBezTo>
                    <a:pt x="414" y="31"/>
                    <a:pt x="414" y="31"/>
                    <a:pt x="413" y="31"/>
                  </a:cubicBezTo>
                  <a:cubicBezTo>
                    <a:pt x="413" y="31"/>
                    <a:pt x="413" y="30"/>
                    <a:pt x="413" y="30"/>
                  </a:cubicBezTo>
                  <a:cubicBezTo>
                    <a:pt x="412" y="30"/>
                    <a:pt x="411" y="30"/>
                    <a:pt x="410" y="30"/>
                  </a:cubicBezTo>
                  <a:cubicBezTo>
                    <a:pt x="410" y="31"/>
                    <a:pt x="410" y="32"/>
                    <a:pt x="410" y="33"/>
                  </a:cubicBezTo>
                  <a:cubicBezTo>
                    <a:pt x="412" y="33"/>
                    <a:pt x="413" y="34"/>
                    <a:pt x="414" y="35"/>
                  </a:cubicBezTo>
                  <a:cubicBezTo>
                    <a:pt x="416" y="35"/>
                    <a:pt x="419" y="35"/>
                    <a:pt x="419" y="36"/>
                  </a:cubicBezTo>
                  <a:cubicBezTo>
                    <a:pt x="418" y="37"/>
                    <a:pt x="417" y="38"/>
                    <a:pt x="416" y="38"/>
                  </a:cubicBezTo>
                  <a:cubicBezTo>
                    <a:pt x="416" y="38"/>
                    <a:pt x="415" y="38"/>
                    <a:pt x="414" y="38"/>
                  </a:cubicBezTo>
                  <a:cubicBezTo>
                    <a:pt x="413" y="38"/>
                    <a:pt x="411" y="40"/>
                    <a:pt x="410" y="39"/>
                  </a:cubicBezTo>
                  <a:cubicBezTo>
                    <a:pt x="409" y="39"/>
                    <a:pt x="409" y="37"/>
                    <a:pt x="408" y="37"/>
                  </a:cubicBezTo>
                  <a:cubicBezTo>
                    <a:pt x="406" y="36"/>
                    <a:pt x="406" y="37"/>
                    <a:pt x="405" y="38"/>
                  </a:cubicBezTo>
                  <a:cubicBezTo>
                    <a:pt x="404" y="36"/>
                    <a:pt x="402" y="33"/>
                    <a:pt x="404" y="31"/>
                  </a:cubicBezTo>
                  <a:cubicBezTo>
                    <a:pt x="404" y="31"/>
                    <a:pt x="404" y="30"/>
                    <a:pt x="405" y="30"/>
                  </a:cubicBezTo>
                  <a:cubicBezTo>
                    <a:pt x="405" y="30"/>
                    <a:pt x="406" y="30"/>
                    <a:pt x="406" y="30"/>
                  </a:cubicBezTo>
                  <a:cubicBezTo>
                    <a:pt x="407" y="30"/>
                    <a:pt x="408" y="29"/>
                    <a:pt x="408" y="29"/>
                  </a:cubicBezTo>
                  <a:cubicBezTo>
                    <a:pt x="409" y="28"/>
                    <a:pt x="408" y="28"/>
                    <a:pt x="407" y="27"/>
                  </a:cubicBezTo>
                  <a:cubicBezTo>
                    <a:pt x="407" y="27"/>
                    <a:pt x="408" y="27"/>
                    <a:pt x="408" y="26"/>
                  </a:cubicBezTo>
                  <a:cubicBezTo>
                    <a:pt x="408" y="25"/>
                    <a:pt x="409" y="24"/>
                    <a:pt x="408" y="23"/>
                  </a:cubicBezTo>
                  <a:cubicBezTo>
                    <a:pt x="406" y="22"/>
                    <a:pt x="403" y="23"/>
                    <a:pt x="402" y="24"/>
                  </a:cubicBezTo>
                  <a:cubicBezTo>
                    <a:pt x="401" y="26"/>
                    <a:pt x="401" y="27"/>
                    <a:pt x="401" y="28"/>
                  </a:cubicBezTo>
                  <a:cubicBezTo>
                    <a:pt x="401" y="29"/>
                    <a:pt x="401" y="29"/>
                    <a:pt x="401" y="30"/>
                  </a:cubicBezTo>
                  <a:cubicBezTo>
                    <a:pt x="401" y="30"/>
                    <a:pt x="401" y="30"/>
                    <a:pt x="400" y="30"/>
                  </a:cubicBezTo>
                  <a:cubicBezTo>
                    <a:pt x="400" y="30"/>
                    <a:pt x="400" y="31"/>
                    <a:pt x="399" y="31"/>
                  </a:cubicBezTo>
                  <a:cubicBezTo>
                    <a:pt x="398" y="33"/>
                    <a:pt x="397" y="36"/>
                    <a:pt x="398" y="38"/>
                  </a:cubicBezTo>
                  <a:cubicBezTo>
                    <a:pt x="400" y="37"/>
                    <a:pt x="401" y="38"/>
                    <a:pt x="403" y="38"/>
                  </a:cubicBezTo>
                  <a:cubicBezTo>
                    <a:pt x="403" y="39"/>
                    <a:pt x="403" y="40"/>
                    <a:pt x="403" y="40"/>
                  </a:cubicBezTo>
                  <a:cubicBezTo>
                    <a:pt x="404" y="41"/>
                    <a:pt x="404" y="41"/>
                    <a:pt x="403" y="42"/>
                  </a:cubicBezTo>
                  <a:cubicBezTo>
                    <a:pt x="402" y="42"/>
                    <a:pt x="401" y="41"/>
                    <a:pt x="401" y="43"/>
                  </a:cubicBezTo>
                  <a:cubicBezTo>
                    <a:pt x="401" y="43"/>
                    <a:pt x="401" y="45"/>
                    <a:pt x="401" y="45"/>
                  </a:cubicBezTo>
                  <a:cubicBezTo>
                    <a:pt x="401" y="46"/>
                    <a:pt x="402" y="46"/>
                    <a:pt x="402" y="46"/>
                  </a:cubicBezTo>
                  <a:cubicBezTo>
                    <a:pt x="403" y="47"/>
                    <a:pt x="404" y="47"/>
                    <a:pt x="404" y="48"/>
                  </a:cubicBezTo>
                  <a:cubicBezTo>
                    <a:pt x="405" y="49"/>
                    <a:pt x="405" y="48"/>
                    <a:pt x="405" y="49"/>
                  </a:cubicBezTo>
                  <a:cubicBezTo>
                    <a:pt x="405" y="51"/>
                    <a:pt x="401" y="51"/>
                    <a:pt x="401" y="49"/>
                  </a:cubicBezTo>
                  <a:cubicBezTo>
                    <a:pt x="399" y="49"/>
                    <a:pt x="399" y="50"/>
                    <a:pt x="398" y="51"/>
                  </a:cubicBezTo>
                  <a:cubicBezTo>
                    <a:pt x="398" y="51"/>
                    <a:pt x="397" y="54"/>
                    <a:pt x="397" y="54"/>
                  </a:cubicBezTo>
                  <a:cubicBezTo>
                    <a:pt x="395" y="55"/>
                    <a:pt x="391" y="54"/>
                    <a:pt x="390" y="53"/>
                  </a:cubicBezTo>
                  <a:cubicBezTo>
                    <a:pt x="389" y="52"/>
                    <a:pt x="390" y="50"/>
                    <a:pt x="390" y="49"/>
                  </a:cubicBezTo>
                  <a:cubicBezTo>
                    <a:pt x="389" y="48"/>
                    <a:pt x="389" y="46"/>
                    <a:pt x="388" y="45"/>
                  </a:cubicBezTo>
                  <a:cubicBezTo>
                    <a:pt x="387" y="44"/>
                    <a:pt x="387" y="44"/>
                    <a:pt x="386" y="45"/>
                  </a:cubicBezTo>
                  <a:cubicBezTo>
                    <a:pt x="385" y="45"/>
                    <a:pt x="385" y="46"/>
                    <a:pt x="384" y="47"/>
                  </a:cubicBezTo>
                  <a:cubicBezTo>
                    <a:pt x="382" y="50"/>
                    <a:pt x="377" y="49"/>
                    <a:pt x="373" y="49"/>
                  </a:cubicBezTo>
                  <a:cubicBezTo>
                    <a:pt x="372" y="49"/>
                    <a:pt x="372" y="49"/>
                    <a:pt x="371" y="48"/>
                  </a:cubicBezTo>
                  <a:cubicBezTo>
                    <a:pt x="371" y="48"/>
                    <a:pt x="371" y="48"/>
                    <a:pt x="370" y="48"/>
                  </a:cubicBezTo>
                  <a:cubicBezTo>
                    <a:pt x="369" y="47"/>
                    <a:pt x="370" y="48"/>
                    <a:pt x="369" y="48"/>
                  </a:cubicBezTo>
                  <a:cubicBezTo>
                    <a:pt x="368" y="48"/>
                    <a:pt x="366" y="49"/>
                    <a:pt x="366" y="49"/>
                  </a:cubicBezTo>
                  <a:cubicBezTo>
                    <a:pt x="365" y="49"/>
                    <a:pt x="364" y="49"/>
                    <a:pt x="363" y="49"/>
                  </a:cubicBezTo>
                  <a:cubicBezTo>
                    <a:pt x="362" y="50"/>
                    <a:pt x="363" y="50"/>
                    <a:pt x="362" y="50"/>
                  </a:cubicBezTo>
                  <a:cubicBezTo>
                    <a:pt x="360" y="51"/>
                    <a:pt x="360" y="51"/>
                    <a:pt x="360" y="53"/>
                  </a:cubicBezTo>
                  <a:cubicBezTo>
                    <a:pt x="359" y="54"/>
                    <a:pt x="360" y="57"/>
                    <a:pt x="358" y="56"/>
                  </a:cubicBezTo>
                  <a:cubicBezTo>
                    <a:pt x="358" y="58"/>
                    <a:pt x="353" y="57"/>
                    <a:pt x="352" y="57"/>
                  </a:cubicBezTo>
                  <a:cubicBezTo>
                    <a:pt x="350" y="58"/>
                    <a:pt x="350" y="59"/>
                    <a:pt x="348" y="59"/>
                  </a:cubicBezTo>
                  <a:cubicBezTo>
                    <a:pt x="347" y="59"/>
                    <a:pt x="346" y="59"/>
                    <a:pt x="345" y="58"/>
                  </a:cubicBezTo>
                  <a:cubicBezTo>
                    <a:pt x="344" y="58"/>
                    <a:pt x="344" y="57"/>
                    <a:pt x="343" y="57"/>
                  </a:cubicBezTo>
                  <a:cubicBezTo>
                    <a:pt x="342" y="59"/>
                    <a:pt x="341" y="61"/>
                    <a:pt x="340" y="60"/>
                  </a:cubicBezTo>
                  <a:cubicBezTo>
                    <a:pt x="339" y="60"/>
                    <a:pt x="338" y="58"/>
                    <a:pt x="337" y="59"/>
                  </a:cubicBezTo>
                  <a:cubicBezTo>
                    <a:pt x="337" y="59"/>
                    <a:pt x="336" y="60"/>
                    <a:pt x="335" y="60"/>
                  </a:cubicBezTo>
                  <a:cubicBezTo>
                    <a:pt x="335" y="61"/>
                    <a:pt x="335" y="61"/>
                    <a:pt x="334" y="62"/>
                  </a:cubicBezTo>
                  <a:cubicBezTo>
                    <a:pt x="332" y="63"/>
                    <a:pt x="331" y="65"/>
                    <a:pt x="329" y="64"/>
                  </a:cubicBezTo>
                  <a:cubicBezTo>
                    <a:pt x="328" y="64"/>
                    <a:pt x="328" y="64"/>
                    <a:pt x="328" y="63"/>
                  </a:cubicBezTo>
                  <a:cubicBezTo>
                    <a:pt x="328" y="62"/>
                    <a:pt x="327" y="62"/>
                    <a:pt x="327" y="61"/>
                  </a:cubicBezTo>
                  <a:cubicBezTo>
                    <a:pt x="325" y="61"/>
                    <a:pt x="325" y="60"/>
                    <a:pt x="323" y="60"/>
                  </a:cubicBezTo>
                  <a:cubicBezTo>
                    <a:pt x="323" y="60"/>
                    <a:pt x="322" y="60"/>
                    <a:pt x="322" y="60"/>
                  </a:cubicBezTo>
                  <a:cubicBezTo>
                    <a:pt x="322" y="60"/>
                    <a:pt x="321" y="60"/>
                    <a:pt x="321" y="60"/>
                  </a:cubicBezTo>
                  <a:cubicBezTo>
                    <a:pt x="320" y="61"/>
                    <a:pt x="319" y="61"/>
                    <a:pt x="318" y="62"/>
                  </a:cubicBezTo>
                  <a:cubicBezTo>
                    <a:pt x="317" y="63"/>
                    <a:pt x="316" y="65"/>
                    <a:pt x="317" y="67"/>
                  </a:cubicBezTo>
                  <a:cubicBezTo>
                    <a:pt x="317" y="68"/>
                    <a:pt x="319" y="69"/>
                    <a:pt x="318" y="70"/>
                  </a:cubicBezTo>
                  <a:cubicBezTo>
                    <a:pt x="318" y="70"/>
                    <a:pt x="317" y="71"/>
                    <a:pt x="316" y="71"/>
                  </a:cubicBezTo>
                  <a:cubicBezTo>
                    <a:pt x="316" y="72"/>
                    <a:pt x="315" y="73"/>
                    <a:pt x="315" y="73"/>
                  </a:cubicBezTo>
                  <a:cubicBezTo>
                    <a:pt x="314" y="74"/>
                    <a:pt x="314" y="74"/>
                    <a:pt x="312" y="74"/>
                  </a:cubicBezTo>
                  <a:cubicBezTo>
                    <a:pt x="310" y="75"/>
                    <a:pt x="309" y="76"/>
                    <a:pt x="308" y="77"/>
                  </a:cubicBezTo>
                  <a:cubicBezTo>
                    <a:pt x="308" y="78"/>
                    <a:pt x="307" y="78"/>
                    <a:pt x="308" y="79"/>
                  </a:cubicBezTo>
                  <a:cubicBezTo>
                    <a:pt x="308" y="80"/>
                    <a:pt x="311" y="80"/>
                    <a:pt x="311" y="80"/>
                  </a:cubicBezTo>
                  <a:cubicBezTo>
                    <a:pt x="311" y="81"/>
                    <a:pt x="311" y="82"/>
                    <a:pt x="310" y="83"/>
                  </a:cubicBezTo>
                  <a:cubicBezTo>
                    <a:pt x="309" y="83"/>
                    <a:pt x="308" y="83"/>
                    <a:pt x="307" y="83"/>
                  </a:cubicBezTo>
                  <a:cubicBezTo>
                    <a:pt x="306" y="83"/>
                    <a:pt x="305" y="82"/>
                    <a:pt x="304" y="83"/>
                  </a:cubicBezTo>
                  <a:cubicBezTo>
                    <a:pt x="304" y="83"/>
                    <a:pt x="304" y="84"/>
                    <a:pt x="304" y="84"/>
                  </a:cubicBezTo>
                  <a:cubicBezTo>
                    <a:pt x="303" y="84"/>
                    <a:pt x="303" y="84"/>
                    <a:pt x="303" y="84"/>
                  </a:cubicBezTo>
                  <a:cubicBezTo>
                    <a:pt x="302" y="84"/>
                    <a:pt x="302" y="84"/>
                    <a:pt x="301" y="85"/>
                  </a:cubicBezTo>
                  <a:cubicBezTo>
                    <a:pt x="301" y="85"/>
                    <a:pt x="300" y="86"/>
                    <a:pt x="299" y="87"/>
                  </a:cubicBezTo>
                  <a:cubicBezTo>
                    <a:pt x="298" y="87"/>
                    <a:pt x="296" y="87"/>
                    <a:pt x="295" y="85"/>
                  </a:cubicBezTo>
                  <a:cubicBezTo>
                    <a:pt x="292" y="83"/>
                    <a:pt x="289" y="80"/>
                    <a:pt x="285" y="80"/>
                  </a:cubicBezTo>
                  <a:cubicBezTo>
                    <a:pt x="283" y="79"/>
                    <a:pt x="283" y="80"/>
                    <a:pt x="281" y="80"/>
                  </a:cubicBezTo>
                  <a:cubicBezTo>
                    <a:pt x="278" y="81"/>
                    <a:pt x="275" y="78"/>
                    <a:pt x="272" y="78"/>
                  </a:cubicBezTo>
                  <a:cubicBezTo>
                    <a:pt x="272" y="77"/>
                    <a:pt x="273" y="76"/>
                    <a:pt x="273" y="76"/>
                  </a:cubicBezTo>
                  <a:cubicBezTo>
                    <a:pt x="274" y="75"/>
                    <a:pt x="275" y="75"/>
                    <a:pt x="275" y="75"/>
                  </a:cubicBezTo>
                  <a:cubicBezTo>
                    <a:pt x="275" y="75"/>
                    <a:pt x="276" y="73"/>
                    <a:pt x="276" y="73"/>
                  </a:cubicBezTo>
                  <a:cubicBezTo>
                    <a:pt x="278" y="71"/>
                    <a:pt x="280" y="70"/>
                    <a:pt x="281" y="69"/>
                  </a:cubicBezTo>
                  <a:cubicBezTo>
                    <a:pt x="282" y="68"/>
                    <a:pt x="282" y="68"/>
                    <a:pt x="283" y="67"/>
                  </a:cubicBezTo>
                  <a:cubicBezTo>
                    <a:pt x="284" y="66"/>
                    <a:pt x="285" y="67"/>
                    <a:pt x="286" y="66"/>
                  </a:cubicBezTo>
                  <a:cubicBezTo>
                    <a:pt x="288" y="65"/>
                    <a:pt x="286" y="63"/>
                    <a:pt x="285" y="61"/>
                  </a:cubicBezTo>
                  <a:cubicBezTo>
                    <a:pt x="284" y="61"/>
                    <a:pt x="284" y="61"/>
                    <a:pt x="284" y="59"/>
                  </a:cubicBezTo>
                  <a:cubicBezTo>
                    <a:pt x="284" y="59"/>
                    <a:pt x="284" y="57"/>
                    <a:pt x="284" y="57"/>
                  </a:cubicBezTo>
                  <a:cubicBezTo>
                    <a:pt x="285" y="54"/>
                    <a:pt x="284" y="50"/>
                    <a:pt x="285" y="48"/>
                  </a:cubicBezTo>
                  <a:cubicBezTo>
                    <a:pt x="286" y="47"/>
                    <a:pt x="289" y="48"/>
                    <a:pt x="290" y="48"/>
                  </a:cubicBezTo>
                  <a:cubicBezTo>
                    <a:pt x="292" y="48"/>
                    <a:pt x="294" y="48"/>
                    <a:pt x="295" y="48"/>
                  </a:cubicBezTo>
                  <a:cubicBezTo>
                    <a:pt x="298" y="47"/>
                    <a:pt x="298" y="46"/>
                    <a:pt x="297" y="43"/>
                  </a:cubicBezTo>
                  <a:cubicBezTo>
                    <a:pt x="296" y="43"/>
                    <a:pt x="296" y="42"/>
                    <a:pt x="295" y="42"/>
                  </a:cubicBezTo>
                  <a:cubicBezTo>
                    <a:pt x="295" y="40"/>
                    <a:pt x="294" y="40"/>
                    <a:pt x="293" y="38"/>
                  </a:cubicBezTo>
                  <a:cubicBezTo>
                    <a:pt x="293" y="37"/>
                    <a:pt x="292" y="35"/>
                    <a:pt x="291" y="35"/>
                  </a:cubicBezTo>
                  <a:cubicBezTo>
                    <a:pt x="291" y="34"/>
                    <a:pt x="289" y="35"/>
                    <a:pt x="288" y="34"/>
                  </a:cubicBezTo>
                  <a:cubicBezTo>
                    <a:pt x="288" y="34"/>
                    <a:pt x="287" y="34"/>
                    <a:pt x="286" y="34"/>
                  </a:cubicBezTo>
                  <a:cubicBezTo>
                    <a:pt x="285" y="34"/>
                    <a:pt x="283" y="34"/>
                    <a:pt x="282" y="34"/>
                  </a:cubicBezTo>
                  <a:cubicBezTo>
                    <a:pt x="281" y="35"/>
                    <a:pt x="280" y="35"/>
                    <a:pt x="280" y="36"/>
                  </a:cubicBezTo>
                  <a:cubicBezTo>
                    <a:pt x="279" y="38"/>
                    <a:pt x="278" y="39"/>
                    <a:pt x="278" y="41"/>
                  </a:cubicBezTo>
                  <a:cubicBezTo>
                    <a:pt x="278" y="42"/>
                    <a:pt x="279" y="43"/>
                    <a:pt x="280" y="43"/>
                  </a:cubicBezTo>
                  <a:cubicBezTo>
                    <a:pt x="281" y="44"/>
                    <a:pt x="284" y="46"/>
                    <a:pt x="285" y="46"/>
                  </a:cubicBezTo>
                  <a:cubicBezTo>
                    <a:pt x="285" y="48"/>
                    <a:pt x="285" y="46"/>
                    <a:pt x="284" y="48"/>
                  </a:cubicBezTo>
                  <a:cubicBezTo>
                    <a:pt x="284" y="48"/>
                    <a:pt x="284" y="50"/>
                    <a:pt x="283" y="50"/>
                  </a:cubicBezTo>
                  <a:cubicBezTo>
                    <a:pt x="283" y="52"/>
                    <a:pt x="280" y="50"/>
                    <a:pt x="279" y="50"/>
                  </a:cubicBezTo>
                  <a:cubicBezTo>
                    <a:pt x="277" y="50"/>
                    <a:pt x="275" y="50"/>
                    <a:pt x="273" y="51"/>
                  </a:cubicBezTo>
                  <a:cubicBezTo>
                    <a:pt x="272" y="52"/>
                    <a:pt x="271" y="52"/>
                    <a:pt x="270" y="53"/>
                  </a:cubicBezTo>
                  <a:cubicBezTo>
                    <a:pt x="268" y="54"/>
                    <a:pt x="268" y="55"/>
                    <a:pt x="266" y="55"/>
                  </a:cubicBezTo>
                  <a:cubicBezTo>
                    <a:pt x="264" y="55"/>
                    <a:pt x="262" y="55"/>
                    <a:pt x="262" y="53"/>
                  </a:cubicBezTo>
                  <a:cubicBezTo>
                    <a:pt x="262" y="51"/>
                    <a:pt x="262" y="49"/>
                    <a:pt x="260" y="48"/>
                  </a:cubicBezTo>
                  <a:cubicBezTo>
                    <a:pt x="259" y="48"/>
                    <a:pt x="257" y="48"/>
                    <a:pt x="256" y="48"/>
                  </a:cubicBezTo>
                  <a:cubicBezTo>
                    <a:pt x="254" y="48"/>
                    <a:pt x="253" y="49"/>
                    <a:pt x="252" y="48"/>
                  </a:cubicBezTo>
                  <a:cubicBezTo>
                    <a:pt x="251" y="47"/>
                    <a:pt x="251" y="46"/>
                    <a:pt x="249" y="46"/>
                  </a:cubicBezTo>
                  <a:cubicBezTo>
                    <a:pt x="248" y="46"/>
                    <a:pt x="247" y="46"/>
                    <a:pt x="245" y="46"/>
                  </a:cubicBezTo>
                  <a:cubicBezTo>
                    <a:pt x="245" y="46"/>
                    <a:pt x="244" y="46"/>
                    <a:pt x="244" y="45"/>
                  </a:cubicBezTo>
                  <a:cubicBezTo>
                    <a:pt x="243" y="45"/>
                    <a:pt x="242" y="45"/>
                    <a:pt x="242" y="46"/>
                  </a:cubicBezTo>
                  <a:cubicBezTo>
                    <a:pt x="241" y="46"/>
                    <a:pt x="242" y="47"/>
                    <a:pt x="241" y="47"/>
                  </a:cubicBezTo>
                  <a:cubicBezTo>
                    <a:pt x="240" y="48"/>
                    <a:pt x="240" y="48"/>
                    <a:pt x="239" y="48"/>
                  </a:cubicBezTo>
                  <a:cubicBezTo>
                    <a:pt x="238" y="49"/>
                    <a:pt x="236" y="50"/>
                    <a:pt x="235" y="48"/>
                  </a:cubicBezTo>
                  <a:cubicBezTo>
                    <a:pt x="235" y="48"/>
                    <a:pt x="236" y="46"/>
                    <a:pt x="236" y="46"/>
                  </a:cubicBezTo>
                  <a:cubicBezTo>
                    <a:pt x="236" y="44"/>
                    <a:pt x="236" y="42"/>
                    <a:pt x="234" y="41"/>
                  </a:cubicBezTo>
                  <a:cubicBezTo>
                    <a:pt x="232" y="41"/>
                    <a:pt x="232" y="42"/>
                    <a:pt x="230" y="42"/>
                  </a:cubicBezTo>
                  <a:cubicBezTo>
                    <a:pt x="229" y="42"/>
                    <a:pt x="229" y="42"/>
                    <a:pt x="228" y="42"/>
                  </a:cubicBezTo>
                  <a:cubicBezTo>
                    <a:pt x="226" y="42"/>
                    <a:pt x="224" y="41"/>
                    <a:pt x="223" y="42"/>
                  </a:cubicBezTo>
                  <a:cubicBezTo>
                    <a:pt x="222" y="42"/>
                    <a:pt x="222" y="43"/>
                    <a:pt x="220" y="43"/>
                  </a:cubicBezTo>
                  <a:cubicBezTo>
                    <a:pt x="219" y="44"/>
                    <a:pt x="218" y="44"/>
                    <a:pt x="217" y="43"/>
                  </a:cubicBezTo>
                  <a:cubicBezTo>
                    <a:pt x="218" y="42"/>
                    <a:pt x="218" y="40"/>
                    <a:pt x="220" y="38"/>
                  </a:cubicBezTo>
                  <a:cubicBezTo>
                    <a:pt x="221" y="38"/>
                    <a:pt x="222" y="37"/>
                    <a:pt x="223" y="37"/>
                  </a:cubicBezTo>
                  <a:cubicBezTo>
                    <a:pt x="223" y="37"/>
                    <a:pt x="225" y="36"/>
                    <a:pt x="225" y="36"/>
                  </a:cubicBezTo>
                  <a:cubicBezTo>
                    <a:pt x="225" y="36"/>
                    <a:pt x="225" y="34"/>
                    <a:pt x="225" y="34"/>
                  </a:cubicBezTo>
                  <a:cubicBezTo>
                    <a:pt x="225" y="32"/>
                    <a:pt x="225" y="31"/>
                    <a:pt x="225" y="30"/>
                  </a:cubicBezTo>
                  <a:cubicBezTo>
                    <a:pt x="225" y="29"/>
                    <a:pt x="226" y="27"/>
                    <a:pt x="226" y="26"/>
                  </a:cubicBezTo>
                  <a:cubicBezTo>
                    <a:pt x="225" y="25"/>
                    <a:pt x="224" y="25"/>
                    <a:pt x="224" y="24"/>
                  </a:cubicBezTo>
                  <a:cubicBezTo>
                    <a:pt x="224" y="23"/>
                    <a:pt x="224" y="23"/>
                    <a:pt x="225" y="22"/>
                  </a:cubicBezTo>
                  <a:cubicBezTo>
                    <a:pt x="225" y="21"/>
                    <a:pt x="224" y="20"/>
                    <a:pt x="222" y="20"/>
                  </a:cubicBezTo>
                  <a:cubicBezTo>
                    <a:pt x="222" y="18"/>
                    <a:pt x="224" y="16"/>
                    <a:pt x="224" y="14"/>
                  </a:cubicBezTo>
                  <a:cubicBezTo>
                    <a:pt x="224" y="13"/>
                    <a:pt x="223" y="10"/>
                    <a:pt x="222" y="10"/>
                  </a:cubicBezTo>
                  <a:cubicBezTo>
                    <a:pt x="221" y="9"/>
                    <a:pt x="219" y="11"/>
                    <a:pt x="218" y="11"/>
                  </a:cubicBezTo>
                  <a:cubicBezTo>
                    <a:pt x="217" y="12"/>
                    <a:pt x="217" y="13"/>
                    <a:pt x="216" y="13"/>
                  </a:cubicBezTo>
                  <a:cubicBezTo>
                    <a:pt x="215" y="13"/>
                    <a:pt x="214" y="12"/>
                    <a:pt x="213" y="12"/>
                  </a:cubicBezTo>
                  <a:cubicBezTo>
                    <a:pt x="212" y="11"/>
                    <a:pt x="212" y="11"/>
                    <a:pt x="211" y="10"/>
                  </a:cubicBezTo>
                  <a:cubicBezTo>
                    <a:pt x="209" y="9"/>
                    <a:pt x="208" y="9"/>
                    <a:pt x="206" y="9"/>
                  </a:cubicBezTo>
                  <a:cubicBezTo>
                    <a:pt x="204" y="9"/>
                    <a:pt x="204" y="8"/>
                    <a:pt x="203" y="6"/>
                  </a:cubicBezTo>
                  <a:cubicBezTo>
                    <a:pt x="202" y="6"/>
                    <a:pt x="201" y="5"/>
                    <a:pt x="200" y="5"/>
                  </a:cubicBezTo>
                  <a:cubicBezTo>
                    <a:pt x="199" y="5"/>
                    <a:pt x="199" y="5"/>
                    <a:pt x="198" y="5"/>
                  </a:cubicBezTo>
                  <a:cubicBezTo>
                    <a:pt x="198" y="5"/>
                    <a:pt x="197" y="5"/>
                    <a:pt x="196" y="5"/>
                  </a:cubicBezTo>
                  <a:cubicBezTo>
                    <a:pt x="196" y="5"/>
                    <a:pt x="195" y="4"/>
                    <a:pt x="194" y="5"/>
                  </a:cubicBezTo>
                  <a:cubicBezTo>
                    <a:pt x="193" y="5"/>
                    <a:pt x="193" y="6"/>
                    <a:pt x="192" y="7"/>
                  </a:cubicBezTo>
                  <a:cubicBezTo>
                    <a:pt x="191" y="8"/>
                    <a:pt x="191" y="8"/>
                    <a:pt x="189" y="8"/>
                  </a:cubicBezTo>
                  <a:cubicBezTo>
                    <a:pt x="188" y="9"/>
                    <a:pt x="188" y="10"/>
                    <a:pt x="187" y="11"/>
                  </a:cubicBezTo>
                  <a:cubicBezTo>
                    <a:pt x="186" y="11"/>
                    <a:pt x="185" y="11"/>
                    <a:pt x="184" y="11"/>
                  </a:cubicBezTo>
                  <a:cubicBezTo>
                    <a:pt x="182" y="11"/>
                    <a:pt x="181" y="11"/>
                    <a:pt x="181" y="9"/>
                  </a:cubicBezTo>
                  <a:cubicBezTo>
                    <a:pt x="181" y="7"/>
                    <a:pt x="181" y="6"/>
                    <a:pt x="180" y="5"/>
                  </a:cubicBezTo>
                  <a:cubicBezTo>
                    <a:pt x="180" y="5"/>
                    <a:pt x="180" y="5"/>
                    <a:pt x="180" y="4"/>
                  </a:cubicBezTo>
                  <a:cubicBezTo>
                    <a:pt x="180" y="4"/>
                    <a:pt x="179" y="4"/>
                    <a:pt x="180" y="3"/>
                  </a:cubicBezTo>
                  <a:cubicBezTo>
                    <a:pt x="179" y="3"/>
                    <a:pt x="179" y="2"/>
                    <a:pt x="179" y="1"/>
                  </a:cubicBezTo>
                  <a:cubicBezTo>
                    <a:pt x="178" y="1"/>
                    <a:pt x="176" y="1"/>
                    <a:pt x="176" y="1"/>
                  </a:cubicBezTo>
                  <a:cubicBezTo>
                    <a:pt x="175" y="2"/>
                    <a:pt x="175" y="2"/>
                    <a:pt x="175" y="3"/>
                  </a:cubicBezTo>
                  <a:cubicBezTo>
                    <a:pt x="174" y="3"/>
                    <a:pt x="173" y="3"/>
                    <a:pt x="173" y="3"/>
                  </a:cubicBezTo>
                  <a:cubicBezTo>
                    <a:pt x="172" y="3"/>
                    <a:pt x="170" y="3"/>
                    <a:pt x="169" y="3"/>
                  </a:cubicBezTo>
                  <a:cubicBezTo>
                    <a:pt x="168" y="3"/>
                    <a:pt x="167" y="2"/>
                    <a:pt x="166" y="1"/>
                  </a:cubicBezTo>
                  <a:cubicBezTo>
                    <a:pt x="165" y="1"/>
                    <a:pt x="163" y="1"/>
                    <a:pt x="162" y="1"/>
                  </a:cubicBezTo>
                  <a:cubicBezTo>
                    <a:pt x="160" y="1"/>
                    <a:pt x="158" y="1"/>
                    <a:pt x="157" y="1"/>
                  </a:cubicBezTo>
                  <a:cubicBezTo>
                    <a:pt x="154" y="1"/>
                    <a:pt x="152" y="0"/>
                    <a:pt x="149" y="0"/>
                  </a:cubicBezTo>
                  <a:cubicBezTo>
                    <a:pt x="149" y="2"/>
                    <a:pt x="148" y="4"/>
                    <a:pt x="148" y="7"/>
                  </a:cubicBezTo>
                  <a:cubicBezTo>
                    <a:pt x="148" y="8"/>
                    <a:pt x="149" y="9"/>
                    <a:pt x="149" y="10"/>
                  </a:cubicBezTo>
                  <a:cubicBezTo>
                    <a:pt x="150" y="11"/>
                    <a:pt x="151" y="9"/>
                    <a:pt x="153" y="9"/>
                  </a:cubicBezTo>
                  <a:cubicBezTo>
                    <a:pt x="153" y="11"/>
                    <a:pt x="152" y="12"/>
                    <a:pt x="152" y="13"/>
                  </a:cubicBezTo>
                  <a:cubicBezTo>
                    <a:pt x="152" y="14"/>
                    <a:pt x="153" y="14"/>
                    <a:pt x="153" y="14"/>
                  </a:cubicBezTo>
                  <a:cubicBezTo>
                    <a:pt x="153" y="14"/>
                    <a:pt x="153" y="16"/>
                    <a:pt x="154" y="17"/>
                  </a:cubicBezTo>
                  <a:cubicBezTo>
                    <a:pt x="154" y="17"/>
                    <a:pt x="153" y="18"/>
                    <a:pt x="154" y="18"/>
                  </a:cubicBezTo>
                  <a:cubicBezTo>
                    <a:pt x="154" y="19"/>
                    <a:pt x="156" y="20"/>
                    <a:pt x="156" y="21"/>
                  </a:cubicBezTo>
                  <a:cubicBezTo>
                    <a:pt x="157" y="22"/>
                    <a:pt x="158" y="25"/>
                    <a:pt x="160" y="25"/>
                  </a:cubicBezTo>
                  <a:cubicBezTo>
                    <a:pt x="160" y="25"/>
                    <a:pt x="161" y="25"/>
                    <a:pt x="161" y="24"/>
                  </a:cubicBezTo>
                  <a:cubicBezTo>
                    <a:pt x="161" y="25"/>
                    <a:pt x="161" y="26"/>
                    <a:pt x="161" y="27"/>
                  </a:cubicBezTo>
                  <a:cubicBezTo>
                    <a:pt x="163" y="27"/>
                    <a:pt x="163" y="29"/>
                    <a:pt x="163" y="30"/>
                  </a:cubicBezTo>
                  <a:cubicBezTo>
                    <a:pt x="163" y="30"/>
                    <a:pt x="163" y="31"/>
                    <a:pt x="163" y="32"/>
                  </a:cubicBezTo>
                  <a:cubicBezTo>
                    <a:pt x="164" y="32"/>
                    <a:pt x="165" y="32"/>
                    <a:pt x="165" y="32"/>
                  </a:cubicBezTo>
                  <a:cubicBezTo>
                    <a:pt x="165" y="32"/>
                    <a:pt x="166" y="34"/>
                    <a:pt x="166" y="34"/>
                  </a:cubicBezTo>
                  <a:cubicBezTo>
                    <a:pt x="166" y="34"/>
                    <a:pt x="166" y="35"/>
                    <a:pt x="166" y="36"/>
                  </a:cubicBezTo>
                  <a:cubicBezTo>
                    <a:pt x="165" y="37"/>
                    <a:pt x="163" y="36"/>
                    <a:pt x="162" y="38"/>
                  </a:cubicBezTo>
                  <a:cubicBezTo>
                    <a:pt x="162" y="38"/>
                    <a:pt x="162" y="39"/>
                    <a:pt x="161" y="39"/>
                  </a:cubicBezTo>
                  <a:cubicBezTo>
                    <a:pt x="161" y="40"/>
                    <a:pt x="160" y="40"/>
                    <a:pt x="160" y="40"/>
                  </a:cubicBezTo>
                  <a:cubicBezTo>
                    <a:pt x="159" y="42"/>
                    <a:pt x="159" y="42"/>
                    <a:pt x="161" y="42"/>
                  </a:cubicBezTo>
                  <a:cubicBezTo>
                    <a:pt x="162" y="42"/>
                    <a:pt x="162" y="43"/>
                    <a:pt x="163" y="42"/>
                  </a:cubicBezTo>
                  <a:cubicBezTo>
                    <a:pt x="164" y="42"/>
                    <a:pt x="165" y="42"/>
                    <a:pt x="166" y="41"/>
                  </a:cubicBezTo>
                  <a:cubicBezTo>
                    <a:pt x="167" y="41"/>
                    <a:pt x="167" y="41"/>
                    <a:pt x="168" y="41"/>
                  </a:cubicBezTo>
                  <a:cubicBezTo>
                    <a:pt x="169" y="40"/>
                    <a:pt x="171" y="40"/>
                    <a:pt x="172" y="41"/>
                  </a:cubicBezTo>
                  <a:cubicBezTo>
                    <a:pt x="173" y="41"/>
                    <a:pt x="173" y="40"/>
                    <a:pt x="173" y="41"/>
                  </a:cubicBezTo>
                  <a:cubicBezTo>
                    <a:pt x="174" y="43"/>
                    <a:pt x="172" y="44"/>
                    <a:pt x="171" y="45"/>
                  </a:cubicBezTo>
                  <a:cubicBezTo>
                    <a:pt x="168" y="48"/>
                    <a:pt x="165" y="48"/>
                    <a:pt x="161" y="48"/>
                  </a:cubicBezTo>
                  <a:cubicBezTo>
                    <a:pt x="159" y="48"/>
                    <a:pt x="157" y="48"/>
                    <a:pt x="155" y="48"/>
                  </a:cubicBezTo>
                  <a:cubicBezTo>
                    <a:pt x="153" y="48"/>
                    <a:pt x="153" y="49"/>
                    <a:pt x="152" y="50"/>
                  </a:cubicBezTo>
                  <a:cubicBezTo>
                    <a:pt x="151" y="51"/>
                    <a:pt x="152" y="51"/>
                    <a:pt x="153" y="53"/>
                  </a:cubicBezTo>
                  <a:cubicBezTo>
                    <a:pt x="152" y="53"/>
                    <a:pt x="152" y="53"/>
                    <a:pt x="151" y="53"/>
                  </a:cubicBezTo>
                  <a:cubicBezTo>
                    <a:pt x="150" y="53"/>
                    <a:pt x="150" y="54"/>
                    <a:pt x="149" y="54"/>
                  </a:cubicBezTo>
                  <a:cubicBezTo>
                    <a:pt x="149" y="54"/>
                    <a:pt x="149" y="54"/>
                    <a:pt x="148" y="55"/>
                  </a:cubicBezTo>
                  <a:cubicBezTo>
                    <a:pt x="148" y="55"/>
                    <a:pt x="148" y="56"/>
                    <a:pt x="148" y="57"/>
                  </a:cubicBezTo>
                  <a:cubicBezTo>
                    <a:pt x="149" y="58"/>
                    <a:pt x="149" y="60"/>
                    <a:pt x="150" y="61"/>
                  </a:cubicBezTo>
                  <a:cubicBezTo>
                    <a:pt x="150" y="61"/>
                    <a:pt x="150" y="61"/>
                    <a:pt x="151" y="61"/>
                  </a:cubicBezTo>
                  <a:cubicBezTo>
                    <a:pt x="152" y="61"/>
                    <a:pt x="152" y="60"/>
                    <a:pt x="154" y="60"/>
                  </a:cubicBezTo>
                  <a:cubicBezTo>
                    <a:pt x="154" y="59"/>
                    <a:pt x="155" y="60"/>
                    <a:pt x="155" y="59"/>
                  </a:cubicBezTo>
                  <a:cubicBezTo>
                    <a:pt x="156" y="59"/>
                    <a:pt x="156" y="57"/>
                    <a:pt x="157" y="57"/>
                  </a:cubicBezTo>
                  <a:cubicBezTo>
                    <a:pt x="158" y="57"/>
                    <a:pt x="158" y="59"/>
                    <a:pt x="160" y="59"/>
                  </a:cubicBezTo>
                  <a:cubicBezTo>
                    <a:pt x="161" y="59"/>
                    <a:pt x="162" y="58"/>
                    <a:pt x="163" y="58"/>
                  </a:cubicBezTo>
                  <a:cubicBezTo>
                    <a:pt x="165" y="58"/>
                    <a:pt x="166" y="59"/>
                    <a:pt x="167" y="60"/>
                  </a:cubicBezTo>
                  <a:cubicBezTo>
                    <a:pt x="168" y="62"/>
                    <a:pt x="161" y="61"/>
                    <a:pt x="160" y="61"/>
                  </a:cubicBezTo>
                  <a:cubicBezTo>
                    <a:pt x="159" y="61"/>
                    <a:pt x="158" y="60"/>
                    <a:pt x="158" y="61"/>
                  </a:cubicBezTo>
                  <a:cubicBezTo>
                    <a:pt x="157" y="61"/>
                    <a:pt x="157" y="61"/>
                    <a:pt x="157" y="62"/>
                  </a:cubicBezTo>
                  <a:cubicBezTo>
                    <a:pt x="156" y="63"/>
                    <a:pt x="156" y="64"/>
                    <a:pt x="156" y="65"/>
                  </a:cubicBezTo>
                  <a:cubicBezTo>
                    <a:pt x="155" y="66"/>
                    <a:pt x="154" y="66"/>
                    <a:pt x="154" y="67"/>
                  </a:cubicBezTo>
                  <a:cubicBezTo>
                    <a:pt x="154" y="68"/>
                    <a:pt x="153" y="69"/>
                    <a:pt x="154" y="70"/>
                  </a:cubicBezTo>
                  <a:cubicBezTo>
                    <a:pt x="154" y="70"/>
                    <a:pt x="154" y="70"/>
                    <a:pt x="155" y="70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56" y="72"/>
                    <a:pt x="156" y="73"/>
                    <a:pt x="158" y="74"/>
                  </a:cubicBezTo>
                  <a:cubicBezTo>
                    <a:pt x="158" y="74"/>
                    <a:pt x="161" y="74"/>
                    <a:pt x="161" y="74"/>
                  </a:cubicBezTo>
                  <a:cubicBezTo>
                    <a:pt x="163" y="73"/>
                    <a:pt x="165" y="72"/>
                    <a:pt x="167" y="73"/>
                  </a:cubicBezTo>
                  <a:cubicBezTo>
                    <a:pt x="167" y="74"/>
                    <a:pt x="167" y="74"/>
                    <a:pt x="167" y="75"/>
                  </a:cubicBezTo>
                  <a:cubicBezTo>
                    <a:pt x="167" y="75"/>
                    <a:pt x="168" y="76"/>
                    <a:pt x="168" y="75"/>
                  </a:cubicBezTo>
                  <a:cubicBezTo>
                    <a:pt x="168" y="76"/>
                    <a:pt x="168" y="78"/>
                    <a:pt x="168" y="78"/>
                  </a:cubicBezTo>
                  <a:cubicBezTo>
                    <a:pt x="168" y="79"/>
                    <a:pt x="167" y="80"/>
                    <a:pt x="167" y="81"/>
                  </a:cubicBezTo>
                  <a:cubicBezTo>
                    <a:pt x="166" y="82"/>
                    <a:pt x="165" y="82"/>
                    <a:pt x="164" y="82"/>
                  </a:cubicBezTo>
                  <a:cubicBezTo>
                    <a:pt x="162" y="83"/>
                    <a:pt x="162" y="82"/>
                    <a:pt x="161" y="84"/>
                  </a:cubicBezTo>
                  <a:cubicBezTo>
                    <a:pt x="161" y="84"/>
                    <a:pt x="162" y="85"/>
                    <a:pt x="162" y="86"/>
                  </a:cubicBezTo>
                  <a:cubicBezTo>
                    <a:pt x="163" y="89"/>
                    <a:pt x="162" y="92"/>
                    <a:pt x="165" y="94"/>
                  </a:cubicBezTo>
                  <a:cubicBezTo>
                    <a:pt x="165" y="94"/>
                    <a:pt x="165" y="94"/>
                    <a:pt x="166" y="94"/>
                  </a:cubicBezTo>
                  <a:cubicBezTo>
                    <a:pt x="166" y="95"/>
                    <a:pt x="166" y="95"/>
                    <a:pt x="166" y="95"/>
                  </a:cubicBezTo>
                  <a:cubicBezTo>
                    <a:pt x="167" y="96"/>
                    <a:pt x="168" y="96"/>
                    <a:pt x="169" y="96"/>
                  </a:cubicBezTo>
                  <a:cubicBezTo>
                    <a:pt x="170" y="96"/>
                    <a:pt x="171" y="96"/>
                    <a:pt x="173" y="96"/>
                  </a:cubicBezTo>
                  <a:cubicBezTo>
                    <a:pt x="175" y="96"/>
                    <a:pt x="177" y="96"/>
                    <a:pt x="179" y="97"/>
                  </a:cubicBezTo>
                  <a:cubicBezTo>
                    <a:pt x="181" y="97"/>
                    <a:pt x="182" y="97"/>
                    <a:pt x="184" y="98"/>
                  </a:cubicBezTo>
                  <a:cubicBezTo>
                    <a:pt x="185" y="99"/>
                    <a:pt x="186" y="99"/>
                    <a:pt x="187" y="100"/>
                  </a:cubicBezTo>
                  <a:cubicBezTo>
                    <a:pt x="188" y="101"/>
                    <a:pt x="190" y="101"/>
                    <a:pt x="191" y="102"/>
                  </a:cubicBezTo>
                  <a:cubicBezTo>
                    <a:pt x="192" y="104"/>
                    <a:pt x="192" y="106"/>
                    <a:pt x="192" y="108"/>
                  </a:cubicBezTo>
                  <a:cubicBezTo>
                    <a:pt x="191" y="107"/>
                    <a:pt x="189" y="106"/>
                    <a:pt x="188" y="104"/>
                  </a:cubicBezTo>
                  <a:cubicBezTo>
                    <a:pt x="188" y="104"/>
                    <a:pt x="188" y="103"/>
                    <a:pt x="188" y="103"/>
                  </a:cubicBezTo>
                  <a:cubicBezTo>
                    <a:pt x="187" y="102"/>
                    <a:pt x="186" y="102"/>
                    <a:pt x="186" y="101"/>
                  </a:cubicBezTo>
                  <a:cubicBezTo>
                    <a:pt x="185" y="101"/>
                    <a:pt x="184" y="100"/>
                    <a:pt x="183" y="99"/>
                  </a:cubicBezTo>
                  <a:cubicBezTo>
                    <a:pt x="182" y="98"/>
                    <a:pt x="180" y="99"/>
                    <a:pt x="179" y="99"/>
                  </a:cubicBezTo>
                  <a:cubicBezTo>
                    <a:pt x="176" y="99"/>
                    <a:pt x="173" y="98"/>
                    <a:pt x="171" y="99"/>
                  </a:cubicBezTo>
                  <a:cubicBezTo>
                    <a:pt x="170" y="99"/>
                    <a:pt x="169" y="100"/>
                    <a:pt x="169" y="101"/>
                  </a:cubicBezTo>
                  <a:cubicBezTo>
                    <a:pt x="168" y="101"/>
                    <a:pt x="167" y="101"/>
                    <a:pt x="167" y="101"/>
                  </a:cubicBezTo>
                  <a:cubicBezTo>
                    <a:pt x="165" y="101"/>
                    <a:pt x="164" y="101"/>
                    <a:pt x="162" y="101"/>
                  </a:cubicBezTo>
                  <a:cubicBezTo>
                    <a:pt x="161" y="100"/>
                    <a:pt x="160" y="100"/>
                    <a:pt x="158" y="100"/>
                  </a:cubicBezTo>
                  <a:cubicBezTo>
                    <a:pt x="158" y="100"/>
                    <a:pt x="157" y="100"/>
                    <a:pt x="157" y="100"/>
                  </a:cubicBezTo>
                  <a:cubicBezTo>
                    <a:pt x="156" y="99"/>
                    <a:pt x="156" y="97"/>
                    <a:pt x="155" y="96"/>
                  </a:cubicBezTo>
                  <a:cubicBezTo>
                    <a:pt x="155" y="96"/>
                    <a:pt x="152" y="96"/>
                    <a:pt x="151" y="96"/>
                  </a:cubicBezTo>
                  <a:cubicBezTo>
                    <a:pt x="150" y="96"/>
                    <a:pt x="150" y="96"/>
                    <a:pt x="149" y="97"/>
                  </a:cubicBezTo>
                  <a:cubicBezTo>
                    <a:pt x="149" y="97"/>
                    <a:pt x="149" y="98"/>
                    <a:pt x="149" y="98"/>
                  </a:cubicBezTo>
                  <a:cubicBezTo>
                    <a:pt x="148" y="98"/>
                    <a:pt x="148" y="98"/>
                    <a:pt x="147" y="98"/>
                  </a:cubicBezTo>
                  <a:cubicBezTo>
                    <a:pt x="146" y="99"/>
                    <a:pt x="147" y="100"/>
                    <a:pt x="146" y="101"/>
                  </a:cubicBezTo>
                  <a:cubicBezTo>
                    <a:pt x="145" y="103"/>
                    <a:pt x="142" y="105"/>
                    <a:pt x="141" y="106"/>
                  </a:cubicBezTo>
                  <a:cubicBezTo>
                    <a:pt x="140" y="106"/>
                    <a:pt x="137" y="107"/>
                    <a:pt x="137" y="108"/>
                  </a:cubicBezTo>
                  <a:cubicBezTo>
                    <a:pt x="137" y="109"/>
                    <a:pt x="138" y="112"/>
                    <a:pt x="138" y="113"/>
                  </a:cubicBezTo>
                  <a:cubicBezTo>
                    <a:pt x="138" y="114"/>
                    <a:pt x="141" y="118"/>
                    <a:pt x="142" y="119"/>
                  </a:cubicBezTo>
                  <a:cubicBezTo>
                    <a:pt x="142" y="120"/>
                    <a:pt x="147" y="123"/>
                    <a:pt x="146" y="124"/>
                  </a:cubicBezTo>
                  <a:cubicBezTo>
                    <a:pt x="145" y="123"/>
                    <a:pt x="140" y="121"/>
                    <a:pt x="140" y="121"/>
                  </a:cubicBezTo>
                  <a:cubicBezTo>
                    <a:pt x="138" y="121"/>
                    <a:pt x="137" y="120"/>
                    <a:pt x="136" y="120"/>
                  </a:cubicBezTo>
                  <a:cubicBezTo>
                    <a:pt x="135" y="120"/>
                    <a:pt x="134" y="121"/>
                    <a:pt x="133" y="120"/>
                  </a:cubicBezTo>
                  <a:cubicBezTo>
                    <a:pt x="133" y="120"/>
                    <a:pt x="133" y="120"/>
                    <a:pt x="133" y="120"/>
                  </a:cubicBezTo>
                  <a:cubicBezTo>
                    <a:pt x="131" y="120"/>
                    <a:pt x="128" y="116"/>
                    <a:pt x="127" y="120"/>
                  </a:cubicBezTo>
                  <a:cubicBezTo>
                    <a:pt x="127" y="122"/>
                    <a:pt x="127" y="121"/>
                    <a:pt x="127" y="123"/>
                  </a:cubicBezTo>
                  <a:cubicBezTo>
                    <a:pt x="130" y="123"/>
                    <a:pt x="130" y="126"/>
                    <a:pt x="130" y="129"/>
                  </a:cubicBezTo>
                  <a:cubicBezTo>
                    <a:pt x="131" y="131"/>
                    <a:pt x="131" y="132"/>
                    <a:pt x="130" y="134"/>
                  </a:cubicBezTo>
                  <a:cubicBezTo>
                    <a:pt x="129" y="134"/>
                    <a:pt x="128" y="136"/>
                    <a:pt x="128" y="136"/>
                  </a:cubicBezTo>
                  <a:cubicBezTo>
                    <a:pt x="127" y="136"/>
                    <a:pt x="126" y="135"/>
                    <a:pt x="125" y="135"/>
                  </a:cubicBezTo>
                  <a:cubicBezTo>
                    <a:pt x="124" y="135"/>
                    <a:pt x="123" y="135"/>
                    <a:pt x="123" y="134"/>
                  </a:cubicBezTo>
                  <a:cubicBezTo>
                    <a:pt x="122" y="134"/>
                    <a:pt x="119" y="130"/>
                    <a:pt x="119" y="129"/>
                  </a:cubicBezTo>
                  <a:cubicBezTo>
                    <a:pt x="120" y="127"/>
                    <a:pt x="121" y="126"/>
                    <a:pt x="122" y="124"/>
                  </a:cubicBezTo>
                  <a:cubicBezTo>
                    <a:pt x="122" y="124"/>
                    <a:pt x="124" y="124"/>
                    <a:pt x="124" y="123"/>
                  </a:cubicBezTo>
                  <a:cubicBezTo>
                    <a:pt x="125" y="122"/>
                    <a:pt x="126" y="118"/>
                    <a:pt x="126" y="117"/>
                  </a:cubicBezTo>
                  <a:cubicBezTo>
                    <a:pt x="126" y="114"/>
                    <a:pt x="127" y="113"/>
                    <a:pt x="123" y="112"/>
                  </a:cubicBezTo>
                  <a:cubicBezTo>
                    <a:pt x="122" y="111"/>
                    <a:pt x="120" y="111"/>
                    <a:pt x="119" y="111"/>
                  </a:cubicBezTo>
                  <a:cubicBezTo>
                    <a:pt x="118" y="110"/>
                    <a:pt x="117" y="109"/>
                    <a:pt x="116" y="109"/>
                  </a:cubicBezTo>
                  <a:cubicBezTo>
                    <a:pt x="114" y="109"/>
                    <a:pt x="112" y="109"/>
                    <a:pt x="111" y="109"/>
                  </a:cubicBezTo>
                  <a:cubicBezTo>
                    <a:pt x="109" y="110"/>
                    <a:pt x="107" y="111"/>
                    <a:pt x="105" y="113"/>
                  </a:cubicBezTo>
                  <a:cubicBezTo>
                    <a:pt x="105" y="114"/>
                    <a:pt x="105" y="114"/>
                    <a:pt x="104" y="114"/>
                  </a:cubicBezTo>
                  <a:cubicBezTo>
                    <a:pt x="103" y="114"/>
                    <a:pt x="101" y="113"/>
                    <a:pt x="100" y="113"/>
                  </a:cubicBezTo>
                  <a:cubicBezTo>
                    <a:pt x="99" y="112"/>
                    <a:pt x="99" y="112"/>
                    <a:pt x="98" y="112"/>
                  </a:cubicBezTo>
                  <a:cubicBezTo>
                    <a:pt x="97" y="112"/>
                    <a:pt x="97" y="112"/>
                    <a:pt x="96" y="112"/>
                  </a:cubicBezTo>
                  <a:cubicBezTo>
                    <a:pt x="95" y="113"/>
                    <a:pt x="95" y="113"/>
                    <a:pt x="94" y="114"/>
                  </a:cubicBezTo>
                  <a:cubicBezTo>
                    <a:pt x="93" y="114"/>
                    <a:pt x="91" y="114"/>
                    <a:pt x="90" y="114"/>
                  </a:cubicBezTo>
                  <a:cubicBezTo>
                    <a:pt x="88" y="114"/>
                    <a:pt x="87" y="114"/>
                    <a:pt x="86" y="115"/>
                  </a:cubicBezTo>
                  <a:cubicBezTo>
                    <a:pt x="84" y="115"/>
                    <a:pt x="81" y="115"/>
                    <a:pt x="79" y="115"/>
                  </a:cubicBezTo>
                  <a:cubicBezTo>
                    <a:pt x="76" y="115"/>
                    <a:pt x="73" y="115"/>
                    <a:pt x="71" y="117"/>
                  </a:cubicBezTo>
                  <a:cubicBezTo>
                    <a:pt x="70" y="118"/>
                    <a:pt x="69" y="119"/>
                    <a:pt x="68" y="120"/>
                  </a:cubicBezTo>
                  <a:cubicBezTo>
                    <a:pt x="68" y="122"/>
                    <a:pt x="66" y="122"/>
                    <a:pt x="67" y="124"/>
                  </a:cubicBezTo>
                  <a:cubicBezTo>
                    <a:pt x="66" y="124"/>
                    <a:pt x="66" y="128"/>
                    <a:pt x="65" y="129"/>
                  </a:cubicBezTo>
                  <a:cubicBezTo>
                    <a:pt x="65" y="129"/>
                    <a:pt x="65" y="130"/>
                    <a:pt x="64" y="131"/>
                  </a:cubicBezTo>
                  <a:cubicBezTo>
                    <a:pt x="63" y="131"/>
                    <a:pt x="62" y="131"/>
                    <a:pt x="61" y="132"/>
                  </a:cubicBezTo>
                  <a:cubicBezTo>
                    <a:pt x="59" y="133"/>
                    <a:pt x="61" y="138"/>
                    <a:pt x="62" y="140"/>
                  </a:cubicBezTo>
                  <a:cubicBezTo>
                    <a:pt x="62" y="142"/>
                    <a:pt x="63" y="145"/>
                    <a:pt x="64" y="146"/>
                  </a:cubicBezTo>
                  <a:cubicBezTo>
                    <a:pt x="64" y="146"/>
                    <a:pt x="65" y="146"/>
                    <a:pt x="66" y="146"/>
                  </a:cubicBezTo>
                  <a:cubicBezTo>
                    <a:pt x="68" y="146"/>
                    <a:pt x="70" y="145"/>
                    <a:pt x="71" y="147"/>
                  </a:cubicBezTo>
                  <a:cubicBezTo>
                    <a:pt x="71" y="149"/>
                    <a:pt x="70" y="152"/>
                    <a:pt x="70" y="154"/>
                  </a:cubicBezTo>
                  <a:cubicBezTo>
                    <a:pt x="70" y="157"/>
                    <a:pt x="70" y="160"/>
                    <a:pt x="70" y="163"/>
                  </a:cubicBezTo>
                  <a:cubicBezTo>
                    <a:pt x="70" y="164"/>
                    <a:pt x="70" y="165"/>
                    <a:pt x="69" y="167"/>
                  </a:cubicBezTo>
                  <a:cubicBezTo>
                    <a:pt x="69" y="168"/>
                    <a:pt x="69" y="168"/>
                    <a:pt x="69" y="169"/>
                  </a:cubicBezTo>
                  <a:cubicBezTo>
                    <a:pt x="68" y="171"/>
                    <a:pt x="69" y="174"/>
                    <a:pt x="69" y="176"/>
                  </a:cubicBezTo>
                  <a:cubicBezTo>
                    <a:pt x="69" y="179"/>
                    <a:pt x="69" y="181"/>
                    <a:pt x="68" y="183"/>
                  </a:cubicBezTo>
                  <a:cubicBezTo>
                    <a:pt x="67" y="185"/>
                    <a:pt x="67" y="186"/>
                    <a:pt x="65" y="187"/>
                  </a:cubicBezTo>
                  <a:cubicBezTo>
                    <a:pt x="65" y="188"/>
                    <a:pt x="64" y="188"/>
                    <a:pt x="64" y="189"/>
                  </a:cubicBezTo>
                  <a:cubicBezTo>
                    <a:pt x="62" y="191"/>
                    <a:pt x="61" y="192"/>
                    <a:pt x="63" y="195"/>
                  </a:cubicBezTo>
                  <a:cubicBezTo>
                    <a:pt x="63" y="196"/>
                    <a:pt x="64" y="196"/>
                    <a:pt x="64" y="197"/>
                  </a:cubicBezTo>
                  <a:cubicBezTo>
                    <a:pt x="63" y="199"/>
                    <a:pt x="60" y="199"/>
                    <a:pt x="59" y="200"/>
                  </a:cubicBezTo>
                  <a:cubicBezTo>
                    <a:pt x="58" y="201"/>
                    <a:pt x="57" y="203"/>
                    <a:pt x="56" y="203"/>
                  </a:cubicBezTo>
                  <a:cubicBezTo>
                    <a:pt x="55" y="204"/>
                    <a:pt x="53" y="203"/>
                    <a:pt x="52" y="203"/>
                  </a:cubicBezTo>
                  <a:cubicBezTo>
                    <a:pt x="50" y="203"/>
                    <a:pt x="50" y="203"/>
                    <a:pt x="50" y="204"/>
                  </a:cubicBezTo>
                  <a:cubicBezTo>
                    <a:pt x="49" y="205"/>
                    <a:pt x="49" y="205"/>
                    <a:pt x="48" y="206"/>
                  </a:cubicBezTo>
                  <a:cubicBezTo>
                    <a:pt x="46" y="206"/>
                    <a:pt x="44" y="206"/>
                    <a:pt x="42" y="206"/>
                  </a:cubicBezTo>
                  <a:cubicBezTo>
                    <a:pt x="41" y="206"/>
                    <a:pt x="39" y="206"/>
                    <a:pt x="38" y="206"/>
                  </a:cubicBezTo>
                  <a:cubicBezTo>
                    <a:pt x="37" y="206"/>
                    <a:pt x="36" y="208"/>
                    <a:pt x="35" y="208"/>
                  </a:cubicBezTo>
                  <a:cubicBezTo>
                    <a:pt x="34" y="208"/>
                    <a:pt x="34" y="209"/>
                    <a:pt x="35" y="210"/>
                  </a:cubicBezTo>
                  <a:cubicBezTo>
                    <a:pt x="35" y="210"/>
                    <a:pt x="36" y="212"/>
                    <a:pt x="37" y="212"/>
                  </a:cubicBezTo>
                  <a:cubicBezTo>
                    <a:pt x="37" y="212"/>
                    <a:pt x="38" y="213"/>
                    <a:pt x="38" y="213"/>
                  </a:cubicBezTo>
                  <a:cubicBezTo>
                    <a:pt x="40" y="215"/>
                    <a:pt x="41" y="215"/>
                    <a:pt x="40" y="217"/>
                  </a:cubicBezTo>
                  <a:cubicBezTo>
                    <a:pt x="37" y="226"/>
                    <a:pt x="54" y="225"/>
                    <a:pt x="58" y="227"/>
                  </a:cubicBezTo>
                  <a:cubicBezTo>
                    <a:pt x="58" y="227"/>
                    <a:pt x="58" y="227"/>
                    <a:pt x="58" y="227"/>
                  </a:cubicBezTo>
                  <a:cubicBezTo>
                    <a:pt x="59" y="227"/>
                    <a:pt x="59" y="228"/>
                    <a:pt x="59" y="228"/>
                  </a:cubicBezTo>
                  <a:cubicBezTo>
                    <a:pt x="59" y="228"/>
                    <a:pt x="59" y="229"/>
                    <a:pt x="59" y="229"/>
                  </a:cubicBezTo>
                  <a:cubicBezTo>
                    <a:pt x="60" y="230"/>
                    <a:pt x="60" y="230"/>
                    <a:pt x="61" y="231"/>
                  </a:cubicBezTo>
                  <a:cubicBezTo>
                    <a:pt x="61" y="232"/>
                    <a:pt x="61" y="234"/>
                    <a:pt x="60" y="235"/>
                  </a:cubicBezTo>
                  <a:cubicBezTo>
                    <a:pt x="60" y="236"/>
                    <a:pt x="59" y="236"/>
                    <a:pt x="59" y="237"/>
                  </a:cubicBezTo>
                  <a:cubicBezTo>
                    <a:pt x="58" y="239"/>
                    <a:pt x="60" y="242"/>
                    <a:pt x="58" y="244"/>
                  </a:cubicBezTo>
                  <a:cubicBezTo>
                    <a:pt x="57" y="245"/>
                    <a:pt x="56" y="246"/>
                    <a:pt x="54" y="246"/>
                  </a:cubicBezTo>
                  <a:cubicBezTo>
                    <a:pt x="53" y="247"/>
                    <a:pt x="53" y="248"/>
                    <a:pt x="52" y="249"/>
                  </a:cubicBezTo>
                  <a:cubicBezTo>
                    <a:pt x="50" y="251"/>
                    <a:pt x="48" y="252"/>
                    <a:pt x="46" y="254"/>
                  </a:cubicBezTo>
                  <a:cubicBezTo>
                    <a:pt x="46" y="255"/>
                    <a:pt x="45" y="255"/>
                    <a:pt x="45" y="256"/>
                  </a:cubicBezTo>
                  <a:cubicBezTo>
                    <a:pt x="44" y="256"/>
                    <a:pt x="44" y="256"/>
                    <a:pt x="44" y="256"/>
                  </a:cubicBezTo>
                  <a:cubicBezTo>
                    <a:pt x="43" y="257"/>
                    <a:pt x="43" y="258"/>
                    <a:pt x="43" y="258"/>
                  </a:cubicBezTo>
                  <a:cubicBezTo>
                    <a:pt x="43" y="259"/>
                    <a:pt x="43" y="260"/>
                    <a:pt x="43" y="261"/>
                  </a:cubicBezTo>
                  <a:cubicBezTo>
                    <a:pt x="43" y="262"/>
                    <a:pt x="43" y="264"/>
                    <a:pt x="43" y="265"/>
                  </a:cubicBezTo>
                  <a:cubicBezTo>
                    <a:pt x="44" y="266"/>
                    <a:pt x="45" y="266"/>
                    <a:pt x="44" y="268"/>
                  </a:cubicBezTo>
                  <a:cubicBezTo>
                    <a:pt x="44" y="269"/>
                    <a:pt x="43" y="270"/>
                    <a:pt x="42" y="270"/>
                  </a:cubicBezTo>
                  <a:cubicBezTo>
                    <a:pt x="40" y="271"/>
                    <a:pt x="37" y="273"/>
                    <a:pt x="35" y="274"/>
                  </a:cubicBezTo>
                  <a:cubicBezTo>
                    <a:pt x="34" y="274"/>
                    <a:pt x="32" y="274"/>
                    <a:pt x="31" y="275"/>
                  </a:cubicBezTo>
                  <a:cubicBezTo>
                    <a:pt x="30" y="276"/>
                    <a:pt x="31" y="276"/>
                    <a:pt x="29" y="276"/>
                  </a:cubicBezTo>
                  <a:cubicBezTo>
                    <a:pt x="28" y="276"/>
                    <a:pt x="27" y="277"/>
                    <a:pt x="26" y="277"/>
                  </a:cubicBezTo>
                  <a:cubicBezTo>
                    <a:pt x="25" y="277"/>
                    <a:pt x="23" y="277"/>
                    <a:pt x="22" y="277"/>
                  </a:cubicBezTo>
                  <a:cubicBezTo>
                    <a:pt x="21" y="277"/>
                    <a:pt x="20" y="277"/>
                    <a:pt x="19" y="276"/>
                  </a:cubicBezTo>
                  <a:cubicBezTo>
                    <a:pt x="17" y="275"/>
                    <a:pt x="15" y="274"/>
                    <a:pt x="13" y="273"/>
                  </a:cubicBezTo>
                  <a:cubicBezTo>
                    <a:pt x="11" y="273"/>
                    <a:pt x="8" y="273"/>
                    <a:pt x="8" y="276"/>
                  </a:cubicBezTo>
                  <a:cubicBezTo>
                    <a:pt x="8" y="277"/>
                    <a:pt x="8" y="278"/>
                    <a:pt x="8" y="278"/>
                  </a:cubicBezTo>
                  <a:cubicBezTo>
                    <a:pt x="6" y="278"/>
                    <a:pt x="5" y="278"/>
                    <a:pt x="3" y="278"/>
                  </a:cubicBezTo>
                  <a:cubicBezTo>
                    <a:pt x="1" y="278"/>
                    <a:pt x="0" y="281"/>
                    <a:pt x="0" y="283"/>
                  </a:cubicBezTo>
                  <a:cubicBezTo>
                    <a:pt x="0" y="284"/>
                    <a:pt x="0" y="285"/>
                    <a:pt x="0" y="285"/>
                  </a:cubicBezTo>
                  <a:cubicBezTo>
                    <a:pt x="0" y="287"/>
                    <a:pt x="0" y="287"/>
                    <a:pt x="1" y="288"/>
                  </a:cubicBezTo>
                  <a:cubicBezTo>
                    <a:pt x="2" y="289"/>
                    <a:pt x="5" y="290"/>
                    <a:pt x="5" y="292"/>
                  </a:cubicBezTo>
                  <a:cubicBezTo>
                    <a:pt x="6" y="294"/>
                    <a:pt x="5" y="296"/>
                    <a:pt x="6" y="297"/>
                  </a:cubicBezTo>
                  <a:cubicBezTo>
                    <a:pt x="7" y="299"/>
                    <a:pt x="9" y="299"/>
                    <a:pt x="10" y="300"/>
                  </a:cubicBezTo>
                  <a:cubicBezTo>
                    <a:pt x="10" y="301"/>
                    <a:pt x="10" y="301"/>
                    <a:pt x="10" y="301"/>
                  </a:cubicBezTo>
                  <a:cubicBezTo>
                    <a:pt x="10" y="302"/>
                    <a:pt x="11" y="303"/>
                    <a:pt x="11" y="304"/>
                  </a:cubicBezTo>
                  <a:cubicBezTo>
                    <a:pt x="11" y="305"/>
                    <a:pt x="11" y="306"/>
                    <a:pt x="11" y="307"/>
                  </a:cubicBezTo>
                  <a:cubicBezTo>
                    <a:pt x="11" y="308"/>
                    <a:pt x="11" y="308"/>
                    <a:pt x="12" y="309"/>
                  </a:cubicBezTo>
                  <a:cubicBezTo>
                    <a:pt x="12" y="311"/>
                    <a:pt x="12" y="314"/>
                    <a:pt x="13" y="316"/>
                  </a:cubicBezTo>
                  <a:cubicBezTo>
                    <a:pt x="13" y="317"/>
                    <a:pt x="13" y="319"/>
                    <a:pt x="13" y="320"/>
                  </a:cubicBezTo>
                  <a:cubicBezTo>
                    <a:pt x="13" y="322"/>
                    <a:pt x="13" y="321"/>
                    <a:pt x="12" y="322"/>
                  </a:cubicBezTo>
                  <a:cubicBezTo>
                    <a:pt x="12" y="323"/>
                    <a:pt x="11" y="323"/>
                    <a:pt x="10" y="324"/>
                  </a:cubicBezTo>
                  <a:cubicBezTo>
                    <a:pt x="10" y="325"/>
                    <a:pt x="9" y="325"/>
                    <a:pt x="9" y="326"/>
                  </a:cubicBezTo>
                  <a:cubicBezTo>
                    <a:pt x="7" y="328"/>
                    <a:pt x="9" y="331"/>
                    <a:pt x="8" y="334"/>
                  </a:cubicBezTo>
                  <a:cubicBezTo>
                    <a:pt x="7" y="335"/>
                    <a:pt x="6" y="335"/>
                    <a:pt x="6" y="336"/>
                  </a:cubicBezTo>
                  <a:cubicBezTo>
                    <a:pt x="7" y="336"/>
                    <a:pt x="7" y="336"/>
                    <a:pt x="7" y="337"/>
                  </a:cubicBezTo>
                  <a:cubicBezTo>
                    <a:pt x="7" y="337"/>
                    <a:pt x="7" y="338"/>
                    <a:pt x="7" y="338"/>
                  </a:cubicBezTo>
                  <a:cubicBezTo>
                    <a:pt x="7" y="339"/>
                    <a:pt x="7" y="339"/>
                    <a:pt x="8" y="340"/>
                  </a:cubicBezTo>
                  <a:cubicBezTo>
                    <a:pt x="7" y="341"/>
                    <a:pt x="5" y="341"/>
                    <a:pt x="5" y="342"/>
                  </a:cubicBezTo>
                  <a:cubicBezTo>
                    <a:pt x="4" y="343"/>
                    <a:pt x="4" y="343"/>
                    <a:pt x="3" y="344"/>
                  </a:cubicBezTo>
                  <a:cubicBezTo>
                    <a:pt x="1" y="344"/>
                    <a:pt x="2" y="344"/>
                    <a:pt x="1" y="345"/>
                  </a:cubicBezTo>
                  <a:cubicBezTo>
                    <a:pt x="1" y="347"/>
                    <a:pt x="0" y="349"/>
                    <a:pt x="1" y="351"/>
                  </a:cubicBezTo>
                  <a:cubicBezTo>
                    <a:pt x="1" y="351"/>
                    <a:pt x="1" y="351"/>
                    <a:pt x="2" y="351"/>
                  </a:cubicBezTo>
                  <a:cubicBezTo>
                    <a:pt x="3" y="351"/>
                    <a:pt x="4" y="351"/>
                    <a:pt x="4" y="351"/>
                  </a:cubicBezTo>
                  <a:cubicBezTo>
                    <a:pt x="4" y="351"/>
                    <a:pt x="4" y="351"/>
                    <a:pt x="4" y="351"/>
                  </a:cubicBezTo>
                  <a:cubicBezTo>
                    <a:pt x="4" y="351"/>
                    <a:pt x="4" y="351"/>
                    <a:pt x="5" y="351"/>
                  </a:cubicBezTo>
                  <a:cubicBezTo>
                    <a:pt x="5" y="351"/>
                    <a:pt x="6" y="352"/>
                    <a:pt x="6" y="353"/>
                  </a:cubicBezTo>
                  <a:cubicBezTo>
                    <a:pt x="6" y="354"/>
                    <a:pt x="6" y="356"/>
                    <a:pt x="6" y="358"/>
                  </a:cubicBezTo>
                  <a:cubicBezTo>
                    <a:pt x="5" y="359"/>
                    <a:pt x="5" y="361"/>
                    <a:pt x="4" y="362"/>
                  </a:cubicBezTo>
                  <a:cubicBezTo>
                    <a:pt x="4" y="363"/>
                    <a:pt x="4" y="364"/>
                    <a:pt x="4" y="364"/>
                  </a:cubicBezTo>
                  <a:cubicBezTo>
                    <a:pt x="4" y="365"/>
                    <a:pt x="4" y="365"/>
                    <a:pt x="4" y="365"/>
                  </a:cubicBezTo>
                  <a:cubicBezTo>
                    <a:pt x="4" y="367"/>
                    <a:pt x="4" y="367"/>
                    <a:pt x="4" y="368"/>
                  </a:cubicBezTo>
                  <a:cubicBezTo>
                    <a:pt x="3" y="369"/>
                    <a:pt x="3" y="370"/>
                    <a:pt x="3" y="370"/>
                  </a:cubicBezTo>
                  <a:cubicBezTo>
                    <a:pt x="3" y="371"/>
                    <a:pt x="4" y="371"/>
                    <a:pt x="4" y="371"/>
                  </a:cubicBezTo>
                  <a:cubicBezTo>
                    <a:pt x="3" y="372"/>
                    <a:pt x="2" y="372"/>
                    <a:pt x="1" y="373"/>
                  </a:cubicBezTo>
                  <a:cubicBezTo>
                    <a:pt x="1" y="373"/>
                    <a:pt x="1" y="374"/>
                    <a:pt x="0" y="375"/>
                  </a:cubicBezTo>
                  <a:cubicBezTo>
                    <a:pt x="0" y="375"/>
                    <a:pt x="0" y="375"/>
                    <a:pt x="0" y="376"/>
                  </a:cubicBezTo>
                  <a:cubicBezTo>
                    <a:pt x="0" y="376"/>
                    <a:pt x="1" y="377"/>
                    <a:pt x="1" y="377"/>
                  </a:cubicBezTo>
                  <a:cubicBezTo>
                    <a:pt x="2" y="377"/>
                    <a:pt x="3" y="378"/>
                    <a:pt x="3" y="379"/>
                  </a:cubicBezTo>
                  <a:cubicBezTo>
                    <a:pt x="3" y="379"/>
                    <a:pt x="3" y="380"/>
                    <a:pt x="3" y="380"/>
                  </a:cubicBezTo>
                  <a:cubicBezTo>
                    <a:pt x="3" y="381"/>
                    <a:pt x="3" y="382"/>
                    <a:pt x="3" y="383"/>
                  </a:cubicBezTo>
                  <a:cubicBezTo>
                    <a:pt x="2" y="385"/>
                    <a:pt x="2" y="388"/>
                    <a:pt x="3" y="390"/>
                  </a:cubicBezTo>
                  <a:cubicBezTo>
                    <a:pt x="5" y="391"/>
                    <a:pt x="6" y="392"/>
                    <a:pt x="8" y="393"/>
                  </a:cubicBezTo>
                  <a:cubicBezTo>
                    <a:pt x="9" y="393"/>
                    <a:pt x="9" y="393"/>
                    <a:pt x="10" y="394"/>
                  </a:cubicBezTo>
                  <a:cubicBezTo>
                    <a:pt x="11" y="395"/>
                    <a:pt x="12" y="395"/>
                    <a:pt x="14" y="396"/>
                  </a:cubicBezTo>
                  <a:cubicBezTo>
                    <a:pt x="14" y="396"/>
                    <a:pt x="15" y="397"/>
                    <a:pt x="15" y="397"/>
                  </a:cubicBezTo>
                  <a:cubicBezTo>
                    <a:pt x="17" y="397"/>
                    <a:pt x="18" y="397"/>
                    <a:pt x="19" y="399"/>
                  </a:cubicBezTo>
                  <a:cubicBezTo>
                    <a:pt x="20" y="401"/>
                    <a:pt x="19" y="403"/>
                    <a:pt x="19" y="405"/>
                  </a:cubicBezTo>
                  <a:cubicBezTo>
                    <a:pt x="18" y="406"/>
                    <a:pt x="18" y="407"/>
                    <a:pt x="17" y="409"/>
                  </a:cubicBezTo>
                  <a:cubicBezTo>
                    <a:pt x="16" y="411"/>
                    <a:pt x="14" y="412"/>
                    <a:pt x="13" y="414"/>
                  </a:cubicBezTo>
                  <a:cubicBezTo>
                    <a:pt x="13" y="414"/>
                    <a:pt x="13" y="414"/>
                    <a:pt x="13" y="414"/>
                  </a:cubicBezTo>
                  <a:cubicBezTo>
                    <a:pt x="13" y="414"/>
                    <a:pt x="13" y="414"/>
                    <a:pt x="13" y="414"/>
                  </a:cubicBezTo>
                  <a:cubicBezTo>
                    <a:pt x="12" y="416"/>
                    <a:pt x="10" y="417"/>
                    <a:pt x="10" y="419"/>
                  </a:cubicBezTo>
                  <a:cubicBezTo>
                    <a:pt x="10" y="420"/>
                    <a:pt x="10" y="420"/>
                    <a:pt x="10" y="420"/>
                  </a:cubicBezTo>
                  <a:cubicBezTo>
                    <a:pt x="10" y="422"/>
                    <a:pt x="9" y="423"/>
                    <a:pt x="8" y="424"/>
                  </a:cubicBezTo>
                  <a:cubicBezTo>
                    <a:pt x="7" y="426"/>
                    <a:pt x="7" y="428"/>
                    <a:pt x="7" y="430"/>
                  </a:cubicBezTo>
                  <a:cubicBezTo>
                    <a:pt x="7" y="432"/>
                    <a:pt x="8" y="433"/>
                    <a:pt x="8" y="435"/>
                  </a:cubicBezTo>
                  <a:cubicBezTo>
                    <a:pt x="9" y="436"/>
                    <a:pt x="8" y="438"/>
                    <a:pt x="9" y="439"/>
                  </a:cubicBezTo>
                  <a:cubicBezTo>
                    <a:pt x="10" y="441"/>
                    <a:pt x="11" y="442"/>
                    <a:pt x="12" y="444"/>
                  </a:cubicBezTo>
                  <a:cubicBezTo>
                    <a:pt x="12" y="445"/>
                    <a:pt x="12" y="447"/>
                    <a:pt x="14" y="448"/>
                  </a:cubicBezTo>
                  <a:cubicBezTo>
                    <a:pt x="15" y="448"/>
                    <a:pt x="16" y="448"/>
                    <a:pt x="17" y="449"/>
                  </a:cubicBezTo>
                  <a:cubicBezTo>
                    <a:pt x="17" y="450"/>
                    <a:pt x="18" y="451"/>
                    <a:pt x="19" y="452"/>
                  </a:cubicBezTo>
                  <a:cubicBezTo>
                    <a:pt x="20" y="454"/>
                    <a:pt x="22" y="455"/>
                    <a:pt x="23" y="456"/>
                  </a:cubicBezTo>
                  <a:cubicBezTo>
                    <a:pt x="25" y="457"/>
                    <a:pt x="26" y="457"/>
                    <a:pt x="28" y="457"/>
                  </a:cubicBezTo>
                  <a:cubicBezTo>
                    <a:pt x="29" y="457"/>
                    <a:pt x="31" y="457"/>
                    <a:pt x="31" y="459"/>
                  </a:cubicBezTo>
                  <a:cubicBezTo>
                    <a:pt x="29" y="459"/>
                    <a:pt x="26" y="461"/>
                    <a:pt x="24" y="462"/>
                  </a:cubicBezTo>
                  <a:cubicBezTo>
                    <a:pt x="23" y="463"/>
                    <a:pt x="22" y="464"/>
                    <a:pt x="22" y="466"/>
                  </a:cubicBezTo>
                  <a:cubicBezTo>
                    <a:pt x="21" y="467"/>
                    <a:pt x="20" y="468"/>
                    <a:pt x="19" y="470"/>
                  </a:cubicBezTo>
                  <a:cubicBezTo>
                    <a:pt x="17" y="473"/>
                    <a:pt x="16" y="477"/>
                    <a:pt x="15" y="482"/>
                  </a:cubicBezTo>
                  <a:cubicBezTo>
                    <a:pt x="15" y="482"/>
                    <a:pt x="15" y="482"/>
                    <a:pt x="15" y="482"/>
                  </a:cubicBezTo>
                  <a:cubicBezTo>
                    <a:pt x="21" y="485"/>
                    <a:pt x="26" y="487"/>
                    <a:pt x="30" y="493"/>
                  </a:cubicBezTo>
                  <a:cubicBezTo>
                    <a:pt x="31" y="494"/>
                    <a:pt x="33" y="495"/>
                    <a:pt x="33" y="496"/>
                  </a:cubicBezTo>
                  <a:cubicBezTo>
                    <a:pt x="34" y="498"/>
                    <a:pt x="34" y="498"/>
                    <a:pt x="34" y="500"/>
                  </a:cubicBezTo>
                  <a:cubicBezTo>
                    <a:pt x="36" y="503"/>
                    <a:pt x="36" y="505"/>
                    <a:pt x="40" y="506"/>
                  </a:cubicBezTo>
                  <a:cubicBezTo>
                    <a:pt x="44" y="506"/>
                    <a:pt x="46" y="503"/>
                    <a:pt x="50" y="502"/>
                  </a:cubicBezTo>
                  <a:cubicBezTo>
                    <a:pt x="53" y="501"/>
                    <a:pt x="56" y="501"/>
                    <a:pt x="60" y="501"/>
                  </a:cubicBezTo>
                  <a:cubicBezTo>
                    <a:pt x="67" y="501"/>
                    <a:pt x="73" y="501"/>
                    <a:pt x="79" y="505"/>
                  </a:cubicBezTo>
                  <a:cubicBezTo>
                    <a:pt x="81" y="507"/>
                    <a:pt x="81" y="510"/>
                    <a:pt x="84" y="513"/>
                  </a:cubicBezTo>
                  <a:cubicBezTo>
                    <a:pt x="84" y="513"/>
                    <a:pt x="85" y="513"/>
                    <a:pt x="86" y="514"/>
                  </a:cubicBezTo>
                  <a:cubicBezTo>
                    <a:pt x="87" y="514"/>
                    <a:pt x="86" y="515"/>
                    <a:pt x="87" y="515"/>
                  </a:cubicBezTo>
                  <a:cubicBezTo>
                    <a:pt x="90" y="516"/>
                    <a:pt x="96" y="515"/>
                    <a:pt x="99" y="515"/>
                  </a:cubicBezTo>
                  <a:cubicBezTo>
                    <a:pt x="102" y="515"/>
                    <a:pt x="105" y="515"/>
                    <a:pt x="108" y="516"/>
                  </a:cubicBezTo>
                  <a:cubicBezTo>
                    <a:pt x="107" y="516"/>
                    <a:pt x="111" y="518"/>
                    <a:pt x="110" y="518"/>
                  </a:cubicBezTo>
                  <a:cubicBezTo>
                    <a:pt x="111" y="519"/>
                    <a:pt x="112" y="520"/>
                    <a:pt x="113" y="520"/>
                  </a:cubicBezTo>
                  <a:cubicBezTo>
                    <a:pt x="115" y="521"/>
                    <a:pt x="117" y="520"/>
                    <a:pt x="119" y="523"/>
                  </a:cubicBezTo>
                  <a:cubicBezTo>
                    <a:pt x="120" y="525"/>
                    <a:pt x="120" y="528"/>
                    <a:pt x="119" y="530"/>
                  </a:cubicBezTo>
                  <a:cubicBezTo>
                    <a:pt x="118" y="535"/>
                    <a:pt x="115" y="539"/>
                    <a:pt x="111" y="542"/>
                  </a:cubicBezTo>
                  <a:cubicBezTo>
                    <a:pt x="106" y="546"/>
                    <a:pt x="104" y="549"/>
                    <a:pt x="102" y="555"/>
                  </a:cubicBezTo>
                  <a:cubicBezTo>
                    <a:pt x="101" y="557"/>
                    <a:pt x="101" y="558"/>
                    <a:pt x="98" y="560"/>
                  </a:cubicBezTo>
                  <a:cubicBezTo>
                    <a:pt x="97" y="561"/>
                    <a:pt x="96" y="561"/>
                    <a:pt x="95" y="563"/>
                  </a:cubicBezTo>
                  <a:cubicBezTo>
                    <a:pt x="92" y="567"/>
                    <a:pt x="93" y="572"/>
                    <a:pt x="92" y="577"/>
                  </a:cubicBezTo>
                  <a:cubicBezTo>
                    <a:pt x="90" y="583"/>
                    <a:pt x="92" y="588"/>
                    <a:pt x="87" y="593"/>
                  </a:cubicBezTo>
                  <a:cubicBezTo>
                    <a:pt x="83" y="598"/>
                    <a:pt x="84" y="603"/>
                    <a:pt x="84" y="609"/>
                  </a:cubicBezTo>
                  <a:cubicBezTo>
                    <a:pt x="84" y="617"/>
                    <a:pt x="84" y="624"/>
                    <a:pt x="84" y="632"/>
                  </a:cubicBezTo>
                  <a:cubicBezTo>
                    <a:pt x="84" y="634"/>
                    <a:pt x="85" y="636"/>
                    <a:pt x="86" y="637"/>
                  </a:cubicBezTo>
                  <a:cubicBezTo>
                    <a:pt x="86" y="637"/>
                    <a:pt x="86" y="637"/>
                    <a:pt x="86" y="637"/>
                  </a:cubicBezTo>
                  <a:cubicBezTo>
                    <a:pt x="87" y="638"/>
                    <a:pt x="87" y="638"/>
                    <a:pt x="87" y="639"/>
                  </a:cubicBezTo>
                  <a:cubicBezTo>
                    <a:pt x="88" y="639"/>
                    <a:pt x="88" y="639"/>
                    <a:pt x="88" y="639"/>
                  </a:cubicBezTo>
                  <a:cubicBezTo>
                    <a:pt x="89" y="640"/>
                    <a:pt x="90" y="640"/>
                    <a:pt x="91" y="640"/>
                  </a:cubicBezTo>
                  <a:cubicBezTo>
                    <a:pt x="94" y="641"/>
                    <a:pt x="96" y="641"/>
                    <a:pt x="98" y="640"/>
                  </a:cubicBezTo>
                  <a:cubicBezTo>
                    <a:pt x="99" y="639"/>
                    <a:pt x="101" y="639"/>
                    <a:pt x="102" y="639"/>
                  </a:cubicBezTo>
                  <a:cubicBezTo>
                    <a:pt x="103" y="639"/>
                    <a:pt x="104" y="640"/>
                    <a:pt x="104" y="640"/>
                  </a:cubicBezTo>
                  <a:cubicBezTo>
                    <a:pt x="107" y="640"/>
                    <a:pt x="108" y="638"/>
                    <a:pt x="110" y="637"/>
                  </a:cubicBezTo>
                  <a:cubicBezTo>
                    <a:pt x="111" y="637"/>
                    <a:pt x="112" y="637"/>
                    <a:pt x="112" y="635"/>
                  </a:cubicBezTo>
                  <a:cubicBezTo>
                    <a:pt x="112" y="634"/>
                    <a:pt x="112" y="634"/>
                    <a:pt x="112" y="633"/>
                  </a:cubicBezTo>
                  <a:cubicBezTo>
                    <a:pt x="113" y="632"/>
                    <a:pt x="114" y="630"/>
                    <a:pt x="115" y="630"/>
                  </a:cubicBezTo>
                  <a:cubicBezTo>
                    <a:pt x="117" y="631"/>
                    <a:pt x="116" y="633"/>
                    <a:pt x="117" y="634"/>
                  </a:cubicBezTo>
                  <a:cubicBezTo>
                    <a:pt x="118" y="635"/>
                    <a:pt x="118" y="636"/>
                    <a:pt x="120" y="636"/>
                  </a:cubicBezTo>
                  <a:cubicBezTo>
                    <a:pt x="123" y="636"/>
                    <a:pt x="123" y="633"/>
                    <a:pt x="123" y="630"/>
                  </a:cubicBezTo>
                  <a:cubicBezTo>
                    <a:pt x="123" y="628"/>
                    <a:pt x="125" y="625"/>
                    <a:pt x="127" y="623"/>
                  </a:cubicBezTo>
                  <a:cubicBezTo>
                    <a:pt x="128" y="622"/>
                    <a:pt x="131" y="622"/>
                    <a:pt x="133" y="622"/>
                  </a:cubicBezTo>
                  <a:cubicBezTo>
                    <a:pt x="134" y="622"/>
                    <a:pt x="135" y="622"/>
                    <a:pt x="135" y="622"/>
                  </a:cubicBezTo>
                  <a:cubicBezTo>
                    <a:pt x="136" y="622"/>
                    <a:pt x="137" y="623"/>
                    <a:pt x="137" y="623"/>
                  </a:cubicBezTo>
                  <a:cubicBezTo>
                    <a:pt x="138" y="623"/>
                    <a:pt x="139" y="623"/>
                    <a:pt x="139" y="623"/>
                  </a:cubicBezTo>
                  <a:cubicBezTo>
                    <a:pt x="140" y="623"/>
                    <a:pt x="141" y="623"/>
                    <a:pt x="141" y="624"/>
                  </a:cubicBezTo>
                  <a:cubicBezTo>
                    <a:pt x="143" y="625"/>
                    <a:pt x="146" y="626"/>
                    <a:pt x="147" y="627"/>
                  </a:cubicBezTo>
                  <a:cubicBezTo>
                    <a:pt x="148" y="627"/>
                    <a:pt x="148" y="628"/>
                    <a:pt x="149" y="629"/>
                  </a:cubicBezTo>
                  <a:cubicBezTo>
                    <a:pt x="151" y="630"/>
                    <a:pt x="153" y="631"/>
                    <a:pt x="155" y="631"/>
                  </a:cubicBezTo>
                  <a:cubicBezTo>
                    <a:pt x="157" y="631"/>
                    <a:pt x="158" y="630"/>
                    <a:pt x="160" y="630"/>
                  </a:cubicBezTo>
                  <a:cubicBezTo>
                    <a:pt x="161" y="629"/>
                    <a:pt x="162" y="629"/>
                    <a:pt x="163" y="629"/>
                  </a:cubicBezTo>
                  <a:cubicBezTo>
                    <a:pt x="165" y="629"/>
                    <a:pt x="164" y="629"/>
                    <a:pt x="165" y="630"/>
                  </a:cubicBezTo>
                  <a:cubicBezTo>
                    <a:pt x="166" y="631"/>
                    <a:pt x="167" y="632"/>
                    <a:pt x="168" y="632"/>
                  </a:cubicBezTo>
                  <a:cubicBezTo>
                    <a:pt x="169" y="633"/>
                    <a:pt x="171" y="634"/>
                    <a:pt x="172" y="634"/>
                  </a:cubicBezTo>
                  <a:cubicBezTo>
                    <a:pt x="172" y="635"/>
                    <a:pt x="172" y="635"/>
                    <a:pt x="173" y="635"/>
                  </a:cubicBezTo>
                  <a:cubicBezTo>
                    <a:pt x="174" y="637"/>
                    <a:pt x="175" y="637"/>
                    <a:pt x="176" y="637"/>
                  </a:cubicBezTo>
                  <a:cubicBezTo>
                    <a:pt x="178" y="638"/>
                    <a:pt x="180" y="638"/>
                    <a:pt x="182" y="639"/>
                  </a:cubicBezTo>
                  <a:cubicBezTo>
                    <a:pt x="183" y="639"/>
                    <a:pt x="183" y="639"/>
                    <a:pt x="184" y="639"/>
                  </a:cubicBezTo>
                  <a:cubicBezTo>
                    <a:pt x="185" y="639"/>
                    <a:pt x="187" y="639"/>
                    <a:pt x="188" y="639"/>
                  </a:cubicBezTo>
                  <a:cubicBezTo>
                    <a:pt x="189" y="639"/>
                    <a:pt x="189" y="640"/>
                    <a:pt x="189" y="640"/>
                  </a:cubicBezTo>
                  <a:cubicBezTo>
                    <a:pt x="189" y="640"/>
                    <a:pt x="190" y="640"/>
                    <a:pt x="191" y="640"/>
                  </a:cubicBezTo>
                  <a:cubicBezTo>
                    <a:pt x="194" y="640"/>
                    <a:pt x="197" y="640"/>
                    <a:pt x="200" y="640"/>
                  </a:cubicBezTo>
                  <a:cubicBezTo>
                    <a:pt x="201" y="640"/>
                    <a:pt x="203" y="639"/>
                    <a:pt x="204" y="640"/>
                  </a:cubicBezTo>
                  <a:cubicBezTo>
                    <a:pt x="206" y="642"/>
                    <a:pt x="206" y="644"/>
                    <a:pt x="207" y="646"/>
                  </a:cubicBezTo>
                  <a:cubicBezTo>
                    <a:pt x="208" y="647"/>
                    <a:pt x="208" y="647"/>
                    <a:pt x="210" y="648"/>
                  </a:cubicBezTo>
                  <a:cubicBezTo>
                    <a:pt x="211" y="648"/>
                    <a:pt x="213" y="647"/>
                    <a:pt x="214" y="648"/>
                  </a:cubicBezTo>
                  <a:cubicBezTo>
                    <a:pt x="214" y="649"/>
                    <a:pt x="214" y="649"/>
                    <a:pt x="215" y="649"/>
                  </a:cubicBezTo>
                  <a:cubicBezTo>
                    <a:pt x="215" y="650"/>
                    <a:pt x="215" y="651"/>
                    <a:pt x="215" y="652"/>
                  </a:cubicBezTo>
                  <a:cubicBezTo>
                    <a:pt x="215" y="653"/>
                    <a:pt x="215" y="652"/>
                    <a:pt x="216" y="653"/>
                  </a:cubicBezTo>
                  <a:cubicBezTo>
                    <a:pt x="217" y="655"/>
                    <a:pt x="220" y="656"/>
                    <a:pt x="222" y="657"/>
                  </a:cubicBezTo>
                  <a:cubicBezTo>
                    <a:pt x="225" y="659"/>
                    <a:pt x="226" y="661"/>
                    <a:pt x="230" y="659"/>
                  </a:cubicBezTo>
                  <a:cubicBezTo>
                    <a:pt x="231" y="659"/>
                    <a:pt x="232" y="657"/>
                    <a:pt x="232" y="656"/>
                  </a:cubicBezTo>
                  <a:cubicBezTo>
                    <a:pt x="233" y="656"/>
                    <a:pt x="233" y="655"/>
                    <a:pt x="233" y="655"/>
                  </a:cubicBezTo>
                  <a:cubicBezTo>
                    <a:pt x="234" y="651"/>
                    <a:pt x="230" y="649"/>
                    <a:pt x="229" y="646"/>
                  </a:cubicBezTo>
                  <a:cubicBezTo>
                    <a:pt x="229" y="643"/>
                    <a:pt x="229" y="642"/>
                    <a:pt x="232" y="641"/>
                  </a:cubicBezTo>
                  <a:cubicBezTo>
                    <a:pt x="236" y="640"/>
                    <a:pt x="240" y="642"/>
                    <a:pt x="244" y="641"/>
                  </a:cubicBezTo>
                  <a:cubicBezTo>
                    <a:pt x="247" y="641"/>
                    <a:pt x="250" y="640"/>
                    <a:pt x="252" y="643"/>
                  </a:cubicBezTo>
                  <a:cubicBezTo>
                    <a:pt x="253" y="644"/>
                    <a:pt x="253" y="646"/>
                    <a:pt x="255" y="646"/>
                  </a:cubicBezTo>
                  <a:cubicBezTo>
                    <a:pt x="255" y="646"/>
                    <a:pt x="255" y="646"/>
                    <a:pt x="255" y="646"/>
                  </a:cubicBezTo>
                  <a:cubicBezTo>
                    <a:pt x="257" y="646"/>
                    <a:pt x="263" y="648"/>
                    <a:pt x="263" y="650"/>
                  </a:cubicBezTo>
                  <a:cubicBezTo>
                    <a:pt x="264" y="651"/>
                    <a:pt x="268" y="651"/>
                    <a:pt x="267" y="651"/>
                  </a:cubicBezTo>
                  <a:cubicBezTo>
                    <a:pt x="270" y="651"/>
                    <a:pt x="273" y="651"/>
                    <a:pt x="275" y="651"/>
                  </a:cubicBezTo>
                  <a:cubicBezTo>
                    <a:pt x="277" y="650"/>
                    <a:pt x="278" y="649"/>
                    <a:pt x="279" y="649"/>
                  </a:cubicBezTo>
                  <a:cubicBezTo>
                    <a:pt x="281" y="648"/>
                    <a:pt x="282" y="650"/>
                    <a:pt x="284" y="650"/>
                  </a:cubicBezTo>
                  <a:cubicBezTo>
                    <a:pt x="285" y="649"/>
                    <a:pt x="286" y="647"/>
                    <a:pt x="287" y="646"/>
                  </a:cubicBezTo>
                  <a:cubicBezTo>
                    <a:pt x="288" y="645"/>
                    <a:pt x="288" y="644"/>
                    <a:pt x="289" y="643"/>
                  </a:cubicBezTo>
                  <a:cubicBezTo>
                    <a:pt x="291" y="641"/>
                    <a:pt x="295" y="642"/>
                    <a:pt x="298" y="642"/>
                  </a:cubicBezTo>
                  <a:cubicBezTo>
                    <a:pt x="299" y="642"/>
                    <a:pt x="301" y="643"/>
                    <a:pt x="302" y="641"/>
                  </a:cubicBezTo>
                  <a:cubicBezTo>
                    <a:pt x="302" y="640"/>
                    <a:pt x="301" y="639"/>
                    <a:pt x="302" y="637"/>
                  </a:cubicBezTo>
                  <a:cubicBezTo>
                    <a:pt x="302" y="636"/>
                    <a:pt x="303" y="636"/>
                    <a:pt x="305" y="636"/>
                  </a:cubicBezTo>
                  <a:cubicBezTo>
                    <a:pt x="308" y="636"/>
                    <a:pt x="312" y="636"/>
                    <a:pt x="316" y="637"/>
                  </a:cubicBezTo>
                  <a:cubicBezTo>
                    <a:pt x="318" y="637"/>
                    <a:pt x="320" y="637"/>
                    <a:pt x="323" y="637"/>
                  </a:cubicBezTo>
                  <a:cubicBezTo>
                    <a:pt x="324" y="637"/>
                    <a:pt x="324" y="637"/>
                    <a:pt x="325" y="637"/>
                  </a:cubicBezTo>
                  <a:cubicBezTo>
                    <a:pt x="325" y="636"/>
                    <a:pt x="326" y="636"/>
                    <a:pt x="327" y="636"/>
                  </a:cubicBezTo>
                  <a:cubicBezTo>
                    <a:pt x="328" y="636"/>
                    <a:pt x="328" y="636"/>
                    <a:pt x="329" y="636"/>
                  </a:cubicBezTo>
                  <a:cubicBezTo>
                    <a:pt x="332" y="634"/>
                    <a:pt x="326" y="632"/>
                    <a:pt x="327" y="629"/>
                  </a:cubicBezTo>
                  <a:cubicBezTo>
                    <a:pt x="327" y="628"/>
                    <a:pt x="329" y="628"/>
                    <a:pt x="330" y="628"/>
                  </a:cubicBezTo>
                  <a:cubicBezTo>
                    <a:pt x="332" y="628"/>
                    <a:pt x="334" y="628"/>
                    <a:pt x="336" y="628"/>
                  </a:cubicBezTo>
                  <a:cubicBezTo>
                    <a:pt x="337" y="628"/>
                    <a:pt x="340" y="629"/>
                    <a:pt x="341" y="629"/>
                  </a:cubicBezTo>
                  <a:cubicBezTo>
                    <a:pt x="342" y="630"/>
                    <a:pt x="342" y="631"/>
                    <a:pt x="343" y="632"/>
                  </a:cubicBezTo>
                  <a:cubicBezTo>
                    <a:pt x="344" y="633"/>
                    <a:pt x="347" y="632"/>
                    <a:pt x="348" y="632"/>
                  </a:cubicBezTo>
                  <a:cubicBezTo>
                    <a:pt x="351" y="632"/>
                    <a:pt x="353" y="630"/>
                    <a:pt x="355" y="630"/>
                  </a:cubicBezTo>
                  <a:cubicBezTo>
                    <a:pt x="357" y="631"/>
                    <a:pt x="356" y="631"/>
                    <a:pt x="357" y="631"/>
                  </a:cubicBezTo>
                  <a:cubicBezTo>
                    <a:pt x="358" y="632"/>
                    <a:pt x="359" y="634"/>
                    <a:pt x="360" y="635"/>
                  </a:cubicBezTo>
                  <a:cubicBezTo>
                    <a:pt x="361" y="636"/>
                    <a:pt x="362" y="638"/>
                    <a:pt x="362" y="639"/>
                  </a:cubicBezTo>
                  <a:cubicBezTo>
                    <a:pt x="362" y="639"/>
                    <a:pt x="362" y="640"/>
                    <a:pt x="362" y="640"/>
                  </a:cubicBezTo>
                  <a:cubicBezTo>
                    <a:pt x="363" y="642"/>
                    <a:pt x="365" y="641"/>
                    <a:pt x="366" y="641"/>
                  </a:cubicBezTo>
                  <a:cubicBezTo>
                    <a:pt x="367" y="641"/>
                    <a:pt x="367" y="642"/>
                    <a:pt x="368" y="642"/>
                  </a:cubicBezTo>
                  <a:cubicBezTo>
                    <a:pt x="369" y="642"/>
                    <a:pt x="371" y="642"/>
                    <a:pt x="372" y="642"/>
                  </a:cubicBezTo>
                  <a:cubicBezTo>
                    <a:pt x="373" y="641"/>
                    <a:pt x="373" y="641"/>
                    <a:pt x="374" y="640"/>
                  </a:cubicBezTo>
                  <a:cubicBezTo>
                    <a:pt x="375" y="639"/>
                    <a:pt x="375" y="638"/>
                    <a:pt x="375" y="637"/>
                  </a:cubicBezTo>
                  <a:cubicBezTo>
                    <a:pt x="375" y="636"/>
                    <a:pt x="375" y="635"/>
                    <a:pt x="375" y="634"/>
                  </a:cubicBezTo>
                  <a:cubicBezTo>
                    <a:pt x="376" y="633"/>
                    <a:pt x="378" y="630"/>
                    <a:pt x="375" y="629"/>
                  </a:cubicBezTo>
                  <a:cubicBezTo>
                    <a:pt x="373" y="628"/>
                    <a:pt x="371" y="628"/>
                    <a:pt x="369" y="626"/>
                  </a:cubicBezTo>
                  <a:cubicBezTo>
                    <a:pt x="368" y="625"/>
                    <a:pt x="368" y="625"/>
                    <a:pt x="368" y="624"/>
                  </a:cubicBezTo>
                  <a:cubicBezTo>
                    <a:pt x="368" y="623"/>
                    <a:pt x="367" y="623"/>
                    <a:pt x="367" y="623"/>
                  </a:cubicBezTo>
                  <a:cubicBezTo>
                    <a:pt x="367" y="622"/>
                    <a:pt x="368" y="621"/>
                    <a:pt x="368" y="620"/>
                  </a:cubicBezTo>
                  <a:cubicBezTo>
                    <a:pt x="368" y="619"/>
                    <a:pt x="369" y="619"/>
                    <a:pt x="370" y="618"/>
                  </a:cubicBezTo>
                  <a:cubicBezTo>
                    <a:pt x="371" y="618"/>
                    <a:pt x="371" y="617"/>
                    <a:pt x="372" y="616"/>
                  </a:cubicBezTo>
                  <a:cubicBezTo>
                    <a:pt x="372" y="614"/>
                    <a:pt x="373" y="612"/>
                    <a:pt x="372" y="611"/>
                  </a:cubicBezTo>
                  <a:cubicBezTo>
                    <a:pt x="371" y="610"/>
                    <a:pt x="370" y="609"/>
                    <a:pt x="369" y="608"/>
                  </a:cubicBezTo>
                  <a:cubicBezTo>
                    <a:pt x="369" y="608"/>
                    <a:pt x="368" y="607"/>
                    <a:pt x="368" y="607"/>
                  </a:cubicBezTo>
                  <a:cubicBezTo>
                    <a:pt x="367" y="606"/>
                    <a:pt x="366" y="606"/>
                    <a:pt x="366" y="606"/>
                  </a:cubicBezTo>
                  <a:cubicBezTo>
                    <a:pt x="366" y="606"/>
                    <a:pt x="366" y="605"/>
                    <a:pt x="365" y="604"/>
                  </a:cubicBezTo>
                  <a:cubicBezTo>
                    <a:pt x="365" y="604"/>
                    <a:pt x="365" y="604"/>
                    <a:pt x="364" y="603"/>
                  </a:cubicBezTo>
                  <a:cubicBezTo>
                    <a:pt x="364" y="603"/>
                    <a:pt x="363" y="602"/>
                    <a:pt x="363" y="601"/>
                  </a:cubicBezTo>
                  <a:cubicBezTo>
                    <a:pt x="363" y="598"/>
                    <a:pt x="363" y="595"/>
                    <a:pt x="363" y="593"/>
                  </a:cubicBezTo>
                  <a:cubicBezTo>
                    <a:pt x="362" y="592"/>
                    <a:pt x="362" y="592"/>
                    <a:pt x="362" y="592"/>
                  </a:cubicBezTo>
                  <a:cubicBezTo>
                    <a:pt x="362" y="591"/>
                    <a:pt x="362" y="590"/>
                    <a:pt x="362" y="589"/>
                  </a:cubicBezTo>
                  <a:cubicBezTo>
                    <a:pt x="362" y="588"/>
                    <a:pt x="361" y="587"/>
                    <a:pt x="362" y="586"/>
                  </a:cubicBezTo>
                  <a:cubicBezTo>
                    <a:pt x="363" y="586"/>
                    <a:pt x="364" y="586"/>
                    <a:pt x="365" y="585"/>
                  </a:cubicBezTo>
                  <a:cubicBezTo>
                    <a:pt x="365" y="585"/>
                    <a:pt x="366" y="584"/>
                    <a:pt x="367" y="583"/>
                  </a:cubicBezTo>
                  <a:cubicBezTo>
                    <a:pt x="368" y="582"/>
                    <a:pt x="370" y="581"/>
                    <a:pt x="372" y="581"/>
                  </a:cubicBezTo>
                  <a:cubicBezTo>
                    <a:pt x="374" y="581"/>
                    <a:pt x="376" y="580"/>
                    <a:pt x="378" y="579"/>
                  </a:cubicBezTo>
                  <a:cubicBezTo>
                    <a:pt x="380" y="578"/>
                    <a:pt x="382" y="577"/>
                    <a:pt x="384" y="577"/>
                  </a:cubicBezTo>
                  <a:cubicBezTo>
                    <a:pt x="388" y="577"/>
                    <a:pt x="392" y="577"/>
                    <a:pt x="395" y="575"/>
                  </a:cubicBezTo>
                  <a:cubicBezTo>
                    <a:pt x="396" y="574"/>
                    <a:pt x="397" y="574"/>
                    <a:pt x="397" y="573"/>
                  </a:cubicBezTo>
                  <a:cubicBezTo>
                    <a:pt x="398" y="572"/>
                    <a:pt x="398" y="572"/>
                    <a:pt x="398" y="571"/>
                  </a:cubicBezTo>
                  <a:cubicBezTo>
                    <a:pt x="398" y="571"/>
                    <a:pt x="398" y="570"/>
                    <a:pt x="398" y="570"/>
                  </a:cubicBezTo>
                  <a:cubicBezTo>
                    <a:pt x="398" y="569"/>
                    <a:pt x="398" y="568"/>
                    <a:pt x="399" y="568"/>
                  </a:cubicBezTo>
                  <a:cubicBezTo>
                    <a:pt x="399" y="567"/>
                    <a:pt x="399" y="566"/>
                    <a:pt x="399" y="565"/>
                  </a:cubicBezTo>
                  <a:cubicBezTo>
                    <a:pt x="399" y="566"/>
                    <a:pt x="399" y="566"/>
                    <a:pt x="399" y="566"/>
                  </a:cubicBezTo>
                  <a:cubicBezTo>
                    <a:pt x="399" y="565"/>
                    <a:pt x="399" y="564"/>
                    <a:pt x="400" y="564"/>
                  </a:cubicBezTo>
                  <a:cubicBezTo>
                    <a:pt x="400" y="563"/>
                    <a:pt x="399" y="562"/>
                    <a:pt x="400" y="561"/>
                  </a:cubicBezTo>
                  <a:cubicBezTo>
                    <a:pt x="400" y="560"/>
                    <a:pt x="400" y="559"/>
                    <a:pt x="401" y="559"/>
                  </a:cubicBezTo>
                  <a:cubicBezTo>
                    <a:pt x="401" y="558"/>
                    <a:pt x="402" y="556"/>
                    <a:pt x="402" y="556"/>
                  </a:cubicBezTo>
                  <a:cubicBezTo>
                    <a:pt x="403" y="556"/>
                    <a:pt x="404" y="556"/>
                    <a:pt x="405" y="556"/>
                  </a:cubicBezTo>
                  <a:cubicBezTo>
                    <a:pt x="406" y="556"/>
                    <a:pt x="406" y="557"/>
                    <a:pt x="407" y="558"/>
                  </a:cubicBezTo>
                  <a:cubicBezTo>
                    <a:pt x="408" y="559"/>
                    <a:pt x="414" y="560"/>
                    <a:pt x="415" y="559"/>
                  </a:cubicBezTo>
                  <a:cubicBezTo>
                    <a:pt x="416" y="558"/>
                    <a:pt x="417" y="556"/>
                    <a:pt x="417" y="555"/>
                  </a:cubicBezTo>
                  <a:cubicBezTo>
                    <a:pt x="418" y="554"/>
                    <a:pt x="418" y="553"/>
                    <a:pt x="418" y="552"/>
                  </a:cubicBezTo>
                  <a:cubicBezTo>
                    <a:pt x="418" y="551"/>
                    <a:pt x="419" y="550"/>
                    <a:pt x="419" y="548"/>
                  </a:cubicBezTo>
                  <a:cubicBezTo>
                    <a:pt x="419" y="547"/>
                    <a:pt x="419" y="545"/>
                    <a:pt x="419" y="544"/>
                  </a:cubicBezTo>
                  <a:cubicBezTo>
                    <a:pt x="419" y="543"/>
                    <a:pt x="420" y="543"/>
                    <a:pt x="420" y="542"/>
                  </a:cubicBezTo>
                  <a:cubicBezTo>
                    <a:pt x="420" y="541"/>
                    <a:pt x="420" y="540"/>
                    <a:pt x="420" y="540"/>
                  </a:cubicBezTo>
                  <a:cubicBezTo>
                    <a:pt x="420" y="539"/>
                    <a:pt x="421" y="539"/>
                    <a:pt x="421" y="539"/>
                  </a:cubicBezTo>
                  <a:cubicBezTo>
                    <a:pt x="421" y="539"/>
                    <a:pt x="420" y="538"/>
                    <a:pt x="420" y="537"/>
                  </a:cubicBezTo>
                  <a:cubicBezTo>
                    <a:pt x="420" y="536"/>
                    <a:pt x="420" y="534"/>
                    <a:pt x="419" y="533"/>
                  </a:cubicBezTo>
                  <a:cubicBezTo>
                    <a:pt x="418" y="532"/>
                    <a:pt x="417" y="532"/>
                    <a:pt x="417" y="531"/>
                  </a:cubicBezTo>
                  <a:cubicBezTo>
                    <a:pt x="416" y="531"/>
                    <a:pt x="415" y="530"/>
                    <a:pt x="414" y="529"/>
                  </a:cubicBezTo>
                  <a:cubicBezTo>
                    <a:pt x="413" y="528"/>
                    <a:pt x="412" y="527"/>
                    <a:pt x="411" y="527"/>
                  </a:cubicBezTo>
                  <a:cubicBezTo>
                    <a:pt x="410" y="526"/>
                    <a:pt x="410" y="525"/>
                    <a:pt x="410" y="524"/>
                  </a:cubicBezTo>
                  <a:cubicBezTo>
                    <a:pt x="408" y="519"/>
                    <a:pt x="402" y="526"/>
                    <a:pt x="400" y="520"/>
                  </a:cubicBezTo>
                  <a:cubicBezTo>
                    <a:pt x="400" y="519"/>
                    <a:pt x="399" y="518"/>
                    <a:pt x="398" y="517"/>
                  </a:cubicBezTo>
                  <a:cubicBezTo>
                    <a:pt x="398" y="516"/>
                    <a:pt x="397" y="515"/>
                    <a:pt x="397" y="514"/>
                  </a:cubicBezTo>
                  <a:cubicBezTo>
                    <a:pt x="396" y="514"/>
                    <a:pt x="395" y="513"/>
                    <a:pt x="394" y="513"/>
                  </a:cubicBezTo>
                  <a:cubicBezTo>
                    <a:pt x="394" y="512"/>
                    <a:pt x="394" y="512"/>
                    <a:pt x="394" y="512"/>
                  </a:cubicBezTo>
                  <a:cubicBezTo>
                    <a:pt x="393" y="511"/>
                    <a:pt x="391" y="510"/>
                    <a:pt x="390" y="510"/>
                  </a:cubicBezTo>
                  <a:cubicBezTo>
                    <a:pt x="389" y="509"/>
                    <a:pt x="386" y="509"/>
                    <a:pt x="385" y="508"/>
                  </a:cubicBezTo>
                  <a:cubicBezTo>
                    <a:pt x="385" y="507"/>
                    <a:pt x="385" y="507"/>
                    <a:pt x="385" y="507"/>
                  </a:cubicBezTo>
                  <a:cubicBezTo>
                    <a:pt x="385" y="504"/>
                    <a:pt x="384" y="502"/>
                    <a:pt x="382" y="499"/>
                  </a:cubicBezTo>
                  <a:cubicBezTo>
                    <a:pt x="381" y="498"/>
                    <a:pt x="380" y="496"/>
                    <a:pt x="379" y="495"/>
                  </a:cubicBezTo>
                  <a:cubicBezTo>
                    <a:pt x="378" y="494"/>
                    <a:pt x="376" y="493"/>
                    <a:pt x="375" y="491"/>
                  </a:cubicBezTo>
                  <a:cubicBezTo>
                    <a:pt x="374" y="491"/>
                    <a:pt x="374" y="491"/>
                    <a:pt x="373" y="490"/>
                  </a:cubicBezTo>
                  <a:cubicBezTo>
                    <a:pt x="373" y="490"/>
                    <a:pt x="371" y="491"/>
                    <a:pt x="371" y="491"/>
                  </a:cubicBezTo>
                  <a:cubicBezTo>
                    <a:pt x="369" y="491"/>
                    <a:pt x="369" y="490"/>
                    <a:pt x="368" y="490"/>
                  </a:cubicBezTo>
                  <a:cubicBezTo>
                    <a:pt x="367" y="489"/>
                    <a:pt x="365" y="489"/>
                    <a:pt x="365" y="488"/>
                  </a:cubicBezTo>
                  <a:cubicBezTo>
                    <a:pt x="364" y="488"/>
                    <a:pt x="364" y="488"/>
                    <a:pt x="364" y="487"/>
                  </a:cubicBezTo>
                  <a:cubicBezTo>
                    <a:pt x="363" y="485"/>
                    <a:pt x="362" y="484"/>
                    <a:pt x="361" y="483"/>
                  </a:cubicBezTo>
                  <a:cubicBezTo>
                    <a:pt x="360" y="482"/>
                    <a:pt x="360" y="482"/>
                    <a:pt x="360" y="480"/>
                  </a:cubicBezTo>
                  <a:cubicBezTo>
                    <a:pt x="359" y="479"/>
                    <a:pt x="359" y="476"/>
                    <a:pt x="359" y="475"/>
                  </a:cubicBezTo>
                  <a:cubicBezTo>
                    <a:pt x="358" y="474"/>
                    <a:pt x="358" y="474"/>
                    <a:pt x="358" y="473"/>
                  </a:cubicBezTo>
                  <a:cubicBezTo>
                    <a:pt x="357" y="471"/>
                    <a:pt x="356" y="469"/>
                    <a:pt x="355" y="467"/>
                  </a:cubicBezTo>
                  <a:cubicBezTo>
                    <a:pt x="355" y="466"/>
                    <a:pt x="354" y="464"/>
                    <a:pt x="353" y="463"/>
                  </a:cubicBezTo>
                  <a:cubicBezTo>
                    <a:pt x="352" y="462"/>
                    <a:pt x="351" y="461"/>
                    <a:pt x="349" y="460"/>
                  </a:cubicBezTo>
                  <a:cubicBezTo>
                    <a:pt x="348" y="459"/>
                    <a:pt x="348" y="457"/>
                    <a:pt x="349" y="456"/>
                  </a:cubicBezTo>
                  <a:cubicBezTo>
                    <a:pt x="349" y="455"/>
                    <a:pt x="350" y="454"/>
                    <a:pt x="351" y="453"/>
                  </a:cubicBezTo>
                  <a:cubicBezTo>
                    <a:pt x="351" y="452"/>
                    <a:pt x="352" y="451"/>
                    <a:pt x="352" y="451"/>
                  </a:cubicBezTo>
                  <a:cubicBezTo>
                    <a:pt x="353" y="450"/>
                    <a:pt x="354" y="449"/>
                    <a:pt x="354" y="448"/>
                  </a:cubicBezTo>
                  <a:cubicBezTo>
                    <a:pt x="354" y="447"/>
                    <a:pt x="354" y="446"/>
                    <a:pt x="354" y="445"/>
                  </a:cubicBezTo>
                  <a:cubicBezTo>
                    <a:pt x="354" y="444"/>
                    <a:pt x="355" y="443"/>
                    <a:pt x="355" y="442"/>
                  </a:cubicBezTo>
                  <a:cubicBezTo>
                    <a:pt x="354" y="440"/>
                    <a:pt x="352" y="440"/>
                    <a:pt x="351" y="439"/>
                  </a:cubicBezTo>
                  <a:cubicBezTo>
                    <a:pt x="349" y="439"/>
                    <a:pt x="349" y="438"/>
                    <a:pt x="348" y="437"/>
                  </a:cubicBezTo>
                  <a:cubicBezTo>
                    <a:pt x="347" y="436"/>
                    <a:pt x="345" y="436"/>
                    <a:pt x="345" y="435"/>
                  </a:cubicBezTo>
                  <a:cubicBezTo>
                    <a:pt x="343" y="434"/>
                    <a:pt x="344" y="432"/>
                    <a:pt x="342" y="431"/>
                  </a:cubicBezTo>
                  <a:cubicBezTo>
                    <a:pt x="340" y="430"/>
                    <a:pt x="339" y="431"/>
                    <a:pt x="339" y="429"/>
                  </a:cubicBezTo>
                  <a:cubicBezTo>
                    <a:pt x="338" y="427"/>
                    <a:pt x="338" y="426"/>
                    <a:pt x="338" y="424"/>
                  </a:cubicBezTo>
                  <a:cubicBezTo>
                    <a:pt x="338" y="423"/>
                    <a:pt x="338" y="421"/>
                    <a:pt x="337" y="419"/>
                  </a:cubicBezTo>
                  <a:cubicBezTo>
                    <a:pt x="337" y="416"/>
                    <a:pt x="331" y="416"/>
                    <a:pt x="332" y="412"/>
                  </a:cubicBezTo>
                  <a:cubicBezTo>
                    <a:pt x="333" y="412"/>
                    <a:pt x="333" y="412"/>
                    <a:pt x="333" y="411"/>
                  </a:cubicBezTo>
                  <a:cubicBezTo>
                    <a:pt x="333" y="411"/>
                    <a:pt x="333" y="411"/>
                    <a:pt x="333" y="410"/>
                  </a:cubicBezTo>
                  <a:cubicBezTo>
                    <a:pt x="334" y="409"/>
                    <a:pt x="334" y="409"/>
                    <a:pt x="336" y="408"/>
                  </a:cubicBezTo>
                  <a:cubicBezTo>
                    <a:pt x="338" y="407"/>
                    <a:pt x="339" y="411"/>
                    <a:pt x="339" y="413"/>
                  </a:cubicBezTo>
                  <a:cubicBezTo>
                    <a:pt x="339" y="414"/>
                    <a:pt x="339" y="415"/>
                    <a:pt x="340" y="416"/>
                  </a:cubicBezTo>
                  <a:cubicBezTo>
                    <a:pt x="340" y="417"/>
                    <a:pt x="341" y="417"/>
                    <a:pt x="342" y="418"/>
                  </a:cubicBezTo>
                  <a:cubicBezTo>
                    <a:pt x="342" y="418"/>
                    <a:pt x="342" y="419"/>
                    <a:pt x="342" y="419"/>
                  </a:cubicBezTo>
                  <a:cubicBezTo>
                    <a:pt x="342" y="420"/>
                    <a:pt x="342" y="419"/>
                    <a:pt x="343" y="420"/>
                  </a:cubicBezTo>
                  <a:cubicBezTo>
                    <a:pt x="343" y="421"/>
                    <a:pt x="343" y="421"/>
                    <a:pt x="343" y="422"/>
                  </a:cubicBezTo>
                  <a:cubicBezTo>
                    <a:pt x="344" y="421"/>
                    <a:pt x="344" y="420"/>
                    <a:pt x="344" y="419"/>
                  </a:cubicBezTo>
                  <a:cubicBezTo>
                    <a:pt x="345" y="417"/>
                    <a:pt x="346" y="417"/>
                    <a:pt x="346" y="416"/>
                  </a:cubicBezTo>
                  <a:cubicBezTo>
                    <a:pt x="346" y="415"/>
                    <a:pt x="346" y="414"/>
                    <a:pt x="346" y="413"/>
                  </a:cubicBezTo>
                  <a:cubicBezTo>
                    <a:pt x="346" y="413"/>
                    <a:pt x="347" y="412"/>
                    <a:pt x="348" y="411"/>
                  </a:cubicBezTo>
                  <a:cubicBezTo>
                    <a:pt x="349" y="409"/>
                    <a:pt x="351" y="408"/>
                    <a:pt x="353" y="407"/>
                  </a:cubicBezTo>
                  <a:cubicBezTo>
                    <a:pt x="354" y="406"/>
                    <a:pt x="355" y="404"/>
                    <a:pt x="357" y="404"/>
                  </a:cubicBezTo>
                  <a:cubicBezTo>
                    <a:pt x="357" y="403"/>
                    <a:pt x="358" y="403"/>
                    <a:pt x="359" y="402"/>
                  </a:cubicBezTo>
                  <a:cubicBezTo>
                    <a:pt x="360" y="402"/>
                    <a:pt x="360" y="400"/>
                    <a:pt x="361" y="401"/>
                  </a:cubicBezTo>
                  <a:cubicBezTo>
                    <a:pt x="362" y="401"/>
                    <a:pt x="362" y="402"/>
                    <a:pt x="363" y="402"/>
                  </a:cubicBezTo>
                  <a:cubicBezTo>
                    <a:pt x="364" y="403"/>
                    <a:pt x="364" y="402"/>
                    <a:pt x="365" y="402"/>
                  </a:cubicBezTo>
                  <a:cubicBezTo>
                    <a:pt x="367" y="402"/>
                    <a:pt x="368" y="402"/>
                    <a:pt x="369" y="400"/>
                  </a:cubicBezTo>
                  <a:cubicBezTo>
                    <a:pt x="370" y="400"/>
                    <a:pt x="370" y="398"/>
                    <a:pt x="370" y="398"/>
                  </a:cubicBezTo>
                  <a:cubicBezTo>
                    <a:pt x="371" y="398"/>
                    <a:pt x="373" y="398"/>
                    <a:pt x="373" y="398"/>
                  </a:cubicBezTo>
                  <a:cubicBezTo>
                    <a:pt x="374" y="398"/>
                    <a:pt x="374" y="399"/>
                    <a:pt x="375" y="399"/>
                  </a:cubicBezTo>
                  <a:cubicBezTo>
                    <a:pt x="376" y="399"/>
                    <a:pt x="377" y="398"/>
                    <a:pt x="379" y="399"/>
                  </a:cubicBezTo>
                  <a:cubicBezTo>
                    <a:pt x="379" y="399"/>
                    <a:pt x="380" y="400"/>
                    <a:pt x="380" y="400"/>
                  </a:cubicBezTo>
                  <a:cubicBezTo>
                    <a:pt x="381" y="401"/>
                    <a:pt x="381" y="400"/>
                    <a:pt x="382" y="399"/>
                  </a:cubicBezTo>
                  <a:cubicBezTo>
                    <a:pt x="382" y="398"/>
                    <a:pt x="383" y="398"/>
                    <a:pt x="384" y="397"/>
                  </a:cubicBezTo>
                  <a:cubicBezTo>
                    <a:pt x="385" y="396"/>
                    <a:pt x="386" y="395"/>
                    <a:pt x="386" y="394"/>
                  </a:cubicBezTo>
                  <a:cubicBezTo>
                    <a:pt x="388" y="392"/>
                    <a:pt x="388" y="392"/>
                    <a:pt x="391" y="392"/>
                  </a:cubicBezTo>
                  <a:cubicBezTo>
                    <a:pt x="391" y="392"/>
                    <a:pt x="392" y="392"/>
                    <a:pt x="392" y="392"/>
                  </a:cubicBezTo>
                  <a:cubicBezTo>
                    <a:pt x="392" y="392"/>
                    <a:pt x="392" y="391"/>
                    <a:pt x="392" y="391"/>
                  </a:cubicBezTo>
                  <a:cubicBezTo>
                    <a:pt x="393" y="391"/>
                    <a:pt x="394" y="390"/>
                    <a:pt x="394" y="390"/>
                  </a:cubicBezTo>
                  <a:cubicBezTo>
                    <a:pt x="394" y="389"/>
                    <a:pt x="395" y="389"/>
                    <a:pt x="395" y="388"/>
                  </a:cubicBezTo>
                  <a:cubicBezTo>
                    <a:pt x="395" y="387"/>
                    <a:pt x="395" y="386"/>
                    <a:pt x="396" y="386"/>
                  </a:cubicBezTo>
                  <a:cubicBezTo>
                    <a:pt x="397" y="384"/>
                    <a:pt x="399" y="387"/>
                    <a:pt x="401" y="387"/>
                  </a:cubicBezTo>
                  <a:cubicBezTo>
                    <a:pt x="401" y="386"/>
                    <a:pt x="401" y="385"/>
                    <a:pt x="402" y="384"/>
                  </a:cubicBezTo>
                  <a:cubicBezTo>
                    <a:pt x="402" y="383"/>
                    <a:pt x="402" y="383"/>
                    <a:pt x="402" y="383"/>
                  </a:cubicBezTo>
                  <a:cubicBezTo>
                    <a:pt x="402" y="382"/>
                    <a:pt x="402" y="381"/>
                    <a:pt x="402" y="381"/>
                  </a:cubicBezTo>
                  <a:cubicBezTo>
                    <a:pt x="403" y="379"/>
                    <a:pt x="405" y="380"/>
                    <a:pt x="405" y="381"/>
                  </a:cubicBezTo>
                  <a:cubicBezTo>
                    <a:pt x="406" y="381"/>
                    <a:pt x="406" y="383"/>
                    <a:pt x="406" y="384"/>
                  </a:cubicBezTo>
                  <a:cubicBezTo>
                    <a:pt x="407" y="384"/>
                    <a:pt x="409" y="384"/>
                    <a:pt x="409" y="384"/>
                  </a:cubicBezTo>
                  <a:cubicBezTo>
                    <a:pt x="410" y="384"/>
                    <a:pt x="411" y="384"/>
                    <a:pt x="412" y="383"/>
                  </a:cubicBezTo>
                  <a:cubicBezTo>
                    <a:pt x="413" y="383"/>
                    <a:pt x="412" y="381"/>
                    <a:pt x="412" y="380"/>
                  </a:cubicBezTo>
                  <a:cubicBezTo>
                    <a:pt x="412" y="379"/>
                    <a:pt x="412" y="377"/>
                    <a:pt x="413" y="376"/>
                  </a:cubicBezTo>
                  <a:cubicBezTo>
                    <a:pt x="413" y="375"/>
                    <a:pt x="414" y="375"/>
                    <a:pt x="414" y="375"/>
                  </a:cubicBezTo>
                  <a:cubicBezTo>
                    <a:pt x="415" y="374"/>
                    <a:pt x="416" y="373"/>
                    <a:pt x="417" y="373"/>
                  </a:cubicBezTo>
                  <a:cubicBezTo>
                    <a:pt x="418" y="373"/>
                    <a:pt x="418" y="373"/>
                    <a:pt x="419" y="373"/>
                  </a:cubicBezTo>
                  <a:cubicBezTo>
                    <a:pt x="421" y="373"/>
                    <a:pt x="422" y="372"/>
                    <a:pt x="424" y="372"/>
                  </a:cubicBezTo>
                  <a:cubicBezTo>
                    <a:pt x="425" y="372"/>
                    <a:pt x="427" y="371"/>
                    <a:pt x="428" y="371"/>
                  </a:cubicBezTo>
                  <a:cubicBezTo>
                    <a:pt x="429" y="371"/>
                    <a:pt x="430" y="371"/>
                    <a:pt x="431" y="371"/>
                  </a:cubicBezTo>
                  <a:cubicBezTo>
                    <a:pt x="432" y="371"/>
                    <a:pt x="432" y="370"/>
                    <a:pt x="433" y="369"/>
                  </a:cubicBezTo>
                  <a:cubicBezTo>
                    <a:pt x="434" y="369"/>
                    <a:pt x="435" y="368"/>
                    <a:pt x="436" y="367"/>
                  </a:cubicBezTo>
                  <a:cubicBezTo>
                    <a:pt x="436" y="367"/>
                    <a:pt x="436" y="366"/>
                    <a:pt x="436" y="366"/>
                  </a:cubicBezTo>
                  <a:cubicBezTo>
                    <a:pt x="436" y="365"/>
                    <a:pt x="439" y="364"/>
                    <a:pt x="440" y="364"/>
                  </a:cubicBezTo>
                  <a:cubicBezTo>
                    <a:pt x="441" y="364"/>
                    <a:pt x="442" y="365"/>
                    <a:pt x="443" y="364"/>
                  </a:cubicBezTo>
                  <a:cubicBezTo>
                    <a:pt x="444" y="364"/>
                    <a:pt x="445" y="362"/>
                    <a:pt x="446" y="363"/>
                  </a:cubicBezTo>
                  <a:cubicBezTo>
                    <a:pt x="447" y="364"/>
                    <a:pt x="447" y="363"/>
                    <a:pt x="448" y="363"/>
                  </a:cubicBezTo>
                  <a:cubicBezTo>
                    <a:pt x="449" y="362"/>
                    <a:pt x="451" y="361"/>
                    <a:pt x="452" y="360"/>
                  </a:cubicBezTo>
                  <a:cubicBezTo>
                    <a:pt x="454" y="360"/>
                    <a:pt x="456" y="359"/>
                    <a:pt x="458" y="358"/>
                  </a:cubicBezTo>
                  <a:cubicBezTo>
                    <a:pt x="459" y="357"/>
                    <a:pt x="460" y="357"/>
                    <a:pt x="460" y="356"/>
                  </a:cubicBezTo>
                  <a:cubicBezTo>
                    <a:pt x="461" y="355"/>
                    <a:pt x="457" y="353"/>
                    <a:pt x="457" y="352"/>
                  </a:cubicBezTo>
                  <a:cubicBezTo>
                    <a:pt x="455" y="351"/>
                    <a:pt x="453" y="350"/>
                    <a:pt x="452" y="349"/>
                  </a:cubicBezTo>
                  <a:cubicBezTo>
                    <a:pt x="454" y="349"/>
                    <a:pt x="457" y="348"/>
                    <a:pt x="459" y="347"/>
                  </a:cubicBezTo>
                  <a:cubicBezTo>
                    <a:pt x="460" y="346"/>
                    <a:pt x="461" y="344"/>
                    <a:pt x="462" y="344"/>
                  </a:cubicBezTo>
                  <a:cubicBezTo>
                    <a:pt x="464" y="343"/>
                    <a:pt x="464" y="343"/>
                    <a:pt x="465" y="344"/>
                  </a:cubicBezTo>
                  <a:cubicBezTo>
                    <a:pt x="466" y="345"/>
                    <a:pt x="467" y="346"/>
                    <a:pt x="468" y="347"/>
                  </a:cubicBezTo>
                  <a:cubicBezTo>
                    <a:pt x="470" y="347"/>
                    <a:pt x="473" y="351"/>
                    <a:pt x="473" y="353"/>
                  </a:cubicBezTo>
                  <a:cubicBezTo>
                    <a:pt x="472" y="354"/>
                    <a:pt x="472" y="355"/>
                    <a:pt x="471" y="356"/>
                  </a:cubicBezTo>
                  <a:cubicBezTo>
                    <a:pt x="470" y="358"/>
                    <a:pt x="470" y="358"/>
                    <a:pt x="472" y="359"/>
                  </a:cubicBezTo>
                  <a:cubicBezTo>
                    <a:pt x="473" y="359"/>
                    <a:pt x="475" y="360"/>
                    <a:pt x="476" y="361"/>
                  </a:cubicBezTo>
                  <a:cubicBezTo>
                    <a:pt x="476" y="361"/>
                    <a:pt x="476" y="361"/>
                    <a:pt x="476" y="362"/>
                  </a:cubicBezTo>
                  <a:cubicBezTo>
                    <a:pt x="476" y="363"/>
                    <a:pt x="476" y="364"/>
                    <a:pt x="477" y="365"/>
                  </a:cubicBezTo>
                  <a:cubicBezTo>
                    <a:pt x="477" y="365"/>
                    <a:pt x="480" y="365"/>
                    <a:pt x="481" y="365"/>
                  </a:cubicBezTo>
                  <a:cubicBezTo>
                    <a:pt x="482" y="365"/>
                    <a:pt x="483" y="364"/>
                    <a:pt x="484" y="363"/>
                  </a:cubicBezTo>
                  <a:cubicBezTo>
                    <a:pt x="485" y="362"/>
                    <a:pt x="487" y="359"/>
                    <a:pt x="489" y="361"/>
                  </a:cubicBezTo>
                  <a:cubicBezTo>
                    <a:pt x="488" y="360"/>
                    <a:pt x="488" y="357"/>
                    <a:pt x="488" y="356"/>
                  </a:cubicBezTo>
                  <a:cubicBezTo>
                    <a:pt x="489" y="355"/>
                    <a:pt x="492" y="354"/>
                    <a:pt x="491" y="352"/>
                  </a:cubicBezTo>
                  <a:cubicBezTo>
                    <a:pt x="491" y="351"/>
                    <a:pt x="490" y="351"/>
                    <a:pt x="490" y="349"/>
                  </a:cubicBezTo>
                  <a:cubicBezTo>
                    <a:pt x="490" y="346"/>
                    <a:pt x="492" y="345"/>
                    <a:pt x="492" y="343"/>
                  </a:cubicBezTo>
                  <a:cubicBezTo>
                    <a:pt x="493" y="341"/>
                    <a:pt x="492" y="339"/>
                    <a:pt x="493" y="337"/>
                  </a:cubicBezTo>
                  <a:cubicBezTo>
                    <a:pt x="493" y="335"/>
                    <a:pt x="493" y="334"/>
                    <a:pt x="494" y="332"/>
                  </a:cubicBezTo>
                  <a:cubicBezTo>
                    <a:pt x="495" y="330"/>
                    <a:pt x="495" y="328"/>
                    <a:pt x="496" y="326"/>
                  </a:cubicBezTo>
                  <a:cubicBezTo>
                    <a:pt x="496" y="324"/>
                    <a:pt x="496" y="325"/>
                    <a:pt x="496" y="323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0" name="Freeform 110"/>
            <p:cNvSpPr>
              <a:spLocks/>
            </p:cNvSpPr>
            <p:nvPr/>
          </p:nvSpPr>
          <p:spPr bwMode="auto">
            <a:xfrm>
              <a:off x="4314825" y="3700463"/>
              <a:ext cx="23813" cy="61913"/>
            </a:xfrm>
            <a:custGeom>
              <a:avLst/>
              <a:gdLst/>
              <a:ahLst/>
              <a:cxnLst>
                <a:cxn ang="0">
                  <a:pos x="12" y="2"/>
                </a:cxn>
                <a:cxn ang="0">
                  <a:pos x="9" y="1"/>
                </a:cxn>
                <a:cxn ang="0">
                  <a:pos x="7" y="3"/>
                </a:cxn>
                <a:cxn ang="0">
                  <a:pos x="6" y="6"/>
                </a:cxn>
                <a:cxn ang="0">
                  <a:pos x="5" y="10"/>
                </a:cxn>
                <a:cxn ang="0">
                  <a:pos x="4" y="13"/>
                </a:cxn>
                <a:cxn ang="0">
                  <a:pos x="3" y="15"/>
                </a:cxn>
                <a:cxn ang="0">
                  <a:pos x="3" y="18"/>
                </a:cxn>
                <a:cxn ang="0">
                  <a:pos x="1" y="23"/>
                </a:cxn>
                <a:cxn ang="0">
                  <a:pos x="1" y="27"/>
                </a:cxn>
                <a:cxn ang="0">
                  <a:pos x="1" y="32"/>
                </a:cxn>
                <a:cxn ang="0">
                  <a:pos x="2" y="32"/>
                </a:cxn>
                <a:cxn ang="0">
                  <a:pos x="4" y="31"/>
                </a:cxn>
                <a:cxn ang="0">
                  <a:pos x="4" y="25"/>
                </a:cxn>
                <a:cxn ang="0">
                  <a:pos x="4" y="23"/>
                </a:cxn>
                <a:cxn ang="0">
                  <a:pos x="5" y="20"/>
                </a:cxn>
                <a:cxn ang="0">
                  <a:pos x="6" y="18"/>
                </a:cxn>
                <a:cxn ang="0">
                  <a:pos x="8" y="20"/>
                </a:cxn>
                <a:cxn ang="0">
                  <a:pos x="8" y="21"/>
                </a:cxn>
                <a:cxn ang="0">
                  <a:pos x="10" y="21"/>
                </a:cxn>
                <a:cxn ang="0">
                  <a:pos x="12" y="21"/>
                </a:cxn>
                <a:cxn ang="0">
                  <a:pos x="12" y="18"/>
                </a:cxn>
                <a:cxn ang="0">
                  <a:pos x="9" y="16"/>
                </a:cxn>
                <a:cxn ang="0">
                  <a:pos x="9" y="15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8" y="14"/>
                </a:cxn>
                <a:cxn ang="0">
                  <a:pos x="8" y="12"/>
                </a:cxn>
                <a:cxn ang="0">
                  <a:pos x="8" y="9"/>
                </a:cxn>
                <a:cxn ang="0">
                  <a:pos x="11" y="5"/>
                </a:cxn>
                <a:cxn ang="0">
                  <a:pos x="11" y="4"/>
                </a:cxn>
                <a:cxn ang="0">
                  <a:pos x="11" y="3"/>
                </a:cxn>
              </a:cxnLst>
              <a:rect l="0" t="0" r="r" b="b"/>
              <a:pathLst>
                <a:path w="13" h="33">
                  <a:moveTo>
                    <a:pt x="12" y="2"/>
                  </a:moveTo>
                  <a:cubicBezTo>
                    <a:pt x="12" y="1"/>
                    <a:pt x="10" y="0"/>
                    <a:pt x="9" y="1"/>
                  </a:cubicBezTo>
                  <a:cubicBezTo>
                    <a:pt x="8" y="2"/>
                    <a:pt x="8" y="2"/>
                    <a:pt x="7" y="3"/>
                  </a:cubicBezTo>
                  <a:cubicBezTo>
                    <a:pt x="7" y="4"/>
                    <a:pt x="7" y="5"/>
                    <a:pt x="6" y="6"/>
                  </a:cubicBezTo>
                  <a:cubicBezTo>
                    <a:pt x="6" y="7"/>
                    <a:pt x="5" y="8"/>
                    <a:pt x="5" y="10"/>
                  </a:cubicBezTo>
                  <a:cubicBezTo>
                    <a:pt x="4" y="11"/>
                    <a:pt x="4" y="12"/>
                    <a:pt x="4" y="13"/>
                  </a:cubicBezTo>
                  <a:cubicBezTo>
                    <a:pt x="4" y="14"/>
                    <a:pt x="3" y="15"/>
                    <a:pt x="3" y="15"/>
                  </a:cubicBezTo>
                  <a:cubicBezTo>
                    <a:pt x="3" y="16"/>
                    <a:pt x="3" y="17"/>
                    <a:pt x="3" y="18"/>
                  </a:cubicBezTo>
                  <a:cubicBezTo>
                    <a:pt x="2" y="19"/>
                    <a:pt x="2" y="21"/>
                    <a:pt x="1" y="23"/>
                  </a:cubicBezTo>
                  <a:cubicBezTo>
                    <a:pt x="1" y="24"/>
                    <a:pt x="1" y="26"/>
                    <a:pt x="1" y="27"/>
                  </a:cubicBezTo>
                  <a:cubicBezTo>
                    <a:pt x="1" y="29"/>
                    <a:pt x="0" y="31"/>
                    <a:pt x="1" y="32"/>
                  </a:cubicBezTo>
                  <a:cubicBezTo>
                    <a:pt x="1" y="33"/>
                    <a:pt x="2" y="32"/>
                    <a:pt x="2" y="32"/>
                  </a:cubicBezTo>
                  <a:cubicBezTo>
                    <a:pt x="3" y="32"/>
                    <a:pt x="3" y="32"/>
                    <a:pt x="4" y="31"/>
                  </a:cubicBezTo>
                  <a:cubicBezTo>
                    <a:pt x="4" y="29"/>
                    <a:pt x="3" y="27"/>
                    <a:pt x="4" y="25"/>
                  </a:cubicBezTo>
                  <a:cubicBezTo>
                    <a:pt x="4" y="24"/>
                    <a:pt x="4" y="24"/>
                    <a:pt x="4" y="23"/>
                  </a:cubicBezTo>
                  <a:cubicBezTo>
                    <a:pt x="5" y="22"/>
                    <a:pt x="5" y="21"/>
                    <a:pt x="5" y="20"/>
                  </a:cubicBezTo>
                  <a:cubicBezTo>
                    <a:pt x="5" y="19"/>
                    <a:pt x="5" y="18"/>
                    <a:pt x="6" y="18"/>
                  </a:cubicBezTo>
                  <a:cubicBezTo>
                    <a:pt x="7" y="19"/>
                    <a:pt x="8" y="20"/>
                    <a:pt x="8" y="20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9" y="21"/>
                    <a:pt x="9" y="21"/>
                    <a:pt x="10" y="21"/>
                  </a:cubicBezTo>
                  <a:cubicBezTo>
                    <a:pt x="11" y="21"/>
                    <a:pt x="11" y="21"/>
                    <a:pt x="12" y="21"/>
                  </a:cubicBezTo>
                  <a:cubicBezTo>
                    <a:pt x="12" y="20"/>
                    <a:pt x="13" y="19"/>
                    <a:pt x="12" y="18"/>
                  </a:cubicBezTo>
                  <a:cubicBezTo>
                    <a:pt x="12" y="17"/>
                    <a:pt x="10" y="17"/>
                    <a:pt x="9" y="16"/>
                  </a:cubicBezTo>
                  <a:cubicBezTo>
                    <a:pt x="9" y="16"/>
                    <a:pt x="9" y="16"/>
                    <a:pt x="9" y="15"/>
                  </a:cubicBezTo>
                  <a:cubicBezTo>
                    <a:pt x="8" y="15"/>
                    <a:pt x="9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3"/>
                    <a:pt x="8" y="12"/>
                    <a:pt x="8" y="12"/>
                  </a:cubicBezTo>
                  <a:cubicBezTo>
                    <a:pt x="8" y="11"/>
                    <a:pt x="8" y="10"/>
                    <a:pt x="8" y="9"/>
                  </a:cubicBezTo>
                  <a:cubicBezTo>
                    <a:pt x="8" y="8"/>
                    <a:pt x="10" y="6"/>
                    <a:pt x="11" y="5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3"/>
                    <a:pt x="11" y="3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1" name="Freeform 111"/>
            <p:cNvSpPr>
              <a:spLocks/>
            </p:cNvSpPr>
            <p:nvPr/>
          </p:nvSpPr>
          <p:spPr bwMode="auto">
            <a:xfrm>
              <a:off x="4332288" y="3754438"/>
              <a:ext cx="17463" cy="17463"/>
            </a:xfrm>
            <a:custGeom>
              <a:avLst/>
              <a:gdLst/>
              <a:ahLst/>
              <a:cxnLst>
                <a:cxn ang="0">
                  <a:pos x="6" y="1"/>
                </a:cxn>
                <a:cxn ang="0">
                  <a:pos x="5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5"/>
                </a:cxn>
                <a:cxn ang="0">
                  <a:pos x="4" y="8"/>
                </a:cxn>
                <a:cxn ang="0">
                  <a:pos x="9" y="8"/>
                </a:cxn>
                <a:cxn ang="0">
                  <a:pos x="9" y="4"/>
                </a:cxn>
                <a:cxn ang="0">
                  <a:pos x="8" y="2"/>
                </a:cxn>
                <a:cxn ang="0">
                  <a:pos x="7" y="1"/>
                </a:cxn>
              </a:cxnLst>
              <a:rect l="0" t="0" r="r" b="b"/>
              <a:pathLst>
                <a:path w="9" h="9">
                  <a:moveTo>
                    <a:pt x="6" y="1"/>
                  </a:move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2" y="6"/>
                    <a:pt x="3" y="7"/>
                    <a:pt x="4" y="8"/>
                  </a:cubicBezTo>
                  <a:cubicBezTo>
                    <a:pt x="5" y="8"/>
                    <a:pt x="8" y="9"/>
                    <a:pt x="9" y="8"/>
                  </a:cubicBezTo>
                  <a:cubicBezTo>
                    <a:pt x="9" y="7"/>
                    <a:pt x="9" y="5"/>
                    <a:pt x="9" y="4"/>
                  </a:cubicBezTo>
                  <a:cubicBezTo>
                    <a:pt x="9" y="3"/>
                    <a:pt x="9" y="3"/>
                    <a:pt x="8" y="2"/>
                  </a:cubicBezTo>
                  <a:cubicBezTo>
                    <a:pt x="8" y="1"/>
                    <a:pt x="8" y="1"/>
                    <a:pt x="7" y="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2" name="Freeform 112"/>
            <p:cNvSpPr>
              <a:spLocks/>
            </p:cNvSpPr>
            <p:nvPr/>
          </p:nvSpPr>
          <p:spPr bwMode="auto">
            <a:xfrm>
              <a:off x="4322763" y="3773488"/>
              <a:ext cx="7938" cy="793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2" y="3"/>
                </a:cxn>
                <a:cxn ang="0">
                  <a:pos x="3" y="4"/>
                </a:cxn>
                <a:cxn ang="0">
                  <a:pos x="4" y="2"/>
                </a:cxn>
                <a:cxn ang="0">
                  <a:pos x="3" y="1"/>
                </a:cxn>
                <a:cxn ang="0">
                  <a:pos x="3" y="0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4" y="1"/>
                    <a:pt x="4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3" name="Freeform 113"/>
            <p:cNvSpPr>
              <a:spLocks/>
            </p:cNvSpPr>
            <p:nvPr/>
          </p:nvSpPr>
          <p:spPr bwMode="auto">
            <a:xfrm>
              <a:off x="4352925" y="3792538"/>
              <a:ext cx="7938" cy="9525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1" y="5"/>
                </a:cxn>
                <a:cxn ang="0">
                  <a:pos x="3" y="4"/>
                </a:cxn>
                <a:cxn ang="0">
                  <a:pos x="4" y="2"/>
                </a:cxn>
                <a:cxn ang="0">
                  <a:pos x="2" y="1"/>
                </a:cxn>
              </a:cxnLst>
              <a:rect l="0" t="0" r="r" b="b"/>
              <a:pathLst>
                <a:path w="4" h="5">
                  <a:moveTo>
                    <a:pt x="3" y="1"/>
                  </a:moveTo>
                  <a:cubicBezTo>
                    <a:pt x="2" y="0"/>
                    <a:pt x="1" y="1"/>
                    <a:pt x="0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2" y="5"/>
                    <a:pt x="2" y="5"/>
                    <a:pt x="3" y="4"/>
                  </a:cubicBezTo>
                  <a:cubicBezTo>
                    <a:pt x="3" y="4"/>
                    <a:pt x="4" y="3"/>
                    <a:pt x="4" y="2"/>
                  </a:cubicBezTo>
                  <a:cubicBezTo>
                    <a:pt x="4" y="1"/>
                    <a:pt x="3" y="1"/>
                    <a:pt x="2" y="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4" name="Freeform 114"/>
            <p:cNvSpPr>
              <a:spLocks/>
            </p:cNvSpPr>
            <p:nvPr/>
          </p:nvSpPr>
          <p:spPr bwMode="auto">
            <a:xfrm>
              <a:off x="4151313" y="3949700"/>
              <a:ext cx="17463" cy="952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3" y="1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8" y="2"/>
                </a:cxn>
                <a:cxn ang="0">
                  <a:pos x="5" y="0"/>
                </a:cxn>
                <a:cxn ang="0">
                  <a:pos x="7" y="0"/>
                </a:cxn>
              </a:cxnLst>
              <a:rect l="0" t="0" r="r" b="b"/>
              <a:pathLst>
                <a:path w="9" h="5">
                  <a:moveTo>
                    <a:pt x="7" y="0"/>
                  </a:moveTo>
                  <a:cubicBezTo>
                    <a:pt x="5" y="0"/>
                    <a:pt x="4" y="0"/>
                    <a:pt x="3" y="1"/>
                  </a:cubicBezTo>
                  <a:cubicBezTo>
                    <a:pt x="2" y="1"/>
                    <a:pt x="0" y="2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5"/>
                    <a:pt x="1" y="5"/>
                    <a:pt x="2" y="5"/>
                  </a:cubicBezTo>
                  <a:cubicBezTo>
                    <a:pt x="4" y="5"/>
                    <a:pt x="7" y="4"/>
                    <a:pt x="8" y="2"/>
                  </a:cubicBezTo>
                  <a:cubicBezTo>
                    <a:pt x="9" y="1"/>
                    <a:pt x="7" y="0"/>
                    <a:pt x="5" y="0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5" name="Freeform 115"/>
            <p:cNvSpPr>
              <a:spLocks/>
            </p:cNvSpPr>
            <p:nvPr/>
          </p:nvSpPr>
          <p:spPr bwMode="auto">
            <a:xfrm>
              <a:off x="4175125" y="3938588"/>
              <a:ext cx="26988" cy="4763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6" y="1"/>
                </a:cxn>
                <a:cxn ang="0">
                  <a:pos x="4" y="1"/>
                </a:cxn>
                <a:cxn ang="0">
                  <a:pos x="3" y="1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3" y="3"/>
                </a:cxn>
                <a:cxn ang="0">
                  <a:pos x="7" y="3"/>
                </a:cxn>
                <a:cxn ang="0">
                  <a:pos x="13" y="2"/>
                </a:cxn>
                <a:cxn ang="0">
                  <a:pos x="14" y="1"/>
                </a:cxn>
                <a:cxn ang="0">
                  <a:pos x="12" y="0"/>
                </a:cxn>
              </a:cxnLst>
              <a:rect l="0" t="0" r="r" b="b"/>
              <a:pathLst>
                <a:path w="14" h="3">
                  <a:moveTo>
                    <a:pt x="12" y="0"/>
                  </a:moveTo>
                  <a:cubicBezTo>
                    <a:pt x="10" y="1"/>
                    <a:pt x="8" y="1"/>
                    <a:pt x="6" y="1"/>
                  </a:cubicBezTo>
                  <a:cubicBezTo>
                    <a:pt x="6" y="1"/>
                    <a:pt x="5" y="1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2" y="2"/>
                    <a:pt x="1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5" y="3"/>
                    <a:pt x="6" y="3"/>
                    <a:pt x="7" y="3"/>
                  </a:cubicBezTo>
                  <a:cubicBezTo>
                    <a:pt x="9" y="2"/>
                    <a:pt x="11" y="2"/>
                    <a:pt x="13" y="2"/>
                  </a:cubicBezTo>
                  <a:cubicBezTo>
                    <a:pt x="13" y="1"/>
                    <a:pt x="14" y="1"/>
                    <a:pt x="14" y="1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6" name="Freeform 116"/>
            <p:cNvSpPr>
              <a:spLocks/>
            </p:cNvSpPr>
            <p:nvPr/>
          </p:nvSpPr>
          <p:spPr bwMode="auto">
            <a:xfrm>
              <a:off x="4227513" y="3927475"/>
              <a:ext cx="17463" cy="317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" y="0"/>
                </a:cxn>
                <a:cxn ang="0">
                  <a:pos x="1" y="1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7" y="1"/>
                </a:cxn>
                <a:cxn ang="0">
                  <a:pos x="9" y="1"/>
                </a:cxn>
                <a:cxn ang="0">
                  <a:pos x="7" y="0"/>
                </a:cxn>
              </a:cxnLst>
              <a:rect l="0" t="0" r="r" b="b"/>
              <a:pathLst>
                <a:path w="9" h="2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4" y="1"/>
                    <a:pt x="2" y="1"/>
                    <a:pt x="1" y="1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5" y="2"/>
                    <a:pt x="6" y="2"/>
                    <a:pt x="7" y="1"/>
                  </a:cubicBezTo>
                  <a:cubicBezTo>
                    <a:pt x="8" y="1"/>
                    <a:pt x="9" y="1"/>
                    <a:pt x="9" y="1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7" name="Freeform 117"/>
            <p:cNvSpPr>
              <a:spLocks/>
            </p:cNvSpPr>
            <p:nvPr/>
          </p:nvSpPr>
          <p:spPr bwMode="auto">
            <a:xfrm>
              <a:off x="4206875" y="3932238"/>
              <a:ext cx="17463" cy="1588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3" y="1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7" y="0"/>
                </a:cxn>
              </a:cxnLst>
              <a:rect l="0" t="0" r="r" b="b"/>
              <a:pathLst>
                <a:path w="9" h="1">
                  <a:moveTo>
                    <a:pt x="7" y="0"/>
                  </a:move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4" y="1"/>
                    <a:pt x="6" y="1"/>
                    <a:pt x="7" y="0"/>
                  </a:cubicBezTo>
                  <a:cubicBezTo>
                    <a:pt x="7" y="0"/>
                    <a:pt x="9" y="0"/>
                    <a:pt x="9" y="0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8" name="Freeform 118"/>
            <p:cNvSpPr>
              <a:spLocks/>
            </p:cNvSpPr>
            <p:nvPr/>
          </p:nvSpPr>
          <p:spPr bwMode="auto">
            <a:xfrm>
              <a:off x="4252913" y="3919538"/>
              <a:ext cx="23813" cy="7938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7" y="0"/>
                </a:cxn>
                <a:cxn ang="0">
                  <a:pos x="1" y="2"/>
                </a:cxn>
                <a:cxn ang="0">
                  <a:pos x="2" y="4"/>
                </a:cxn>
                <a:cxn ang="0">
                  <a:pos x="5" y="4"/>
                </a:cxn>
                <a:cxn ang="0">
                  <a:pos x="10" y="2"/>
                </a:cxn>
                <a:cxn ang="0">
                  <a:pos x="13" y="0"/>
                </a:cxn>
                <a:cxn ang="0">
                  <a:pos x="10" y="0"/>
                </a:cxn>
              </a:cxnLst>
              <a:rect l="0" t="0" r="r" b="b"/>
              <a:pathLst>
                <a:path w="13" h="4">
                  <a:moveTo>
                    <a:pt x="10" y="0"/>
                  </a:moveTo>
                  <a:cubicBezTo>
                    <a:pt x="9" y="0"/>
                    <a:pt x="8" y="0"/>
                    <a:pt x="7" y="0"/>
                  </a:cubicBezTo>
                  <a:cubicBezTo>
                    <a:pt x="5" y="0"/>
                    <a:pt x="3" y="1"/>
                    <a:pt x="1" y="2"/>
                  </a:cubicBezTo>
                  <a:cubicBezTo>
                    <a:pt x="0" y="2"/>
                    <a:pt x="1" y="3"/>
                    <a:pt x="2" y="4"/>
                  </a:cubicBezTo>
                  <a:cubicBezTo>
                    <a:pt x="2" y="4"/>
                    <a:pt x="4" y="4"/>
                    <a:pt x="5" y="4"/>
                  </a:cubicBezTo>
                  <a:cubicBezTo>
                    <a:pt x="7" y="4"/>
                    <a:pt x="8" y="3"/>
                    <a:pt x="10" y="2"/>
                  </a:cubicBezTo>
                  <a:cubicBezTo>
                    <a:pt x="11" y="2"/>
                    <a:pt x="13" y="2"/>
                    <a:pt x="13" y="0"/>
                  </a:cubicBez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9" name="Freeform 119"/>
            <p:cNvSpPr>
              <a:spLocks/>
            </p:cNvSpPr>
            <p:nvPr/>
          </p:nvSpPr>
          <p:spPr bwMode="auto">
            <a:xfrm>
              <a:off x="4283075" y="3919538"/>
              <a:ext cx="19050" cy="31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5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8" y="1"/>
                </a:cxn>
                <a:cxn ang="0">
                  <a:pos x="10" y="0"/>
                </a:cxn>
                <a:cxn ang="0">
                  <a:pos x="8" y="0"/>
                </a:cxn>
              </a:cxnLst>
              <a:rect l="0" t="0" r="r" b="b"/>
              <a:pathLst>
                <a:path w="11" h="2">
                  <a:moveTo>
                    <a:pt x="8" y="0"/>
                  </a:moveTo>
                  <a:cubicBezTo>
                    <a:pt x="7" y="0"/>
                    <a:pt x="6" y="0"/>
                    <a:pt x="5" y="0"/>
                  </a:cubicBezTo>
                  <a:cubicBezTo>
                    <a:pt x="4" y="0"/>
                    <a:pt x="1" y="1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1" y="2"/>
                    <a:pt x="3" y="2"/>
                    <a:pt x="3" y="2"/>
                  </a:cubicBezTo>
                  <a:cubicBezTo>
                    <a:pt x="5" y="2"/>
                    <a:pt x="7" y="2"/>
                    <a:pt x="8" y="1"/>
                  </a:cubicBezTo>
                  <a:cubicBezTo>
                    <a:pt x="9" y="1"/>
                    <a:pt x="11" y="1"/>
                    <a:pt x="10" y="0"/>
                  </a:cubicBez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0" name="Line 120"/>
            <p:cNvSpPr>
              <a:spLocks noChangeShapeType="1"/>
            </p:cNvSpPr>
            <p:nvPr/>
          </p:nvSpPr>
          <p:spPr bwMode="auto">
            <a:xfrm>
              <a:off x="4346575" y="4000500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1" name="Line 121"/>
            <p:cNvSpPr>
              <a:spLocks noChangeShapeType="1"/>
            </p:cNvSpPr>
            <p:nvPr/>
          </p:nvSpPr>
          <p:spPr bwMode="auto">
            <a:xfrm>
              <a:off x="4346575" y="4000500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2" name="Line 122"/>
            <p:cNvSpPr>
              <a:spLocks noChangeShapeType="1"/>
            </p:cNvSpPr>
            <p:nvPr/>
          </p:nvSpPr>
          <p:spPr bwMode="auto">
            <a:xfrm>
              <a:off x="4306888" y="3949700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3" name="Line 123"/>
            <p:cNvSpPr>
              <a:spLocks noChangeShapeType="1"/>
            </p:cNvSpPr>
            <p:nvPr/>
          </p:nvSpPr>
          <p:spPr bwMode="auto">
            <a:xfrm>
              <a:off x="4306888" y="3949700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4" name="Freeform 124"/>
            <p:cNvSpPr>
              <a:spLocks/>
            </p:cNvSpPr>
            <p:nvPr/>
          </p:nvSpPr>
          <p:spPr bwMode="auto">
            <a:xfrm>
              <a:off x="4737100" y="3800475"/>
              <a:ext cx="57150" cy="25400"/>
            </a:xfrm>
            <a:custGeom>
              <a:avLst/>
              <a:gdLst/>
              <a:ahLst/>
              <a:cxnLst>
                <a:cxn ang="0">
                  <a:pos x="21" y="3"/>
                </a:cxn>
                <a:cxn ang="0">
                  <a:pos x="16" y="2"/>
                </a:cxn>
                <a:cxn ang="0">
                  <a:pos x="9" y="1"/>
                </a:cxn>
                <a:cxn ang="0">
                  <a:pos x="4" y="5"/>
                </a:cxn>
                <a:cxn ang="0">
                  <a:pos x="3" y="6"/>
                </a:cxn>
                <a:cxn ang="0">
                  <a:pos x="2" y="7"/>
                </a:cxn>
                <a:cxn ang="0">
                  <a:pos x="1" y="9"/>
                </a:cxn>
                <a:cxn ang="0">
                  <a:pos x="0" y="13"/>
                </a:cxn>
                <a:cxn ang="0">
                  <a:pos x="1" y="14"/>
                </a:cxn>
                <a:cxn ang="0">
                  <a:pos x="3" y="13"/>
                </a:cxn>
                <a:cxn ang="0">
                  <a:pos x="3" y="12"/>
                </a:cxn>
                <a:cxn ang="0">
                  <a:pos x="5" y="11"/>
                </a:cxn>
                <a:cxn ang="0">
                  <a:pos x="7" y="9"/>
                </a:cxn>
                <a:cxn ang="0">
                  <a:pos x="9" y="8"/>
                </a:cxn>
                <a:cxn ang="0">
                  <a:pos x="10" y="7"/>
                </a:cxn>
                <a:cxn ang="0">
                  <a:pos x="13" y="7"/>
                </a:cxn>
                <a:cxn ang="0">
                  <a:pos x="14" y="8"/>
                </a:cxn>
                <a:cxn ang="0">
                  <a:pos x="21" y="8"/>
                </a:cxn>
                <a:cxn ang="0">
                  <a:pos x="31" y="6"/>
                </a:cxn>
                <a:cxn ang="0">
                  <a:pos x="27" y="4"/>
                </a:cxn>
                <a:cxn ang="0">
                  <a:pos x="24" y="4"/>
                </a:cxn>
                <a:cxn ang="0">
                  <a:pos x="21" y="4"/>
                </a:cxn>
              </a:cxnLst>
              <a:rect l="0" t="0" r="r" b="b"/>
              <a:pathLst>
                <a:path w="31" h="14">
                  <a:moveTo>
                    <a:pt x="21" y="3"/>
                  </a:moveTo>
                  <a:cubicBezTo>
                    <a:pt x="20" y="3"/>
                    <a:pt x="18" y="2"/>
                    <a:pt x="16" y="2"/>
                  </a:cubicBezTo>
                  <a:cubicBezTo>
                    <a:pt x="14" y="1"/>
                    <a:pt x="11" y="0"/>
                    <a:pt x="9" y="1"/>
                  </a:cubicBezTo>
                  <a:cubicBezTo>
                    <a:pt x="7" y="2"/>
                    <a:pt x="5" y="4"/>
                    <a:pt x="4" y="5"/>
                  </a:cubicBezTo>
                  <a:cubicBezTo>
                    <a:pt x="4" y="6"/>
                    <a:pt x="4" y="6"/>
                    <a:pt x="3" y="6"/>
                  </a:cubicBezTo>
                  <a:cubicBezTo>
                    <a:pt x="3" y="7"/>
                    <a:pt x="3" y="7"/>
                    <a:pt x="2" y="7"/>
                  </a:cubicBezTo>
                  <a:cubicBezTo>
                    <a:pt x="2" y="8"/>
                    <a:pt x="1" y="9"/>
                    <a:pt x="1" y="9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4"/>
                    <a:pt x="0" y="14"/>
                    <a:pt x="1" y="14"/>
                  </a:cubicBezTo>
                  <a:cubicBezTo>
                    <a:pt x="2" y="14"/>
                    <a:pt x="2" y="14"/>
                    <a:pt x="3" y="13"/>
                  </a:cubicBezTo>
                  <a:cubicBezTo>
                    <a:pt x="3" y="13"/>
                    <a:pt x="3" y="12"/>
                    <a:pt x="3" y="12"/>
                  </a:cubicBezTo>
                  <a:cubicBezTo>
                    <a:pt x="4" y="12"/>
                    <a:pt x="4" y="11"/>
                    <a:pt x="5" y="11"/>
                  </a:cubicBezTo>
                  <a:cubicBezTo>
                    <a:pt x="6" y="11"/>
                    <a:pt x="6" y="10"/>
                    <a:pt x="7" y="9"/>
                  </a:cubicBezTo>
                  <a:cubicBezTo>
                    <a:pt x="8" y="9"/>
                    <a:pt x="9" y="9"/>
                    <a:pt x="9" y="8"/>
                  </a:cubicBezTo>
                  <a:cubicBezTo>
                    <a:pt x="10" y="8"/>
                    <a:pt x="10" y="8"/>
                    <a:pt x="10" y="7"/>
                  </a:cubicBezTo>
                  <a:cubicBezTo>
                    <a:pt x="11" y="7"/>
                    <a:pt x="12" y="7"/>
                    <a:pt x="13" y="7"/>
                  </a:cubicBezTo>
                  <a:cubicBezTo>
                    <a:pt x="14" y="8"/>
                    <a:pt x="13" y="8"/>
                    <a:pt x="14" y="8"/>
                  </a:cubicBezTo>
                  <a:cubicBezTo>
                    <a:pt x="17" y="9"/>
                    <a:pt x="19" y="8"/>
                    <a:pt x="21" y="8"/>
                  </a:cubicBezTo>
                  <a:cubicBezTo>
                    <a:pt x="23" y="8"/>
                    <a:pt x="31" y="9"/>
                    <a:pt x="31" y="6"/>
                  </a:cubicBezTo>
                  <a:cubicBezTo>
                    <a:pt x="30" y="4"/>
                    <a:pt x="29" y="4"/>
                    <a:pt x="27" y="4"/>
                  </a:cubicBezTo>
                  <a:cubicBezTo>
                    <a:pt x="26" y="4"/>
                    <a:pt x="25" y="4"/>
                    <a:pt x="24" y="4"/>
                  </a:cubicBezTo>
                  <a:cubicBezTo>
                    <a:pt x="23" y="4"/>
                    <a:pt x="22" y="4"/>
                    <a:pt x="21" y="4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5" name="Freeform 125"/>
            <p:cNvSpPr>
              <a:spLocks/>
            </p:cNvSpPr>
            <p:nvPr/>
          </p:nvSpPr>
          <p:spPr bwMode="auto">
            <a:xfrm>
              <a:off x="6697663" y="6724650"/>
              <a:ext cx="238125" cy="133350"/>
            </a:xfrm>
            <a:custGeom>
              <a:avLst/>
              <a:gdLst/>
              <a:ahLst/>
              <a:cxnLst>
                <a:cxn ang="0">
                  <a:pos x="123" y="0"/>
                </a:cxn>
                <a:cxn ang="0">
                  <a:pos x="115" y="3"/>
                </a:cxn>
                <a:cxn ang="0">
                  <a:pos x="106" y="6"/>
                </a:cxn>
                <a:cxn ang="0">
                  <a:pos x="94" y="11"/>
                </a:cxn>
                <a:cxn ang="0">
                  <a:pos x="85" y="16"/>
                </a:cxn>
                <a:cxn ang="0">
                  <a:pos x="81" y="18"/>
                </a:cxn>
                <a:cxn ang="0">
                  <a:pos x="74" y="20"/>
                </a:cxn>
                <a:cxn ang="0">
                  <a:pos x="68" y="21"/>
                </a:cxn>
                <a:cxn ang="0">
                  <a:pos x="64" y="22"/>
                </a:cxn>
                <a:cxn ang="0">
                  <a:pos x="58" y="21"/>
                </a:cxn>
                <a:cxn ang="0">
                  <a:pos x="53" y="21"/>
                </a:cxn>
                <a:cxn ang="0">
                  <a:pos x="38" y="20"/>
                </a:cxn>
                <a:cxn ang="0">
                  <a:pos x="35" y="34"/>
                </a:cxn>
                <a:cxn ang="0">
                  <a:pos x="33" y="34"/>
                </a:cxn>
                <a:cxn ang="0">
                  <a:pos x="28" y="36"/>
                </a:cxn>
                <a:cxn ang="0">
                  <a:pos x="21" y="36"/>
                </a:cxn>
                <a:cxn ang="0">
                  <a:pos x="15" y="36"/>
                </a:cxn>
                <a:cxn ang="0">
                  <a:pos x="9" y="39"/>
                </a:cxn>
                <a:cxn ang="0">
                  <a:pos x="2" y="40"/>
                </a:cxn>
                <a:cxn ang="0">
                  <a:pos x="2" y="45"/>
                </a:cxn>
                <a:cxn ang="0">
                  <a:pos x="1" y="53"/>
                </a:cxn>
                <a:cxn ang="0">
                  <a:pos x="8" y="60"/>
                </a:cxn>
                <a:cxn ang="0">
                  <a:pos x="11" y="62"/>
                </a:cxn>
                <a:cxn ang="0">
                  <a:pos x="12" y="64"/>
                </a:cxn>
                <a:cxn ang="0">
                  <a:pos x="20" y="71"/>
                </a:cxn>
                <a:cxn ang="0">
                  <a:pos x="22" y="70"/>
                </a:cxn>
                <a:cxn ang="0">
                  <a:pos x="29" y="67"/>
                </a:cxn>
                <a:cxn ang="0">
                  <a:pos x="37" y="68"/>
                </a:cxn>
                <a:cxn ang="0">
                  <a:pos x="52" y="67"/>
                </a:cxn>
                <a:cxn ang="0">
                  <a:pos x="58" y="66"/>
                </a:cxn>
                <a:cxn ang="0">
                  <a:pos x="66" y="66"/>
                </a:cxn>
                <a:cxn ang="0">
                  <a:pos x="69" y="58"/>
                </a:cxn>
                <a:cxn ang="0">
                  <a:pos x="76" y="52"/>
                </a:cxn>
                <a:cxn ang="0">
                  <a:pos x="91" y="52"/>
                </a:cxn>
                <a:cxn ang="0">
                  <a:pos x="97" y="51"/>
                </a:cxn>
                <a:cxn ang="0">
                  <a:pos x="99" y="50"/>
                </a:cxn>
                <a:cxn ang="0">
                  <a:pos x="101" y="48"/>
                </a:cxn>
                <a:cxn ang="0">
                  <a:pos x="94" y="39"/>
                </a:cxn>
                <a:cxn ang="0">
                  <a:pos x="93" y="38"/>
                </a:cxn>
                <a:cxn ang="0">
                  <a:pos x="93" y="37"/>
                </a:cxn>
                <a:cxn ang="0">
                  <a:pos x="93" y="34"/>
                </a:cxn>
                <a:cxn ang="0">
                  <a:pos x="94" y="29"/>
                </a:cxn>
                <a:cxn ang="0">
                  <a:pos x="97" y="27"/>
                </a:cxn>
                <a:cxn ang="0">
                  <a:pos x="100" y="25"/>
                </a:cxn>
                <a:cxn ang="0">
                  <a:pos x="104" y="24"/>
                </a:cxn>
                <a:cxn ang="0">
                  <a:pos x="111" y="19"/>
                </a:cxn>
                <a:cxn ang="0">
                  <a:pos x="120" y="10"/>
                </a:cxn>
                <a:cxn ang="0">
                  <a:pos x="125" y="4"/>
                </a:cxn>
                <a:cxn ang="0">
                  <a:pos x="126" y="2"/>
                </a:cxn>
                <a:cxn ang="0">
                  <a:pos x="128" y="0"/>
                </a:cxn>
                <a:cxn ang="0">
                  <a:pos x="123" y="0"/>
                </a:cxn>
              </a:cxnLst>
              <a:rect l="0" t="0" r="r" b="b"/>
              <a:pathLst>
                <a:path w="128" h="71">
                  <a:moveTo>
                    <a:pt x="123" y="0"/>
                  </a:moveTo>
                  <a:cubicBezTo>
                    <a:pt x="120" y="0"/>
                    <a:pt x="117" y="2"/>
                    <a:pt x="115" y="3"/>
                  </a:cubicBezTo>
                  <a:cubicBezTo>
                    <a:pt x="112" y="4"/>
                    <a:pt x="109" y="5"/>
                    <a:pt x="106" y="6"/>
                  </a:cubicBezTo>
                  <a:cubicBezTo>
                    <a:pt x="103" y="9"/>
                    <a:pt x="98" y="10"/>
                    <a:pt x="94" y="11"/>
                  </a:cubicBezTo>
                  <a:cubicBezTo>
                    <a:pt x="91" y="12"/>
                    <a:pt x="88" y="14"/>
                    <a:pt x="85" y="16"/>
                  </a:cubicBezTo>
                  <a:cubicBezTo>
                    <a:pt x="83" y="16"/>
                    <a:pt x="82" y="17"/>
                    <a:pt x="81" y="18"/>
                  </a:cubicBezTo>
                  <a:cubicBezTo>
                    <a:pt x="79" y="19"/>
                    <a:pt x="76" y="19"/>
                    <a:pt x="74" y="20"/>
                  </a:cubicBezTo>
                  <a:cubicBezTo>
                    <a:pt x="72" y="21"/>
                    <a:pt x="70" y="21"/>
                    <a:pt x="68" y="21"/>
                  </a:cubicBezTo>
                  <a:cubicBezTo>
                    <a:pt x="66" y="21"/>
                    <a:pt x="65" y="22"/>
                    <a:pt x="64" y="22"/>
                  </a:cubicBezTo>
                  <a:cubicBezTo>
                    <a:pt x="62" y="22"/>
                    <a:pt x="60" y="21"/>
                    <a:pt x="58" y="21"/>
                  </a:cubicBezTo>
                  <a:cubicBezTo>
                    <a:pt x="56" y="21"/>
                    <a:pt x="55" y="21"/>
                    <a:pt x="53" y="21"/>
                  </a:cubicBezTo>
                  <a:cubicBezTo>
                    <a:pt x="48" y="21"/>
                    <a:pt x="43" y="19"/>
                    <a:pt x="38" y="20"/>
                  </a:cubicBezTo>
                  <a:cubicBezTo>
                    <a:pt x="37" y="24"/>
                    <a:pt x="41" y="33"/>
                    <a:pt x="35" y="34"/>
                  </a:cubicBezTo>
                  <a:cubicBezTo>
                    <a:pt x="34" y="35"/>
                    <a:pt x="33" y="35"/>
                    <a:pt x="33" y="34"/>
                  </a:cubicBezTo>
                  <a:cubicBezTo>
                    <a:pt x="31" y="35"/>
                    <a:pt x="30" y="35"/>
                    <a:pt x="28" y="36"/>
                  </a:cubicBezTo>
                  <a:cubicBezTo>
                    <a:pt x="26" y="36"/>
                    <a:pt x="23" y="37"/>
                    <a:pt x="21" y="36"/>
                  </a:cubicBezTo>
                  <a:cubicBezTo>
                    <a:pt x="19" y="35"/>
                    <a:pt x="17" y="33"/>
                    <a:pt x="15" y="36"/>
                  </a:cubicBezTo>
                  <a:cubicBezTo>
                    <a:pt x="14" y="39"/>
                    <a:pt x="12" y="40"/>
                    <a:pt x="9" y="39"/>
                  </a:cubicBezTo>
                  <a:cubicBezTo>
                    <a:pt x="6" y="39"/>
                    <a:pt x="3" y="36"/>
                    <a:pt x="2" y="40"/>
                  </a:cubicBezTo>
                  <a:cubicBezTo>
                    <a:pt x="2" y="42"/>
                    <a:pt x="3" y="43"/>
                    <a:pt x="2" y="45"/>
                  </a:cubicBezTo>
                  <a:cubicBezTo>
                    <a:pt x="2" y="48"/>
                    <a:pt x="0" y="50"/>
                    <a:pt x="1" y="53"/>
                  </a:cubicBezTo>
                  <a:cubicBezTo>
                    <a:pt x="2" y="57"/>
                    <a:pt x="5" y="58"/>
                    <a:pt x="8" y="60"/>
                  </a:cubicBezTo>
                  <a:cubicBezTo>
                    <a:pt x="9" y="61"/>
                    <a:pt x="10" y="61"/>
                    <a:pt x="11" y="62"/>
                  </a:cubicBezTo>
                  <a:cubicBezTo>
                    <a:pt x="12" y="63"/>
                    <a:pt x="11" y="61"/>
                    <a:pt x="12" y="64"/>
                  </a:cubicBezTo>
                  <a:cubicBezTo>
                    <a:pt x="14" y="66"/>
                    <a:pt x="16" y="71"/>
                    <a:pt x="20" y="71"/>
                  </a:cubicBezTo>
                  <a:cubicBezTo>
                    <a:pt x="20" y="70"/>
                    <a:pt x="21" y="70"/>
                    <a:pt x="22" y="70"/>
                  </a:cubicBezTo>
                  <a:cubicBezTo>
                    <a:pt x="24" y="69"/>
                    <a:pt x="27" y="68"/>
                    <a:pt x="29" y="67"/>
                  </a:cubicBezTo>
                  <a:cubicBezTo>
                    <a:pt x="32" y="67"/>
                    <a:pt x="34" y="67"/>
                    <a:pt x="37" y="68"/>
                  </a:cubicBezTo>
                  <a:cubicBezTo>
                    <a:pt x="42" y="70"/>
                    <a:pt x="47" y="69"/>
                    <a:pt x="52" y="67"/>
                  </a:cubicBezTo>
                  <a:cubicBezTo>
                    <a:pt x="54" y="66"/>
                    <a:pt x="56" y="66"/>
                    <a:pt x="58" y="66"/>
                  </a:cubicBezTo>
                  <a:cubicBezTo>
                    <a:pt x="60" y="66"/>
                    <a:pt x="64" y="67"/>
                    <a:pt x="66" y="66"/>
                  </a:cubicBezTo>
                  <a:cubicBezTo>
                    <a:pt x="69" y="65"/>
                    <a:pt x="68" y="60"/>
                    <a:pt x="69" y="58"/>
                  </a:cubicBezTo>
                  <a:cubicBezTo>
                    <a:pt x="70" y="55"/>
                    <a:pt x="72" y="52"/>
                    <a:pt x="76" y="52"/>
                  </a:cubicBezTo>
                  <a:cubicBezTo>
                    <a:pt x="81" y="51"/>
                    <a:pt x="86" y="53"/>
                    <a:pt x="91" y="52"/>
                  </a:cubicBezTo>
                  <a:cubicBezTo>
                    <a:pt x="94" y="52"/>
                    <a:pt x="95" y="51"/>
                    <a:pt x="97" y="51"/>
                  </a:cubicBezTo>
                  <a:cubicBezTo>
                    <a:pt x="97" y="50"/>
                    <a:pt x="98" y="50"/>
                    <a:pt x="99" y="50"/>
                  </a:cubicBezTo>
                  <a:cubicBezTo>
                    <a:pt x="100" y="50"/>
                    <a:pt x="101" y="49"/>
                    <a:pt x="101" y="48"/>
                  </a:cubicBezTo>
                  <a:cubicBezTo>
                    <a:pt x="99" y="45"/>
                    <a:pt x="96" y="43"/>
                    <a:pt x="94" y="39"/>
                  </a:cubicBezTo>
                  <a:cubicBezTo>
                    <a:pt x="94" y="39"/>
                    <a:pt x="94" y="39"/>
                    <a:pt x="93" y="38"/>
                  </a:cubicBezTo>
                  <a:cubicBezTo>
                    <a:pt x="93" y="38"/>
                    <a:pt x="93" y="37"/>
                    <a:pt x="93" y="37"/>
                  </a:cubicBezTo>
                  <a:cubicBezTo>
                    <a:pt x="93" y="36"/>
                    <a:pt x="93" y="35"/>
                    <a:pt x="93" y="34"/>
                  </a:cubicBezTo>
                  <a:cubicBezTo>
                    <a:pt x="93" y="32"/>
                    <a:pt x="93" y="30"/>
                    <a:pt x="94" y="29"/>
                  </a:cubicBezTo>
                  <a:cubicBezTo>
                    <a:pt x="94" y="28"/>
                    <a:pt x="96" y="27"/>
                    <a:pt x="97" y="27"/>
                  </a:cubicBezTo>
                  <a:cubicBezTo>
                    <a:pt x="98" y="25"/>
                    <a:pt x="98" y="25"/>
                    <a:pt x="100" y="25"/>
                  </a:cubicBezTo>
                  <a:cubicBezTo>
                    <a:pt x="101" y="24"/>
                    <a:pt x="103" y="24"/>
                    <a:pt x="104" y="24"/>
                  </a:cubicBezTo>
                  <a:cubicBezTo>
                    <a:pt x="107" y="23"/>
                    <a:pt x="109" y="22"/>
                    <a:pt x="111" y="19"/>
                  </a:cubicBezTo>
                  <a:cubicBezTo>
                    <a:pt x="114" y="16"/>
                    <a:pt x="116" y="13"/>
                    <a:pt x="120" y="10"/>
                  </a:cubicBezTo>
                  <a:cubicBezTo>
                    <a:pt x="122" y="8"/>
                    <a:pt x="123" y="7"/>
                    <a:pt x="125" y="4"/>
                  </a:cubicBezTo>
                  <a:cubicBezTo>
                    <a:pt x="125" y="4"/>
                    <a:pt x="126" y="3"/>
                    <a:pt x="126" y="2"/>
                  </a:cubicBezTo>
                  <a:cubicBezTo>
                    <a:pt x="127" y="2"/>
                    <a:pt x="128" y="0"/>
                    <a:pt x="128" y="0"/>
                  </a:cubicBezTo>
                  <a:lnTo>
                    <a:pt x="12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6" name="Freeform 126"/>
            <p:cNvSpPr>
              <a:spLocks/>
            </p:cNvSpPr>
            <p:nvPr/>
          </p:nvSpPr>
          <p:spPr bwMode="auto">
            <a:xfrm>
              <a:off x="5668963" y="109538"/>
              <a:ext cx="185738" cy="114300"/>
            </a:xfrm>
            <a:custGeom>
              <a:avLst/>
              <a:gdLst/>
              <a:ahLst/>
              <a:cxnLst>
                <a:cxn ang="0">
                  <a:pos x="30" y="33"/>
                </a:cxn>
                <a:cxn ang="0">
                  <a:pos x="25" y="40"/>
                </a:cxn>
                <a:cxn ang="0">
                  <a:pos x="8" y="58"/>
                </a:cxn>
                <a:cxn ang="0">
                  <a:pos x="21" y="56"/>
                </a:cxn>
                <a:cxn ang="0">
                  <a:pos x="48" y="48"/>
                </a:cxn>
                <a:cxn ang="0">
                  <a:pos x="53" y="49"/>
                </a:cxn>
                <a:cxn ang="0">
                  <a:pos x="62" y="46"/>
                </a:cxn>
                <a:cxn ang="0">
                  <a:pos x="66" y="38"/>
                </a:cxn>
                <a:cxn ang="0">
                  <a:pos x="78" y="26"/>
                </a:cxn>
                <a:cxn ang="0">
                  <a:pos x="95" y="2"/>
                </a:cxn>
                <a:cxn ang="0">
                  <a:pos x="83" y="1"/>
                </a:cxn>
                <a:cxn ang="0">
                  <a:pos x="80" y="8"/>
                </a:cxn>
                <a:cxn ang="0">
                  <a:pos x="72" y="5"/>
                </a:cxn>
                <a:cxn ang="0">
                  <a:pos x="65" y="19"/>
                </a:cxn>
                <a:cxn ang="0">
                  <a:pos x="50" y="11"/>
                </a:cxn>
                <a:cxn ang="0">
                  <a:pos x="49" y="24"/>
                </a:cxn>
                <a:cxn ang="0">
                  <a:pos x="42" y="27"/>
                </a:cxn>
                <a:cxn ang="0">
                  <a:pos x="39" y="19"/>
                </a:cxn>
                <a:cxn ang="0">
                  <a:pos x="30" y="30"/>
                </a:cxn>
                <a:cxn ang="0">
                  <a:pos x="13" y="29"/>
                </a:cxn>
                <a:cxn ang="0">
                  <a:pos x="6" y="26"/>
                </a:cxn>
                <a:cxn ang="0">
                  <a:pos x="13" y="33"/>
                </a:cxn>
                <a:cxn ang="0">
                  <a:pos x="30" y="33"/>
                </a:cxn>
              </a:cxnLst>
              <a:rect l="0" t="0" r="r" b="b"/>
              <a:pathLst>
                <a:path w="99" h="61">
                  <a:moveTo>
                    <a:pt x="30" y="33"/>
                  </a:moveTo>
                  <a:cubicBezTo>
                    <a:pt x="27" y="35"/>
                    <a:pt x="26" y="37"/>
                    <a:pt x="25" y="40"/>
                  </a:cubicBezTo>
                  <a:cubicBezTo>
                    <a:pt x="20" y="47"/>
                    <a:pt x="14" y="52"/>
                    <a:pt x="8" y="58"/>
                  </a:cubicBezTo>
                  <a:cubicBezTo>
                    <a:pt x="12" y="61"/>
                    <a:pt x="17" y="58"/>
                    <a:pt x="21" y="56"/>
                  </a:cubicBezTo>
                  <a:cubicBezTo>
                    <a:pt x="30" y="52"/>
                    <a:pt x="37" y="45"/>
                    <a:pt x="48" y="48"/>
                  </a:cubicBezTo>
                  <a:cubicBezTo>
                    <a:pt x="50" y="49"/>
                    <a:pt x="51" y="50"/>
                    <a:pt x="53" y="49"/>
                  </a:cubicBezTo>
                  <a:cubicBezTo>
                    <a:pt x="55" y="49"/>
                    <a:pt x="61" y="40"/>
                    <a:pt x="62" y="46"/>
                  </a:cubicBezTo>
                  <a:cubicBezTo>
                    <a:pt x="64" y="44"/>
                    <a:pt x="64" y="41"/>
                    <a:pt x="66" y="38"/>
                  </a:cubicBezTo>
                  <a:cubicBezTo>
                    <a:pt x="70" y="34"/>
                    <a:pt x="74" y="30"/>
                    <a:pt x="78" y="26"/>
                  </a:cubicBezTo>
                  <a:cubicBezTo>
                    <a:pt x="82" y="21"/>
                    <a:pt x="99" y="10"/>
                    <a:pt x="95" y="2"/>
                  </a:cubicBezTo>
                  <a:cubicBezTo>
                    <a:pt x="91" y="0"/>
                    <a:pt x="87" y="0"/>
                    <a:pt x="83" y="1"/>
                  </a:cubicBezTo>
                  <a:cubicBezTo>
                    <a:pt x="79" y="4"/>
                    <a:pt x="80" y="5"/>
                    <a:pt x="80" y="8"/>
                  </a:cubicBezTo>
                  <a:cubicBezTo>
                    <a:pt x="76" y="10"/>
                    <a:pt x="75" y="4"/>
                    <a:pt x="72" y="5"/>
                  </a:cubicBezTo>
                  <a:cubicBezTo>
                    <a:pt x="70" y="12"/>
                    <a:pt x="74" y="17"/>
                    <a:pt x="65" y="19"/>
                  </a:cubicBezTo>
                  <a:cubicBezTo>
                    <a:pt x="57" y="20"/>
                    <a:pt x="58" y="10"/>
                    <a:pt x="50" y="11"/>
                  </a:cubicBezTo>
                  <a:cubicBezTo>
                    <a:pt x="49" y="16"/>
                    <a:pt x="54" y="20"/>
                    <a:pt x="49" y="24"/>
                  </a:cubicBezTo>
                  <a:cubicBezTo>
                    <a:pt x="48" y="26"/>
                    <a:pt x="45" y="27"/>
                    <a:pt x="42" y="27"/>
                  </a:cubicBezTo>
                  <a:cubicBezTo>
                    <a:pt x="36" y="25"/>
                    <a:pt x="42" y="22"/>
                    <a:pt x="39" y="19"/>
                  </a:cubicBezTo>
                  <a:cubicBezTo>
                    <a:pt x="33" y="12"/>
                    <a:pt x="30" y="26"/>
                    <a:pt x="30" y="30"/>
                  </a:cubicBezTo>
                  <a:cubicBezTo>
                    <a:pt x="25" y="30"/>
                    <a:pt x="18" y="31"/>
                    <a:pt x="13" y="29"/>
                  </a:cubicBezTo>
                  <a:cubicBezTo>
                    <a:pt x="10" y="29"/>
                    <a:pt x="9" y="26"/>
                    <a:pt x="6" y="26"/>
                  </a:cubicBezTo>
                  <a:cubicBezTo>
                    <a:pt x="0" y="32"/>
                    <a:pt x="9" y="34"/>
                    <a:pt x="13" y="33"/>
                  </a:cubicBezTo>
                  <a:lnTo>
                    <a:pt x="30" y="3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7" name="Freeform 127"/>
            <p:cNvSpPr>
              <a:spLocks/>
            </p:cNvSpPr>
            <p:nvPr/>
          </p:nvSpPr>
          <p:spPr bwMode="auto">
            <a:xfrm>
              <a:off x="5721350" y="230188"/>
              <a:ext cx="65088" cy="50800"/>
            </a:xfrm>
            <a:custGeom>
              <a:avLst/>
              <a:gdLst/>
              <a:ahLst/>
              <a:cxnLst>
                <a:cxn ang="0">
                  <a:pos x="31" y="9"/>
                </a:cxn>
                <a:cxn ang="0">
                  <a:pos x="30" y="8"/>
                </a:cxn>
                <a:cxn ang="0">
                  <a:pos x="15" y="6"/>
                </a:cxn>
                <a:cxn ang="0">
                  <a:pos x="1" y="16"/>
                </a:cxn>
                <a:cxn ang="0">
                  <a:pos x="19" y="23"/>
                </a:cxn>
                <a:cxn ang="0">
                  <a:pos x="22" y="27"/>
                </a:cxn>
                <a:cxn ang="0">
                  <a:pos x="31" y="25"/>
                </a:cxn>
                <a:cxn ang="0">
                  <a:pos x="24" y="8"/>
                </a:cxn>
                <a:cxn ang="0">
                  <a:pos x="31" y="9"/>
                </a:cxn>
              </a:cxnLst>
              <a:rect l="0" t="0" r="r" b="b"/>
              <a:pathLst>
                <a:path w="35" h="27">
                  <a:moveTo>
                    <a:pt x="31" y="9"/>
                  </a:moveTo>
                  <a:cubicBezTo>
                    <a:pt x="31" y="9"/>
                    <a:pt x="30" y="9"/>
                    <a:pt x="30" y="8"/>
                  </a:cubicBezTo>
                  <a:cubicBezTo>
                    <a:pt x="30" y="1"/>
                    <a:pt x="13" y="0"/>
                    <a:pt x="15" y="6"/>
                  </a:cubicBezTo>
                  <a:cubicBezTo>
                    <a:pt x="11" y="8"/>
                    <a:pt x="1" y="11"/>
                    <a:pt x="1" y="16"/>
                  </a:cubicBezTo>
                  <a:cubicBezTo>
                    <a:pt x="0" y="26"/>
                    <a:pt x="14" y="20"/>
                    <a:pt x="19" y="23"/>
                  </a:cubicBezTo>
                  <a:cubicBezTo>
                    <a:pt x="20" y="23"/>
                    <a:pt x="21" y="26"/>
                    <a:pt x="22" y="27"/>
                  </a:cubicBezTo>
                  <a:cubicBezTo>
                    <a:pt x="23" y="27"/>
                    <a:pt x="30" y="26"/>
                    <a:pt x="31" y="25"/>
                  </a:cubicBezTo>
                  <a:cubicBezTo>
                    <a:pt x="35" y="20"/>
                    <a:pt x="27" y="11"/>
                    <a:pt x="24" y="8"/>
                  </a:cubicBezTo>
                  <a:lnTo>
                    <a:pt x="31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8" name="Freeform 128"/>
            <p:cNvSpPr>
              <a:spLocks/>
            </p:cNvSpPr>
            <p:nvPr/>
          </p:nvSpPr>
          <p:spPr bwMode="auto">
            <a:xfrm>
              <a:off x="5784850" y="171450"/>
              <a:ext cx="84138" cy="93663"/>
            </a:xfrm>
            <a:custGeom>
              <a:avLst/>
              <a:gdLst/>
              <a:ahLst/>
              <a:cxnLst>
                <a:cxn ang="0">
                  <a:pos x="5" y="18"/>
                </a:cxn>
                <a:cxn ang="0">
                  <a:pos x="3" y="19"/>
                </a:cxn>
                <a:cxn ang="0">
                  <a:pos x="0" y="27"/>
                </a:cxn>
                <a:cxn ang="0">
                  <a:pos x="6" y="32"/>
                </a:cxn>
                <a:cxn ang="0">
                  <a:pos x="5" y="44"/>
                </a:cxn>
                <a:cxn ang="0">
                  <a:pos x="11" y="48"/>
                </a:cxn>
                <a:cxn ang="0">
                  <a:pos x="13" y="50"/>
                </a:cxn>
                <a:cxn ang="0">
                  <a:pos x="16" y="48"/>
                </a:cxn>
                <a:cxn ang="0">
                  <a:pos x="27" y="39"/>
                </a:cxn>
                <a:cxn ang="0">
                  <a:pos x="44" y="31"/>
                </a:cxn>
                <a:cxn ang="0">
                  <a:pos x="42" y="22"/>
                </a:cxn>
                <a:cxn ang="0">
                  <a:pos x="42" y="13"/>
                </a:cxn>
                <a:cxn ang="0">
                  <a:pos x="39" y="5"/>
                </a:cxn>
                <a:cxn ang="0">
                  <a:pos x="34" y="4"/>
                </a:cxn>
                <a:cxn ang="0">
                  <a:pos x="32" y="4"/>
                </a:cxn>
                <a:cxn ang="0">
                  <a:pos x="29" y="1"/>
                </a:cxn>
                <a:cxn ang="0">
                  <a:pos x="20" y="18"/>
                </a:cxn>
                <a:cxn ang="0">
                  <a:pos x="5" y="17"/>
                </a:cxn>
                <a:cxn ang="0">
                  <a:pos x="5" y="18"/>
                </a:cxn>
              </a:cxnLst>
              <a:rect l="0" t="0" r="r" b="b"/>
              <a:pathLst>
                <a:path w="45" h="50">
                  <a:moveTo>
                    <a:pt x="5" y="18"/>
                  </a:moveTo>
                  <a:cubicBezTo>
                    <a:pt x="4" y="18"/>
                    <a:pt x="4" y="18"/>
                    <a:pt x="3" y="19"/>
                  </a:cubicBezTo>
                  <a:cubicBezTo>
                    <a:pt x="3" y="21"/>
                    <a:pt x="0" y="25"/>
                    <a:pt x="0" y="27"/>
                  </a:cubicBezTo>
                  <a:cubicBezTo>
                    <a:pt x="1" y="30"/>
                    <a:pt x="5" y="31"/>
                    <a:pt x="6" y="32"/>
                  </a:cubicBezTo>
                  <a:cubicBezTo>
                    <a:pt x="10" y="37"/>
                    <a:pt x="3" y="38"/>
                    <a:pt x="5" y="44"/>
                  </a:cubicBezTo>
                  <a:cubicBezTo>
                    <a:pt x="6" y="48"/>
                    <a:pt x="8" y="47"/>
                    <a:pt x="11" y="48"/>
                  </a:cubicBezTo>
                  <a:cubicBezTo>
                    <a:pt x="12" y="49"/>
                    <a:pt x="12" y="50"/>
                    <a:pt x="13" y="50"/>
                  </a:cubicBezTo>
                  <a:cubicBezTo>
                    <a:pt x="16" y="50"/>
                    <a:pt x="15" y="50"/>
                    <a:pt x="16" y="48"/>
                  </a:cubicBezTo>
                  <a:cubicBezTo>
                    <a:pt x="20" y="43"/>
                    <a:pt x="19" y="39"/>
                    <a:pt x="27" y="39"/>
                  </a:cubicBezTo>
                  <a:cubicBezTo>
                    <a:pt x="35" y="39"/>
                    <a:pt x="45" y="43"/>
                    <a:pt x="44" y="31"/>
                  </a:cubicBezTo>
                  <a:cubicBezTo>
                    <a:pt x="44" y="27"/>
                    <a:pt x="43" y="25"/>
                    <a:pt x="42" y="22"/>
                  </a:cubicBezTo>
                  <a:cubicBezTo>
                    <a:pt x="42" y="19"/>
                    <a:pt x="42" y="16"/>
                    <a:pt x="42" y="13"/>
                  </a:cubicBezTo>
                  <a:cubicBezTo>
                    <a:pt x="42" y="9"/>
                    <a:pt x="42" y="7"/>
                    <a:pt x="39" y="5"/>
                  </a:cubicBezTo>
                  <a:cubicBezTo>
                    <a:pt x="37" y="4"/>
                    <a:pt x="35" y="4"/>
                    <a:pt x="34" y="4"/>
                  </a:cubicBezTo>
                  <a:cubicBezTo>
                    <a:pt x="33" y="4"/>
                    <a:pt x="32" y="4"/>
                    <a:pt x="32" y="4"/>
                  </a:cubicBezTo>
                  <a:cubicBezTo>
                    <a:pt x="31" y="3"/>
                    <a:pt x="30" y="2"/>
                    <a:pt x="29" y="1"/>
                  </a:cubicBezTo>
                  <a:cubicBezTo>
                    <a:pt x="22" y="0"/>
                    <a:pt x="19" y="12"/>
                    <a:pt x="20" y="18"/>
                  </a:cubicBezTo>
                  <a:cubicBezTo>
                    <a:pt x="15" y="19"/>
                    <a:pt x="10" y="17"/>
                    <a:pt x="5" y="17"/>
                  </a:cubicBezTo>
                  <a:lnTo>
                    <a:pt x="5" y="1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9" name="Freeform 129"/>
            <p:cNvSpPr>
              <a:spLocks/>
            </p:cNvSpPr>
            <p:nvPr/>
          </p:nvSpPr>
          <p:spPr bwMode="auto">
            <a:xfrm>
              <a:off x="5846763" y="123825"/>
              <a:ext cx="36513" cy="61913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" y="11"/>
                </a:cxn>
                <a:cxn ang="0">
                  <a:pos x="7" y="19"/>
                </a:cxn>
                <a:cxn ang="0">
                  <a:pos x="6" y="27"/>
                </a:cxn>
                <a:cxn ang="0">
                  <a:pos x="9" y="30"/>
                </a:cxn>
                <a:cxn ang="0">
                  <a:pos x="13" y="33"/>
                </a:cxn>
                <a:cxn ang="0">
                  <a:pos x="16" y="29"/>
                </a:cxn>
                <a:cxn ang="0">
                  <a:pos x="18" y="20"/>
                </a:cxn>
                <a:cxn ang="0">
                  <a:pos x="13" y="3"/>
                </a:cxn>
                <a:cxn ang="0">
                  <a:pos x="9" y="0"/>
                </a:cxn>
              </a:cxnLst>
              <a:rect l="0" t="0" r="r" b="b"/>
              <a:pathLst>
                <a:path w="20" h="33">
                  <a:moveTo>
                    <a:pt x="9" y="0"/>
                  </a:moveTo>
                  <a:cubicBezTo>
                    <a:pt x="5" y="2"/>
                    <a:pt x="0" y="5"/>
                    <a:pt x="2" y="11"/>
                  </a:cubicBezTo>
                  <a:cubicBezTo>
                    <a:pt x="2" y="14"/>
                    <a:pt x="6" y="15"/>
                    <a:pt x="7" y="19"/>
                  </a:cubicBezTo>
                  <a:cubicBezTo>
                    <a:pt x="7" y="21"/>
                    <a:pt x="6" y="24"/>
                    <a:pt x="6" y="27"/>
                  </a:cubicBezTo>
                  <a:cubicBezTo>
                    <a:pt x="6" y="28"/>
                    <a:pt x="7" y="29"/>
                    <a:pt x="9" y="30"/>
                  </a:cubicBezTo>
                  <a:cubicBezTo>
                    <a:pt x="9" y="29"/>
                    <a:pt x="14" y="33"/>
                    <a:pt x="13" y="33"/>
                  </a:cubicBezTo>
                  <a:cubicBezTo>
                    <a:pt x="17" y="33"/>
                    <a:pt x="16" y="32"/>
                    <a:pt x="16" y="29"/>
                  </a:cubicBezTo>
                  <a:cubicBezTo>
                    <a:pt x="16" y="25"/>
                    <a:pt x="17" y="23"/>
                    <a:pt x="18" y="20"/>
                  </a:cubicBezTo>
                  <a:cubicBezTo>
                    <a:pt x="20" y="12"/>
                    <a:pt x="15" y="9"/>
                    <a:pt x="13" y="3"/>
                  </a:cubicBez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0" name="Freeform 130"/>
            <p:cNvSpPr>
              <a:spLocks/>
            </p:cNvSpPr>
            <p:nvPr/>
          </p:nvSpPr>
          <p:spPr bwMode="auto">
            <a:xfrm>
              <a:off x="5529263" y="269875"/>
              <a:ext cx="73025" cy="85725"/>
            </a:xfrm>
            <a:custGeom>
              <a:avLst/>
              <a:gdLst/>
              <a:ahLst/>
              <a:cxnLst>
                <a:cxn ang="0">
                  <a:pos x="35" y="15"/>
                </a:cxn>
                <a:cxn ang="0">
                  <a:pos x="25" y="3"/>
                </a:cxn>
                <a:cxn ang="0">
                  <a:pos x="8" y="12"/>
                </a:cxn>
                <a:cxn ang="0">
                  <a:pos x="3" y="26"/>
                </a:cxn>
                <a:cxn ang="0">
                  <a:pos x="1" y="35"/>
                </a:cxn>
                <a:cxn ang="0">
                  <a:pos x="15" y="35"/>
                </a:cxn>
                <a:cxn ang="0">
                  <a:pos x="23" y="45"/>
                </a:cxn>
                <a:cxn ang="0">
                  <a:pos x="37" y="25"/>
                </a:cxn>
                <a:cxn ang="0">
                  <a:pos x="35" y="8"/>
                </a:cxn>
                <a:cxn ang="0">
                  <a:pos x="35" y="15"/>
                </a:cxn>
              </a:cxnLst>
              <a:rect l="0" t="0" r="r" b="b"/>
              <a:pathLst>
                <a:path w="39" h="46">
                  <a:moveTo>
                    <a:pt x="35" y="15"/>
                  </a:moveTo>
                  <a:cubicBezTo>
                    <a:pt x="33" y="11"/>
                    <a:pt x="30" y="5"/>
                    <a:pt x="25" y="3"/>
                  </a:cubicBezTo>
                  <a:cubicBezTo>
                    <a:pt x="18" y="0"/>
                    <a:pt x="12" y="8"/>
                    <a:pt x="8" y="12"/>
                  </a:cubicBezTo>
                  <a:cubicBezTo>
                    <a:pt x="4" y="17"/>
                    <a:pt x="4" y="20"/>
                    <a:pt x="3" y="26"/>
                  </a:cubicBezTo>
                  <a:cubicBezTo>
                    <a:pt x="2" y="29"/>
                    <a:pt x="0" y="31"/>
                    <a:pt x="1" y="35"/>
                  </a:cubicBezTo>
                  <a:cubicBezTo>
                    <a:pt x="5" y="35"/>
                    <a:pt x="12" y="33"/>
                    <a:pt x="15" y="35"/>
                  </a:cubicBezTo>
                  <a:cubicBezTo>
                    <a:pt x="20" y="38"/>
                    <a:pt x="16" y="45"/>
                    <a:pt x="23" y="45"/>
                  </a:cubicBezTo>
                  <a:cubicBezTo>
                    <a:pt x="32" y="46"/>
                    <a:pt x="36" y="32"/>
                    <a:pt x="37" y="25"/>
                  </a:cubicBezTo>
                  <a:cubicBezTo>
                    <a:pt x="37" y="19"/>
                    <a:pt x="39" y="13"/>
                    <a:pt x="35" y="8"/>
                  </a:cubicBezTo>
                  <a:lnTo>
                    <a:pt x="35" y="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1" name="Freeform 131"/>
            <p:cNvSpPr>
              <a:spLocks/>
            </p:cNvSpPr>
            <p:nvPr/>
          </p:nvSpPr>
          <p:spPr bwMode="auto">
            <a:xfrm>
              <a:off x="5624513" y="263525"/>
              <a:ext cx="92075" cy="8572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" y="10"/>
                </a:cxn>
                <a:cxn ang="0">
                  <a:pos x="4" y="18"/>
                </a:cxn>
                <a:cxn ang="0">
                  <a:pos x="8" y="22"/>
                </a:cxn>
                <a:cxn ang="0">
                  <a:pos x="9" y="36"/>
                </a:cxn>
                <a:cxn ang="0">
                  <a:pos x="20" y="38"/>
                </a:cxn>
                <a:cxn ang="0">
                  <a:pos x="39" y="41"/>
                </a:cxn>
                <a:cxn ang="0">
                  <a:pos x="44" y="46"/>
                </a:cxn>
                <a:cxn ang="0">
                  <a:pos x="48" y="40"/>
                </a:cxn>
                <a:cxn ang="0">
                  <a:pos x="34" y="17"/>
                </a:cxn>
                <a:cxn ang="0">
                  <a:pos x="30" y="16"/>
                </a:cxn>
                <a:cxn ang="0">
                  <a:pos x="24" y="11"/>
                </a:cxn>
                <a:cxn ang="0">
                  <a:pos x="12" y="2"/>
                </a:cxn>
                <a:cxn ang="0">
                  <a:pos x="9" y="0"/>
                </a:cxn>
              </a:cxnLst>
              <a:rect l="0" t="0" r="r" b="b"/>
              <a:pathLst>
                <a:path w="49" h="46">
                  <a:moveTo>
                    <a:pt x="9" y="0"/>
                  </a:moveTo>
                  <a:cubicBezTo>
                    <a:pt x="3" y="0"/>
                    <a:pt x="0" y="3"/>
                    <a:pt x="1" y="10"/>
                  </a:cubicBezTo>
                  <a:cubicBezTo>
                    <a:pt x="1" y="12"/>
                    <a:pt x="3" y="17"/>
                    <a:pt x="4" y="18"/>
                  </a:cubicBezTo>
                  <a:cubicBezTo>
                    <a:pt x="6" y="20"/>
                    <a:pt x="7" y="20"/>
                    <a:pt x="8" y="22"/>
                  </a:cubicBezTo>
                  <a:cubicBezTo>
                    <a:pt x="10" y="27"/>
                    <a:pt x="8" y="31"/>
                    <a:pt x="9" y="36"/>
                  </a:cubicBezTo>
                  <a:cubicBezTo>
                    <a:pt x="11" y="40"/>
                    <a:pt x="16" y="38"/>
                    <a:pt x="20" y="38"/>
                  </a:cubicBezTo>
                  <a:cubicBezTo>
                    <a:pt x="25" y="38"/>
                    <a:pt x="35" y="38"/>
                    <a:pt x="39" y="41"/>
                  </a:cubicBezTo>
                  <a:cubicBezTo>
                    <a:pt x="41" y="43"/>
                    <a:pt x="40" y="46"/>
                    <a:pt x="44" y="46"/>
                  </a:cubicBezTo>
                  <a:cubicBezTo>
                    <a:pt x="48" y="46"/>
                    <a:pt x="48" y="43"/>
                    <a:pt x="48" y="40"/>
                  </a:cubicBezTo>
                  <a:cubicBezTo>
                    <a:pt x="49" y="30"/>
                    <a:pt x="44" y="20"/>
                    <a:pt x="34" y="17"/>
                  </a:cubicBezTo>
                  <a:cubicBezTo>
                    <a:pt x="32" y="17"/>
                    <a:pt x="32" y="17"/>
                    <a:pt x="30" y="16"/>
                  </a:cubicBezTo>
                  <a:cubicBezTo>
                    <a:pt x="28" y="15"/>
                    <a:pt x="26" y="12"/>
                    <a:pt x="24" y="11"/>
                  </a:cubicBezTo>
                  <a:cubicBezTo>
                    <a:pt x="21" y="8"/>
                    <a:pt x="12" y="6"/>
                    <a:pt x="12" y="2"/>
                  </a:cubicBez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2" name="Freeform 132"/>
            <p:cNvSpPr>
              <a:spLocks/>
            </p:cNvSpPr>
            <p:nvPr/>
          </p:nvSpPr>
          <p:spPr bwMode="auto">
            <a:xfrm>
              <a:off x="5553075" y="357188"/>
              <a:ext cx="38100" cy="22225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6" y="9"/>
                </a:cxn>
                <a:cxn ang="0">
                  <a:pos x="18" y="11"/>
                </a:cxn>
                <a:cxn ang="0">
                  <a:pos x="18" y="0"/>
                </a:cxn>
                <a:cxn ang="0">
                  <a:pos x="14" y="0"/>
                </a:cxn>
              </a:cxnLst>
              <a:rect l="0" t="0" r="r" b="b"/>
              <a:pathLst>
                <a:path w="20" h="12">
                  <a:moveTo>
                    <a:pt x="14" y="0"/>
                  </a:moveTo>
                  <a:cubicBezTo>
                    <a:pt x="9" y="0"/>
                    <a:pt x="0" y="1"/>
                    <a:pt x="6" y="9"/>
                  </a:cubicBezTo>
                  <a:cubicBezTo>
                    <a:pt x="8" y="11"/>
                    <a:pt x="15" y="12"/>
                    <a:pt x="18" y="11"/>
                  </a:cubicBezTo>
                  <a:cubicBezTo>
                    <a:pt x="20" y="9"/>
                    <a:pt x="20" y="3"/>
                    <a:pt x="18" y="0"/>
                  </a:cubicBezTo>
                  <a:lnTo>
                    <a:pt x="14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3" name="Freeform 133"/>
            <p:cNvSpPr>
              <a:spLocks/>
            </p:cNvSpPr>
            <p:nvPr/>
          </p:nvSpPr>
          <p:spPr bwMode="auto">
            <a:xfrm>
              <a:off x="5438775" y="271463"/>
              <a:ext cx="60325" cy="77788"/>
            </a:xfrm>
            <a:custGeom>
              <a:avLst/>
              <a:gdLst/>
              <a:ahLst/>
              <a:cxnLst>
                <a:cxn ang="0">
                  <a:pos x="32" y="22"/>
                </a:cxn>
                <a:cxn ang="0">
                  <a:pos x="29" y="9"/>
                </a:cxn>
                <a:cxn ang="0">
                  <a:pos x="15" y="11"/>
                </a:cxn>
                <a:cxn ang="0">
                  <a:pos x="13" y="7"/>
                </a:cxn>
                <a:cxn ang="0">
                  <a:pos x="8" y="3"/>
                </a:cxn>
                <a:cxn ang="0">
                  <a:pos x="2" y="4"/>
                </a:cxn>
                <a:cxn ang="0">
                  <a:pos x="2" y="17"/>
                </a:cxn>
                <a:cxn ang="0">
                  <a:pos x="6" y="23"/>
                </a:cxn>
                <a:cxn ang="0">
                  <a:pos x="12" y="25"/>
                </a:cxn>
                <a:cxn ang="0">
                  <a:pos x="9" y="41"/>
                </a:cxn>
                <a:cxn ang="0">
                  <a:pos x="22" y="33"/>
                </a:cxn>
                <a:cxn ang="0">
                  <a:pos x="26" y="22"/>
                </a:cxn>
                <a:cxn ang="0">
                  <a:pos x="32" y="22"/>
                </a:cxn>
              </a:cxnLst>
              <a:rect l="0" t="0" r="r" b="b"/>
              <a:pathLst>
                <a:path w="32" h="42">
                  <a:moveTo>
                    <a:pt x="32" y="22"/>
                  </a:moveTo>
                  <a:cubicBezTo>
                    <a:pt x="28" y="22"/>
                    <a:pt x="32" y="11"/>
                    <a:pt x="29" y="9"/>
                  </a:cubicBezTo>
                  <a:cubicBezTo>
                    <a:pt x="27" y="7"/>
                    <a:pt x="17" y="14"/>
                    <a:pt x="15" y="11"/>
                  </a:cubicBezTo>
                  <a:cubicBezTo>
                    <a:pt x="14" y="10"/>
                    <a:pt x="14" y="8"/>
                    <a:pt x="13" y="7"/>
                  </a:cubicBezTo>
                  <a:cubicBezTo>
                    <a:pt x="11" y="5"/>
                    <a:pt x="10" y="4"/>
                    <a:pt x="8" y="3"/>
                  </a:cubicBezTo>
                  <a:cubicBezTo>
                    <a:pt x="4" y="1"/>
                    <a:pt x="3" y="0"/>
                    <a:pt x="2" y="4"/>
                  </a:cubicBezTo>
                  <a:cubicBezTo>
                    <a:pt x="0" y="7"/>
                    <a:pt x="1" y="14"/>
                    <a:pt x="2" y="17"/>
                  </a:cubicBezTo>
                  <a:cubicBezTo>
                    <a:pt x="3" y="19"/>
                    <a:pt x="4" y="21"/>
                    <a:pt x="6" y="23"/>
                  </a:cubicBezTo>
                  <a:cubicBezTo>
                    <a:pt x="8" y="23"/>
                    <a:pt x="10" y="24"/>
                    <a:pt x="12" y="25"/>
                  </a:cubicBezTo>
                  <a:cubicBezTo>
                    <a:pt x="15" y="31"/>
                    <a:pt x="7" y="35"/>
                    <a:pt x="9" y="41"/>
                  </a:cubicBezTo>
                  <a:cubicBezTo>
                    <a:pt x="12" y="42"/>
                    <a:pt x="21" y="36"/>
                    <a:pt x="22" y="33"/>
                  </a:cubicBezTo>
                  <a:cubicBezTo>
                    <a:pt x="28" y="25"/>
                    <a:pt x="29" y="30"/>
                    <a:pt x="26" y="22"/>
                  </a:cubicBezTo>
                  <a:lnTo>
                    <a:pt x="32" y="2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4" name="Freeform 134"/>
            <p:cNvSpPr>
              <a:spLocks/>
            </p:cNvSpPr>
            <p:nvPr/>
          </p:nvSpPr>
          <p:spPr bwMode="auto">
            <a:xfrm>
              <a:off x="4297363" y="1987550"/>
              <a:ext cx="100013" cy="57150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18" y="7"/>
                </a:cxn>
                <a:cxn ang="0">
                  <a:pos x="14" y="11"/>
                </a:cxn>
                <a:cxn ang="0">
                  <a:pos x="11" y="13"/>
                </a:cxn>
                <a:cxn ang="0">
                  <a:pos x="6" y="15"/>
                </a:cxn>
                <a:cxn ang="0">
                  <a:pos x="3" y="29"/>
                </a:cxn>
                <a:cxn ang="0">
                  <a:pos x="11" y="29"/>
                </a:cxn>
                <a:cxn ang="0">
                  <a:pos x="19" y="25"/>
                </a:cxn>
                <a:cxn ang="0">
                  <a:pos x="26" y="25"/>
                </a:cxn>
                <a:cxn ang="0">
                  <a:pos x="31" y="26"/>
                </a:cxn>
                <a:cxn ang="0">
                  <a:pos x="39" y="23"/>
                </a:cxn>
                <a:cxn ang="0">
                  <a:pos x="44" y="20"/>
                </a:cxn>
                <a:cxn ang="0">
                  <a:pos x="50" y="19"/>
                </a:cxn>
                <a:cxn ang="0">
                  <a:pos x="53" y="15"/>
                </a:cxn>
                <a:cxn ang="0">
                  <a:pos x="54" y="13"/>
                </a:cxn>
                <a:cxn ang="0">
                  <a:pos x="46" y="10"/>
                </a:cxn>
                <a:cxn ang="0">
                  <a:pos x="41" y="9"/>
                </a:cxn>
                <a:cxn ang="0">
                  <a:pos x="40" y="4"/>
                </a:cxn>
                <a:cxn ang="0">
                  <a:pos x="39" y="1"/>
                </a:cxn>
                <a:cxn ang="0">
                  <a:pos x="32" y="2"/>
                </a:cxn>
                <a:cxn ang="0">
                  <a:pos x="33" y="0"/>
                </a:cxn>
              </a:cxnLst>
              <a:rect l="0" t="0" r="r" b="b"/>
              <a:pathLst>
                <a:path w="54" h="31">
                  <a:moveTo>
                    <a:pt x="33" y="0"/>
                  </a:moveTo>
                  <a:cubicBezTo>
                    <a:pt x="28" y="0"/>
                    <a:pt x="21" y="4"/>
                    <a:pt x="18" y="7"/>
                  </a:cubicBezTo>
                  <a:cubicBezTo>
                    <a:pt x="16" y="9"/>
                    <a:pt x="16" y="10"/>
                    <a:pt x="14" y="11"/>
                  </a:cubicBezTo>
                  <a:cubicBezTo>
                    <a:pt x="13" y="12"/>
                    <a:pt x="12" y="12"/>
                    <a:pt x="11" y="13"/>
                  </a:cubicBezTo>
                  <a:cubicBezTo>
                    <a:pt x="9" y="14"/>
                    <a:pt x="8" y="15"/>
                    <a:pt x="6" y="15"/>
                  </a:cubicBezTo>
                  <a:cubicBezTo>
                    <a:pt x="3" y="18"/>
                    <a:pt x="0" y="25"/>
                    <a:pt x="3" y="29"/>
                  </a:cubicBezTo>
                  <a:cubicBezTo>
                    <a:pt x="5" y="31"/>
                    <a:pt x="8" y="30"/>
                    <a:pt x="11" y="29"/>
                  </a:cubicBezTo>
                  <a:cubicBezTo>
                    <a:pt x="14" y="27"/>
                    <a:pt x="15" y="25"/>
                    <a:pt x="19" y="25"/>
                  </a:cubicBezTo>
                  <a:cubicBezTo>
                    <a:pt x="21" y="24"/>
                    <a:pt x="24" y="24"/>
                    <a:pt x="26" y="25"/>
                  </a:cubicBezTo>
                  <a:cubicBezTo>
                    <a:pt x="28" y="25"/>
                    <a:pt x="29" y="26"/>
                    <a:pt x="31" y="26"/>
                  </a:cubicBezTo>
                  <a:cubicBezTo>
                    <a:pt x="34" y="26"/>
                    <a:pt x="37" y="25"/>
                    <a:pt x="39" y="23"/>
                  </a:cubicBezTo>
                  <a:cubicBezTo>
                    <a:pt x="41" y="22"/>
                    <a:pt x="42" y="21"/>
                    <a:pt x="44" y="20"/>
                  </a:cubicBezTo>
                  <a:cubicBezTo>
                    <a:pt x="46" y="20"/>
                    <a:pt x="48" y="20"/>
                    <a:pt x="50" y="19"/>
                  </a:cubicBezTo>
                  <a:cubicBezTo>
                    <a:pt x="52" y="18"/>
                    <a:pt x="52" y="17"/>
                    <a:pt x="53" y="15"/>
                  </a:cubicBezTo>
                  <a:cubicBezTo>
                    <a:pt x="54" y="14"/>
                    <a:pt x="54" y="14"/>
                    <a:pt x="54" y="13"/>
                  </a:cubicBezTo>
                  <a:cubicBezTo>
                    <a:pt x="51" y="11"/>
                    <a:pt x="49" y="10"/>
                    <a:pt x="46" y="10"/>
                  </a:cubicBezTo>
                  <a:cubicBezTo>
                    <a:pt x="44" y="9"/>
                    <a:pt x="43" y="9"/>
                    <a:pt x="41" y="9"/>
                  </a:cubicBezTo>
                  <a:cubicBezTo>
                    <a:pt x="41" y="8"/>
                    <a:pt x="40" y="6"/>
                    <a:pt x="40" y="4"/>
                  </a:cubicBezTo>
                  <a:cubicBezTo>
                    <a:pt x="40" y="3"/>
                    <a:pt x="40" y="2"/>
                    <a:pt x="39" y="1"/>
                  </a:cubicBezTo>
                  <a:cubicBezTo>
                    <a:pt x="38" y="1"/>
                    <a:pt x="34" y="2"/>
                    <a:pt x="32" y="2"/>
                  </a:cubicBezTo>
                  <a:lnTo>
                    <a:pt x="3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5" name="Freeform 135"/>
            <p:cNvSpPr>
              <a:spLocks/>
            </p:cNvSpPr>
            <p:nvPr/>
          </p:nvSpPr>
          <p:spPr bwMode="auto">
            <a:xfrm>
              <a:off x="4306888" y="1946275"/>
              <a:ext cx="58738" cy="33338"/>
            </a:xfrm>
            <a:custGeom>
              <a:avLst/>
              <a:gdLst/>
              <a:ahLst/>
              <a:cxnLst>
                <a:cxn ang="0">
                  <a:pos x="23" y="2"/>
                </a:cxn>
                <a:cxn ang="0">
                  <a:pos x="9" y="7"/>
                </a:cxn>
                <a:cxn ang="0">
                  <a:pos x="3" y="12"/>
                </a:cxn>
                <a:cxn ang="0">
                  <a:pos x="1" y="16"/>
                </a:cxn>
                <a:cxn ang="0">
                  <a:pos x="9" y="17"/>
                </a:cxn>
                <a:cxn ang="0">
                  <a:pos x="24" y="15"/>
                </a:cxn>
                <a:cxn ang="0">
                  <a:pos x="28" y="13"/>
                </a:cxn>
                <a:cxn ang="0">
                  <a:pos x="26" y="0"/>
                </a:cxn>
                <a:cxn ang="0">
                  <a:pos x="23" y="2"/>
                </a:cxn>
              </a:cxnLst>
              <a:rect l="0" t="0" r="r" b="b"/>
              <a:pathLst>
                <a:path w="32" h="18">
                  <a:moveTo>
                    <a:pt x="23" y="2"/>
                  </a:moveTo>
                  <a:cubicBezTo>
                    <a:pt x="19" y="2"/>
                    <a:pt x="13" y="5"/>
                    <a:pt x="9" y="7"/>
                  </a:cubicBezTo>
                  <a:cubicBezTo>
                    <a:pt x="5" y="8"/>
                    <a:pt x="5" y="10"/>
                    <a:pt x="3" y="12"/>
                  </a:cubicBezTo>
                  <a:cubicBezTo>
                    <a:pt x="2" y="13"/>
                    <a:pt x="0" y="14"/>
                    <a:pt x="1" y="16"/>
                  </a:cubicBezTo>
                  <a:cubicBezTo>
                    <a:pt x="2" y="18"/>
                    <a:pt x="6" y="17"/>
                    <a:pt x="9" y="17"/>
                  </a:cubicBezTo>
                  <a:cubicBezTo>
                    <a:pt x="14" y="17"/>
                    <a:pt x="19" y="17"/>
                    <a:pt x="24" y="15"/>
                  </a:cubicBezTo>
                  <a:cubicBezTo>
                    <a:pt x="25" y="14"/>
                    <a:pt x="27" y="14"/>
                    <a:pt x="28" y="13"/>
                  </a:cubicBezTo>
                  <a:cubicBezTo>
                    <a:pt x="32" y="9"/>
                    <a:pt x="29" y="3"/>
                    <a:pt x="26" y="0"/>
                  </a:cubicBezTo>
                  <a:lnTo>
                    <a:pt x="23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6" name="Freeform 136"/>
            <p:cNvSpPr>
              <a:spLocks/>
            </p:cNvSpPr>
            <p:nvPr/>
          </p:nvSpPr>
          <p:spPr bwMode="auto">
            <a:xfrm>
              <a:off x="4256088" y="2024063"/>
              <a:ext cx="41275" cy="39688"/>
            </a:xfrm>
            <a:custGeom>
              <a:avLst/>
              <a:gdLst/>
              <a:ahLst/>
              <a:cxnLst>
                <a:cxn ang="0">
                  <a:pos x="16" y="5"/>
                </a:cxn>
                <a:cxn ang="0">
                  <a:pos x="7" y="4"/>
                </a:cxn>
                <a:cxn ang="0">
                  <a:pos x="0" y="12"/>
                </a:cxn>
                <a:cxn ang="0">
                  <a:pos x="7" y="19"/>
                </a:cxn>
                <a:cxn ang="0">
                  <a:pos x="10" y="20"/>
                </a:cxn>
                <a:cxn ang="0">
                  <a:pos x="17" y="18"/>
                </a:cxn>
                <a:cxn ang="0">
                  <a:pos x="21" y="13"/>
                </a:cxn>
                <a:cxn ang="0">
                  <a:pos x="14" y="0"/>
                </a:cxn>
                <a:cxn ang="0">
                  <a:pos x="16" y="5"/>
                </a:cxn>
              </a:cxnLst>
              <a:rect l="0" t="0" r="r" b="b"/>
              <a:pathLst>
                <a:path w="22" h="21">
                  <a:moveTo>
                    <a:pt x="16" y="5"/>
                  </a:moveTo>
                  <a:cubicBezTo>
                    <a:pt x="13" y="3"/>
                    <a:pt x="10" y="2"/>
                    <a:pt x="7" y="4"/>
                  </a:cubicBezTo>
                  <a:cubicBezTo>
                    <a:pt x="4" y="5"/>
                    <a:pt x="1" y="9"/>
                    <a:pt x="0" y="12"/>
                  </a:cubicBezTo>
                  <a:cubicBezTo>
                    <a:pt x="0" y="15"/>
                    <a:pt x="4" y="18"/>
                    <a:pt x="7" y="19"/>
                  </a:cubicBezTo>
                  <a:cubicBezTo>
                    <a:pt x="8" y="19"/>
                    <a:pt x="9" y="20"/>
                    <a:pt x="10" y="20"/>
                  </a:cubicBezTo>
                  <a:cubicBezTo>
                    <a:pt x="13" y="21"/>
                    <a:pt x="15" y="19"/>
                    <a:pt x="17" y="18"/>
                  </a:cubicBezTo>
                  <a:cubicBezTo>
                    <a:pt x="19" y="16"/>
                    <a:pt x="21" y="16"/>
                    <a:pt x="21" y="13"/>
                  </a:cubicBezTo>
                  <a:cubicBezTo>
                    <a:pt x="22" y="8"/>
                    <a:pt x="19" y="3"/>
                    <a:pt x="14" y="0"/>
                  </a:cubicBezTo>
                  <a:lnTo>
                    <a:pt x="16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7" name="Freeform 137"/>
            <p:cNvSpPr>
              <a:spLocks noEditPoints="1"/>
            </p:cNvSpPr>
            <p:nvPr/>
          </p:nvSpPr>
          <p:spPr bwMode="auto">
            <a:xfrm>
              <a:off x="5291138" y="285750"/>
              <a:ext cx="187325" cy="206375"/>
            </a:xfrm>
            <a:custGeom>
              <a:avLst/>
              <a:gdLst/>
              <a:ahLst/>
              <a:cxnLst>
                <a:cxn ang="0">
                  <a:pos x="39" y="61"/>
                </a:cxn>
                <a:cxn ang="0">
                  <a:pos x="38" y="59"/>
                </a:cxn>
                <a:cxn ang="0">
                  <a:pos x="29" y="68"/>
                </a:cxn>
                <a:cxn ang="0">
                  <a:pos x="15" y="70"/>
                </a:cxn>
                <a:cxn ang="0">
                  <a:pos x="18" y="80"/>
                </a:cxn>
                <a:cxn ang="0">
                  <a:pos x="3" y="82"/>
                </a:cxn>
                <a:cxn ang="0">
                  <a:pos x="0" y="93"/>
                </a:cxn>
                <a:cxn ang="0">
                  <a:pos x="5" y="102"/>
                </a:cxn>
                <a:cxn ang="0">
                  <a:pos x="22" y="104"/>
                </a:cxn>
                <a:cxn ang="0">
                  <a:pos x="26" y="109"/>
                </a:cxn>
                <a:cxn ang="0">
                  <a:pos x="27" y="105"/>
                </a:cxn>
                <a:cxn ang="0">
                  <a:pos x="31" y="96"/>
                </a:cxn>
                <a:cxn ang="0">
                  <a:pos x="40" y="92"/>
                </a:cxn>
                <a:cxn ang="0">
                  <a:pos x="39" y="61"/>
                </a:cxn>
                <a:cxn ang="0">
                  <a:pos x="96" y="40"/>
                </a:cxn>
                <a:cxn ang="0">
                  <a:pos x="87" y="36"/>
                </a:cxn>
                <a:cxn ang="0">
                  <a:pos x="82" y="35"/>
                </a:cxn>
                <a:cxn ang="0">
                  <a:pos x="78" y="32"/>
                </a:cxn>
                <a:cxn ang="0">
                  <a:pos x="72" y="30"/>
                </a:cxn>
                <a:cxn ang="0">
                  <a:pos x="69" y="30"/>
                </a:cxn>
                <a:cxn ang="0">
                  <a:pos x="67" y="29"/>
                </a:cxn>
                <a:cxn ang="0">
                  <a:pos x="68" y="29"/>
                </a:cxn>
                <a:cxn ang="0">
                  <a:pos x="67" y="29"/>
                </a:cxn>
                <a:cxn ang="0">
                  <a:pos x="64" y="25"/>
                </a:cxn>
                <a:cxn ang="0">
                  <a:pos x="56" y="15"/>
                </a:cxn>
                <a:cxn ang="0">
                  <a:pos x="57" y="2"/>
                </a:cxn>
                <a:cxn ang="0">
                  <a:pos x="49" y="1"/>
                </a:cxn>
                <a:cxn ang="0">
                  <a:pos x="45" y="7"/>
                </a:cxn>
                <a:cxn ang="0">
                  <a:pos x="46" y="11"/>
                </a:cxn>
                <a:cxn ang="0">
                  <a:pos x="46" y="18"/>
                </a:cxn>
                <a:cxn ang="0">
                  <a:pos x="41" y="23"/>
                </a:cxn>
                <a:cxn ang="0">
                  <a:pos x="37" y="24"/>
                </a:cxn>
                <a:cxn ang="0">
                  <a:pos x="38" y="37"/>
                </a:cxn>
                <a:cxn ang="0">
                  <a:pos x="38" y="59"/>
                </a:cxn>
                <a:cxn ang="0">
                  <a:pos x="39" y="58"/>
                </a:cxn>
                <a:cxn ang="0">
                  <a:pos x="43" y="62"/>
                </a:cxn>
                <a:cxn ang="0">
                  <a:pos x="47" y="65"/>
                </a:cxn>
                <a:cxn ang="0">
                  <a:pos x="50" y="67"/>
                </a:cxn>
                <a:cxn ang="0">
                  <a:pos x="53" y="71"/>
                </a:cxn>
                <a:cxn ang="0">
                  <a:pos x="56" y="71"/>
                </a:cxn>
                <a:cxn ang="0">
                  <a:pos x="58" y="71"/>
                </a:cxn>
                <a:cxn ang="0">
                  <a:pos x="59" y="72"/>
                </a:cxn>
                <a:cxn ang="0">
                  <a:pos x="73" y="68"/>
                </a:cxn>
                <a:cxn ang="0">
                  <a:pos x="81" y="57"/>
                </a:cxn>
                <a:cxn ang="0">
                  <a:pos x="82" y="51"/>
                </a:cxn>
                <a:cxn ang="0">
                  <a:pos x="94" y="46"/>
                </a:cxn>
                <a:cxn ang="0">
                  <a:pos x="99" y="43"/>
                </a:cxn>
                <a:cxn ang="0">
                  <a:pos x="96" y="40"/>
                </a:cxn>
              </a:cxnLst>
              <a:rect l="0" t="0" r="r" b="b"/>
              <a:pathLst>
                <a:path w="100" h="110">
                  <a:moveTo>
                    <a:pt x="39" y="61"/>
                  </a:moveTo>
                  <a:cubicBezTo>
                    <a:pt x="39" y="61"/>
                    <a:pt x="38" y="60"/>
                    <a:pt x="38" y="59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2"/>
                    <a:pt x="17" y="67"/>
                    <a:pt x="15" y="70"/>
                  </a:cubicBezTo>
                  <a:cubicBezTo>
                    <a:pt x="13" y="73"/>
                    <a:pt x="16" y="78"/>
                    <a:pt x="18" y="80"/>
                  </a:cubicBezTo>
                  <a:cubicBezTo>
                    <a:pt x="14" y="84"/>
                    <a:pt x="8" y="79"/>
                    <a:pt x="3" y="82"/>
                  </a:cubicBezTo>
                  <a:cubicBezTo>
                    <a:pt x="0" y="83"/>
                    <a:pt x="0" y="89"/>
                    <a:pt x="0" y="93"/>
                  </a:cubicBezTo>
                  <a:cubicBezTo>
                    <a:pt x="0" y="98"/>
                    <a:pt x="0" y="100"/>
                    <a:pt x="5" y="102"/>
                  </a:cubicBezTo>
                  <a:cubicBezTo>
                    <a:pt x="11" y="104"/>
                    <a:pt x="18" y="102"/>
                    <a:pt x="22" y="104"/>
                  </a:cubicBezTo>
                  <a:cubicBezTo>
                    <a:pt x="22" y="106"/>
                    <a:pt x="23" y="110"/>
                    <a:pt x="26" y="109"/>
                  </a:cubicBezTo>
                  <a:cubicBezTo>
                    <a:pt x="26" y="109"/>
                    <a:pt x="26" y="105"/>
                    <a:pt x="27" y="105"/>
                  </a:cubicBezTo>
                  <a:cubicBezTo>
                    <a:pt x="27" y="102"/>
                    <a:pt x="29" y="99"/>
                    <a:pt x="31" y="96"/>
                  </a:cubicBezTo>
                  <a:cubicBezTo>
                    <a:pt x="34" y="93"/>
                    <a:pt x="35" y="93"/>
                    <a:pt x="40" y="92"/>
                  </a:cubicBezTo>
                  <a:cubicBezTo>
                    <a:pt x="41" y="81"/>
                    <a:pt x="44" y="72"/>
                    <a:pt x="39" y="61"/>
                  </a:cubicBezTo>
                  <a:moveTo>
                    <a:pt x="96" y="40"/>
                  </a:moveTo>
                  <a:cubicBezTo>
                    <a:pt x="93" y="38"/>
                    <a:pt x="90" y="37"/>
                    <a:pt x="87" y="36"/>
                  </a:cubicBezTo>
                  <a:cubicBezTo>
                    <a:pt x="85" y="36"/>
                    <a:pt x="83" y="36"/>
                    <a:pt x="82" y="35"/>
                  </a:cubicBezTo>
                  <a:cubicBezTo>
                    <a:pt x="81" y="35"/>
                    <a:pt x="79" y="33"/>
                    <a:pt x="78" y="32"/>
                  </a:cubicBezTo>
                  <a:cubicBezTo>
                    <a:pt x="76" y="31"/>
                    <a:pt x="75" y="30"/>
                    <a:pt x="72" y="30"/>
                  </a:cubicBezTo>
                  <a:cubicBezTo>
                    <a:pt x="71" y="30"/>
                    <a:pt x="70" y="31"/>
                    <a:pt x="69" y="30"/>
                  </a:cubicBezTo>
                  <a:cubicBezTo>
                    <a:pt x="68" y="30"/>
                    <a:pt x="68" y="30"/>
                    <a:pt x="67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7" y="29"/>
                    <a:pt x="67" y="29"/>
                    <a:pt x="67" y="29"/>
                  </a:cubicBezTo>
                  <a:cubicBezTo>
                    <a:pt x="66" y="28"/>
                    <a:pt x="65" y="26"/>
                    <a:pt x="64" y="25"/>
                  </a:cubicBezTo>
                  <a:cubicBezTo>
                    <a:pt x="61" y="22"/>
                    <a:pt x="58" y="19"/>
                    <a:pt x="56" y="15"/>
                  </a:cubicBezTo>
                  <a:cubicBezTo>
                    <a:pt x="54" y="11"/>
                    <a:pt x="57" y="6"/>
                    <a:pt x="57" y="2"/>
                  </a:cubicBezTo>
                  <a:cubicBezTo>
                    <a:pt x="56" y="0"/>
                    <a:pt x="51" y="0"/>
                    <a:pt x="49" y="1"/>
                  </a:cubicBezTo>
                  <a:cubicBezTo>
                    <a:pt x="46" y="2"/>
                    <a:pt x="45" y="4"/>
                    <a:pt x="45" y="7"/>
                  </a:cubicBezTo>
                  <a:cubicBezTo>
                    <a:pt x="45" y="8"/>
                    <a:pt x="45" y="10"/>
                    <a:pt x="46" y="11"/>
                  </a:cubicBezTo>
                  <a:cubicBezTo>
                    <a:pt x="46" y="14"/>
                    <a:pt x="48" y="15"/>
                    <a:pt x="46" y="18"/>
                  </a:cubicBezTo>
                  <a:cubicBezTo>
                    <a:pt x="46" y="19"/>
                    <a:pt x="43" y="22"/>
                    <a:pt x="41" y="23"/>
                  </a:cubicBezTo>
                  <a:cubicBezTo>
                    <a:pt x="40" y="24"/>
                    <a:pt x="39" y="23"/>
                    <a:pt x="37" y="24"/>
                  </a:cubicBezTo>
                  <a:cubicBezTo>
                    <a:pt x="35" y="27"/>
                    <a:pt x="36" y="34"/>
                    <a:pt x="38" y="37"/>
                  </a:cubicBezTo>
                  <a:cubicBezTo>
                    <a:pt x="29" y="41"/>
                    <a:pt x="34" y="52"/>
                    <a:pt x="38" y="59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40" y="59"/>
                    <a:pt x="41" y="60"/>
                    <a:pt x="43" y="62"/>
                  </a:cubicBezTo>
                  <a:cubicBezTo>
                    <a:pt x="44" y="63"/>
                    <a:pt x="45" y="64"/>
                    <a:pt x="47" y="65"/>
                  </a:cubicBezTo>
                  <a:cubicBezTo>
                    <a:pt x="48" y="65"/>
                    <a:pt x="49" y="65"/>
                    <a:pt x="50" y="67"/>
                  </a:cubicBezTo>
                  <a:cubicBezTo>
                    <a:pt x="51" y="68"/>
                    <a:pt x="53" y="70"/>
                    <a:pt x="53" y="71"/>
                  </a:cubicBezTo>
                  <a:cubicBezTo>
                    <a:pt x="54" y="71"/>
                    <a:pt x="55" y="71"/>
                    <a:pt x="56" y="71"/>
                  </a:cubicBezTo>
                  <a:cubicBezTo>
                    <a:pt x="57" y="71"/>
                    <a:pt x="57" y="71"/>
                    <a:pt x="58" y="71"/>
                  </a:cubicBezTo>
                  <a:cubicBezTo>
                    <a:pt x="59" y="71"/>
                    <a:pt x="59" y="72"/>
                    <a:pt x="59" y="72"/>
                  </a:cubicBezTo>
                  <a:cubicBezTo>
                    <a:pt x="65" y="74"/>
                    <a:pt x="68" y="72"/>
                    <a:pt x="73" y="68"/>
                  </a:cubicBezTo>
                  <a:cubicBezTo>
                    <a:pt x="76" y="65"/>
                    <a:pt x="79" y="61"/>
                    <a:pt x="81" y="57"/>
                  </a:cubicBezTo>
                  <a:cubicBezTo>
                    <a:pt x="83" y="55"/>
                    <a:pt x="82" y="54"/>
                    <a:pt x="82" y="51"/>
                  </a:cubicBezTo>
                  <a:cubicBezTo>
                    <a:pt x="86" y="49"/>
                    <a:pt x="90" y="48"/>
                    <a:pt x="94" y="46"/>
                  </a:cubicBezTo>
                  <a:cubicBezTo>
                    <a:pt x="95" y="45"/>
                    <a:pt x="98" y="44"/>
                    <a:pt x="99" y="43"/>
                  </a:cubicBezTo>
                  <a:cubicBezTo>
                    <a:pt x="100" y="41"/>
                    <a:pt x="97" y="40"/>
                    <a:pt x="96" y="4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8" name="Freeform 138"/>
            <p:cNvSpPr>
              <a:spLocks noEditPoints="1"/>
            </p:cNvSpPr>
            <p:nvPr/>
          </p:nvSpPr>
          <p:spPr bwMode="auto">
            <a:xfrm>
              <a:off x="3941763" y="-1588"/>
              <a:ext cx="2671763" cy="3179763"/>
            </a:xfrm>
            <a:custGeom>
              <a:avLst/>
              <a:gdLst/>
              <a:ahLst/>
              <a:cxnLst>
                <a:cxn ang="0">
                  <a:pos x="1352" y="75"/>
                </a:cxn>
                <a:cxn ang="0">
                  <a:pos x="1254" y="97"/>
                </a:cxn>
                <a:cxn ang="0">
                  <a:pos x="1215" y="46"/>
                </a:cxn>
                <a:cxn ang="0">
                  <a:pos x="1183" y="71"/>
                </a:cxn>
                <a:cxn ang="0">
                  <a:pos x="1101" y="166"/>
                </a:cxn>
                <a:cxn ang="0">
                  <a:pos x="1114" y="16"/>
                </a:cxn>
                <a:cxn ang="0">
                  <a:pos x="1066" y="82"/>
                </a:cxn>
                <a:cxn ang="0">
                  <a:pos x="988" y="172"/>
                </a:cxn>
                <a:cxn ang="0">
                  <a:pos x="855" y="247"/>
                </a:cxn>
                <a:cxn ang="0">
                  <a:pos x="779" y="240"/>
                </a:cxn>
                <a:cxn ang="0">
                  <a:pos x="723" y="294"/>
                </a:cxn>
                <a:cxn ang="0">
                  <a:pos x="676" y="334"/>
                </a:cxn>
                <a:cxn ang="0">
                  <a:pos x="682" y="368"/>
                </a:cxn>
                <a:cxn ang="0">
                  <a:pos x="594" y="355"/>
                </a:cxn>
                <a:cxn ang="0">
                  <a:pos x="571" y="378"/>
                </a:cxn>
                <a:cxn ang="0">
                  <a:pos x="539" y="409"/>
                </a:cxn>
                <a:cxn ang="0">
                  <a:pos x="476" y="472"/>
                </a:cxn>
                <a:cxn ang="0">
                  <a:pos x="535" y="461"/>
                </a:cxn>
                <a:cxn ang="0">
                  <a:pos x="652" y="435"/>
                </a:cxn>
                <a:cxn ang="0">
                  <a:pos x="591" y="478"/>
                </a:cxn>
                <a:cxn ang="0">
                  <a:pos x="568" y="557"/>
                </a:cxn>
                <a:cxn ang="0">
                  <a:pos x="499" y="629"/>
                </a:cxn>
                <a:cxn ang="0">
                  <a:pos x="447" y="712"/>
                </a:cxn>
                <a:cxn ang="0">
                  <a:pos x="429" y="788"/>
                </a:cxn>
                <a:cxn ang="0">
                  <a:pos x="368" y="906"/>
                </a:cxn>
                <a:cxn ang="0">
                  <a:pos x="355" y="948"/>
                </a:cxn>
                <a:cxn ang="0">
                  <a:pos x="285" y="1042"/>
                </a:cxn>
                <a:cxn ang="0">
                  <a:pos x="326" y="1063"/>
                </a:cxn>
                <a:cxn ang="0">
                  <a:pos x="324" y="1087"/>
                </a:cxn>
                <a:cxn ang="0">
                  <a:pos x="247" y="1099"/>
                </a:cxn>
                <a:cxn ang="0">
                  <a:pos x="193" y="1128"/>
                </a:cxn>
                <a:cxn ang="0">
                  <a:pos x="170" y="1142"/>
                </a:cxn>
                <a:cxn ang="0">
                  <a:pos x="177" y="1172"/>
                </a:cxn>
                <a:cxn ang="0">
                  <a:pos x="77" y="1210"/>
                </a:cxn>
                <a:cxn ang="0">
                  <a:pos x="98" y="1233"/>
                </a:cxn>
                <a:cxn ang="0">
                  <a:pos x="62" y="1256"/>
                </a:cxn>
                <a:cxn ang="0">
                  <a:pos x="66" y="1277"/>
                </a:cxn>
                <a:cxn ang="0">
                  <a:pos x="29" y="1343"/>
                </a:cxn>
                <a:cxn ang="0">
                  <a:pos x="40" y="1371"/>
                </a:cxn>
                <a:cxn ang="0">
                  <a:pos x="21" y="1424"/>
                </a:cxn>
                <a:cxn ang="0">
                  <a:pos x="37" y="1490"/>
                </a:cxn>
                <a:cxn ang="0">
                  <a:pos x="47" y="1580"/>
                </a:cxn>
                <a:cxn ang="0">
                  <a:pos x="69" y="1646"/>
                </a:cxn>
                <a:cxn ang="0">
                  <a:pos x="207" y="1675"/>
                </a:cxn>
                <a:cxn ang="0">
                  <a:pos x="315" y="1549"/>
                </a:cxn>
                <a:cxn ang="0">
                  <a:pos x="357" y="1589"/>
                </a:cxn>
                <a:cxn ang="0">
                  <a:pos x="433" y="1431"/>
                </a:cxn>
                <a:cxn ang="0">
                  <a:pos x="410" y="1221"/>
                </a:cxn>
                <a:cxn ang="0">
                  <a:pos x="444" y="1021"/>
                </a:cxn>
                <a:cxn ang="0">
                  <a:pos x="529" y="825"/>
                </a:cxn>
                <a:cxn ang="0">
                  <a:pos x="624" y="594"/>
                </a:cxn>
                <a:cxn ang="0">
                  <a:pos x="735" y="459"/>
                </a:cxn>
                <a:cxn ang="0">
                  <a:pos x="869" y="334"/>
                </a:cxn>
                <a:cxn ang="0">
                  <a:pos x="982" y="393"/>
                </a:cxn>
                <a:cxn ang="0">
                  <a:pos x="1100" y="388"/>
                </a:cxn>
                <a:cxn ang="0">
                  <a:pos x="1145" y="252"/>
                </a:cxn>
                <a:cxn ang="0">
                  <a:pos x="1261" y="192"/>
                </a:cxn>
                <a:cxn ang="0">
                  <a:pos x="1316" y="340"/>
                </a:cxn>
                <a:cxn ang="0">
                  <a:pos x="1375" y="252"/>
                </a:cxn>
                <a:cxn ang="0">
                  <a:pos x="1383" y="212"/>
                </a:cxn>
                <a:cxn ang="0">
                  <a:pos x="1340" y="204"/>
                </a:cxn>
              </a:cxnLst>
              <a:rect l="0" t="0" r="r" b="b"/>
              <a:pathLst>
                <a:path w="1429" h="1701">
                  <a:moveTo>
                    <a:pt x="1115" y="33"/>
                  </a:moveTo>
                  <a:cubicBezTo>
                    <a:pt x="1116" y="33"/>
                    <a:pt x="1117" y="33"/>
                    <a:pt x="1118" y="33"/>
                  </a:cubicBezTo>
                  <a:cubicBezTo>
                    <a:pt x="1117" y="32"/>
                    <a:pt x="1116" y="32"/>
                    <a:pt x="1115" y="33"/>
                  </a:cubicBezTo>
                  <a:moveTo>
                    <a:pt x="272" y="1065"/>
                  </a:moveTo>
                  <a:cubicBezTo>
                    <a:pt x="272" y="1065"/>
                    <a:pt x="272" y="1065"/>
                    <a:pt x="272" y="1065"/>
                  </a:cubicBezTo>
                  <a:cubicBezTo>
                    <a:pt x="271" y="1066"/>
                    <a:pt x="270" y="1066"/>
                    <a:pt x="270" y="1067"/>
                  </a:cubicBezTo>
                  <a:cubicBezTo>
                    <a:pt x="271" y="1067"/>
                    <a:pt x="272" y="1066"/>
                    <a:pt x="272" y="1065"/>
                  </a:cubicBezTo>
                  <a:moveTo>
                    <a:pt x="422" y="1463"/>
                  </a:moveTo>
                  <a:cubicBezTo>
                    <a:pt x="423" y="1463"/>
                    <a:pt x="424" y="1463"/>
                    <a:pt x="425" y="1463"/>
                  </a:cubicBezTo>
                  <a:cubicBezTo>
                    <a:pt x="424" y="1461"/>
                    <a:pt x="423" y="1462"/>
                    <a:pt x="422" y="1463"/>
                  </a:cubicBezTo>
                  <a:moveTo>
                    <a:pt x="1418" y="124"/>
                  </a:moveTo>
                  <a:cubicBezTo>
                    <a:pt x="1416" y="126"/>
                    <a:pt x="1415" y="124"/>
                    <a:pt x="1414" y="123"/>
                  </a:cubicBezTo>
                  <a:cubicBezTo>
                    <a:pt x="1411" y="121"/>
                    <a:pt x="1408" y="119"/>
                    <a:pt x="1405" y="118"/>
                  </a:cubicBezTo>
                  <a:cubicBezTo>
                    <a:pt x="1403" y="117"/>
                    <a:pt x="1401" y="115"/>
                    <a:pt x="1400" y="113"/>
                  </a:cubicBezTo>
                  <a:cubicBezTo>
                    <a:pt x="1399" y="111"/>
                    <a:pt x="1401" y="108"/>
                    <a:pt x="1398" y="106"/>
                  </a:cubicBezTo>
                  <a:cubicBezTo>
                    <a:pt x="1391" y="110"/>
                    <a:pt x="1379" y="109"/>
                    <a:pt x="1370" y="108"/>
                  </a:cubicBezTo>
                  <a:cubicBezTo>
                    <a:pt x="1370" y="104"/>
                    <a:pt x="1378" y="103"/>
                    <a:pt x="1380" y="101"/>
                  </a:cubicBezTo>
                  <a:cubicBezTo>
                    <a:pt x="1385" y="97"/>
                    <a:pt x="1382" y="94"/>
                    <a:pt x="1378" y="90"/>
                  </a:cubicBezTo>
                  <a:cubicBezTo>
                    <a:pt x="1376" y="87"/>
                    <a:pt x="1375" y="80"/>
                    <a:pt x="1371" y="79"/>
                  </a:cubicBezTo>
                  <a:cubicBezTo>
                    <a:pt x="1368" y="77"/>
                    <a:pt x="1366" y="80"/>
                    <a:pt x="1365" y="82"/>
                  </a:cubicBezTo>
                  <a:cubicBezTo>
                    <a:pt x="1361" y="85"/>
                    <a:pt x="1357" y="89"/>
                    <a:pt x="1353" y="91"/>
                  </a:cubicBezTo>
                  <a:cubicBezTo>
                    <a:pt x="1355" y="86"/>
                    <a:pt x="1358" y="77"/>
                    <a:pt x="1352" y="75"/>
                  </a:cubicBezTo>
                  <a:cubicBezTo>
                    <a:pt x="1348" y="74"/>
                    <a:pt x="1343" y="75"/>
                    <a:pt x="1341" y="77"/>
                  </a:cubicBezTo>
                  <a:cubicBezTo>
                    <a:pt x="1338" y="79"/>
                    <a:pt x="1337" y="83"/>
                    <a:pt x="1335" y="85"/>
                  </a:cubicBezTo>
                  <a:cubicBezTo>
                    <a:pt x="1332" y="87"/>
                    <a:pt x="1335" y="87"/>
                    <a:pt x="1332" y="85"/>
                  </a:cubicBezTo>
                  <a:cubicBezTo>
                    <a:pt x="1329" y="84"/>
                    <a:pt x="1328" y="80"/>
                    <a:pt x="1328" y="77"/>
                  </a:cubicBezTo>
                  <a:cubicBezTo>
                    <a:pt x="1328" y="74"/>
                    <a:pt x="1329" y="75"/>
                    <a:pt x="1330" y="72"/>
                  </a:cubicBezTo>
                  <a:cubicBezTo>
                    <a:pt x="1331" y="69"/>
                    <a:pt x="1331" y="65"/>
                    <a:pt x="1330" y="62"/>
                  </a:cubicBezTo>
                  <a:cubicBezTo>
                    <a:pt x="1328" y="58"/>
                    <a:pt x="1324" y="57"/>
                    <a:pt x="1320" y="56"/>
                  </a:cubicBezTo>
                  <a:cubicBezTo>
                    <a:pt x="1317" y="54"/>
                    <a:pt x="1312" y="49"/>
                    <a:pt x="1308" y="51"/>
                  </a:cubicBezTo>
                  <a:cubicBezTo>
                    <a:pt x="1308" y="53"/>
                    <a:pt x="1305" y="55"/>
                    <a:pt x="1304" y="56"/>
                  </a:cubicBezTo>
                  <a:cubicBezTo>
                    <a:pt x="1301" y="59"/>
                    <a:pt x="1299" y="62"/>
                    <a:pt x="1296" y="65"/>
                  </a:cubicBezTo>
                  <a:cubicBezTo>
                    <a:pt x="1291" y="70"/>
                    <a:pt x="1289" y="75"/>
                    <a:pt x="1289" y="82"/>
                  </a:cubicBezTo>
                  <a:cubicBezTo>
                    <a:pt x="1289" y="88"/>
                    <a:pt x="1289" y="94"/>
                    <a:pt x="1289" y="99"/>
                  </a:cubicBezTo>
                  <a:cubicBezTo>
                    <a:pt x="1289" y="106"/>
                    <a:pt x="1286" y="111"/>
                    <a:pt x="1285" y="118"/>
                  </a:cubicBezTo>
                  <a:cubicBezTo>
                    <a:pt x="1281" y="111"/>
                    <a:pt x="1276" y="115"/>
                    <a:pt x="1270" y="118"/>
                  </a:cubicBezTo>
                  <a:cubicBezTo>
                    <a:pt x="1268" y="119"/>
                    <a:pt x="1265" y="120"/>
                    <a:pt x="1263" y="121"/>
                  </a:cubicBezTo>
                  <a:cubicBezTo>
                    <a:pt x="1260" y="122"/>
                    <a:pt x="1247" y="123"/>
                    <a:pt x="1245" y="120"/>
                  </a:cubicBezTo>
                  <a:cubicBezTo>
                    <a:pt x="1248" y="117"/>
                    <a:pt x="1252" y="118"/>
                    <a:pt x="1255" y="115"/>
                  </a:cubicBezTo>
                  <a:cubicBezTo>
                    <a:pt x="1257" y="114"/>
                    <a:pt x="1257" y="112"/>
                    <a:pt x="1259" y="110"/>
                  </a:cubicBezTo>
                  <a:cubicBezTo>
                    <a:pt x="1261" y="107"/>
                    <a:pt x="1265" y="105"/>
                    <a:pt x="1268" y="103"/>
                  </a:cubicBezTo>
                  <a:cubicBezTo>
                    <a:pt x="1274" y="99"/>
                    <a:pt x="1279" y="95"/>
                    <a:pt x="1283" y="89"/>
                  </a:cubicBezTo>
                  <a:cubicBezTo>
                    <a:pt x="1278" y="93"/>
                    <a:pt x="1272" y="93"/>
                    <a:pt x="1267" y="94"/>
                  </a:cubicBezTo>
                  <a:cubicBezTo>
                    <a:pt x="1262" y="95"/>
                    <a:pt x="1259" y="96"/>
                    <a:pt x="1254" y="97"/>
                  </a:cubicBezTo>
                  <a:cubicBezTo>
                    <a:pt x="1247" y="97"/>
                    <a:pt x="1239" y="98"/>
                    <a:pt x="1232" y="97"/>
                  </a:cubicBezTo>
                  <a:cubicBezTo>
                    <a:pt x="1236" y="94"/>
                    <a:pt x="1239" y="90"/>
                    <a:pt x="1243" y="88"/>
                  </a:cubicBezTo>
                  <a:cubicBezTo>
                    <a:pt x="1248" y="85"/>
                    <a:pt x="1254" y="81"/>
                    <a:pt x="1257" y="76"/>
                  </a:cubicBezTo>
                  <a:cubicBezTo>
                    <a:pt x="1260" y="71"/>
                    <a:pt x="1259" y="69"/>
                    <a:pt x="1255" y="67"/>
                  </a:cubicBezTo>
                  <a:cubicBezTo>
                    <a:pt x="1253" y="66"/>
                    <a:pt x="1247" y="66"/>
                    <a:pt x="1249" y="62"/>
                  </a:cubicBezTo>
                  <a:cubicBezTo>
                    <a:pt x="1249" y="61"/>
                    <a:pt x="1252" y="60"/>
                    <a:pt x="1253" y="60"/>
                  </a:cubicBezTo>
                  <a:cubicBezTo>
                    <a:pt x="1258" y="60"/>
                    <a:pt x="1261" y="60"/>
                    <a:pt x="1265" y="62"/>
                  </a:cubicBezTo>
                  <a:cubicBezTo>
                    <a:pt x="1269" y="63"/>
                    <a:pt x="1277" y="63"/>
                    <a:pt x="1279" y="58"/>
                  </a:cubicBezTo>
                  <a:cubicBezTo>
                    <a:pt x="1279" y="57"/>
                    <a:pt x="1278" y="55"/>
                    <a:pt x="1279" y="54"/>
                  </a:cubicBezTo>
                  <a:cubicBezTo>
                    <a:pt x="1279" y="52"/>
                    <a:pt x="1282" y="50"/>
                    <a:pt x="1283" y="48"/>
                  </a:cubicBezTo>
                  <a:cubicBezTo>
                    <a:pt x="1287" y="44"/>
                    <a:pt x="1292" y="41"/>
                    <a:pt x="1290" y="36"/>
                  </a:cubicBezTo>
                  <a:cubicBezTo>
                    <a:pt x="1287" y="30"/>
                    <a:pt x="1276" y="33"/>
                    <a:pt x="1270" y="33"/>
                  </a:cubicBezTo>
                  <a:cubicBezTo>
                    <a:pt x="1270" y="29"/>
                    <a:pt x="1272" y="21"/>
                    <a:pt x="1268" y="18"/>
                  </a:cubicBezTo>
                  <a:cubicBezTo>
                    <a:pt x="1263" y="14"/>
                    <a:pt x="1254" y="21"/>
                    <a:pt x="1250" y="20"/>
                  </a:cubicBezTo>
                  <a:cubicBezTo>
                    <a:pt x="1249" y="16"/>
                    <a:pt x="1251" y="4"/>
                    <a:pt x="1244" y="6"/>
                  </a:cubicBezTo>
                  <a:cubicBezTo>
                    <a:pt x="1240" y="8"/>
                    <a:pt x="1239" y="16"/>
                    <a:pt x="1238" y="20"/>
                  </a:cubicBezTo>
                  <a:cubicBezTo>
                    <a:pt x="1237" y="22"/>
                    <a:pt x="1234" y="32"/>
                    <a:pt x="1231" y="33"/>
                  </a:cubicBezTo>
                  <a:cubicBezTo>
                    <a:pt x="1227" y="34"/>
                    <a:pt x="1225" y="25"/>
                    <a:pt x="1221" y="25"/>
                  </a:cubicBezTo>
                  <a:cubicBezTo>
                    <a:pt x="1215" y="24"/>
                    <a:pt x="1217" y="32"/>
                    <a:pt x="1217" y="36"/>
                  </a:cubicBezTo>
                  <a:cubicBezTo>
                    <a:pt x="1217" y="36"/>
                    <a:pt x="1217" y="36"/>
                    <a:pt x="1217" y="36"/>
                  </a:cubicBezTo>
                  <a:cubicBezTo>
                    <a:pt x="1216" y="38"/>
                    <a:pt x="1211" y="39"/>
                    <a:pt x="1210" y="42"/>
                  </a:cubicBezTo>
                  <a:cubicBezTo>
                    <a:pt x="1209" y="47"/>
                    <a:pt x="1213" y="43"/>
                    <a:pt x="1215" y="46"/>
                  </a:cubicBezTo>
                  <a:cubicBezTo>
                    <a:pt x="1216" y="47"/>
                    <a:pt x="1216" y="49"/>
                    <a:pt x="1217" y="50"/>
                  </a:cubicBezTo>
                  <a:cubicBezTo>
                    <a:pt x="1218" y="51"/>
                    <a:pt x="1222" y="53"/>
                    <a:pt x="1224" y="53"/>
                  </a:cubicBezTo>
                  <a:cubicBezTo>
                    <a:pt x="1219" y="52"/>
                    <a:pt x="1219" y="56"/>
                    <a:pt x="1219" y="60"/>
                  </a:cubicBezTo>
                  <a:cubicBezTo>
                    <a:pt x="1219" y="65"/>
                    <a:pt x="1219" y="67"/>
                    <a:pt x="1216" y="71"/>
                  </a:cubicBezTo>
                  <a:cubicBezTo>
                    <a:pt x="1211" y="77"/>
                    <a:pt x="1205" y="81"/>
                    <a:pt x="1204" y="90"/>
                  </a:cubicBezTo>
                  <a:cubicBezTo>
                    <a:pt x="1203" y="94"/>
                    <a:pt x="1204" y="99"/>
                    <a:pt x="1202" y="104"/>
                  </a:cubicBezTo>
                  <a:cubicBezTo>
                    <a:pt x="1201" y="107"/>
                    <a:pt x="1198" y="108"/>
                    <a:pt x="1197" y="111"/>
                  </a:cubicBezTo>
                  <a:cubicBezTo>
                    <a:pt x="1197" y="114"/>
                    <a:pt x="1198" y="117"/>
                    <a:pt x="1198" y="119"/>
                  </a:cubicBezTo>
                  <a:cubicBezTo>
                    <a:pt x="1197" y="121"/>
                    <a:pt x="1194" y="123"/>
                    <a:pt x="1193" y="124"/>
                  </a:cubicBezTo>
                  <a:cubicBezTo>
                    <a:pt x="1189" y="127"/>
                    <a:pt x="1189" y="128"/>
                    <a:pt x="1187" y="132"/>
                  </a:cubicBezTo>
                  <a:cubicBezTo>
                    <a:pt x="1185" y="135"/>
                    <a:pt x="1183" y="135"/>
                    <a:pt x="1183" y="139"/>
                  </a:cubicBezTo>
                  <a:cubicBezTo>
                    <a:pt x="1183" y="140"/>
                    <a:pt x="1183" y="141"/>
                    <a:pt x="1183" y="142"/>
                  </a:cubicBezTo>
                  <a:cubicBezTo>
                    <a:pt x="1181" y="142"/>
                    <a:pt x="1178" y="142"/>
                    <a:pt x="1176" y="142"/>
                  </a:cubicBezTo>
                  <a:cubicBezTo>
                    <a:pt x="1176" y="142"/>
                    <a:pt x="1176" y="142"/>
                    <a:pt x="1176" y="142"/>
                  </a:cubicBezTo>
                  <a:cubicBezTo>
                    <a:pt x="1177" y="138"/>
                    <a:pt x="1180" y="134"/>
                    <a:pt x="1182" y="129"/>
                  </a:cubicBezTo>
                  <a:cubicBezTo>
                    <a:pt x="1183" y="127"/>
                    <a:pt x="1182" y="125"/>
                    <a:pt x="1183" y="122"/>
                  </a:cubicBezTo>
                  <a:cubicBezTo>
                    <a:pt x="1184" y="119"/>
                    <a:pt x="1185" y="117"/>
                    <a:pt x="1185" y="113"/>
                  </a:cubicBezTo>
                  <a:cubicBezTo>
                    <a:pt x="1185" y="109"/>
                    <a:pt x="1185" y="105"/>
                    <a:pt x="1185" y="101"/>
                  </a:cubicBezTo>
                  <a:cubicBezTo>
                    <a:pt x="1186" y="97"/>
                    <a:pt x="1188" y="92"/>
                    <a:pt x="1187" y="88"/>
                  </a:cubicBezTo>
                  <a:cubicBezTo>
                    <a:pt x="1187" y="87"/>
                    <a:pt x="1186" y="83"/>
                    <a:pt x="1185" y="83"/>
                  </a:cubicBezTo>
                  <a:cubicBezTo>
                    <a:pt x="1182" y="81"/>
                    <a:pt x="1178" y="82"/>
                    <a:pt x="1179" y="77"/>
                  </a:cubicBezTo>
                  <a:cubicBezTo>
                    <a:pt x="1179" y="74"/>
                    <a:pt x="1181" y="73"/>
                    <a:pt x="1183" y="71"/>
                  </a:cubicBezTo>
                  <a:cubicBezTo>
                    <a:pt x="1187" y="69"/>
                    <a:pt x="1189" y="68"/>
                    <a:pt x="1189" y="63"/>
                  </a:cubicBezTo>
                  <a:cubicBezTo>
                    <a:pt x="1189" y="60"/>
                    <a:pt x="1189" y="58"/>
                    <a:pt x="1189" y="55"/>
                  </a:cubicBezTo>
                  <a:cubicBezTo>
                    <a:pt x="1189" y="47"/>
                    <a:pt x="1198" y="40"/>
                    <a:pt x="1193" y="32"/>
                  </a:cubicBezTo>
                  <a:cubicBezTo>
                    <a:pt x="1191" y="32"/>
                    <a:pt x="1185" y="32"/>
                    <a:pt x="1183" y="32"/>
                  </a:cubicBezTo>
                  <a:cubicBezTo>
                    <a:pt x="1182" y="33"/>
                    <a:pt x="1181" y="35"/>
                    <a:pt x="1180" y="37"/>
                  </a:cubicBezTo>
                  <a:cubicBezTo>
                    <a:pt x="1176" y="41"/>
                    <a:pt x="1171" y="45"/>
                    <a:pt x="1167" y="49"/>
                  </a:cubicBezTo>
                  <a:cubicBezTo>
                    <a:pt x="1161" y="53"/>
                    <a:pt x="1156" y="54"/>
                    <a:pt x="1156" y="61"/>
                  </a:cubicBezTo>
                  <a:cubicBezTo>
                    <a:pt x="1156" y="66"/>
                    <a:pt x="1156" y="70"/>
                    <a:pt x="1156" y="75"/>
                  </a:cubicBezTo>
                  <a:cubicBezTo>
                    <a:pt x="1156" y="80"/>
                    <a:pt x="1154" y="83"/>
                    <a:pt x="1151" y="87"/>
                  </a:cubicBezTo>
                  <a:cubicBezTo>
                    <a:pt x="1147" y="93"/>
                    <a:pt x="1141" y="99"/>
                    <a:pt x="1139" y="106"/>
                  </a:cubicBezTo>
                  <a:cubicBezTo>
                    <a:pt x="1138" y="113"/>
                    <a:pt x="1141" y="122"/>
                    <a:pt x="1134" y="128"/>
                  </a:cubicBezTo>
                  <a:cubicBezTo>
                    <a:pt x="1130" y="132"/>
                    <a:pt x="1121" y="131"/>
                    <a:pt x="1118" y="134"/>
                  </a:cubicBezTo>
                  <a:cubicBezTo>
                    <a:pt x="1117" y="135"/>
                    <a:pt x="1116" y="138"/>
                    <a:pt x="1116" y="139"/>
                  </a:cubicBezTo>
                  <a:cubicBezTo>
                    <a:pt x="1117" y="141"/>
                    <a:pt x="1119" y="141"/>
                    <a:pt x="1120" y="142"/>
                  </a:cubicBezTo>
                  <a:cubicBezTo>
                    <a:pt x="1123" y="145"/>
                    <a:pt x="1122" y="147"/>
                    <a:pt x="1119" y="148"/>
                  </a:cubicBezTo>
                  <a:cubicBezTo>
                    <a:pt x="1117" y="149"/>
                    <a:pt x="1116" y="147"/>
                    <a:pt x="1114" y="149"/>
                  </a:cubicBezTo>
                  <a:cubicBezTo>
                    <a:pt x="1115" y="148"/>
                    <a:pt x="1112" y="155"/>
                    <a:pt x="1113" y="153"/>
                  </a:cubicBezTo>
                  <a:cubicBezTo>
                    <a:pt x="1111" y="156"/>
                    <a:pt x="1109" y="160"/>
                    <a:pt x="1108" y="164"/>
                  </a:cubicBezTo>
                  <a:cubicBezTo>
                    <a:pt x="1107" y="168"/>
                    <a:pt x="1108" y="171"/>
                    <a:pt x="1108" y="175"/>
                  </a:cubicBezTo>
                  <a:cubicBezTo>
                    <a:pt x="1108" y="175"/>
                    <a:pt x="1107" y="175"/>
                    <a:pt x="1107" y="176"/>
                  </a:cubicBezTo>
                  <a:cubicBezTo>
                    <a:pt x="1106" y="177"/>
                    <a:pt x="1105" y="178"/>
                    <a:pt x="1103" y="175"/>
                  </a:cubicBezTo>
                  <a:cubicBezTo>
                    <a:pt x="1101" y="173"/>
                    <a:pt x="1102" y="169"/>
                    <a:pt x="1101" y="166"/>
                  </a:cubicBezTo>
                  <a:cubicBezTo>
                    <a:pt x="1101" y="165"/>
                    <a:pt x="1100" y="165"/>
                    <a:pt x="1100" y="164"/>
                  </a:cubicBezTo>
                  <a:cubicBezTo>
                    <a:pt x="1100" y="159"/>
                    <a:pt x="1101" y="159"/>
                    <a:pt x="1095" y="158"/>
                  </a:cubicBezTo>
                  <a:cubicBezTo>
                    <a:pt x="1094" y="158"/>
                    <a:pt x="1093" y="158"/>
                    <a:pt x="1093" y="158"/>
                  </a:cubicBezTo>
                  <a:cubicBezTo>
                    <a:pt x="1094" y="154"/>
                    <a:pt x="1096" y="154"/>
                    <a:pt x="1101" y="152"/>
                  </a:cubicBezTo>
                  <a:cubicBezTo>
                    <a:pt x="1110" y="148"/>
                    <a:pt x="1104" y="137"/>
                    <a:pt x="1106" y="129"/>
                  </a:cubicBezTo>
                  <a:cubicBezTo>
                    <a:pt x="1107" y="124"/>
                    <a:pt x="1112" y="119"/>
                    <a:pt x="1112" y="114"/>
                  </a:cubicBezTo>
                  <a:cubicBezTo>
                    <a:pt x="1111" y="111"/>
                    <a:pt x="1110" y="110"/>
                    <a:pt x="1110" y="108"/>
                  </a:cubicBezTo>
                  <a:cubicBezTo>
                    <a:pt x="1111" y="105"/>
                    <a:pt x="1114" y="101"/>
                    <a:pt x="1117" y="99"/>
                  </a:cubicBezTo>
                  <a:cubicBezTo>
                    <a:pt x="1119" y="96"/>
                    <a:pt x="1120" y="95"/>
                    <a:pt x="1122" y="92"/>
                  </a:cubicBezTo>
                  <a:cubicBezTo>
                    <a:pt x="1124" y="89"/>
                    <a:pt x="1126" y="85"/>
                    <a:pt x="1128" y="83"/>
                  </a:cubicBezTo>
                  <a:cubicBezTo>
                    <a:pt x="1130" y="80"/>
                    <a:pt x="1133" y="80"/>
                    <a:pt x="1134" y="77"/>
                  </a:cubicBezTo>
                  <a:cubicBezTo>
                    <a:pt x="1135" y="74"/>
                    <a:pt x="1132" y="70"/>
                    <a:pt x="1133" y="67"/>
                  </a:cubicBezTo>
                  <a:cubicBezTo>
                    <a:pt x="1133" y="62"/>
                    <a:pt x="1137" y="61"/>
                    <a:pt x="1141" y="58"/>
                  </a:cubicBezTo>
                  <a:cubicBezTo>
                    <a:pt x="1145" y="56"/>
                    <a:pt x="1149" y="47"/>
                    <a:pt x="1142" y="49"/>
                  </a:cubicBezTo>
                  <a:cubicBezTo>
                    <a:pt x="1141" y="45"/>
                    <a:pt x="1141" y="39"/>
                    <a:pt x="1143" y="36"/>
                  </a:cubicBezTo>
                  <a:cubicBezTo>
                    <a:pt x="1146" y="31"/>
                    <a:pt x="1155" y="35"/>
                    <a:pt x="1158" y="29"/>
                  </a:cubicBezTo>
                  <a:cubicBezTo>
                    <a:pt x="1156" y="26"/>
                    <a:pt x="1148" y="26"/>
                    <a:pt x="1145" y="24"/>
                  </a:cubicBezTo>
                  <a:cubicBezTo>
                    <a:pt x="1141" y="23"/>
                    <a:pt x="1139" y="21"/>
                    <a:pt x="1140" y="18"/>
                  </a:cubicBezTo>
                  <a:cubicBezTo>
                    <a:pt x="1141" y="16"/>
                    <a:pt x="1142" y="15"/>
                    <a:pt x="1144" y="15"/>
                  </a:cubicBezTo>
                  <a:cubicBezTo>
                    <a:pt x="1147" y="11"/>
                    <a:pt x="1141" y="0"/>
                    <a:pt x="1136" y="1"/>
                  </a:cubicBezTo>
                  <a:cubicBezTo>
                    <a:pt x="1135" y="5"/>
                    <a:pt x="1133" y="12"/>
                    <a:pt x="1130" y="15"/>
                  </a:cubicBezTo>
                  <a:cubicBezTo>
                    <a:pt x="1127" y="18"/>
                    <a:pt x="1118" y="15"/>
                    <a:pt x="1114" y="16"/>
                  </a:cubicBezTo>
                  <a:cubicBezTo>
                    <a:pt x="1112" y="17"/>
                    <a:pt x="1109" y="19"/>
                    <a:pt x="1111" y="22"/>
                  </a:cubicBezTo>
                  <a:cubicBezTo>
                    <a:pt x="1113" y="25"/>
                    <a:pt x="1115" y="24"/>
                    <a:pt x="1117" y="24"/>
                  </a:cubicBezTo>
                  <a:cubicBezTo>
                    <a:pt x="1121" y="25"/>
                    <a:pt x="1123" y="28"/>
                    <a:pt x="1124" y="32"/>
                  </a:cubicBezTo>
                  <a:cubicBezTo>
                    <a:pt x="1123" y="33"/>
                    <a:pt x="1120" y="33"/>
                    <a:pt x="1118" y="33"/>
                  </a:cubicBezTo>
                  <a:cubicBezTo>
                    <a:pt x="1121" y="34"/>
                    <a:pt x="1122" y="41"/>
                    <a:pt x="1124" y="44"/>
                  </a:cubicBezTo>
                  <a:cubicBezTo>
                    <a:pt x="1127" y="51"/>
                    <a:pt x="1125" y="57"/>
                    <a:pt x="1117" y="58"/>
                  </a:cubicBezTo>
                  <a:cubicBezTo>
                    <a:pt x="1114" y="58"/>
                    <a:pt x="1112" y="58"/>
                    <a:pt x="1111" y="56"/>
                  </a:cubicBezTo>
                  <a:cubicBezTo>
                    <a:pt x="1109" y="54"/>
                    <a:pt x="1108" y="51"/>
                    <a:pt x="1109" y="49"/>
                  </a:cubicBezTo>
                  <a:cubicBezTo>
                    <a:pt x="1106" y="47"/>
                    <a:pt x="1103" y="48"/>
                    <a:pt x="1100" y="48"/>
                  </a:cubicBezTo>
                  <a:cubicBezTo>
                    <a:pt x="1100" y="44"/>
                    <a:pt x="1099" y="38"/>
                    <a:pt x="1096" y="35"/>
                  </a:cubicBezTo>
                  <a:cubicBezTo>
                    <a:pt x="1092" y="37"/>
                    <a:pt x="1092" y="41"/>
                    <a:pt x="1087" y="39"/>
                  </a:cubicBezTo>
                  <a:cubicBezTo>
                    <a:pt x="1082" y="36"/>
                    <a:pt x="1083" y="29"/>
                    <a:pt x="1079" y="26"/>
                  </a:cubicBezTo>
                  <a:cubicBezTo>
                    <a:pt x="1069" y="16"/>
                    <a:pt x="1074" y="39"/>
                    <a:pt x="1075" y="43"/>
                  </a:cubicBezTo>
                  <a:cubicBezTo>
                    <a:pt x="1075" y="47"/>
                    <a:pt x="1077" y="48"/>
                    <a:pt x="1078" y="52"/>
                  </a:cubicBezTo>
                  <a:cubicBezTo>
                    <a:pt x="1078" y="57"/>
                    <a:pt x="1077" y="63"/>
                    <a:pt x="1070" y="60"/>
                  </a:cubicBezTo>
                  <a:cubicBezTo>
                    <a:pt x="1066" y="58"/>
                    <a:pt x="1063" y="50"/>
                    <a:pt x="1058" y="53"/>
                  </a:cubicBezTo>
                  <a:cubicBezTo>
                    <a:pt x="1053" y="56"/>
                    <a:pt x="1056" y="61"/>
                    <a:pt x="1059" y="64"/>
                  </a:cubicBezTo>
                  <a:cubicBezTo>
                    <a:pt x="1062" y="68"/>
                    <a:pt x="1068" y="68"/>
                    <a:pt x="1072" y="71"/>
                  </a:cubicBezTo>
                  <a:cubicBezTo>
                    <a:pt x="1075" y="74"/>
                    <a:pt x="1075" y="77"/>
                    <a:pt x="1076" y="80"/>
                  </a:cubicBezTo>
                  <a:cubicBezTo>
                    <a:pt x="1078" y="82"/>
                    <a:pt x="1081" y="89"/>
                    <a:pt x="1076" y="91"/>
                  </a:cubicBezTo>
                  <a:cubicBezTo>
                    <a:pt x="1072" y="92"/>
                    <a:pt x="1074" y="89"/>
                    <a:pt x="1072" y="87"/>
                  </a:cubicBezTo>
                  <a:cubicBezTo>
                    <a:pt x="1070" y="85"/>
                    <a:pt x="1067" y="86"/>
                    <a:pt x="1066" y="82"/>
                  </a:cubicBezTo>
                  <a:cubicBezTo>
                    <a:pt x="1063" y="83"/>
                    <a:pt x="1062" y="87"/>
                    <a:pt x="1060" y="90"/>
                  </a:cubicBezTo>
                  <a:cubicBezTo>
                    <a:pt x="1057" y="93"/>
                    <a:pt x="1050" y="96"/>
                    <a:pt x="1051" y="102"/>
                  </a:cubicBezTo>
                  <a:cubicBezTo>
                    <a:pt x="1051" y="106"/>
                    <a:pt x="1052" y="107"/>
                    <a:pt x="1055" y="109"/>
                  </a:cubicBezTo>
                  <a:cubicBezTo>
                    <a:pt x="1058" y="111"/>
                    <a:pt x="1058" y="108"/>
                    <a:pt x="1059" y="112"/>
                  </a:cubicBezTo>
                  <a:cubicBezTo>
                    <a:pt x="1060" y="115"/>
                    <a:pt x="1060" y="117"/>
                    <a:pt x="1059" y="119"/>
                  </a:cubicBezTo>
                  <a:cubicBezTo>
                    <a:pt x="1057" y="118"/>
                    <a:pt x="1053" y="117"/>
                    <a:pt x="1051" y="115"/>
                  </a:cubicBezTo>
                  <a:cubicBezTo>
                    <a:pt x="1047" y="113"/>
                    <a:pt x="1048" y="110"/>
                    <a:pt x="1042" y="110"/>
                  </a:cubicBezTo>
                  <a:cubicBezTo>
                    <a:pt x="1036" y="110"/>
                    <a:pt x="1034" y="117"/>
                    <a:pt x="1031" y="122"/>
                  </a:cubicBezTo>
                  <a:cubicBezTo>
                    <a:pt x="1028" y="125"/>
                    <a:pt x="1025" y="129"/>
                    <a:pt x="1022" y="132"/>
                  </a:cubicBezTo>
                  <a:cubicBezTo>
                    <a:pt x="1020" y="134"/>
                    <a:pt x="1015" y="136"/>
                    <a:pt x="1015" y="139"/>
                  </a:cubicBezTo>
                  <a:cubicBezTo>
                    <a:pt x="1016" y="139"/>
                    <a:pt x="1016" y="140"/>
                    <a:pt x="1016" y="141"/>
                  </a:cubicBezTo>
                  <a:cubicBezTo>
                    <a:pt x="1017" y="143"/>
                    <a:pt x="1017" y="144"/>
                    <a:pt x="1016" y="147"/>
                  </a:cubicBezTo>
                  <a:cubicBezTo>
                    <a:pt x="1013" y="158"/>
                    <a:pt x="1006" y="153"/>
                    <a:pt x="998" y="156"/>
                  </a:cubicBezTo>
                  <a:cubicBezTo>
                    <a:pt x="997" y="158"/>
                    <a:pt x="1011" y="165"/>
                    <a:pt x="1013" y="169"/>
                  </a:cubicBezTo>
                  <a:cubicBezTo>
                    <a:pt x="1008" y="171"/>
                    <a:pt x="1000" y="171"/>
                    <a:pt x="1002" y="178"/>
                  </a:cubicBezTo>
                  <a:cubicBezTo>
                    <a:pt x="1003" y="182"/>
                    <a:pt x="1006" y="188"/>
                    <a:pt x="1008" y="190"/>
                  </a:cubicBezTo>
                  <a:cubicBezTo>
                    <a:pt x="1010" y="193"/>
                    <a:pt x="1011" y="193"/>
                    <a:pt x="1012" y="194"/>
                  </a:cubicBezTo>
                  <a:cubicBezTo>
                    <a:pt x="1012" y="194"/>
                    <a:pt x="1011" y="194"/>
                    <a:pt x="1010" y="194"/>
                  </a:cubicBezTo>
                  <a:cubicBezTo>
                    <a:pt x="1006" y="193"/>
                    <a:pt x="1001" y="192"/>
                    <a:pt x="996" y="192"/>
                  </a:cubicBezTo>
                  <a:cubicBezTo>
                    <a:pt x="993" y="191"/>
                    <a:pt x="991" y="191"/>
                    <a:pt x="989" y="188"/>
                  </a:cubicBezTo>
                  <a:cubicBezTo>
                    <a:pt x="987" y="185"/>
                    <a:pt x="986" y="180"/>
                    <a:pt x="987" y="176"/>
                  </a:cubicBezTo>
                  <a:cubicBezTo>
                    <a:pt x="987" y="175"/>
                    <a:pt x="988" y="173"/>
                    <a:pt x="988" y="172"/>
                  </a:cubicBezTo>
                  <a:cubicBezTo>
                    <a:pt x="983" y="170"/>
                    <a:pt x="978" y="178"/>
                    <a:pt x="974" y="174"/>
                  </a:cubicBezTo>
                  <a:cubicBezTo>
                    <a:pt x="968" y="166"/>
                    <a:pt x="984" y="161"/>
                    <a:pt x="982" y="156"/>
                  </a:cubicBezTo>
                  <a:cubicBezTo>
                    <a:pt x="977" y="154"/>
                    <a:pt x="971" y="155"/>
                    <a:pt x="966" y="155"/>
                  </a:cubicBezTo>
                  <a:cubicBezTo>
                    <a:pt x="964" y="154"/>
                    <a:pt x="959" y="152"/>
                    <a:pt x="957" y="154"/>
                  </a:cubicBezTo>
                  <a:cubicBezTo>
                    <a:pt x="955" y="156"/>
                    <a:pt x="958" y="160"/>
                    <a:pt x="956" y="162"/>
                  </a:cubicBezTo>
                  <a:cubicBezTo>
                    <a:pt x="955" y="164"/>
                    <a:pt x="951" y="163"/>
                    <a:pt x="949" y="162"/>
                  </a:cubicBezTo>
                  <a:cubicBezTo>
                    <a:pt x="945" y="161"/>
                    <a:pt x="941" y="158"/>
                    <a:pt x="941" y="154"/>
                  </a:cubicBezTo>
                  <a:cubicBezTo>
                    <a:pt x="942" y="151"/>
                    <a:pt x="945" y="149"/>
                    <a:pt x="943" y="146"/>
                  </a:cubicBezTo>
                  <a:cubicBezTo>
                    <a:pt x="942" y="145"/>
                    <a:pt x="934" y="145"/>
                    <a:pt x="933" y="145"/>
                  </a:cubicBezTo>
                  <a:cubicBezTo>
                    <a:pt x="930" y="146"/>
                    <a:pt x="930" y="147"/>
                    <a:pt x="929" y="150"/>
                  </a:cubicBezTo>
                  <a:cubicBezTo>
                    <a:pt x="929" y="153"/>
                    <a:pt x="929" y="158"/>
                    <a:pt x="929" y="162"/>
                  </a:cubicBezTo>
                  <a:cubicBezTo>
                    <a:pt x="929" y="176"/>
                    <a:pt x="925" y="188"/>
                    <a:pt x="918" y="200"/>
                  </a:cubicBezTo>
                  <a:cubicBezTo>
                    <a:pt x="918" y="201"/>
                    <a:pt x="917" y="201"/>
                    <a:pt x="917" y="202"/>
                  </a:cubicBezTo>
                  <a:cubicBezTo>
                    <a:pt x="915" y="201"/>
                    <a:pt x="913" y="199"/>
                    <a:pt x="912" y="198"/>
                  </a:cubicBezTo>
                  <a:cubicBezTo>
                    <a:pt x="908" y="193"/>
                    <a:pt x="908" y="188"/>
                    <a:pt x="900" y="187"/>
                  </a:cubicBezTo>
                  <a:cubicBezTo>
                    <a:pt x="892" y="187"/>
                    <a:pt x="895" y="199"/>
                    <a:pt x="891" y="204"/>
                  </a:cubicBezTo>
                  <a:cubicBezTo>
                    <a:pt x="889" y="208"/>
                    <a:pt x="885" y="207"/>
                    <a:pt x="881" y="209"/>
                  </a:cubicBezTo>
                  <a:cubicBezTo>
                    <a:pt x="878" y="211"/>
                    <a:pt x="877" y="211"/>
                    <a:pt x="872" y="212"/>
                  </a:cubicBezTo>
                  <a:cubicBezTo>
                    <a:pt x="867" y="213"/>
                    <a:pt x="867" y="216"/>
                    <a:pt x="866" y="220"/>
                  </a:cubicBezTo>
                  <a:cubicBezTo>
                    <a:pt x="865" y="225"/>
                    <a:pt x="860" y="222"/>
                    <a:pt x="857" y="225"/>
                  </a:cubicBezTo>
                  <a:cubicBezTo>
                    <a:pt x="856" y="226"/>
                    <a:pt x="855" y="235"/>
                    <a:pt x="854" y="237"/>
                  </a:cubicBezTo>
                  <a:cubicBezTo>
                    <a:pt x="854" y="240"/>
                    <a:pt x="854" y="244"/>
                    <a:pt x="855" y="247"/>
                  </a:cubicBezTo>
                  <a:cubicBezTo>
                    <a:pt x="856" y="252"/>
                    <a:pt x="860" y="255"/>
                    <a:pt x="858" y="260"/>
                  </a:cubicBezTo>
                  <a:cubicBezTo>
                    <a:pt x="853" y="262"/>
                    <a:pt x="853" y="255"/>
                    <a:pt x="851" y="253"/>
                  </a:cubicBezTo>
                  <a:cubicBezTo>
                    <a:pt x="847" y="256"/>
                    <a:pt x="846" y="261"/>
                    <a:pt x="844" y="265"/>
                  </a:cubicBezTo>
                  <a:cubicBezTo>
                    <a:pt x="843" y="268"/>
                    <a:pt x="841" y="270"/>
                    <a:pt x="839" y="273"/>
                  </a:cubicBezTo>
                  <a:cubicBezTo>
                    <a:pt x="839" y="268"/>
                    <a:pt x="839" y="263"/>
                    <a:pt x="839" y="257"/>
                  </a:cubicBezTo>
                  <a:cubicBezTo>
                    <a:pt x="840" y="252"/>
                    <a:pt x="844" y="251"/>
                    <a:pt x="844" y="246"/>
                  </a:cubicBezTo>
                  <a:cubicBezTo>
                    <a:pt x="845" y="241"/>
                    <a:pt x="840" y="240"/>
                    <a:pt x="839" y="236"/>
                  </a:cubicBezTo>
                  <a:cubicBezTo>
                    <a:pt x="837" y="232"/>
                    <a:pt x="837" y="227"/>
                    <a:pt x="838" y="223"/>
                  </a:cubicBezTo>
                  <a:cubicBezTo>
                    <a:pt x="839" y="219"/>
                    <a:pt x="842" y="214"/>
                    <a:pt x="842" y="210"/>
                  </a:cubicBezTo>
                  <a:cubicBezTo>
                    <a:pt x="842" y="205"/>
                    <a:pt x="837" y="205"/>
                    <a:pt x="833" y="205"/>
                  </a:cubicBezTo>
                  <a:cubicBezTo>
                    <a:pt x="830" y="205"/>
                    <a:pt x="827" y="204"/>
                    <a:pt x="825" y="206"/>
                  </a:cubicBezTo>
                  <a:cubicBezTo>
                    <a:pt x="823" y="208"/>
                    <a:pt x="825" y="211"/>
                    <a:pt x="824" y="214"/>
                  </a:cubicBezTo>
                  <a:cubicBezTo>
                    <a:pt x="822" y="223"/>
                    <a:pt x="815" y="231"/>
                    <a:pt x="815" y="241"/>
                  </a:cubicBezTo>
                  <a:cubicBezTo>
                    <a:pt x="815" y="245"/>
                    <a:pt x="815" y="249"/>
                    <a:pt x="814" y="253"/>
                  </a:cubicBezTo>
                  <a:cubicBezTo>
                    <a:pt x="813" y="256"/>
                    <a:pt x="811" y="260"/>
                    <a:pt x="811" y="263"/>
                  </a:cubicBezTo>
                  <a:cubicBezTo>
                    <a:pt x="806" y="259"/>
                    <a:pt x="804" y="249"/>
                    <a:pt x="807" y="243"/>
                  </a:cubicBezTo>
                  <a:cubicBezTo>
                    <a:pt x="808" y="240"/>
                    <a:pt x="809" y="240"/>
                    <a:pt x="809" y="237"/>
                  </a:cubicBezTo>
                  <a:cubicBezTo>
                    <a:pt x="809" y="235"/>
                    <a:pt x="811" y="231"/>
                    <a:pt x="810" y="229"/>
                  </a:cubicBezTo>
                  <a:cubicBezTo>
                    <a:pt x="809" y="223"/>
                    <a:pt x="798" y="231"/>
                    <a:pt x="794" y="233"/>
                  </a:cubicBezTo>
                  <a:cubicBezTo>
                    <a:pt x="791" y="234"/>
                    <a:pt x="790" y="235"/>
                    <a:pt x="787" y="235"/>
                  </a:cubicBezTo>
                  <a:cubicBezTo>
                    <a:pt x="783" y="235"/>
                    <a:pt x="781" y="234"/>
                    <a:pt x="779" y="236"/>
                  </a:cubicBezTo>
                  <a:cubicBezTo>
                    <a:pt x="779" y="237"/>
                    <a:pt x="779" y="239"/>
                    <a:pt x="779" y="240"/>
                  </a:cubicBezTo>
                  <a:cubicBezTo>
                    <a:pt x="778" y="241"/>
                    <a:pt x="776" y="241"/>
                    <a:pt x="774" y="242"/>
                  </a:cubicBezTo>
                  <a:cubicBezTo>
                    <a:pt x="772" y="243"/>
                    <a:pt x="771" y="243"/>
                    <a:pt x="770" y="245"/>
                  </a:cubicBezTo>
                  <a:cubicBezTo>
                    <a:pt x="767" y="250"/>
                    <a:pt x="767" y="257"/>
                    <a:pt x="770" y="262"/>
                  </a:cubicBezTo>
                  <a:cubicBezTo>
                    <a:pt x="773" y="267"/>
                    <a:pt x="773" y="269"/>
                    <a:pt x="773" y="274"/>
                  </a:cubicBezTo>
                  <a:cubicBezTo>
                    <a:pt x="774" y="281"/>
                    <a:pt x="774" y="286"/>
                    <a:pt x="781" y="287"/>
                  </a:cubicBezTo>
                  <a:cubicBezTo>
                    <a:pt x="783" y="287"/>
                    <a:pt x="787" y="286"/>
                    <a:pt x="788" y="287"/>
                  </a:cubicBezTo>
                  <a:cubicBezTo>
                    <a:pt x="791" y="288"/>
                    <a:pt x="793" y="294"/>
                    <a:pt x="795" y="297"/>
                  </a:cubicBezTo>
                  <a:cubicBezTo>
                    <a:pt x="798" y="301"/>
                    <a:pt x="800" y="304"/>
                    <a:pt x="795" y="306"/>
                  </a:cubicBezTo>
                  <a:cubicBezTo>
                    <a:pt x="793" y="307"/>
                    <a:pt x="790" y="309"/>
                    <a:pt x="789" y="307"/>
                  </a:cubicBezTo>
                  <a:cubicBezTo>
                    <a:pt x="787" y="306"/>
                    <a:pt x="786" y="298"/>
                    <a:pt x="784" y="296"/>
                  </a:cubicBezTo>
                  <a:cubicBezTo>
                    <a:pt x="783" y="292"/>
                    <a:pt x="783" y="291"/>
                    <a:pt x="779" y="290"/>
                  </a:cubicBezTo>
                  <a:cubicBezTo>
                    <a:pt x="777" y="290"/>
                    <a:pt x="776" y="291"/>
                    <a:pt x="774" y="290"/>
                  </a:cubicBezTo>
                  <a:cubicBezTo>
                    <a:pt x="773" y="289"/>
                    <a:pt x="771" y="286"/>
                    <a:pt x="770" y="285"/>
                  </a:cubicBezTo>
                  <a:cubicBezTo>
                    <a:pt x="767" y="283"/>
                    <a:pt x="765" y="280"/>
                    <a:pt x="763" y="276"/>
                  </a:cubicBezTo>
                  <a:cubicBezTo>
                    <a:pt x="763" y="274"/>
                    <a:pt x="764" y="272"/>
                    <a:pt x="763" y="270"/>
                  </a:cubicBezTo>
                  <a:cubicBezTo>
                    <a:pt x="762" y="265"/>
                    <a:pt x="752" y="262"/>
                    <a:pt x="749" y="267"/>
                  </a:cubicBezTo>
                  <a:cubicBezTo>
                    <a:pt x="745" y="273"/>
                    <a:pt x="752" y="279"/>
                    <a:pt x="754" y="283"/>
                  </a:cubicBezTo>
                  <a:cubicBezTo>
                    <a:pt x="755" y="287"/>
                    <a:pt x="756" y="291"/>
                    <a:pt x="755" y="295"/>
                  </a:cubicBezTo>
                  <a:cubicBezTo>
                    <a:pt x="745" y="298"/>
                    <a:pt x="745" y="286"/>
                    <a:pt x="740" y="281"/>
                  </a:cubicBezTo>
                  <a:cubicBezTo>
                    <a:pt x="733" y="273"/>
                    <a:pt x="732" y="283"/>
                    <a:pt x="732" y="289"/>
                  </a:cubicBezTo>
                  <a:cubicBezTo>
                    <a:pt x="730" y="289"/>
                    <a:pt x="727" y="288"/>
                    <a:pt x="725" y="289"/>
                  </a:cubicBezTo>
                  <a:cubicBezTo>
                    <a:pt x="724" y="290"/>
                    <a:pt x="723" y="293"/>
                    <a:pt x="723" y="294"/>
                  </a:cubicBezTo>
                  <a:cubicBezTo>
                    <a:pt x="721" y="294"/>
                    <a:pt x="720" y="285"/>
                    <a:pt x="719" y="282"/>
                  </a:cubicBezTo>
                  <a:cubicBezTo>
                    <a:pt x="718" y="280"/>
                    <a:pt x="715" y="272"/>
                    <a:pt x="713" y="277"/>
                  </a:cubicBezTo>
                  <a:cubicBezTo>
                    <a:pt x="713" y="271"/>
                    <a:pt x="709" y="266"/>
                    <a:pt x="703" y="264"/>
                  </a:cubicBezTo>
                  <a:cubicBezTo>
                    <a:pt x="697" y="261"/>
                    <a:pt x="699" y="266"/>
                    <a:pt x="697" y="269"/>
                  </a:cubicBezTo>
                  <a:cubicBezTo>
                    <a:pt x="695" y="269"/>
                    <a:pt x="692" y="267"/>
                    <a:pt x="690" y="267"/>
                  </a:cubicBezTo>
                  <a:cubicBezTo>
                    <a:pt x="687" y="268"/>
                    <a:pt x="688" y="271"/>
                    <a:pt x="687" y="272"/>
                  </a:cubicBezTo>
                  <a:cubicBezTo>
                    <a:pt x="684" y="276"/>
                    <a:pt x="680" y="274"/>
                    <a:pt x="679" y="280"/>
                  </a:cubicBezTo>
                  <a:cubicBezTo>
                    <a:pt x="681" y="280"/>
                    <a:pt x="684" y="279"/>
                    <a:pt x="687" y="280"/>
                  </a:cubicBezTo>
                  <a:cubicBezTo>
                    <a:pt x="686" y="281"/>
                    <a:pt x="687" y="282"/>
                    <a:pt x="687" y="283"/>
                  </a:cubicBezTo>
                  <a:cubicBezTo>
                    <a:pt x="689" y="283"/>
                    <a:pt x="690" y="283"/>
                    <a:pt x="690" y="284"/>
                  </a:cubicBezTo>
                  <a:cubicBezTo>
                    <a:pt x="686" y="287"/>
                    <a:pt x="674" y="284"/>
                    <a:pt x="671" y="289"/>
                  </a:cubicBezTo>
                  <a:cubicBezTo>
                    <a:pt x="670" y="290"/>
                    <a:pt x="671" y="294"/>
                    <a:pt x="671" y="296"/>
                  </a:cubicBezTo>
                  <a:cubicBezTo>
                    <a:pt x="671" y="299"/>
                    <a:pt x="673" y="302"/>
                    <a:pt x="672" y="304"/>
                  </a:cubicBezTo>
                  <a:cubicBezTo>
                    <a:pt x="672" y="306"/>
                    <a:pt x="672" y="305"/>
                    <a:pt x="671" y="306"/>
                  </a:cubicBezTo>
                  <a:cubicBezTo>
                    <a:pt x="670" y="306"/>
                    <a:pt x="669" y="307"/>
                    <a:pt x="668" y="307"/>
                  </a:cubicBezTo>
                  <a:cubicBezTo>
                    <a:pt x="667" y="308"/>
                    <a:pt x="667" y="308"/>
                    <a:pt x="667" y="309"/>
                  </a:cubicBezTo>
                  <a:cubicBezTo>
                    <a:pt x="664" y="312"/>
                    <a:pt x="665" y="311"/>
                    <a:pt x="664" y="315"/>
                  </a:cubicBezTo>
                  <a:cubicBezTo>
                    <a:pt x="664" y="319"/>
                    <a:pt x="662" y="325"/>
                    <a:pt x="660" y="327"/>
                  </a:cubicBezTo>
                  <a:cubicBezTo>
                    <a:pt x="658" y="329"/>
                    <a:pt x="653" y="333"/>
                    <a:pt x="658" y="336"/>
                  </a:cubicBezTo>
                  <a:cubicBezTo>
                    <a:pt x="659" y="337"/>
                    <a:pt x="661" y="336"/>
                    <a:pt x="663" y="337"/>
                  </a:cubicBezTo>
                  <a:cubicBezTo>
                    <a:pt x="665" y="338"/>
                    <a:pt x="666" y="341"/>
                    <a:pt x="668" y="343"/>
                  </a:cubicBezTo>
                  <a:cubicBezTo>
                    <a:pt x="672" y="342"/>
                    <a:pt x="674" y="337"/>
                    <a:pt x="676" y="334"/>
                  </a:cubicBezTo>
                  <a:cubicBezTo>
                    <a:pt x="678" y="331"/>
                    <a:pt x="681" y="329"/>
                    <a:pt x="684" y="327"/>
                  </a:cubicBezTo>
                  <a:cubicBezTo>
                    <a:pt x="686" y="327"/>
                    <a:pt x="687" y="325"/>
                    <a:pt x="689" y="326"/>
                  </a:cubicBezTo>
                  <a:cubicBezTo>
                    <a:pt x="690" y="326"/>
                    <a:pt x="690" y="328"/>
                    <a:pt x="691" y="328"/>
                  </a:cubicBezTo>
                  <a:cubicBezTo>
                    <a:pt x="693" y="328"/>
                    <a:pt x="694" y="329"/>
                    <a:pt x="694" y="326"/>
                  </a:cubicBezTo>
                  <a:cubicBezTo>
                    <a:pt x="697" y="325"/>
                    <a:pt x="699" y="326"/>
                    <a:pt x="701" y="325"/>
                  </a:cubicBezTo>
                  <a:cubicBezTo>
                    <a:pt x="702" y="325"/>
                    <a:pt x="703" y="324"/>
                    <a:pt x="704" y="324"/>
                  </a:cubicBezTo>
                  <a:cubicBezTo>
                    <a:pt x="705" y="323"/>
                    <a:pt x="707" y="324"/>
                    <a:pt x="708" y="323"/>
                  </a:cubicBezTo>
                  <a:cubicBezTo>
                    <a:pt x="712" y="322"/>
                    <a:pt x="723" y="306"/>
                    <a:pt x="726" y="318"/>
                  </a:cubicBezTo>
                  <a:cubicBezTo>
                    <a:pt x="728" y="325"/>
                    <a:pt x="714" y="323"/>
                    <a:pt x="709" y="325"/>
                  </a:cubicBezTo>
                  <a:cubicBezTo>
                    <a:pt x="706" y="326"/>
                    <a:pt x="703" y="328"/>
                    <a:pt x="702" y="331"/>
                  </a:cubicBezTo>
                  <a:cubicBezTo>
                    <a:pt x="701" y="334"/>
                    <a:pt x="702" y="336"/>
                    <a:pt x="701" y="339"/>
                  </a:cubicBezTo>
                  <a:cubicBezTo>
                    <a:pt x="698" y="343"/>
                    <a:pt x="692" y="342"/>
                    <a:pt x="692" y="348"/>
                  </a:cubicBezTo>
                  <a:cubicBezTo>
                    <a:pt x="692" y="351"/>
                    <a:pt x="694" y="352"/>
                    <a:pt x="692" y="355"/>
                  </a:cubicBezTo>
                  <a:cubicBezTo>
                    <a:pt x="691" y="355"/>
                    <a:pt x="688" y="355"/>
                    <a:pt x="687" y="356"/>
                  </a:cubicBezTo>
                  <a:cubicBezTo>
                    <a:pt x="685" y="357"/>
                    <a:pt x="687" y="359"/>
                    <a:pt x="684" y="360"/>
                  </a:cubicBezTo>
                  <a:cubicBezTo>
                    <a:pt x="682" y="361"/>
                    <a:pt x="677" y="359"/>
                    <a:pt x="675" y="361"/>
                  </a:cubicBezTo>
                  <a:cubicBezTo>
                    <a:pt x="674" y="361"/>
                    <a:pt x="671" y="365"/>
                    <a:pt x="671" y="366"/>
                  </a:cubicBezTo>
                  <a:cubicBezTo>
                    <a:pt x="669" y="368"/>
                    <a:pt x="669" y="370"/>
                    <a:pt x="667" y="372"/>
                  </a:cubicBezTo>
                  <a:cubicBezTo>
                    <a:pt x="665" y="376"/>
                    <a:pt x="663" y="376"/>
                    <a:pt x="660" y="378"/>
                  </a:cubicBezTo>
                  <a:cubicBezTo>
                    <a:pt x="666" y="383"/>
                    <a:pt x="668" y="375"/>
                    <a:pt x="671" y="372"/>
                  </a:cubicBezTo>
                  <a:cubicBezTo>
                    <a:pt x="673" y="370"/>
                    <a:pt x="677" y="371"/>
                    <a:pt x="680" y="370"/>
                  </a:cubicBezTo>
                  <a:cubicBezTo>
                    <a:pt x="680" y="369"/>
                    <a:pt x="681" y="368"/>
                    <a:pt x="682" y="368"/>
                  </a:cubicBezTo>
                  <a:cubicBezTo>
                    <a:pt x="683" y="368"/>
                    <a:pt x="685" y="368"/>
                    <a:pt x="687" y="368"/>
                  </a:cubicBezTo>
                  <a:cubicBezTo>
                    <a:pt x="690" y="367"/>
                    <a:pt x="691" y="365"/>
                    <a:pt x="694" y="364"/>
                  </a:cubicBezTo>
                  <a:cubicBezTo>
                    <a:pt x="696" y="363"/>
                    <a:pt x="700" y="362"/>
                    <a:pt x="702" y="366"/>
                  </a:cubicBezTo>
                  <a:cubicBezTo>
                    <a:pt x="703" y="372"/>
                    <a:pt x="690" y="375"/>
                    <a:pt x="686" y="377"/>
                  </a:cubicBezTo>
                  <a:cubicBezTo>
                    <a:pt x="680" y="380"/>
                    <a:pt x="683" y="382"/>
                    <a:pt x="682" y="387"/>
                  </a:cubicBezTo>
                  <a:cubicBezTo>
                    <a:pt x="681" y="388"/>
                    <a:pt x="678" y="392"/>
                    <a:pt x="676" y="393"/>
                  </a:cubicBezTo>
                  <a:cubicBezTo>
                    <a:pt x="672" y="396"/>
                    <a:pt x="665" y="396"/>
                    <a:pt x="660" y="396"/>
                  </a:cubicBezTo>
                  <a:cubicBezTo>
                    <a:pt x="659" y="396"/>
                    <a:pt x="654" y="395"/>
                    <a:pt x="652" y="397"/>
                  </a:cubicBezTo>
                  <a:cubicBezTo>
                    <a:pt x="651" y="398"/>
                    <a:pt x="652" y="400"/>
                    <a:pt x="651" y="402"/>
                  </a:cubicBezTo>
                  <a:cubicBezTo>
                    <a:pt x="650" y="406"/>
                    <a:pt x="645" y="410"/>
                    <a:pt x="641" y="408"/>
                  </a:cubicBezTo>
                  <a:cubicBezTo>
                    <a:pt x="634" y="404"/>
                    <a:pt x="639" y="389"/>
                    <a:pt x="639" y="383"/>
                  </a:cubicBezTo>
                  <a:cubicBezTo>
                    <a:pt x="639" y="379"/>
                    <a:pt x="639" y="376"/>
                    <a:pt x="636" y="373"/>
                  </a:cubicBezTo>
                  <a:cubicBezTo>
                    <a:pt x="634" y="371"/>
                    <a:pt x="629" y="366"/>
                    <a:pt x="625" y="368"/>
                  </a:cubicBezTo>
                  <a:cubicBezTo>
                    <a:pt x="624" y="369"/>
                    <a:pt x="623" y="373"/>
                    <a:pt x="622" y="374"/>
                  </a:cubicBezTo>
                  <a:cubicBezTo>
                    <a:pt x="621" y="377"/>
                    <a:pt x="618" y="380"/>
                    <a:pt x="617" y="383"/>
                  </a:cubicBezTo>
                  <a:cubicBezTo>
                    <a:pt x="616" y="385"/>
                    <a:pt x="617" y="390"/>
                    <a:pt x="613" y="390"/>
                  </a:cubicBezTo>
                  <a:cubicBezTo>
                    <a:pt x="612" y="388"/>
                    <a:pt x="611" y="384"/>
                    <a:pt x="611" y="382"/>
                  </a:cubicBezTo>
                  <a:cubicBezTo>
                    <a:pt x="611" y="380"/>
                    <a:pt x="612" y="377"/>
                    <a:pt x="611" y="376"/>
                  </a:cubicBezTo>
                  <a:cubicBezTo>
                    <a:pt x="610" y="374"/>
                    <a:pt x="608" y="375"/>
                    <a:pt x="608" y="374"/>
                  </a:cubicBezTo>
                  <a:cubicBezTo>
                    <a:pt x="606" y="373"/>
                    <a:pt x="606" y="372"/>
                    <a:pt x="606" y="369"/>
                  </a:cubicBezTo>
                  <a:cubicBezTo>
                    <a:pt x="606" y="365"/>
                    <a:pt x="607" y="359"/>
                    <a:pt x="603" y="356"/>
                  </a:cubicBezTo>
                  <a:cubicBezTo>
                    <a:pt x="600" y="354"/>
                    <a:pt x="597" y="356"/>
                    <a:pt x="594" y="355"/>
                  </a:cubicBezTo>
                  <a:cubicBezTo>
                    <a:pt x="594" y="352"/>
                    <a:pt x="597" y="348"/>
                    <a:pt x="598" y="346"/>
                  </a:cubicBezTo>
                  <a:cubicBezTo>
                    <a:pt x="599" y="345"/>
                    <a:pt x="601" y="343"/>
                    <a:pt x="601" y="342"/>
                  </a:cubicBezTo>
                  <a:cubicBezTo>
                    <a:pt x="602" y="341"/>
                    <a:pt x="601" y="340"/>
                    <a:pt x="602" y="339"/>
                  </a:cubicBezTo>
                  <a:cubicBezTo>
                    <a:pt x="603" y="337"/>
                    <a:pt x="607" y="336"/>
                    <a:pt x="608" y="335"/>
                  </a:cubicBezTo>
                  <a:cubicBezTo>
                    <a:pt x="610" y="333"/>
                    <a:pt x="611" y="331"/>
                    <a:pt x="612" y="328"/>
                  </a:cubicBezTo>
                  <a:cubicBezTo>
                    <a:pt x="614" y="326"/>
                    <a:pt x="615" y="325"/>
                    <a:pt x="616" y="322"/>
                  </a:cubicBezTo>
                  <a:cubicBezTo>
                    <a:pt x="619" y="318"/>
                    <a:pt x="618" y="316"/>
                    <a:pt x="618" y="311"/>
                  </a:cubicBezTo>
                  <a:cubicBezTo>
                    <a:pt x="619" y="308"/>
                    <a:pt x="622" y="303"/>
                    <a:pt x="620" y="300"/>
                  </a:cubicBezTo>
                  <a:cubicBezTo>
                    <a:pt x="618" y="298"/>
                    <a:pt x="612" y="299"/>
                    <a:pt x="610" y="300"/>
                  </a:cubicBezTo>
                  <a:cubicBezTo>
                    <a:pt x="608" y="301"/>
                    <a:pt x="607" y="304"/>
                    <a:pt x="605" y="305"/>
                  </a:cubicBezTo>
                  <a:cubicBezTo>
                    <a:pt x="604" y="307"/>
                    <a:pt x="604" y="306"/>
                    <a:pt x="603" y="309"/>
                  </a:cubicBezTo>
                  <a:cubicBezTo>
                    <a:pt x="603" y="310"/>
                    <a:pt x="604" y="312"/>
                    <a:pt x="604" y="313"/>
                  </a:cubicBezTo>
                  <a:cubicBezTo>
                    <a:pt x="603" y="316"/>
                    <a:pt x="599" y="317"/>
                    <a:pt x="597" y="318"/>
                  </a:cubicBezTo>
                  <a:cubicBezTo>
                    <a:pt x="595" y="321"/>
                    <a:pt x="592" y="323"/>
                    <a:pt x="590" y="326"/>
                  </a:cubicBezTo>
                  <a:cubicBezTo>
                    <a:pt x="584" y="334"/>
                    <a:pt x="581" y="343"/>
                    <a:pt x="581" y="353"/>
                  </a:cubicBezTo>
                  <a:cubicBezTo>
                    <a:pt x="582" y="355"/>
                    <a:pt x="581" y="358"/>
                    <a:pt x="581" y="361"/>
                  </a:cubicBezTo>
                  <a:cubicBezTo>
                    <a:pt x="582" y="364"/>
                    <a:pt x="580" y="369"/>
                    <a:pt x="581" y="372"/>
                  </a:cubicBezTo>
                  <a:cubicBezTo>
                    <a:pt x="590" y="372"/>
                    <a:pt x="579" y="377"/>
                    <a:pt x="578" y="381"/>
                  </a:cubicBezTo>
                  <a:cubicBezTo>
                    <a:pt x="576" y="384"/>
                    <a:pt x="582" y="394"/>
                    <a:pt x="575" y="395"/>
                  </a:cubicBezTo>
                  <a:cubicBezTo>
                    <a:pt x="572" y="392"/>
                    <a:pt x="574" y="389"/>
                    <a:pt x="573" y="387"/>
                  </a:cubicBezTo>
                  <a:cubicBezTo>
                    <a:pt x="573" y="387"/>
                    <a:pt x="571" y="384"/>
                    <a:pt x="572" y="385"/>
                  </a:cubicBezTo>
                  <a:cubicBezTo>
                    <a:pt x="571" y="383"/>
                    <a:pt x="571" y="381"/>
                    <a:pt x="571" y="378"/>
                  </a:cubicBezTo>
                  <a:cubicBezTo>
                    <a:pt x="571" y="376"/>
                    <a:pt x="571" y="373"/>
                    <a:pt x="571" y="371"/>
                  </a:cubicBezTo>
                  <a:cubicBezTo>
                    <a:pt x="571" y="368"/>
                    <a:pt x="570" y="366"/>
                    <a:pt x="570" y="363"/>
                  </a:cubicBezTo>
                  <a:cubicBezTo>
                    <a:pt x="569" y="363"/>
                    <a:pt x="568" y="363"/>
                    <a:pt x="567" y="364"/>
                  </a:cubicBezTo>
                  <a:cubicBezTo>
                    <a:pt x="566" y="361"/>
                    <a:pt x="566" y="358"/>
                    <a:pt x="564" y="355"/>
                  </a:cubicBezTo>
                  <a:cubicBezTo>
                    <a:pt x="563" y="354"/>
                    <a:pt x="562" y="349"/>
                    <a:pt x="561" y="348"/>
                  </a:cubicBezTo>
                  <a:cubicBezTo>
                    <a:pt x="555" y="343"/>
                    <a:pt x="554" y="359"/>
                    <a:pt x="554" y="362"/>
                  </a:cubicBezTo>
                  <a:cubicBezTo>
                    <a:pt x="554" y="365"/>
                    <a:pt x="554" y="366"/>
                    <a:pt x="555" y="368"/>
                  </a:cubicBezTo>
                  <a:cubicBezTo>
                    <a:pt x="555" y="370"/>
                    <a:pt x="556" y="370"/>
                    <a:pt x="556" y="372"/>
                  </a:cubicBezTo>
                  <a:cubicBezTo>
                    <a:pt x="553" y="372"/>
                    <a:pt x="551" y="372"/>
                    <a:pt x="549" y="372"/>
                  </a:cubicBezTo>
                  <a:cubicBezTo>
                    <a:pt x="548" y="374"/>
                    <a:pt x="549" y="377"/>
                    <a:pt x="548" y="379"/>
                  </a:cubicBezTo>
                  <a:cubicBezTo>
                    <a:pt x="546" y="377"/>
                    <a:pt x="544" y="372"/>
                    <a:pt x="541" y="372"/>
                  </a:cubicBezTo>
                  <a:cubicBezTo>
                    <a:pt x="537" y="372"/>
                    <a:pt x="535" y="377"/>
                    <a:pt x="534" y="379"/>
                  </a:cubicBezTo>
                  <a:cubicBezTo>
                    <a:pt x="532" y="382"/>
                    <a:pt x="531" y="384"/>
                    <a:pt x="529" y="387"/>
                  </a:cubicBezTo>
                  <a:cubicBezTo>
                    <a:pt x="528" y="389"/>
                    <a:pt x="527" y="390"/>
                    <a:pt x="525" y="393"/>
                  </a:cubicBezTo>
                  <a:cubicBezTo>
                    <a:pt x="525" y="395"/>
                    <a:pt x="522" y="398"/>
                    <a:pt x="522" y="400"/>
                  </a:cubicBezTo>
                  <a:cubicBezTo>
                    <a:pt x="521" y="403"/>
                    <a:pt x="522" y="407"/>
                    <a:pt x="525" y="408"/>
                  </a:cubicBezTo>
                  <a:cubicBezTo>
                    <a:pt x="529" y="409"/>
                    <a:pt x="532" y="403"/>
                    <a:pt x="534" y="400"/>
                  </a:cubicBezTo>
                  <a:cubicBezTo>
                    <a:pt x="537" y="396"/>
                    <a:pt x="537" y="397"/>
                    <a:pt x="542" y="397"/>
                  </a:cubicBezTo>
                  <a:cubicBezTo>
                    <a:pt x="545" y="397"/>
                    <a:pt x="547" y="395"/>
                    <a:pt x="549" y="396"/>
                  </a:cubicBezTo>
                  <a:cubicBezTo>
                    <a:pt x="550" y="398"/>
                    <a:pt x="548" y="399"/>
                    <a:pt x="548" y="401"/>
                  </a:cubicBezTo>
                  <a:cubicBezTo>
                    <a:pt x="547" y="404"/>
                    <a:pt x="548" y="406"/>
                    <a:pt x="546" y="408"/>
                  </a:cubicBezTo>
                  <a:cubicBezTo>
                    <a:pt x="544" y="409"/>
                    <a:pt x="542" y="408"/>
                    <a:pt x="539" y="409"/>
                  </a:cubicBezTo>
                  <a:cubicBezTo>
                    <a:pt x="536" y="410"/>
                    <a:pt x="535" y="414"/>
                    <a:pt x="536" y="417"/>
                  </a:cubicBezTo>
                  <a:cubicBezTo>
                    <a:pt x="538" y="426"/>
                    <a:pt x="549" y="428"/>
                    <a:pt x="556" y="425"/>
                  </a:cubicBezTo>
                  <a:cubicBezTo>
                    <a:pt x="559" y="424"/>
                    <a:pt x="560" y="423"/>
                    <a:pt x="559" y="420"/>
                  </a:cubicBezTo>
                  <a:cubicBezTo>
                    <a:pt x="558" y="417"/>
                    <a:pt x="555" y="416"/>
                    <a:pt x="559" y="413"/>
                  </a:cubicBezTo>
                  <a:cubicBezTo>
                    <a:pt x="560" y="412"/>
                    <a:pt x="562" y="412"/>
                    <a:pt x="564" y="410"/>
                  </a:cubicBezTo>
                  <a:cubicBezTo>
                    <a:pt x="566" y="409"/>
                    <a:pt x="567" y="407"/>
                    <a:pt x="569" y="405"/>
                  </a:cubicBezTo>
                  <a:cubicBezTo>
                    <a:pt x="570" y="404"/>
                    <a:pt x="572" y="403"/>
                    <a:pt x="574" y="402"/>
                  </a:cubicBezTo>
                  <a:cubicBezTo>
                    <a:pt x="575" y="401"/>
                    <a:pt x="580" y="400"/>
                    <a:pt x="581" y="400"/>
                  </a:cubicBezTo>
                  <a:cubicBezTo>
                    <a:pt x="585" y="403"/>
                    <a:pt x="576" y="408"/>
                    <a:pt x="575" y="410"/>
                  </a:cubicBezTo>
                  <a:cubicBezTo>
                    <a:pt x="571" y="414"/>
                    <a:pt x="571" y="418"/>
                    <a:pt x="566" y="421"/>
                  </a:cubicBezTo>
                  <a:cubicBezTo>
                    <a:pt x="569" y="426"/>
                    <a:pt x="570" y="427"/>
                    <a:pt x="565" y="430"/>
                  </a:cubicBezTo>
                  <a:cubicBezTo>
                    <a:pt x="559" y="432"/>
                    <a:pt x="554" y="430"/>
                    <a:pt x="549" y="432"/>
                  </a:cubicBezTo>
                  <a:cubicBezTo>
                    <a:pt x="544" y="433"/>
                    <a:pt x="542" y="434"/>
                    <a:pt x="537" y="434"/>
                  </a:cubicBezTo>
                  <a:cubicBezTo>
                    <a:pt x="534" y="434"/>
                    <a:pt x="530" y="433"/>
                    <a:pt x="528" y="435"/>
                  </a:cubicBezTo>
                  <a:cubicBezTo>
                    <a:pt x="525" y="438"/>
                    <a:pt x="527" y="443"/>
                    <a:pt x="520" y="444"/>
                  </a:cubicBezTo>
                  <a:cubicBezTo>
                    <a:pt x="514" y="444"/>
                    <a:pt x="508" y="440"/>
                    <a:pt x="503" y="443"/>
                  </a:cubicBezTo>
                  <a:cubicBezTo>
                    <a:pt x="502" y="444"/>
                    <a:pt x="502" y="445"/>
                    <a:pt x="500" y="446"/>
                  </a:cubicBezTo>
                  <a:cubicBezTo>
                    <a:pt x="499" y="446"/>
                    <a:pt x="498" y="446"/>
                    <a:pt x="498" y="446"/>
                  </a:cubicBezTo>
                  <a:cubicBezTo>
                    <a:pt x="496" y="446"/>
                    <a:pt x="495" y="447"/>
                    <a:pt x="495" y="448"/>
                  </a:cubicBezTo>
                  <a:cubicBezTo>
                    <a:pt x="493" y="449"/>
                    <a:pt x="489" y="449"/>
                    <a:pt x="487" y="450"/>
                  </a:cubicBezTo>
                  <a:cubicBezTo>
                    <a:pt x="484" y="452"/>
                    <a:pt x="480" y="457"/>
                    <a:pt x="478" y="460"/>
                  </a:cubicBezTo>
                  <a:cubicBezTo>
                    <a:pt x="474" y="463"/>
                    <a:pt x="476" y="467"/>
                    <a:pt x="476" y="472"/>
                  </a:cubicBezTo>
                  <a:cubicBezTo>
                    <a:pt x="473" y="472"/>
                    <a:pt x="469" y="470"/>
                    <a:pt x="467" y="471"/>
                  </a:cubicBezTo>
                  <a:cubicBezTo>
                    <a:pt x="466" y="472"/>
                    <a:pt x="462" y="476"/>
                    <a:pt x="462" y="478"/>
                  </a:cubicBezTo>
                  <a:cubicBezTo>
                    <a:pt x="460" y="481"/>
                    <a:pt x="461" y="482"/>
                    <a:pt x="457" y="484"/>
                  </a:cubicBezTo>
                  <a:cubicBezTo>
                    <a:pt x="454" y="486"/>
                    <a:pt x="451" y="486"/>
                    <a:pt x="447" y="487"/>
                  </a:cubicBezTo>
                  <a:cubicBezTo>
                    <a:pt x="447" y="489"/>
                    <a:pt x="448" y="491"/>
                    <a:pt x="447" y="493"/>
                  </a:cubicBezTo>
                  <a:cubicBezTo>
                    <a:pt x="447" y="495"/>
                    <a:pt x="447" y="497"/>
                    <a:pt x="446" y="499"/>
                  </a:cubicBezTo>
                  <a:cubicBezTo>
                    <a:pt x="445" y="501"/>
                    <a:pt x="444" y="501"/>
                    <a:pt x="443" y="502"/>
                  </a:cubicBezTo>
                  <a:cubicBezTo>
                    <a:pt x="440" y="505"/>
                    <a:pt x="441" y="511"/>
                    <a:pt x="441" y="515"/>
                  </a:cubicBezTo>
                  <a:cubicBezTo>
                    <a:pt x="444" y="516"/>
                    <a:pt x="453" y="512"/>
                    <a:pt x="455" y="509"/>
                  </a:cubicBezTo>
                  <a:cubicBezTo>
                    <a:pt x="456" y="507"/>
                    <a:pt x="457" y="504"/>
                    <a:pt x="458" y="501"/>
                  </a:cubicBezTo>
                  <a:cubicBezTo>
                    <a:pt x="459" y="500"/>
                    <a:pt x="461" y="498"/>
                    <a:pt x="462" y="497"/>
                  </a:cubicBezTo>
                  <a:cubicBezTo>
                    <a:pt x="464" y="498"/>
                    <a:pt x="464" y="499"/>
                    <a:pt x="467" y="498"/>
                  </a:cubicBezTo>
                  <a:cubicBezTo>
                    <a:pt x="470" y="497"/>
                    <a:pt x="469" y="495"/>
                    <a:pt x="470" y="494"/>
                  </a:cubicBezTo>
                  <a:cubicBezTo>
                    <a:pt x="471" y="492"/>
                    <a:pt x="476" y="491"/>
                    <a:pt x="475" y="488"/>
                  </a:cubicBezTo>
                  <a:cubicBezTo>
                    <a:pt x="478" y="487"/>
                    <a:pt x="488" y="490"/>
                    <a:pt x="489" y="484"/>
                  </a:cubicBezTo>
                  <a:cubicBezTo>
                    <a:pt x="492" y="484"/>
                    <a:pt x="493" y="485"/>
                    <a:pt x="495" y="483"/>
                  </a:cubicBezTo>
                  <a:cubicBezTo>
                    <a:pt x="498" y="481"/>
                    <a:pt x="498" y="474"/>
                    <a:pt x="501" y="472"/>
                  </a:cubicBezTo>
                  <a:cubicBezTo>
                    <a:pt x="504" y="470"/>
                    <a:pt x="509" y="471"/>
                    <a:pt x="510" y="467"/>
                  </a:cubicBezTo>
                  <a:cubicBezTo>
                    <a:pt x="510" y="467"/>
                    <a:pt x="510" y="465"/>
                    <a:pt x="510" y="464"/>
                  </a:cubicBezTo>
                  <a:cubicBezTo>
                    <a:pt x="511" y="466"/>
                    <a:pt x="511" y="467"/>
                    <a:pt x="510" y="467"/>
                  </a:cubicBezTo>
                  <a:cubicBezTo>
                    <a:pt x="512" y="471"/>
                    <a:pt x="521" y="470"/>
                    <a:pt x="524" y="469"/>
                  </a:cubicBezTo>
                  <a:cubicBezTo>
                    <a:pt x="530" y="468"/>
                    <a:pt x="531" y="465"/>
                    <a:pt x="535" y="461"/>
                  </a:cubicBezTo>
                  <a:cubicBezTo>
                    <a:pt x="536" y="459"/>
                    <a:pt x="538" y="455"/>
                    <a:pt x="541" y="454"/>
                  </a:cubicBezTo>
                  <a:cubicBezTo>
                    <a:pt x="542" y="456"/>
                    <a:pt x="543" y="458"/>
                    <a:pt x="543" y="460"/>
                  </a:cubicBezTo>
                  <a:cubicBezTo>
                    <a:pt x="545" y="460"/>
                    <a:pt x="546" y="460"/>
                    <a:pt x="548" y="460"/>
                  </a:cubicBezTo>
                  <a:cubicBezTo>
                    <a:pt x="553" y="459"/>
                    <a:pt x="553" y="453"/>
                    <a:pt x="557" y="451"/>
                  </a:cubicBezTo>
                  <a:cubicBezTo>
                    <a:pt x="558" y="450"/>
                    <a:pt x="559" y="449"/>
                    <a:pt x="560" y="449"/>
                  </a:cubicBezTo>
                  <a:cubicBezTo>
                    <a:pt x="561" y="450"/>
                    <a:pt x="561" y="450"/>
                    <a:pt x="562" y="450"/>
                  </a:cubicBezTo>
                  <a:cubicBezTo>
                    <a:pt x="564" y="449"/>
                    <a:pt x="564" y="446"/>
                    <a:pt x="565" y="445"/>
                  </a:cubicBezTo>
                  <a:cubicBezTo>
                    <a:pt x="567" y="444"/>
                    <a:pt x="567" y="447"/>
                    <a:pt x="569" y="446"/>
                  </a:cubicBezTo>
                  <a:cubicBezTo>
                    <a:pt x="571" y="446"/>
                    <a:pt x="576" y="442"/>
                    <a:pt x="578" y="441"/>
                  </a:cubicBezTo>
                  <a:cubicBezTo>
                    <a:pt x="580" y="439"/>
                    <a:pt x="584" y="437"/>
                    <a:pt x="586" y="435"/>
                  </a:cubicBezTo>
                  <a:cubicBezTo>
                    <a:pt x="590" y="440"/>
                    <a:pt x="586" y="447"/>
                    <a:pt x="596" y="445"/>
                  </a:cubicBezTo>
                  <a:cubicBezTo>
                    <a:pt x="600" y="444"/>
                    <a:pt x="603" y="440"/>
                    <a:pt x="606" y="437"/>
                  </a:cubicBezTo>
                  <a:cubicBezTo>
                    <a:pt x="609" y="435"/>
                    <a:pt x="610" y="434"/>
                    <a:pt x="612" y="431"/>
                  </a:cubicBezTo>
                  <a:cubicBezTo>
                    <a:pt x="616" y="434"/>
                    <a:pt x="623" y="422"/>
                    <a:pt x="625" y="419"/>
                  </a:cubicBezTo>
                  <a:cubicBezTo>
                    <a:pt x="625" y="420"/>
                    <a:pt x="625" y="423"/>
                    <a:pt x="625" y="424"/>
                  </a:cubicBezTo>
                  <a:cubicBezTo>
                    <a:pt x="624" y="426"/>
                    <a:pt x="621" y="427"/>
                    <a:pt x="621" y="429"/>
                  </a:cubicBezTo>
                  <a:cubicBezTo>
                    <a:pt x="621" y="435"/>
                    <a:pt x="631" y="436"/>
                    <a:pt x="636" y="435"/>
                  </a:cubicBezTo>
                  <a:cubicBezTo>
                    <a:pt x="642" y="433"/>
                    <a:pt x="647" y="430"/>
                    <a:pt x="653" y="429"/>
                  </a:cubicBezTo>
                  <a:cubicBezTo>
                    <a:pt x="660" y="427"/>
                    <a:pt x="667" y="425"/>
                    <a:pt x="674" y="422"/>
                  </a:cubicBezTo>
                  <a:cubicBezTo>
                    <a:pt x="675" y="425"/>
                    <a:pt x="674" y="428"/>
                    <a:pt x="670" y="428"/>
                  </a:cubicBezTo>
                  <a:cubicBezTo>
                    <a:pt x="669" y="432"/>
                    <a:pt x="674" y="436"/>
                    <a:pt x="669" y="439"/>
                  </a:cubicBezTo>
                  <a:cubicBezTo>
                    <a:pt x="665" y="441"/>
                    <a:pt x="653" y="440"/>
                    <a:pt x="652" y="435"/>
                  </a:cubicBezTo>
                  <a:cubicBezTo>
                    <a:pt x="651" y="435"/>
                    <a:pt x="649" y="435"/>
                    <a:pt x="648" y="435"/>
                  </a:cubicBezTo>
                  <a:cubicBezTo>
                    <a:pt x="645" y="435"/>
                    <a:pt x="644" y="436"/>
                    <a:pt x="642" y="437"/>
                  </a:cubicBezTo>
                  <a:cubicBezTo>
                    <a:pt x="640" y="437"/>
                    <a:pt x="639" y="437"/>
                    <a:pt x="637" y="437"/>
                  </a:cubicBezTo>
                  <a:cubicBezTo>
                    <a:pt x="634" y="437"/>
                    <a:pt x="633" y="439"/>
                    <a:pt x="630" y="440"/>
                  </a:cubicBezTo>
                  <a:cubicBezTo>
                    <a:pt x="627" y="441"/>
                    <a:pt x="622" y="443"/>
                    <a:pt x="624" y="447"/>
                  </a:cubicBezTo>
                  <a:cubicBezTo>
                    <a:pt x="626" y="451"/>
                    <a:pt x="634" y="452"/>
                    <a:pt x="638" y="452"/>
                  </a:cubicBezTo>
                  <a:cubicBezTo>
                    <a:pt x="639" y="455"/>
                    <a:pt x="638" y="455"/>
                    <a:pt x="637" y="457"/>
                  </a:cubicBezTo>
                  <a:cubicBezTo>
                    <a:pt x="635" y="460"/>
                    <a:pt x="633" y="459"/>
                    <a:pt x="631" y="461"/>
                  </a:cubicBezTo>
                  <a:cubicBezTo>
                    <a:pt x="630" y="457"/>
                    <a:pt x="626" y="453"/>
                    <a:pt x="622" y="451"/>
                  </a:cubicBezTo>
                  <a:cubicBezTo>
                    <a:pt x="622" y="453"/>
                    <a:pt x="622" y="454"/>
                    <a:pt x="622" y="455"/>
                  </a:cubicBezTo>
                  <a:cubicBezTo>
                    <a:pt x="622" y="458"/>
                    <a:pt x="623" y="458"/>
                    <a:pt x="624" y="460"/>
                  </a:cubicBezTo>
                  <a:cubicBezTo>
                    <a:pt x="625" y="463"/>
                    <a:pt x="625" y="466"/>
                    <a:pt x="625" y="469"/>
                  </a:cubicBezTo>
                  <a:cubicBezTo>
                    <a:pt x="624" y="473"/>
                    <a:pt x="623" y="480"/>
                    <a:pt x="618" y="482"/>
                  </a:cubicBezTo>
                  <a:cubicBezTo>
                    <a:pt x="619" y="476"/>
                    <a:pt x="620" y="470"/>
                    <a:pt x="616" y="465"/>
                  </a:cubicBezTo>
                  <a:cubicBezTo>
                    <a:pt x="615" y="465"/>
                    <a:pt x="613" y="460"/>
                    <a:pt x="612" y="460"/>
                  </a:cubicBezTo>
                  <a:cubicBezTo>
                    <a:pt x="609" y="461"/>
                    <a:pt x="609" y="466"/>
                    <a:pt x="609" y="468"/>
                  </a:cubicBezTo>
                  <a:cubicBezTo>
                    <a:pt x="609" y="470"/>
                    <a:pt x="609" y="471"/>
                    <a:pt x="608" y="473"/>
                  </a:cubicBezTo>
                  <a:cubicBezTo>
                    <a:pt x="606" y="474"/>
                    <a:pt x="604" y="474"/>
                    <a:pt x="603" y="475"/>
                  </a:cubicBezTo>
                  <a:cubicBezTo>
                    <a:pt x="601" y="476"/>
                    <a:pt x="601" y="477"/>
                    <a:pt x="600" y="478"/>
                  </a:cubicBezTo>
                  <a:cubicBezTo>
                    <a:pt x="597" y="481"/>
                    <a:pt x="593" y="485"/>
                    <a:pt x="588" y="484"/>
                  </a:cubicBezTo>
                  <a:cubicBezTo>
                    <a:pt x="588" y="482"/>
                    <a:pt x="588" y="480"/>
                    <a:pt x="588" y="479"/>
                  </a:cubicBezTo>
                  <a:cubicBezTo>
                    <a:pt x="589" y="479"/>
                    <a:pt x="590" y="479"/>
                    <a:pt x="591" y="478"/>
                  </a:cubicBezTo>
                  <a:cubicBezTo>
                    <a:pt x="593" y="473"/>
                    <a:pt x="587" y="472"/>
                    <a:pt x="583" y="474"/>
                  </a:cubicBezTo>
                  <a:cubicBezTo>
                    <a:pt x="580" y="475"/>
                    <a:pt x="579" y="476"/>
                    <a:pt x="578" y="478"/>
                  </a:cubicBezTo>
                  <a:cubicBezTo>
                    <a:pt x="575" y="481"/>
                    <a:pt x="575" y="481"/>
                    <a:pt x="575" y="485"/>
                  </a:cubicBezTo>
                  <a:cubicBezTo>
                    <a:pt x="575" y="488"/>
                    <a:pt x="574" y="490"/>
                    <a:pt x="577" y="491"/>
                  </a:cubicBezTo>
                  <a:cubicBezTo>
                    <a:pt x="580" y="492"/>
                    <a:pt x="586" y="490"/>
                    <a:pt x="589" y="492"/>
                  </a:cubicBezTo>
                  <a:cubicBezTo>
                    <a:pt x="592" y="493"/>
                    <a:pt x="591" y="499"/>
                    <a:pt x="591" y="502"/>
                  </a:cubicBezTo>
                  <a:cubicBezTo>
                    <a:pt x="587" y="503"/>
                    <a:pt x="582" y="504"/>
                    <a:pt x="578" y="503"/>
                  </a:cubicBezTo>
                  <a:cubicBezTo>
                    <a:pt x="576" y="503"/>
                    <a:pt x="575" y="503"/>
                    <a:pt x="574" y="503"/>
                  </a:cubicBezTo>
                  <a:cubicBezTo>
                    <a:pt x="573" y="503"/>
                    <a:pt x="572" y="502"/>
                    <a:pt x="571" y="501"/>
                  </a:cubicBezTo>
                  <a:cubicBezTo>
                    <a:pt x="571" y="501"/>
                    <a:pt x="571" y="500"/>
                    <a:pt x="570" y="499"/>
                  </a:cubicBezTo>
                  <a:cubicBezTo>
                    <a:pt x="562" y="495"/>
                    <a:pt x="558" y="502"/>
                    <a:pt x="555" y="509"/>
                  </a:cubicBezTo>
                  <a:cubicBezTo>
                    <a:pt x="553" y="513"/>
                    <a:pt x="547" y="517"/>
                    <a:pt x="547" y="522"/>
                  </a:cubicBezTo>
                  <a:cubicBezTo>
                    <a:pt x="548" y="529"/>
                    <a:pt x="556" y="525"/>
                    <a:pt x="557" y="529"/>
                  </a:cubicBezTo>
                  <a:cubicBezTo>
                    <a:pt x="558" y="533"/>
                    <a:pt x="553" y="534"/>
                    <a:pt x="551" y="537"/>
                  </a:cubicBezTo>
                  <a:cubicBezTo>
                    <a:pt x="549" y="539"/>
                    <a:pt x="547" y="545"/>
                    <a:pt x="548" y="548"/>
                  </a:cubicBezTo>
                  <a:cubicBezTo>
                    <a:pt x="554" y="550"/>
                    <a:pt x="563" y="543"/>
                    <a:pt x="567" y="539"/>
                  </a:cubicBezTo>
                  <a:cubicBezTo>
                    <a:pt x="569" y="537"/>
                    <a:pt x="569" y="537"/>
                    <a:pt x="571" y="535"/>
                  </a:cubicBezTo>
                  <a:cubicBezTo>
                    <a:pt x="573" y="531"/>
                    <a:pt x="576" y="527"/>
                    <a:pt x="579" y="523"/>
                  </a:cubicBezTo>
                  <a:cubicBezTo>
                    <a:pt x="582" y="528"/>
                    <a:pt x="580" y="532"/>
                    <a:pt x="579" y="536"/>
                  </a:cubicBezTo>
                  <a:cubicBezTo>
                    <a:pt x="578" y="541"/>
                    <a:pt x="578" y="542"/>
                    <a:pt x="573" y="544"/>
                  </a:cubicBezTo>
                  <a:cubicBezTo>
                    <a:pt x="571" y="546"/>
                    <a:pt x="567" y="546"/>
                    <a:pt x="566" y="549"/>
                  </a:cubicBezTo>
                  <a:cubicBezTo>
                    <a:pt x="566" y="552"/>
                    <a:pt x="566" y="556"/>
                    <a:pt x="568" y="557"/>
                  </a:cubicBezTo>
                  <a:cubicBezTo>
                    <a:pt x="566" y="558"/>
                    <a:pt x="563" y="556"/>
                    <a:pt x="561" y="556"/>
                  </a:cubicBezTo>
                  <a:cubicBezTo>
                    <a:pt x="558" y="556"/>
                    <a:pt x="554" y="555"/>
                    <a:pt x="552" y="556"/>
                  </a:cubicBezTo>
                  <a:cubicBezTo>
                    <a:pt x="548" y="557"/>
                    <a:pt x="546" y="560"/>
                    <a:pt x="543" y="563"/>
                  </a:cubicBezTo>
                  <a:cubicBezTo>
                    <a:pt x="541" y="565"/>
                    <a:pt x="538" y="566"/>
                    <a:pt x="535" y="568"/>
                  </a:cubicBezTo>
                  <a:cubicBezTo>
                    <a:pt x="533" y="569"/>
                    <a:pt x="525" y="573"/>
                    <a:pt x="525" y="577"/>
                  </a:cubicBezTo>
                  <a:cubicBezTo>
                    <a:pt x="525" y="581"/>
                    <a:pt x="531" y="582"/>
                    <a:pt x="531" y="584"/>
                  </a:cubicBezTo>
                  <a:cubicBezTo>
                    <a:pt x="533" y="588"/>
                    <a:pt x="529" y="585"/>
                    <a:pt x="527" y="587"/>
                  </a:cubicBezTo>
                  <a:cubicBezTo>
                    <a:pt x="524" y="588"/>
                    <a:pt x="526" y="590"/>
                    <a:pt x="525" y="591"/>
                  </a:cubicBezTo>
                  <a:cubicBezTo>
                    <a:pt x="523" y="592"/>
                    <a:pt x="523" y="592"/>
                    <a:pt x="522" y="593"/>
                  </a:cubicBezTo>
                  <a:cubicBezTo>
                    <a:pt x="518" y="596"/>
                    <a:pt x="516" y="600"/>
                    <a:pt x="516" y="605"/>
                  </a:cubicBezTo>
                  <a:cubicBezTo>
                    <a:pt x="520" y="606"/>
                    <a:pt x="524" y="603"/>
                    <a:pt x="528" y="602"/>
                  </a:cubicBezTo>
                  <a:cubicBezTo>
                    <a:pt x="533" y="600"/>
                    <a:pt x="540" y="599"/>
                    <a:pt x="546" y="600"/>
                  </a:cubicBezTo>
                  <a:cubicBezTo>
                    <a:pt x="548" y="600"/>
                    <a:pt x="550" y="601"/>
                    <a:pt x="552" y="601"/>
                  </a:cubicBezTo>
                  <a:cubicBezTo>
                    <a:pt x="555" y="601"/>
                    <a:pt x="558" y="601"/>
                    <a:pt x="559" y="604"/>
                  </a:cubicBezTo>
                  <a:cubicBezTo>
                    <a:pt x="559" y="604"/>
                    <a:pt x="559" y="605"/>
                    <a:pt x="559" y="605"/>
                  </a:cubicBezTo>
                  <a:cubicBezTo>
                    <a:pt x="558" y="605"/>
                    <a:pt x="558" y="606"/>
                    <a:pt x="558" y="607"/>
                  </a:cubicBezTo>
                  <a:cubicBezTo>
                    <a:pt x="556" y="608"/>
                    <a:pt x="551" y="607"/>
                    <a:pt x="548" y="607"/>
                  </a:cubicBezTo>
                  <a:cubicBezTo>
                    <a:pt x="542" y="607"/>
                    <a:pt x="528" y="605"/>
                    <a:pt x="523" y="610"/>
                  </a:cubicBezTo>
                  <a:cubicBezTo>
                    <a:pt x="518" y="613"/>
                    <a:pt x="519" y="622"/>
                    <a:pt x="516" y="627"/>
                  </a:cubicBezTo>
                  <a:cubicBezTo>
                    <a:pt x="513" y="623"/>
                    <a:pt x="515" y="615"/>
                    <a:pt x="509" y="614"/>
                  </a:cubicBezTo>
                  <a:cubicBezTo>
                    <a:pt x="505" y="612"/>
                    <a:pt x="503" y="617"/>
                    <a:pt x="503" y="620"/>
                  </a:cubicBezTo>
                  <a:cubicBezTo>
                    <a:pt x="502" y="626"/>
                    <a:pt x="503" y="625"/>
                    <a:pt x="499" y="629"/>
                  </a:cubicBezTo>
                  <a:cubicBezTo>
                    <a:pt x="495" y="632"/>
                    <a:pt x="496" y="634"/>
                    <a:pt x="495" y="639"/>
                  </a:cubicBezTo>
                  <a:cubicBezTo>
                    <a:pt x="493" y="640"/>
                    <a:pt x="491" y="642"/>
                    <a:pt x="488" y="643"/>
                  </a:cubicBezTo>
                  <a:cubicBezTo>
                    <a:pt x="486" y="644"/>
                    <a:pt x="484" y="643"/>
                    <a:pt x="482" y="644"/>
                  </a:cubicBezTo>
                  <a:cubicBezTo>
                    <a:pt x="477" y="646"/>
                    <a:pt x="482" y="647"/>
                    <a:pt x="483" y="650"/>
                  </a:cubicBezTo>
                  <a:cubicBezTo>
                    <a:pt x="484" y="652"/>
                    <a:pt x="483" y="653"/>
                    <a:pt x="484" y="655"/>
                  </a:cubicBezTo>
                  <a:cubicBezTo>
                    <a:pt x="484" y="656"/>
                    <a:pt x="486" y="657"/>
                    <a:pt x="487" y="657"/>
                  </a:cubicBezTo>
                  <a:cubicBezTo>
                    <a:pt x="490" y="659"/>
                    <a:pt x="495" y="661"/>
                    <a:pt x="497" y="665"/>
                  </a:cubicBezTo>
                  <a:cubicBezTo>
                    <a:pt x="489" y="666"/>
                    <a:pt x="480" y="664"/>
                    <a:pt x="473" y="666"/>
                  </a:cubicBezTo>
                  <a:cubicBezTo>
                    <a:pt x="469" y="667"/>
                    <a:pt x="468" y="667"/>
                    <a:pt x="467" y="670"/>
                  </a:cubicBezTo>
                  <a:cubicBezTo>
                    <a:pt x="466" y="673"/>
                    <a:pt x="466" y="674"/>
                    <a:pt x="467" y="676"/>
                  </a:cubicBezTo>
                  <a:cubicBezTo>
                    <a:pt x="467" y="677"/>
                    <a:pt x="469" y="676"/>
                    <a:pt x="468" y="679"/>
                  </a:cubicBezTo>
                  <a:cubicBezTo>
                    <a:pt x="465" y="679"/>
                    <a:pt x="465" y="680"/>
                    <a:pt x="464" y="682"/>
                  </a:cubicBezTo>
                  <a:cubicBezTo>
                    <a:pt x="462" y="683"/>
                    <a:pt x="456" y="684"/>
                    <a:pt x="455" y="687"/>
                  </a:cubicBezTo>
                  <a:cubicBezTo>
                    <a:pt x="454" y="689"/>
                    <a:pt x="455" y="690"/>
                    <a:pt x="456" y="691"/>
                  </a:cubicBezTo>
                  <a:cubicBezTo>
                    <a:pt x="457" y="694"/>
                    <a:pt x="457" y="695"/>
                    <a:pt x="458" y="699"/>
                  </a:cubicBezTo>
                  <a:cubicBezTo>
                    <a:pt x="461" y="699"/>
                    <a:pt x="465" y="699"/>
                    <a:pt x="468" y="699"/>
                  </a:cubicBezTo>
                  <a:cubicBezTo>
                    <a:pt x="472" y="698"/>
                    <a:pt x="476" y="696"/>
                    <a:pt x="476" y="702"/>
                  </a:cubicBezTo>
                  <a:cubicBezTo>
                    <a:pt x="475" y="705"/>
                    <a:pt x="471" y="706"/>
                    <a:pt x="470" y="708"/>
                  </a:cubicBezTo>
                  <a:cubicBezTo>
                    <a:pt x="467" y="711"/>
                    <a:pt x="466" y="714"/>
                    <a:pt x="462" y="713"/>
                  </a:cubicBezTo>
                  <a:cubicBezTo>
                    <a:pt x="460" y="709"/>
                    <a:pt x="462" y="705"/>
                    <a:pt x="457" y="702"/>
                  </a:cubicBezTo>
                  <a:cubicBezTo>
                    <a:pt x="452" y="699"/>
                    <a:pt x="446" y="701"/>
                    <a:pt x="446" y="706"/>
                  </a:cubicBezTo>
                  <a:cubicBezTo>
                    <a:pt x="446" y="708"/>
                    <a:pt x="448" y="710"/>
                    <a:pt x="447" y="712"/>
                  </a:cubicBezTo>
                  <a:cubicBezTo>
                    <a:pt x="447" y="715"/>
                    <a:pt x="446" y="717"/>
                    <a:pt x="447" y="720"/>
                  </a:cubicBezTo>
                  <a:cubicBezTo>
                    <a:pt x="447" y="723"/>
                    <a:pt x="447" y="724"/>
                    <a:pt x="451" y="726"/>
                  </a:cubicBezTo>
                  <a:cubicBezTo>
                    <a:pt x="455" y="728"/>
                    <a:pt x="460" y="727"/>
                    <a:pt x="465" y="728"/>
                  </a:cubicBezTo>
                  <a:cubicBezTo>
                    <a:pt x="463" y="730"/>
                    <a:pt x="459" y="731"/>
                    <a:pt x="456" y="732"/>
                  </a:cubicBezTo>
                  <a:cubicBezTo>
                    <a:pt x="455" y="733"/>
                    <a:pt x="454" y="736"/>
                    <a:pt x="453" y="737"/>
                  </a:cubicBezTo>
                  <a:cubicBezTo>
                    <a:pt x="452" y="739"/>
                    <a:pt x="450" y="740"/>
                    <a:pt x="447" y="740"/>
                  </a:cubicBezTo>
                  <a:cubicBezTo>
                    <a:pt x="443" y="741"/>
                    <a:pt x="442" y="740"/>
                    <a:pt x="438" y="744"/>
                  </a:cubicBezTo>
                  <a:cubicBezTo>
                    <a:pt x="436" y="747"/>
                    <a:pt x="436" y="745"/>
                    <a:pt x="436" y="749"/>
                  </a:cubicBezTo>
                  <a:cubicBezTo>
                    <a:pt x="436" y="750"/>
                    <a:pt x="436" y="752"/>
                    <a:pt x="436" y="754"/>
                  </a:cubicBezTo>
                  <a:cubicBezTo>
                    <a:pt x="436" y="761"/>
                    <a:pt x="429" y="758"/>
                    <a:pt x="427" y="763"/>
                  </a:cubicBezTo>
                  <a:cubicBezTo>
                    <a:pt x="426" y="765"/>
                    <a:pt x="427" y="767"/>
                    <a:pt x="426" y="769"/>
                  </a:cubicBezTo>
                  <a:cubicBezTo>
                    <a:pt x="425" y="770"/>
                    <a:pt x="423" y="771"/>
                    <a:pt x="422" y="773"/>
                  </a:cubicBezTo>
                  <a:cubicBezTo>
                    <a:pt x="422" y="774"/>
                    <a:pt x="422" y="775"/>
                    <a:pt x="421" y="776"/>
                  </a:cubicBezTo>
                  <a:cubicBezTo>
                    <a:pt x="420" y="778"/>
                    <a:pt x="417" y="778"/>
                    <a:pt x="417" y="779"/>
                  </a:cubicBezTo>
                  <a:cubicBezTo>
                    <a:pt x="416" y="781"/>
                    <a:pt x="416" y="783"/>
                    <a:pt x="416" y="785"/>
                  </a:cubicBezTo>
                  <a:cubicBezTo>
                    <a:pt x="416" y="787"/>
                    <a:pt x="415" y="789"/>
                    <a:pt x="418" y="790"/>
                  </a:cubicBezTo>
                  <a:cubicBezTo>
                    <a:pt x="421" y="790"/>
                    <a:pt x="421" y="787"/>
                    <a:pt x="422" y="785"/>
                  </a:cubicBezTo>
                  <a:cubicBezTo>
                    <a:pt x="425" y="782"/>
                    <a:pt x="431" y="781"/>
                    <a:pt x="436" y="780"/>
                  </a:cubicBezTo>
                  <a:cubicBezTo>
                    <a:pt x="437" y="779"/>
                    <a:pt x="438" y="779"/>
                    <a:pt x="441" y="780"/>
                  </a:cubicBezTo>
                  <a:cubicBezTo>
                    <a:pt x="439" y="780"/>
                    <a:pt x="438" y="780"/>
                    <a:pt x="436" y="780"/>
                  </a:cubicBezTo>
                  <a:cubicBezTo>
                    <a:pt x="435" y="782"/>
                    <a:pt x="434" y="784"/>
                    <a:pt x="433" y="785"/>
                  </a:cubicBezTo>
                  <a:cubicBezTo>
                    <a:pt x="432" y="786"/>
                    <a:pt x="429" y="787"/>
                    <a:pt x="429" y="788"/>
                  </a:cubicBezTo>
                  <a:cubicBezTo>
                    <a:pt x="428" y="790"/>
                    <a:pt x="429" y="792"/>
                    <a:pt x="428" y="794"/>
                  </a:cubicBezTo>
                  <a:cubicBezTo>
                    <a:pt x="427" y="798"/>
                    <a:pt x="423" y="799"/>
                    <a:pt x="421" y="801"/>
                  </a:cubicBezTo>
                  <a:cubicBezTo>
                    <a:pt x="419" y="804"/>
                    <a:pt x="419" y="808"/>
                    <a:pt x="415" y="811"/>
                  </a:cubicBezTo>
                  <a:cubicBezTo>
                    <a:pt x="411" y="813"/>
                    <a:pt x="408" y="810"/>
                    <a:pt x="407" y="815"/>
                  </a:cubicBezTo>
                  <a:cubicBezTo>
                    <a:pt x="407" y="818"/>
                    <a:pt x="406" y="823"/>
                    <a:pt x="407" y="825"/>
                  </a:cubicBezTo>
                  <a:cubicBezTo>
                    <a:pt x="408" y="828"/>
                    <a:pt x="418" y="833"/>
                    <a:pt x="416" y="837"/>
                  </a:cubicBezTo>
                  <a:cubicBezTo>
                    <a:pt x="415" y="839"/>
                    <a:pt x="406" y="839"/>
                    <a:pt x="407" y="835"/>
                  </a:cubicBezTo>
                  <a:cubicBezTo>
                    <a:pt x="404" y="836"/>
                    <a:pt x="403" y="844"/>
                    <a:pt x="401" y="847"/>
                  </a:cubicBezTo>
                  <a:cubicBezTo>
                    <a:pt x="399" y="850"/>
                    <a:pt x="394" y="853"/>
                    <a:pt x="393" y="857"/>
                  </a:cubicBezTo>
                  <a:cubicBezTo>
                    <a:pt x="391" y="861"/>
                    <a:pt x="392" y="866"/>
                    <a:pt x="396" y="870"/>
                  </a:cubicBezTo>
                  <a:cubicBezTo>
                    <a:pt x="397" y="871"/>
                    <a:pt x="400" y="872"/>
                    <a:pt x="399" y="874"/>
                  </a:cubicBezTo>
                  <a:cubicBezTo>
                    <a:pt x="399" y="876"/>
                    <a:pt x="395" y="874"/>
                    <a:pt x="396" y="877"/>
                  </a:cubicBezTo>
                  <a:cubicBezTo>
                    <a:pt x="399" y="878"/>
                    <a:pt x="400" y="876"/>
                    <a:pt x="403" y="876"/>
                  </a:cubicBezTo>
                  <a:cubicBezTo>
                    <a:pt x="403" y="877"/>
                    <a:pt x="403" y="878"/>
                    <a:pt x="403" y="880"/>
                  </a:cubicBezTo>
                  <a:cubicBezTo>
                    <a:pt x="403" y="880"/>
                    <a:pt x="402" y="881"/>
                    <a:pt x="402" y="882"/>
                  </a:cubicBezTo>
                  <a:cubicBezTo>
                    <a:pt x="398" y="882"/>
                    <a:pt x="394" y="884"/>
                    <a:pt x="391" y="887"/>
                  </a:cubicBezTo>
                  <a:cubicBezTo>
                    <a:pt x="389" y="889"/>
                    <a:pt x="389" y="890"/>
                    <a:pt x="386" y="892"/>
                  </a:cubicBezTo>
                  <a:cubicBezTo>
                    <a:pt x="383" y="894"/>
                    <a:pt x="380" y="895"/>
                    <a:pt x="380" y="898"/>
                  </a:cubicBezTo>
                  <a:cubicBezTo>
                    <a:pt x="375" y="897"/>
                    <a:pt x="374" y="886"/>
                    <a:pt x="370" y="889"/>
                  </a:cubicBezTo>
                  <a:cubicBezTo>
                    <a:pt x="369" y="890"/>
                    <a:pt x="367" y="895"/>
                    <a:pt x="367" y="896"/>
                  </a:cubicBezTo>
                  <a:cubicBezTo>
                    <a:pt x="366" y="899"/>
                    <a:pt x="368" y="900"/>
                    <a:pt x="369" y="902"/>
                  </a:cubicBezTo>
                  <a:cubicBezTo>
                    <a:pt x="369" y="903"/>
                    <a:pt x="369" y="905"/>
                    <a:pt x="368" y="906"/>
                  </a:cubicBezTo>
                  <a:cubicBezTo>
                    <a:pt x="368" y="907"/>
                    <a:pt x="365" y="907"/>
                    <a:pt x="364" y="908"/>
                  </a:cubicBezTo>
                  <a:cubicBezTo>
                    <a:pt x="363" y="908"/>
                    <a:pt x="363" y="909"/>
                    <a:pt x="362" y="910"/>
                  </a:cubicBezTo>
                  <a:cubicBezTo>
                    <a:pt x="360" y="911"/>
                    <a:pt x="360" y="912"/>
                    <a:pt x="357" y="912"/>
                  </a:cubicBezTo>
                  <a:cubicBezTo>
                    <a:pt x="356" y="912"/>
                    <a:pt x="352" y="909"/>
                    <a:pt x="350" y="909"/>
                  </a:cubicBezTo>
                  <a:cubicBezTo>
                    <a:pt x="348" y="908"/>
                    <a:pt x="347" y="909"/>
                    <a:pt x="345" y="908"/>
                  </a:cubicBezTo>
                  <a:cubicBezTo>
                    <a:pt x="345" y="906"/>
                    <a:pt x="346" y="903"/>
                    <a:pt x="345" y="902"/>
                  </a:cubicBezTo>
                  <a:cubicBezTo>
                    <a:pt x="344" y="898"/>
                    <a:pt x="340" y="901"/>
                    <a:pt x="338" y="904"/>
                  </a:cubicBezTo>
                  <a:cubicBezTo>
                    <a:pt x="336" y="906"/>
                    <a:pt x="336" y="908"/>
                    <a:pt x="334" y="910"/>
                  </a:cubicBezTo>
                  <a:cubicBezTo>
                    <a:pt x="332" y="913"/>
                    <a:pt x="330" y="914"/>
                    <a:pt x="328" y="917"/>
                  </a:cubicBezTo>
                  <a:cubicBezTo>
                    <a:pt x="327" y="918"/>
                    <a:pt x="326" y="922"/>
                    <a:pt x="326" y="924"/>
                  </a:cubicBezTo>
                  <a:cubicBezTo>
                    <a:pt x="328" y="925"/>
                    <a:pt x="332" y="925"/>
                    <a:pt x="334" y="925"/>
                  </a:cubicBezTo>
                  <a:cubicBezTo>
                    <a:pt x="336" y="924"/>
                    <a:pt x="339" y="923"/>
                    <a:pt x="341" y="924"/>
                  </a:cubicBezTo>
                  <a:cubicBezTo>
                    <a:pt x="346" y="924"/>
                    <a:pt x="352" y="929"/>
                    <a:pt x="357" y="929"/>
                  </a:cubicBezTo>
                  <a:cubicBezTo>
                    <a:pt x="360" y="929"/>
                    <a:pt x="363" y="926"/>
                    <a:pt x="366" y="927"/>
                  </a:cubicBezTo>
                  <a:cubicBezTo>
                    <a:pt x="369" y="928"/>
                    <a:pt x="368" y="930"/>
                    <a:pt x="369" y="931"/>
                  </a:cubicBezTo>
                  <a:cubicBezTo>
                    <a:pt x="369" y="931"/>
                    <a:pt x="369" y="931"/>
                    <a:pt x="369" y="931"/>
                  </a:cubicBezTo>
                  <a:cubicBezTo>
                    <a:pt x="367" y="932"/>
                    <a:pt x="360" y="934"/>
                    <a:pt x="361" y="936"/>
                  </a:cubicBezTo>
                  <a:cubicBezTo>
                    <a:pt x="362" y="937"/>
                    <a:pt x="370" y="936"/>
                    <a:pt x="372" y="936"/>
                  </a:cubicBezTo>
                  <a:cubicBezTo>
                    <a:pt x="374" y="942"/>
                    <a:pt x="359" y="938"/>
                    <a:pt x="357" y="941"/>
                  </a:cubicBezTo>
                  <a:cubicBezTo>
                    <a:pt x="355" y="942"/>
                    <a:pt x="356" y="943"/>
                    <a:pt x="357" y="945"/>
                  </a:cubicBezTo>
                  <a:cubicBezTo>
                    <a:pt x="358" y="948"/>
                    <a:pt x="359" y="950"/>
                    <a:pt x="360" y="953"/>
                  </a:cubicBezTo>
                  <a:cubicBezTo>
                    <a:pt x="358" y="952"/>
                    <a:pt x="357" y="949"/>
                    <a:pt x="355" y="948"/>
                  </a:cubicBezTo>
                  <a:cubicBezTo>
                    <a:pt x="352" y="946"/>
                    <a:pt x="352" y="948"/>
                    <a:pt x="351" y="949"/>
                  </a:cubicBezTo>
                  <a:cubicBezTo>
                    <a:pt x="349" y="950"/>
                    <a:pt x="351" y="951"/>
                    <a:pt x="348" y="951"/>
                  </a:cubicBezTo>
                  <a:cubicBezTo>
                    <a:pt x="346" y="951"/>
                    <a:pt x="345" y="950"/>
                    <a:pt x="344" y="949"/>
                  </a:cubicBezTo>
                  <a:cubicBezTo>
                    <a:pt x="343" y="953"/>
                    <a:pt x="345" y="954"/>
                    <a:pt x="343" y="957"/>
                  </a:cubicBezTo>
                  <a:cubicBezTo>
                    <a:pt x="341" y="961"/>
                    <a:pt x="336" y="960"/>
                    <a:pt x="332" y="960"/>
                  </a:cubicBezTo>
                  <a:cubicBezTo>
                    <a:pt x="330" y="955"/>
                    <a:pt x="330" y="955"/>
                    <a:pt x="330" y="955"/>
                  </a:cubicBezTo>
                  <a:cubicBezTo>
                    <a:pt x="326" y="959"/>
                    <a:pt x="319" y="962"/>
                    <a:pt x="318" y="967"/>
                  </a:cubicBezTo>
                  <a:cubicBezTo>
                    <a:pt x="317" y="970"/>
                    <a:pt x="317" y="972"/>
                    <a:pt x="316" y="974"/>
                  </a:cubicBezTo>
                  <a:cubicBezTo>
                    <a:pt x="315" y="976"/>
                    <a:pt x="313" y="976"/>
                    <a:pt x="314" y="979"/>
                  </a:cubicBezTo>
                  <a:cubicBezTo>
                    <a:pt x="317" y="979"/>
                    <a:pt x="321" y="978"/>
                    <a:pt x="325" y="979"/>
                  </a:cubicBezTo>
                  <a:cubicBezTo>
                    <a:pt x="329" y="986"/>
                    <a:pt x="314" y="983"/>
                    <a:pt x="311" y="985"/>
                  </a:cubicBezTo>
                  <a:cubicBezTo>
                    <a:pt x="312" y="985"/>
                    <a:pt x="310" y="989"/>
                    <a:pt x="310" y="988"/>
                  </a:cubicBezTo>
                  <a:cubicBezTo>
                    <a:pt x="309" y="989"/>
                    <a:pt x="310" y="992"/>
                    <a:pt x="309" y="993"/>
                  </a:cubicBezTo>
                  <a:cubicBezTo>
                    <a:pt x="308" y="995"/>
                    <a:pt x="300" y="994"/>
                    <a:pt x="302" y="998"/>
                  </a:cubicBezTo>
                  <a:cubicBezTo>
                    <a:pt x="304" y="998"/>
                    <a:pt x="304" y="999"/>
                    <a:pt x="304" y="1001"/>
                  </a:cubicBezTo>
                  <a:cubicBezTo>
                    <a:pt x="304" y="1004"/>
                    <a:pt x="303" y="1004"/>
                    <a:pt x="300" y="1005"/>
                  </a:cubicBezTo>
                  <a:cubicBezTo>
                    <a:pt x="294" y="1008"/>
                    <a:pt x="296" y="1007"/>
                    <a:pt x="297" y="1013"/>
                  </a:cubicBezTo>
                  <a:cubicBezTo>
                    <a:pt x="292" y="1016"/>
                    <a:pt x="291" y="1018"/>
                    <a:pt x="297" y="1019"/>
                  </a:cubicBezTo>
                  <a:cubicBezTo>
                    <a:pt x="297" y="1025"/>
                    <a:pt x="285" y="1020"/>
                    <a:pt x="283" y="1017"/>
                  </a:cubicBezTo>
                  <a:cubicBezTo>
                    <a:pt x="278" y="1023"/>
                    <a:pt x="285" y="1027"/>
                    <a:pt x="289" y="1028"/>
                  </a:cubicBezTo>
                  <a:cubicBezTo>
                    <a:pt x="289" y="1031"/>
                    <a:pt x="283" y="1033"/>
                    <a:pt x="282" y="1037"/>
                  </a:cubicBezTo>
                  <a:cubicBezTo>
                    <a:pt x="284" y="1038"/>
                    <a:pt x="288" y="1039"/>
                    <a:pt x="285" y="1042"/>
                  </a:cubicBezTo>
                  <a:cubicBezTo>
                    <a:pt x="282" y="1044"/>
                    <a:pt x="277" y="1039"/>
                    <a:pt x="274" y="1040"/>
                  </a:cubicBezTo>
                  <a:cubicBezTo>
                    <a:pt x="273" y="1041"/>
                    <a:pt x="274" y="1045"/>
                    <a:pt x="273" y="1047"/>
                  </a:cubicBezTo>
                  <a:cubicBezTo>
                    <a:pt x="272" y="1048"/>
                    <a:pt x="269" y="1048"/>
                    <a:pt x="267" y="1047"/>
                  </a:cubicBezTo>
                  <a:cubicBezTo>
                    <a:pt x="267" y="1047"/>
                    <a:pt x="267" y="1046"/>
                    <a:pt x="266" y="1046"/>
                  </a:cubicBezTo>
                  <a:cubicBezTo>
                    <a:pt x="262" y="1046"/>
                    <a:pt x="266" y="1052"/>
                    <a:pt x="268" y="1053"/>
                  </a:cubicBezTo>
                  <a:cubicBezTo>
                    <a:pt x="270" y="1054"/>
                    <a:pt x="272" y="1053"/>
                    <a:pt x="271" y="1056"/>
                  </a:cubicBezTo>
                  <a:cubicBezTo>
                    <a:pt x="271" y="1058"/>
                    <a:pt x="263" y="1061"/>
                    <a:pt x="260" y="1061"/>
                  </a:cubicBezTo>
                  <a:cubicBezTo>
                    <a:pt x="259" y="1067"/>
                    <a:pt x="267" y="1065"/>
                    <a:pt x="272" y="1065"/>
                  </a:cubicBezTo>
                  <a:cubicBezTo>
                    <a:pt x="272" y="1065"/>
                    <a:pt x="273" y="1064"/>
                    <a:pt x="273" y="1064"/>
                  </a:cubicBezTo>
                  <a:cubicBezTo>
                    <a:pt x="274" y="1063"/>
                    <a:pt x="275" y="1061"/>
                    <a:pt x="277" y="1060"/>
                  </a:cubicBezTo>
                  <a:cubicBezTo>
                    <a:pt x="278" y="1059"/>
                    <a:pt x="283" y="1060"/>
                    <a:pt x="285" y="1060"/>
                  </a:cubicBezTo>
                  <a:cubicBezTo>
                    <a:pt x="283" y="1063"/>
                    <a:pt x="275" y="1068"/>
                    <a:pt x="278" y="1073"/>
                  </a:cubicBezTo>
                  <a:cubicBezTo>
                    <a:pt x="279" y="1075"/>
                    <a:pt x="284" y="1075"/>
                    <a:pt x="286" y="1079"/>
                  </a:cubicBezTo>
                  <a:cubicBezTo>
                    <a:pt x="287" y="1082"/>
                    <a:pt x="286" y="1083"/>
                    <a:pt x="291" y="1084"/>
                  </a:cubicBezTo>
                  <a:cubicBezTo>
                    <a:pt x="293" y="1084"/>
                    <a:pt x="296" y="1083"/>
                    <a:pt x="298" y="1084"/>
                  </a:cubicBezTo>
                  <a:cubicBezTo>
                    <a:pt x="299" y="1084"/>
                    <a:pt x="299" y="1085"/>
                    <a:pt x="301" y="1085"/>
                  </a:cubicBezTo>
                  <a:cubicBezTo>
                    <a:pt x="303" y="1083"/>
                    <a:pt x="302" y="1079"/>
                    <a:pt x="305" y="1077"/>
                  </a:cubicBezTo>
                  <a:cubicBezTo>
                    <a:pt x="306" y="1076"/>
                    <a:pt x="308" y="1076"/>
                    <a:pt x="309" y="1076"/>
                  </a:cubicBezTo>
                  <a:cubicBezTo>
                    <a:pt x="311" y="1076"/>
                    <a:pt x="311" y="1078"/>
                    <a:pt x="312" y="1078"/>
                  </a:cubicBezTo>
                  <a:cubicBezTo>
                    <a:pt x="315" y="1078"/>
                    <a:pt x="314" y="1073"/>
                    <a:pt x="315" y="1071"/>
                  </a:cubicBezTo>
                  <a:cubicBezTo>
                    <a:pt x="316" y="1068"/>
                    <a:pt x="319" y="1066"/>
                    <a:pt x="322" y="1065"/>
                  </a:cubicBezTo>
                  <a:cubicBezTo>
                    <a:pt x="325" y="1064"/>
                    <a:pt x="325" y="1065"/>
                    <a:pt x="326" y="1063"/>
                  </a:cubicBezTo>
                  <a:cubicBezTo>
                    <a:pt x="328" y="1061"/>
                    <a:pt x="328" y="1060"/>
                    <a:pt x="330" y="1058"/>
                  </a:cubicBezTo>
                  <a:cubicBezTo>
                    <a:pt x="331" y="1057"/>
                    <a:pt x="332" y="1056"/>
                    <a:pt x="333" y="1056"/>
                  </a:cubicBezTo>
                  <a:cubicBezTo>
                    <a:pt x="334" y="1054"/>
                    <a:pt x="334" y="1055"/>
                    <a:pt x="336" y="1054"/>
                  </a:cubicBezTo>
                  <a:cubicBezTo>
                    <a:pt x="341" y="1052"/>
                    <a:pt x="351" y="1050"/>
                    <a:pt x="353" y="1044"/>
                  </a:cubicBezTo>
                  <a:cubicBezTo>
                    <a:pt x="348" y="1044"/>
                    <a:pt x="345" y="1037"/>
                    <a:pt x="348" y="1033"/>
                  </a:cubicBezTo>
                  <a:cubicBezTo>
                    <a:pt x="343" y="1032"/>
                    <a:pt x="339" y="1035"/>
                    <a:pt x="334" y="1035"/>
                  </a:cubicBezTo>
                  <a:cubicBezTo>
                    <a:pt x="332" y="1030"/>
                    <a:pt x="338" y="1028"/>
                    <a:pt x="343" y="1026"/>
                  </a:cubicBezTo>
                  <a:cubicBezTo>
                    <a:pt x="346" y="1025"/>
                    <a:pt x="350" y="1024"/>
                    <a:pt x="353" y="1023"/>
                  </a:cubicBezTo>
                  <a:cubicBezTo>
                    <a:pt x="355" y="1022"/>
                    <a:pt x="357" y="1020"/>
                    <a:pt x="359" y="1020"/>
                  </a:cubicBezTo>
                  <a:cubicBezTo>
                    <a:pt x="361" y="1020"/>
                    <a:pt x="363" y="1022"/>
                    <a:pt x="361" y="1025"/>
                  </a:cubicBezTo>
                  <a:cubicBezTo>
                    <a:pt x="360" y="1026"/>
                    <a:pt x="355" y="1027"/>
                    <a:pt x="354" y="1029"/>
                  </a:cubicBezTo>
                  <a:cubicBezTo>
                    <a:pt x="352" y="1030"/>
                    <a:pt x="350" y="1033"/>
                    <a:pt x="353" y="1035"/>
                  </a:cubicBezTo>
                  <a:cubicBezTo>
                    <a:pt x="355" y="1037"/>
                    <a:pt x="360" y="1033"/>
                    <a:pt x="361" y="1037"/>
                  </a:cubicBezTo>
                  <a:cubicBezTo>
                    <a:pt x="362" y="1038"/>
                    <a:pt x="361" y="1039"/>
                    <a:pt x="361" y="1040"/>
                  </a:cubicBezTo>
                  <a:cubicBezTo>
                    <a:pt x="362" y="1042"/>
                    <a:pt x="362" y="1041"/>
                    <a:pt x="364" y="1042"/>
                  </a:cubicBezTo>
                  <a:cubicBezTo>
                    <a:pt x="367" y="1044"/>
                    <a:pt x="368" y="1046"/>
                    <a:pt x="368" y="1050"/>
                  </a:cubicBezTo>
                  <a:cubicBezTo>
                    <a:pt x="362" y="1050"/>
                    <a:pt x="356" y="1049"/>
                    <a:pt x="351" y="1050"/>
                  </a:cubicBezTo>
                  <a:cubicBezTo>
                    <a:pt x="350" y="1054"/>
                    <a:pt x="348" y="1058"/>
                    <a:pt x="345" y="1061"/>
                  </a:cubicBezTo>
                  <a:cubicBezTo>
                    <a:pt x="341" y="1066"/>
                    <a:pt x="335" y="1064"/>
                    <a:pt x="330" y="1068"/>
                  </a:cubicBezTo>
                  <a:cubicBezTo>
                    <a:pt x="327" y="1071"/>
                    <a:pt x="326" y="1077"/>
                    <a:pt x="327" y="1080"/>
                  </a:cubicBezTo>
                  <a:cubicBezTo>
                    <a:pt x="328" y="1082"/>
                    <a:pt x="332" y="1089"/>
                    <a:pt x="331" y="1091"/>
                  </a:cubicBezTo>
                  <a:cubicBezTo>
                    <a:pt x="329" y="1095"/>
                    <a:pt x="325" y="1088"/>
                    <a:pt x="324" y="1087"/>
                  </a:cubicBezTo>
                  <a:cubicBezTo>
                    <a:pt x="321" y="1086"/>
                    <a:pt x="320" y="1087"/>
                    <a:pt x="317" y="1086"/>
                  </a:cubicBezTo>
                  <a:cubicBezTo>
                    <a:pt x="314" y="1085"/>
                    <a:pt x="310" y="1081"/>
                    <a:pt x="307" y="1083"/>
                  </a:cubicBezTo>
                  <a:cubicBezTo>
                    <a:pt x="304" y="1085"/>
                    <a:pt x="306" y="1087"/>
                    <a:pt x="302" y="1088"/>
                  </a:cubicBezTo>
                  <a:cubicBezTo>
                    <a:pt x="300" y="1089"/>
                    <a:pt x="296" y="1088"/>
                    <a:pt x="294" y="1090"/>
                  </a:cubicBezTo>
                  <a:cubicBezTo>
                    <a:pt x="293" y="1092"/>
                    <a:pt x="295" y="1094"/>
                    <a:pt x="293" y="1096"/>
                  </a:cubicBezTo>
                  <a:cubicBezTo>
                    <a:pt x="292" y="1098"/>
                    <a:pt x="286" y="1100"/>
                    <a:pt x="289" y="1103"/>
                  </a:cubicBezTo>
                  <a:cubicBezTo>
                    <a:pt x="291" y="1104"/>
                    <a:pt x="295" y="1103"/>
                    <a:pt x="297" y="1103"/>
                  </a:cubicBezTo>
                  <a:cubicBezTo>
                    <a:pt x="296" y="1105"/>
                    <a:pt x="289" y="1106"/>
                    <a:pt x="287" y="1105"/>
                  </a:cubicBezTo>
                  <a:cubicBezTo>
                    <a:pt x="285" y="1104"/>
                    <a:pt x="285" y="1103"/>
                    <a:pt x="285" y="1101"/>
                  </a:cubicBezTo>
                  <a:cubicBezTo>
                    <a:pt x="285" y="1100"/>
                    <a:pt x="286" y="1097"/>
                    <a:pt x="286" y="1097"/>
                  </a:cubicBezTo>
                  <a:cubicBezTo>
                    <a:pt x="286" y="1095"/>
                    <a:pt x="282" y="1094"/>
                    <a:pt x="281" y="1092"/>
                  </a:cubicBezTo>
                  <a:cubicBezTo>
                    <a:pt x="279" y="1090"/>
                    <a:pt x="278" y="1085"/>
                    <a:pt x="277" y="1082"/>
                  </a:cubicBezTo>
                  <a:cubicBezTo>
                    <a:pt x="277" y="1080"/>
                    <a:pt x="278" y="1077"/>
                    <a:pt x="277" y="1075"/>
                  </a:cubicBezTo>
                  <a:cubicBezTo>
                    <a:pt x="277" y="1073"/>
                    <a:pt x="274" y="1072"/>
                    <a:pt x="274" y="1070"/>
                  </a:cubicBezTo>
                  <a:cubicBezTo>
                    <a:pt x="269" y="1069"/>
                    <a:pt x="268" y="1075"/>
                    <a:pt x="265" y="1076"/>
                  </a:cubicBezTo>
                  <a:cubicBezTo>
                    <a:pt x="263" y="1074"/>
                    <a:pt x="259" y="1073"/>
                    <a:pt x="257" y="1075"/>
                  </a:cubicBezTo>
                  <a:cubicBezTo>
                    <a:pt x="255" y="1076"/>
                    <a:pt x="255" y="1079"/>
                    <a:pt x="253" y="1081"/>
                  </a:cubicBezTo>
                  <a:cubicBezTo>
                    <a:pt x="251" y="1082"/>
                    <a:pt x="240" y="1081"/>
                    <a:pt x="242" y="1087"/>
                  </a:cubicBezTo>
                  <a:cubicBezTo>
                    <a:pt x="246" y="1088"/>
                    <a:pt x="249" y="1087"/>
                    <a:pt x="252" y="1088"/>
                  </a:cubicBezTo>
                  <a:cubicBezTo>
                    <a:pt x="253" y="1089"/>
                    <a:pt x="254" y="1090"/>
                    <a:pt x="254" y="1091"/>
                  </a:cubicBezTo>
                  <a:cubicBezTo>
                    <a:pt x="256" y="1091"/>
                    <a:pt x="257" y="1090"/>
                    <a:pt x="258" y="1092"/>
                  </a:cubicBezTo>
                  <a:cubicBezTo>
                    <a:pt x="255" y="1093"/>
                    <a:pt x="244" y="1094"/>
                    <a:pt x="247" y="1099"/>
                  </a:cubicBezTo>
                  <a:cubicBezTo>
                    <a:pt x="249" y="1104"/>
                    <a:pt x="260" y="1101"/>
                    <a:pt x="264" y="1101"/>
                  </a:cubicBezTo>
                  <a:cubicBezTo>
                    <a:pt x="264" y="1104"/>
                    <a:pt x="260" y="1103"/>
                    <a:pt x="258" y="1104"/>
                  </a:cubicBezTo>
                  <a:cubicBezTo>
                    <a:pt x="255" y="1105"/>
                    <a:pt x="254" y="1108"/>
                    <a:pt x="252" y="1110"/>
                  </a:cubicBezTo>
                  <a:cubicBezTo>
                    <a:pt x="247" y="1112"/>
                    <a:pt x="248" y="1104"/>
                    <a:pt x="245" y="1103"/>
                  </a:cubicBezTo>
                  <a:cubicBezTo>
                    <a:pt x="243" y="1103"/>
                    <a:pt x="240" y="1105"/>
                    <a:pt x="239" y="1105"/>
                  </a:cubicBezTo>
                  <a:cubicBezTo>
                    <a:pt x="238" y="1102"/>
                    <a:pt x="240" y="1097"/>
                    <a:pt x="239" y="1095"/>
                  </a:cubicBezTo>
                  <a:cubicBezTo>
                    <a:pt x="238" y="1093"/>
                    <a:pt x="234" y="1090"/>
                    <a:pt x="232" y="1090"/>
                  </a:cubicBezTo>
                  <a:cubicBezTo>
                    <a:pt x="226" y="1088"/>
                    <a:pt x="224" y="1093"/>
                    <a:pt x="219" y="1094"/>
                  </a:cubicBezTo>
                  <a:cubicBezTo>
                    <a:pt x="216" y="1094"/>
                    <a:pt x="214" y="1093"/>
                    <a:pt x="212" y="1094"/>
                  </a:cubicBezTo>
                  <a:cubicBezTo>
                    <a:pt x="210" y="1094"/>
                    <a:pt x="208" y="1095"/>
                    <a:pt x="206" y="1097"/>
                  </a:cubicBezTo>
                  <a:cubicBezTo>
                    <a:pt x="205" y="1098"/>
                    <a:pt x="205" y="1099"/>
                    <a:pt x="204" y="1100"/>
                  </a:cubicBezTo>
                  <a:cubicBezTo>
                    <a:pt x="203" y="1102"/>
                    <a:pt x="203" y="1101"/>
                    <a:pt x="202" y="1102"/>
                  </a:cubicBezTo>
                  <a:cubicBezTo>
                    <a:pt x="200" y="1103"/>
                    <a:pt x="199" y="1106"/>
                    <a:pt x="197" y="1107"/>
                  </a:cubicBezTo>
                  <a:cubicBezTo>
                    <a:pt x="200" y="1108"/>
                    <a:pt x="205" y="1110"/>
                    <a:pt x="200" y="1112"/>
                  </a:cubicBezTo>
                  <a:cubicBezTo>
                    <a:pt x="198" y="1113"/>
                    <a:pt x="195" y="1112"/>
                    <a:pt x="193" y="1113"/>
                  </a:cubicBezTo>
                  <a:cubicBezTo>
                    <a:pt x="192" y="1113"/>
                    <a:pt x="192" y="1115"/>
                    <a:pt x="190" y="1116"/>
                  </a:cubicBezTo>
                  <a:cubicBezTo>
                    <a:pt x="189" y="1117"/>
                    <a:pt x="188" y="1117"/>
                    <a:pt x="187" y="1117"/>
                  </a:cubicBezTo>
                  <a:cubicBezTo>
                    <a:pt x="184" y="1118"/>
                    <a:pt x="182" y="1120"/>
                    <a:pt x="179" y="1121"/>
                  </a:cubicBezTo>
                  <a:cubicBezTo>
                    <a:pt x="176" y="1122"/>
                    <a:pt x="170" y="1122"/>
                    <a:pt x="172" y="1127"/>
                  </a:cubicBezTo>
                  <a:cubicBezTo>
                    <a:pt x="176" y="1127"/>
                    <a:pt x="179" y="1124"/>
                    <a:pt x="183" y="1124"/>
                  </a:cubicBezTo>
                  <a:cubicBezTo>
                    <a:pt x="186" y="1124"/>
                    <a:pt x="185" y="1127"/>
                    <a:pt x="187" y="1128"/>
                  </a:cubicBezTo>
                  <a:cubicBezTo>
                    <a:pt x="190" y="1129"/>
                    <a:pt x="191" y="1126"/>
                    <a:pt x="193" y="1128"/>
                  </a:cubicBezTo>
                  <a:cubicBezTo>
                    <a:pt x="195" y="1129"/>
                    <a:pt x="186" y="1129"/>
                    <a:pt x="188" y="1133"/>
                  </a:cubicBezTo>
                  <a:cubicBezTo>
                    <a:pt x="188" y="1134"/>
                    <a:pt x="190" y="1136"/>
                    <a:pt x="191" y="1136"/>
                  </a:cubicBezTo>
                  <a:cubicBezTo>
                    <a:pt x="193" y="1138"/>
                    <a:pt x="194" y="1141"/>
                    <a:pt x="196" y="1143"/>
                  </a:cubicBezTo>
                  <a:cubicBezTo>
                    <a:pt x="200" y="1147"/>
                    <a:pt x="201" y="1146"/>
                    <a:pt x="205" y="1147"/>
                  </a:cubicBezTo>
                  <a:cubicBezTo>
                    <a:pt x="212" y="1148"/>
                    <a:pt x="205" y="1149"/>
                    <a:pt x="203" y="1151"/>
                  </a:cubicBezTo>
                  <a:cubicBezTo>
                    <a:pt x="203" y="1152"/>
                    <a:pt x="202" y="1154"/>
                    <a:pt x="203" y="1155"/>
                  </a:cubicBezTo>
                  <a:cubicBezTo>
                    <a:pt x="203" y="1157"/>
                    <a:pt x="205" y="1156"/>
                    <a:pt x="207" y="1157"/>
                  </a:cubicBezTo>
                  <a:cubicBezTo>
                    <a:pt x="211" y="1159"/>
                    <a:pt x="211" y="1162"/>
                    <a:pt x="212" y="1165"/>
                  </a:cubicBezTo>
                  <a:cubicBezTo>
                    <a:pt x="209" y="1164"/>
                    <a:pt x="205" y="1164"/>
                    <a:pt x="202" y="1163"/>
                  </a:cubicBezTo>
                  <a:cubicBezTo>
                    <a:pt x="202" y="1161"/>
                    <a:pt x="200" y="1162"/>
                    <a:pt x="198" y="1161"/>
                  </a:cubicBezTo>
                  <a:cubicBezTo>
                    <a:pt x="198" y="1160"/>
                    <a:pt x="198" y="1160"/>
                    <a:pt x="198" y="1159"/>
                  </a:cubicBezTo>
                  <a:cubicBezTo>
                    <a:pt x="196" y="1158"/>
                    <a:pt x="195" y="1159"/>
                    <a:pt x="194" y="1157"/>
                  </a:cubicBezTo>
                  <a:cubicBezTo>
                    <a:pt x="192" y="1154"/>
                    <a:pt x="195" y="1153"/>
                    <a:pt x="191" y="1150"/>
                  </a:cubicBezTo>
                  <a:cubicBezTo>
                    <a:pt x="187" y="1148"/>
                    <a:pt x="186" y="1148"/>
                    <a:pt x="186" y="1143"/>
                  </a:cubicBezTo>
                  <a:cubicBezTo>
                    <a:pt x="186" y="1142"/>
                    <a:pt x="186" y="1140"/>
                    <a:pt x="185" y="1138"/>
                  </a:cubicBezTo>
                  <a:cubicBezTo>
                    <a:pt x="185" y="1138"/>
                    <a:pt x="184" y="1138"/>
                    <a:pt x="184" y="1137"/>
                  </a:cubicBezTo>
                  <a:cubicBezTo>
                    <a:pt x="183" y="1137"/>
                    <a:pt x="183" y="1135"/>
                    <a:pt x="183" y="1134"/>
                  </a:cubicBezTo>
                  <a:cubicBezTo>
                    <a:pt x="182" y="1133"/>
                    <a:pt x="180" y="1132"/>
                    <a:pt x="178" y="1132"/>
                  </a:cubicBezTo>
                  <a:cubicBezTo>
                    <a:pt x="175" y="1133"/>
                    <a:pt x="176" y="1133"/>
                    <a:pt x="174" y="1135"/>
                  </a:cubicBezTo>
                  <a:cubicBezTo>
                    <a:pt x="174" y="1136"/>
                    <a:pt x="174" y="1136"/>
                    <a:pt x="174" y="1137"/>
                  </a:cubicBezTo>
                  <a:cubicBezTo>
                    <a:pt x="174" y="1138"/>
                    <a:pt x="174" y="1138"/>
                    <a:pt x="173" y="1139"/>
                  </a:cubicBezTo>
                  <a:cubicBezTo>
                    <a:pt x="173" y="1139"/>
                    <a:pt x="171" y="1141"/>
                    <a:pt x="170" y="1142"/>
                  </a:cubicBezTo>
                  <a:cubicBezTo>
                    <a:pt x="168" y="1144"/>
                    <a:pt x="167" y="1148"/>
                    <a:pt x="165" y="1150"/>
                  </a:cubicBezTo>
                  <a:cubicBezTo>
                    <a:pt x="164" y="1150"/>
                    <a:pt x="160" y="1150"/>
                    <a:pt x="159" y="1150"/>
                  </a:cubicBezTo>
                  <a:cubicBezTo>
                    <a:pt x="157" y="1151"/>
                    <a:pt x="156" y="1152"/>
                    <a:pt x="154" y="1151"/>
                  </a:cubicBezTo>
                  <a:cubicBezTo>
                    <a:pt x="152" y="1146"/>
                    <a:pt x="176" y="1136"/>
                    <a:pt x="167" y="1131"/>
                  </a:cubicBezTo>
                  <a:cubicBezTo>
                    <a:pt x="165" y="1130"/>
                    <a:pt x="162" y="1130"/>
                    <a:pt x="160" y="1130"/>
                  </a:cubicBezTo>
                  <a:cubicBezTo>
                    <a:pt x="156" y="1130"/>
                    <a:pt x="154" y="1130"/>
                    <a:pt x="152" y="1133"/>
                  </a:cubicBezTo>
                  <a:cubicBezTo>
                    <a:pt x="151" y="1134"/>
                    <a:pt x="152" y="1134"/>
                    <a:pt x="150" y="1136"/>
                  </a:cubicBezTo>
                  <a:cubicBezTo>
                    <a:pt x="148" y="1137"/>
                    <a:pt x="146" y="1136"/>
                    <a:pt x="144" y="1137"/>
                  </a:cubicBezTo>
                  <a:cubicBezTo>
                    <a:pt x="142" y="1139"/>
                    <a:pt x="141" y="1142"/>
                    <a:pt x="140" y="1144"/>
                  </a:cubicBezTo>
                  <a:cubicBezTo>
                    <a:pt x="138" y="1145"/>
                    <a:pt x="136" y="1144"/>
                    <a:pt x="134" y="1145"/>
                  </a:cubicBezTo>
                  <a:cubicBezTo>
                    <a:pt x="132" y="1145"/>
                    <a:pt x="129" y="1147"/>
                    <a:pt x="128" y="1148"/>
                  </a:cubicBezTo>
                  <a:cubicBezTo>
                    <a:pt x="125" y="1150"/>
                    <a:pt x="123" y="1154"/>
                    <a:pt x="122" y="1158"/>
                  </a:cubicBezTo>
                  <a:cubicBezTo>
                    <a:pt x="122" y="1163"/>
                    <a:pt x="126" y="1166"/>
                    <a:pt x="130" y="1167"/>
                  </a:cubicBezTo>
                  <a:cubicBezTo>
                    <a:pt x="132" y="1167"/>
                    <a:pt x="135" y="1165"/>
                    <a:pt x="136" y="1167"/>
                  </a:cubicBezTo>
                  <a:cubicBezTo>
                    <a:pt x="137" y="1170"/>
                    <a:pt x="126" y="1170"/>
                    <a:pt x="125" y="1170"/>
                  </a:cubicBezTo>
                  <a:cubicBezTo>
                    <a:pt x="124" y="1173"/>
                    <a:pt x="125" y="1174"/>
                    <a:pt x="126" y="1176"/>
                  </a:cubicBezTo>
                  <a:cubicBezTo>
                    <a:pt x="127" y="1180"/>
                    <a:pt x="127" y="1180"/>
                    <a:pt x="131" y="1180"/>
                  </a:cubicBezTo>
                  <a:cubicBezTo>
                    <a:pt x="135" y="1180"/>
                    <a:pt x="137" y="1179"/>
                    <a:pt x="140" y="1179"/>
                  </a:cubicBezTo>
                  <a:cubicBezTo>
                    <a:pt x="143" y="1179"/>
                    <a:pt x="144" y="1181"/>
                    <a:pt x="147" y="1182"/>
                  </a:cubicBezTo>
                  <a:cubicBezTo>
                    <a:pt x="153" y="1183"/>
                    <a:pt x="155" y="1177"/>
                    <a:pt x="160" y="1175"/>
                  </a:cubicBezTo>
                  <a:cubicBezTo>
                    <a:pt x="162" y="1174"/>
                    <a:pt x="165" y="1175"/>
                    <a:pt x="168" y="1174"/>
                  </a:cubicBezTo>
                  <a:cubicBezTo>
                    <a:pt x="170" y="1173"/>
                    <a:pt x="174" y="1172"/>
                    <a:pt x="177" y="1172"/>
                  </a:cubicBezTo>
                  <a:cubicBezTo>
                    <a:pt x="178" y="1177"/>
                    <a:pt x="171" y="1176"/>
                    <a:pt x="169" y="1176"/>
                  </a:cubicBezTo>
                  <a:cubicBezTo>
                    <a:pt x="165" y="1176"/>
                    <a:pt x="161" y="1178"/>
                    <a:pt x="159" y="1179"/>
                  </a:cubicBezTo>
                  <a:cubicBezTo>
                    <a:pt x="153" y="1183"/>
                    <a:pt x="146" y="1183"/>
                    <a:pt x="147" y="1191"/>
                  </a:cubicBezTo>
                  <a:cubicBezTo>
                    <a:pt x="151" y="1192"/>
                    <a:pt x="156" y="1194"/>
                    <a:pt x="155" y="1198"/>
                  </a:cubicBezTo>
                  <a:cubicBezTo>
                    <a:pt x="151" y="1200"/>
                    <a:pt x="148" y="1196"/>
                    <a:pt x="145" y="1194"/>
                  </a:cubicBezTo>
                  <a:cubicBezTo>
                    <a:pt x="144" y="1193"/>
                    <a:pt x="142" y="1192"/>
                    <a:pt x="141" y="1191"/>
                  </a:cubicBezTo>
                  <a:cubicBezTo>
                    <a:pt x="138" y="1191"/>
                    <a:pt x="138" y="1191"/>
                    <a:pt x="136" y="1192"/>
                  </a:cubicBezTo>
                  <a:cubicBezTo>
                    <a:pt x="133" y="1193"/>
                    <a:pt x="130" y="1191"/>
                    <a:pt x="128" y="1191"/>
                  </a:cubicBezTo>
                  <a:cubicBezTo>
                    <a:pt x="126" y="1190"/>
                    <a:pt x="125" y="1189"/>
                    <a:pt x="123" y="1187"/>
                  </a:cubicBezTo>
                  <a:cubicBezTo>
                    <a:pt x="122" y="1187"/>
                    <a:pt x="123" y="1185"/>
                    <a:pt x="121" y="1186"/>
                  </a:cubicBezTo>
                  <a:cubicBezTo>
                    <a:pt x="120" y="1186"/>
                    <a:pt x="121" y="1188"/>
                    <a:pt x="120" y="1188"/>
                  </a:cubicBezTo>
                  <a:cubicBezTo>
                    <a:pt x="118" y="1189"/>
                    <a:pt x="117" y="1188"/>
                    <a:pt x="115" y="1187"/>
                  </a:cubicBezTo>
                  <a:cubicBezTo>
                    <a:pt x="112" y="1187"/>
                    <a:pt x="112" y="1188"/>
                    <a:pt x="110" y="1189"/>
                  </a:cubicBezTo>
                  <a:cubicBezTo>
                    <a:pt x="108" y="1190"/>
                    <a:pt x="106" y="1189"/>
                    <a:pt x="104" y="1189"/>
                  </a:cubicBezTo>
                  <a:cubicBezTo>
                    <a:pt x="102" y="1189"/>
                    <a:pt x="99" y="1189"/>
                    <a:pt x="97" y="1189"/>
                  </a:cubicBezTo>
                  <a:cubicBezTo>
                    <a:pt x="95" y="1189"/>
                    <a:pt x="93" y="1191"/>
                    <a:pt x="92" y="1191"/>
                  </a:cubicBezTo>
                  <a:cubicBezTo>
                    <a:pt x="88" y="1192"/>
                    <a:pt x="83" y="1191"/>
                    <a:pt x="83" y="1196"/>
                  </a:cubicBezTo>
                  <a:cubicBezTo>
                    <a:pt x="84" y="1201"/>
                    <a:pt x="87" y="1199"/>
                    <a:pt x="89" y="1200"/>
                  </a:cubicBezTo>
                  <a:cubicBezTo>
                    <a:pt x="91" y="1200"/>
                    <a:pt x="92" y="1201"/>
                    <a:pt x="94" y="1202"/>
                  </a:cubicBezTo>
                  <a:cubicBezTo>
                    <a:pt x="90" y="1203"/>
                    <a:pt x="82" y="1201"/>
                    <a:pt x="79" y="1205"/>
                  </a:cubicBezTo>
                  <a:cubicBezTo>
                    <a:pt x="78" y="1206"/>
                    <a:pt x="79" y="1207"/>
                    <a:pt x="79" y="1208"/>
                  </a:cubicBezTo>
                  <a:cubicBezTo>
                    <a:pt x="78" y="1209"/>
                    <a:pt x="78" y="1209"/>
                    <a:pt x="77" y="1210"/>
                  </a:cubicBezTo>
                  <a:cubicBezTo>
                    <a:pt x="76" y="1211"/>
                    <a:pt x="75" y="1210"/>
                    <a:pt x="74" y="1211"/>
                  </a:cubicBezTo>
                  <a:cubicBezTo>
                    <a:pt x="74" y="1212"/>
                    <a:pt x="74" y="1214"/>
                    <a:pt x="74" y="1214"/>
                  </a:cubicBezTo>
                  <a:cubicBezTo>
                    <a:pt x="77" y="1215"/>
                    <a:pt x="77" y="1217"/>
                    <a:pt x="80" y="1218"/>
                  </a:cubicBezTo>
                  <a:cubicBezTo>
                    <a:pt x="82" y="1218"/>
                    <a:pt x="83" y="1217"/>
                    <a:pt x="85" y="1217"/>
                  </a:cubicBezTo>
                  <a:cubicBezTo>
                    <a:pt x="87" y="1216"/>
                    <a:pt x="90" y="1216"/>
                    <a:pt x="91" y="1216"/>
                  </a:cubicBezTo>
                  <a:cubicBezTo>
                    <a:pt x="94" y="1215"/>
                    <a:pt x="95" y="1211"/>
                    <a:pt x="97" y="1208"/>
                  </a:cubicBezTo>
                  <a:cubicBezTo>
                    <a:pt x="99" y="1206"/>
                    <a:pt x="101" y="1206"/>
                    <a:pt x="103" y="1206"/>
                  </a:cubicBezTo>
                  <a:cubicBezTo>
                    <a:pt x="110" y="1206"/>
                    <a:pt x="113" y="1206"/>
                    <a:pt x="118" y="1211"/>
                  </a:cubicBezTo>
                  <a:cubicBezTo>
                    <a:pt x="120" y="1213"/>
                    <a:pt x="124" y="1214"/>
                    <a:pt x="126" y="1217"/>
                  </a:cubicBezTo>
                  <a:cubicBezTo>
                    <a:pt x="127" y="1219"/>
                    <a:pt x="126" y="1222"/>
                    <a:pt x="126" y="1224"/>
                  </a:cubicBezTo>
                  <a:cubicBezTo>
                    <a:pt x="128" y="1225"/>
                    <a:pt x="131" y="1224"/>
                    <a:pt x="133" y="1225"/>
                  </a:cubicBezTo>
                  <a:cubicBezTo>
                    <a:pt x="133" y="1225"/>
                    <a:pt x="133" y="1226"/>
                    <a:pt x="133" y="1227"/>
                  </a:cubicBezTo>
                  <a:cubicBezTo>
                    <a:pt x="129" y="1228"/>
                    <a:pt x="127" y="1227"/>
                    <a:pt x="125" y="1225"/>
                  </a:cubicBezTo>
                  <a:cubicBezTo>
                    <a:pt x="125" y="1224"/>
                    <a:pt x="125" y="1224"/>
                    <a:pt x="124" y="1223"/>
                  </a:cubicBezTo>
                  <a:cubicBezTo>
                    <a:pt x="124" y="1223"/>
                    <a:pt x="123" y="1223"/>
                    <a:pt x="123" y="1222"/>
                  </a:cubicBezTo>
                  <a:cubicBezTo>
                    <a:pt x="122" y="1222"/>
                    <a:pt x="122" y="1222"/>
                    <a:pt x="121" y="1222"/>
                  </a:cubicBezTo>
                  <a:cubicBezTo>
                    <a:pt x="120" y="1221"/>
                    <a:pt x="121" y="1219"/>
                    <a:pt x="120" y="1219"/>
                  </a:cubicBezTo>
                  <a:cubicBezTo>
                    <a:pt x="118" y="1217"/>
                    <a:pt x="115" y="1217"/>
                    <a:pt x="113" y="1216"/>
                  </a:cubicBezTo>
                  <a:cubicBezTo>
                    <a:pt x="109" y="1214"/>
                    <a:pt x="108" y="1214"/>
                    <a:pt x="104" y="1215"/>
                  </a:cubicBezTo>
                  <a:cubicBezTo>
                    <a:pt x="102" y="1216"/>
                    <a:pt x="97" y="1215"/>
                    <a:pt x="96" y="1217"/>
                  </a:cubicBezTo>
                  <a:cubicBezTo>
                    <a:pt x="94" y="1220"/>
                    <a:pt x="95" y="1222"/>
                    <a:pt x="96" y="1224"/>
                  </a:cubicBezTo>
                  <a:cubicBezTo>
                    <a:pt x="97" y="1227"/>
                    <a:pt x="97" y="1230"/>
                    <a:pt x="98" y="1233"/>
                  </a:cubicBezTo>
                  <a:cubicBezTo>
                    <a:pt x="98" y="1236"/>
                    <a:pt x="99" y="1239"/>
                    <a:pt x="100" y="1241"/>
                  </a:cubicBezTo>
                  <a:cubicBezTo>
                    <a:pt x="101" y="1243"/>
                    <a:pt x="102" y="1243"/>
                    <a:pt x="101" y="1245"/>
                  </a:cubicBezTo>
                  <a:cubicBezTo>
                    <a:pt x="99" y="1245"/>
                    <a:pt x="99" y="1242"/>
                    <a:pt x="97" y="1240"/>
                  </a:cubicBezTo>
                  <a:cubicBezTo>
                    <a:pt x="96" y="1238"/>
                    <a:pt x="93" y="1236"/>
                    <a:pt x="92" y="1233"/>
                  </a:cubicBezTo>
                  <a:cubicBezTo>
                    <a:pt x="91" y="1230"/>
                    <a:pt x="89" y="1221"/>
                    <a:pt x="84" y="1221"/>
                  </a:cubicBezTo>
                  <a:cubicBezTo>
                    <a:pt x="80" y="1221"/>
                    <a:pt x="78" y="1228"/>
                    <a:pt x="75" y="1230"/>
                  </a:cubicBezTo>
                  <a:cubicBezTo>
                    <a:pt x="74" y="1231"/>
                    <a:pt x="71" y="1230"/>
                    <a:pt x="70" y="1231"/>
                  </a:cubicBezTo>
                  <a:cubicBezTo>
                    <a:pt x="69" y="1232"/>
                    <a:pt x="68" y="1235"/>
                    <a:pt x="67" y="1237"/>
                  </a:cubicBezTo>
                  <a:cubicBezTo>
                    <a:pt x="64" y="1235"/>
                    <a:pt x="63" y="1232"/>
                    <a:pt x="64" y="1229"/>
                  </a:cubicBezTo>
                  <a:cubicBezTo>
                    <a:pt x="69" y="1227"/>
                    <a:pt x="77" y="1222"/>
                    <a:pt x="70" y="1216"/>
                  </a:cubicBezTo>
                  <a:cubicBezTo>
                    <a:pt x="67" y="1214"/>
                    <a:pt x="63" y="1212"/>
                    <a:pt x="61" y="1215"/>
                  </a:cubicBezTo>
                  <a:cubicBezTo>
                    <a:pt x="59" y="1218"/>
                    <a:pt x="62" y="1228"/>
                    <a:pt x="58" y="1229"/>
                  </a:cubicBezTo>
                  <a:cubicBezTo>
                    <a:pt x="56" y="1229"/>
                    <a:pt x="55" y="1227"/>
                    <a:pt x="54" y="1226"/>
                  </a:cubicBezTo>
                  <a:cubicBezTo>
                    <a:pt x="53" y="1225"/>
                    <a:pt x="51" y="1225"/>
                    <a:pt x="50" y="1225"/>
                  </a:cubicBezTo>
                  <a:cubicBezTo>
                    <a:pt x="47" y="1226"/>
                    <a:pt x="44" y="1228"/>
                    <a:pt x="43" y="1231"/>
                  </a:cubicBezTo>
                  <a:cubicBezTo>
                    <a:pt x="41" y="1239"/>
                    <a:pt x="52" y="1238"/>
                    <a:pt x="57" y="1237"/>
                  </a:cubicBezTo>
                  <a:cubicBezTo>
                    <a:pt x="57" y="1237"/>
                    <a:pt x="57" y="1236"/>
                    <a:pt x="57" y="1236"/>
                  </a:cubicBezTo>
                  <a:cubicBezTo>
                    <a:pt x="59" y="1236"/>
                    <a:pt x="59" y="1238"/>
                    <a:pt x="59" y="1240"/>
                  </a:cubicBezTo>
                  <a:cubicBezTo>
                    <a:pt x="62" y="1240"/>
                    <a:pt x="63" y="1241"/>
                    <a:pt x="65" y="1242"/>
                  </a:cubicBezTo>
                  <a:cubicBezTo>
                    <a:pt x="68" y="1244"/>
                    <a:pt x="68" y="1244"/>
                    <a:pt x="68" y="1248"/>
                  </a:cubicBezTo>
                  <a:cubicBezTo>
                    <a:pt x="69" y="1253"/>
                    <a:pt x="70" y="1259"/>
                    <a:pt x="63" y="1258"/>
                  </a:cubicBezTo>
                  <a:cubicBezTo>
                    <a:pt x="63" y="1257"/>
                    <a:pt x="63" y="1256"/>
                    <a:pt x="62" y="1256"/>
                  </a:cubicBezTo>
                  <a:cubicBezTo>
                    <a:pt x="62" y="1255"/>
                    <a:pt x="61" y="1255"/>
                    <a:pt x="61" y="1254"/>
                  </a:cubicBezTo>
                  <a:cubicBezTo>
                    <a:pt x="61" y="1254"/>
                    <a:pt x="61" y="1253"/>
                    <a:pt x="61" y="1253"/>
                  </a:cubicBezTo>
                  <a:cubicBezTo>
                    <a:pt x="59" y="1250"/>
                    <a:pt x="56" y="1247"/>
                    <a:pt x="53" y="1247"/>
                  </a:cubicBezTo>
                  <a:cubicBezTo>
                    <a:pt x="50" y="1246"/>
                    <a:pt x="48" y="1248"/>
                    <a:pt x="46" y="1246"/>
                  </a:cubicBezTo>
                  <a:cubicBezTo>
                    <a:pt x="45" y="1245"/>
                    <a:pt x="46" y="1244"/>
                    <a:pt x="45" y="1243"/>
                  </a:cubicBezTo>
                  <a:cubicBezTo>
                    <a:pt x="44" y="1242"/>
                    <a:pt x="41" y="1242"/>
                    <a:pt x="40" y="1242"/>
                  </a:cubicBezTo>
                  <a:cubicBezTo>
                    <a:pt x="40" y="1244"/>
                    <a:pt x="40" y="1246"/>
                    <a:pt x="40" y="1248"/>
                  </a:cubicBezTo>
                  <a:cubicBezTo>
                    <a:pt x="44" y="1248"/>
                    <a:pt x="45" y="1260"/>
                    <a:pt x="39" y="1256"/>
                  </a:cubicBezTo>
                  <a:cubicBezTo>
                    <a:pt x="33" y="1252"/>
                    <a:pt x="35" y="1247"/>
                    <a:pt x="34" y="1241"/>
                  </a:cubicBezTo>
                  <a:cubicBezTo>
                    <a:pt x="33" y="1237"/>
                    <a:pt x="31" y="1235"/>
                    <a:pt x="27" y="1236"/>
                  </a:cubicBezTo>
                  <a:cubicBezTo>
                    <a:pt x="23" y="1237"/>
                    <a:pt x="24" y="1240"/>
                    <a:pt x="24" y="1243"/>
                  </a:cubicBezTo>
                  <a:cubicBezTo>
                    <a:pt x="24" y="1247"/>
                    <a:pt x="25" y="1248"/>
                    <a:pt x="28" y="1249"/>
                  </a:cubicBezTo>
                  <a:cubicBezTo>
                    <a:pt x="30" y="1250"/>
                    <a:pt x="32" y="1250"/>
                    <a:pt x="33" y="1252"/>
                  </a:cubicBezTo>
                  <a:cubicBezTo>
                    <a:pt x="34" y="1254"/>
                    <a:pt x="34" y="1257"/>
                    <a:pt x="34" y="1259"/>
                  </a:cubicBezTo>
                  <a:cubicBezTo>
                    <a:pt x="35" y="1262"/>
                    <a:pt x="36" y="1265"/>
                    <a:pt x="32" y="1267"/>
                  </a:cubicBezTo>
                  <a:cubicBezTo>
                    <a:pt x="31" y="1267"/>
                    <a:pt x="26" y="1267"/>
                    <a:pt x="25" y="1267"/>
                  </a:cubicBezTo>
                  <a:cubicBezTo>
                    <a:pt x="24" y="1266"/>
                    <a:pt x="24" y="1264"/>
                    <a:pt x="22" y="1264"/>
                  </a:cubicBezTo>
                  <a:cubicBezTo>
                    <a:pt x="22" y="1264"/>
                    <a:pt x="19" y="1264"/>
                    <a:pt x="19" y="1264"/>
                  </a:cubicBezTo>
                  <a:cubicBezTo>
                    <a:pt x="14" y="1267"/>
                    <a:pt x="21" y="1271"/>
                    <a:pt x="24" y="1271"/>
                  </a:cubicBezTo>
                  <a:cubicBezTo>
                    <a:pt x="29" y="1273"/>
                    <a:pt x="36" y="1271"/>
                    <a:pt x="42" y="1271"/>
                  </a:cubicBezTo>
                  <a:cubicBezTo>
                    <a:pt x="47" y="1272"/>
                    <a:pt x="53" y="1272"/>
                    <a:pt x="58" y="1273"/>
                  </a:cubicBezTo>
                  <a:cubicBezTo>
                    <a:pt x="61" y="1273"/>
                    <a:pt x="66" y="1273"/>
                    <a:pt x="66" y="1277"/>
                  </a:cubicBezTo>
                  <a:cubicBezTo>
                    <a:pt x="62" y="1278"/>
                    <a:pt x="57" y="1277"/>
                    <a:pt x="54" y="1277"/>
                  </a:cubicBezTo>
                  <a:cubicBezTo>
                    <a:pt x="52" y="1277"/>
                    <a:pt x="49" y="1277"/>
                    <a:pt x="48" y="1277"/>
                  </a:cubicBezTo>
                  <a:cubicBezTo>
                    <a:pt x="45" y="1276"/>
                    <a:pt x="42" y="1275"/>
                    <a:pt x="39" y="1274"/>
                  </a:cubicBezTo>
                  <a:cubicBezTo>
                    <a:pt x="36" y="1274"/>
                    <a:pt x="34" y="1274"/>
                    <a:pt x="33" y="1277"/>
                  </a:cubicBezTo>
                  <a:cubicBezTo>
                    <a:pt x="31" y="1280"/>
                    <a:pt x="30" y="1283"/>
                    <a:pt x="30" y="1286"/>
                  </a:cubicBezTo>
                  <a:cubicBezTo>
                    <a:pt x="25" y="1287"/>
                    <a:pt x="14" y="1286"/>
                    <a:pt x="18" y="1294"/>
                  </a:cubicBezTo>
                  <a:cubicBezTo>
                    <a:pt x="15" y="1294"/>
                    <a:pt x="15" y="1299"/>
                    <a:pt x="15" y="1302"/>
                  </a:cubicBezTo>
                  <a:cubicBezTo>
                    <a:pt x="17" y="1306"/>
                    <a:pt x="23" y="1304"/>
                    <a:pt x="27" y="1305"/>
                  </a:cubicBezTo>
                  <a:cubicBezTo>
                    <a:pt x="31" y="1307"/>
                    <a:pt x="30" y="1311"/>
                    <a:pt x="35" y="1311"/>
                  </a:cubicBezTo>
                  <a:cubicBezTo>
                    <a:pt x="38" y="1310"/>
                    <a:pt x="38" y="1310"/>
                    <a:pt x="40" y="1309"/>
                  </a:cubicBezTo>
                  <a:cubicBezTo>
                    <a:pt x="43" y="1308"/>
                    <a:pt x="48" y="1309"/>
                    <a:pt x="50" y="1309"/>
                  </a:cubicBezTo>
                  <a:cubicBezTo>
                    <a:pt x="51" y="1311"/>
                    <a:pt x="44" y="1315"/>
                    <a:pt x="42" y="1315"/>
                  </a:cubicBezTo>
                  <a:cubicBezTo>
                    <a:pt x="39" y="1316"/>
                    <a:pt x="35" y="1313"/>
                    <a:pt x="32" y="1312"/>
                  </a:cubicBezTo>
                  <a:cubicBezTo>
                    <a:pt x="30" y="1311"/>
                    <a:pt x="28" y="1311"/>
                    <a:pt x="25" y="1312"/>
                  </a:cubicBezTo>
                  <a:cubicBezTo>
                    <a:pt x="25" y="1313"/>
                    <a:pt x="25" y="1314"/>
                    <a:pt x="25" y="1316"/>
                  </a:cubicBezTo>
                  <a:cubicBezTo>
                    <a:pt x="27" y="1316"/>
                    <a:pt x="30" y="1319"/>
                    <a:pt x="32" y="1320"/>
                  </a:cubicBezTo>
                  <a:cubicBezTo>
                    <a:pt x="34" y="1321"/>
                    <a:pt x="34" y="1321"/>
                    <a:pt x="35" y="1321"/>
                  </a:cubicBezTo>
                  <a:cubicBezTo>
                    <a:pt x="37" y="1322"/>
                    <a:pt x="39" y="1321"/>
                    <a:pt x="41" y="1322"/>
                  </a:cubicBezTo>
                  <a:cubicBezTo>
                    <a:pt x="43" y="1327"/>
                    <a:pt x="31" y="1327"/>
                    <a:pt x="28" y="1329"/>
                  </a:cubicBezTo>
                  <a:cubicBezTo>
                    <a:pt x="24" y="1331"/>
                    <a:pt x="13" y="1332"/>
                    <a:pt x="16" y="1339"/>
                  </a:cubicBezTo>
                  <a:cubicBezTo>
                    <a:pt x="24" y="1340"/>
                    <a:pt x="31" y="1333"/>
                    <a:pt x="40" y="1335"/>
                  </a:cubicBezTo>
                  <a:cubicBezTo>
                    <a:pt x="42" y="1339"/>
                    <a:pt x="32" y="1343"/>
                    <a:pt x="29" y="1343"/>
                  </a:cubicBezTo>
                  <a:cubicBezTo>
                    <a:pt x="26" y="1343"/>
                    <a:pt x="20" y="1340"/>
                    <a:pt x="18" y="1342"/>
                  </a:cubicBezTo>
                  <a:cubicBezTo>
                    <a:pt x="16" y="1343"/>
                    <a:pt x="17" y="1345"/>
                    <a:pt x="16" y="1346"/>
                  </a:cubicBezTo>
                  <a:cubicBezTo>
                    <a:pt x="16" y="1347"/>
                    <a:pt x="13" y="1349"/>
                    <a:pt x="15" y="1351"/>
                  </a:cubicBezTo>
                  <a:cubicBezTo>
                    <a:pt x="15" y="1351"/>
                    <a:pt x="18" y="1351"/>
                    <a:pt x="19" y="1351"/>
                  </a:cubicBezTo>
                  <a:cubicBezTo>
                    <a:pt x="19" y="1352"/>
                    <a:pt x="21" y="1353"/>
                    <a:pt x="21" y="1353"/>
                  </a:cubicBezTo>
                  <a:cubicBezTo>
                    <a:pt x="24" y="1354"/>
                    <a:pt x="27" y="1353"/>
                    <a:pt x="30" y="1354"/>
                  </a:cubicBezTo>
                  <a:cubicBezTo>
                    <a:pt x="32" y="1357"/>
                    <a:pt x="30" y="1362"/>
                    <a:pt x="33" y="1365"/>
                  </a:cubicBezTo>
                  <a:cubicBezTo>
                    <a:pt x="37" y="1369"/>
                    <a:pt x="46" y="1365"/>
                    <a:pt x="50" y="1364"/>
                  </a:cubicBezTo>
                  <a:cubicBezTo>
                    <a:pt x="62" y="1364"/>
                    <a:pt x="73" y="1364"/>
                    <a:pt x="84" y="1364"/>
                  </a:cubicBezTo>
                  <a:cubicBezTo>
                    <a:pt x="88" y="1364"/>
                    <a:pt x="94" y="1365"/>
                    <a:pt x="97" y="1363"/>
                  </a:cubicBezTo>
                  <a:cubicBezTo>
                    <a:pt x="102" y="1361"/>
                    <a:pt x="102" y="1356"/>
                    <a:pt x="108" y="1355"/>
                  </a:cubicBezTo>
                  <a:cubicBezTo>
                    <a:pt x="111" y="1355"/>
                    <a:pt x="113" y="1355"/>
                    <a:pt x="116" y="1357"/>
                  </a:cubicBezTo>
                  <a:cubicBezTo>
                    <a:pt x="117" y="1358"/>
                    <a:pt x="119" y="1361"/>
                    <a:pt x="120" y="1362"/>
                  </a:cubicBezTo>
                  <a:cubicBezTo>
                    <a:pt x="123" y="1364"/>
                    <a:pt x="132" y="1362"/>
                    <a:pt x="130" y="1369"/>
                  </a:cubicBezTo>
                  <a:cubicBezTo>
                    <a:pt x="128" y="1369"/>
                    <a:pt x="124" y="1369"/>
                    <a:pt x="122" y="1369"/>
                  </a:cubicBezTo>
                  <a:cubicBezTo>
                    <a:pt x="120" y="1368"/>
                    <a:pt x="120" y="1366"/>
                    <a:pt x="118" y="1365"/>
                  </a:cubicBezTo>
                  <a:cubicBezTo>
                    <a:pt x="115" y="1363"/>
                    <a:pt x="108" y="1363"/>
                    <a:pt x="105" y="1365"/>
                  </a:cubicBezTo>
                  <a:cubicBezTo>
                    <a:pt x="98" y="1369"/>
                    <a:pt x="89" y="1365"/>
                    <a:pt x="81" y="1365"/>
                  </a:cubicBezTo>
                  <a:cubicBezTo>
                    <a:pt x="76" y="1365"/>
                    <a:pt x="71" y="1365"/>
                    <a:pt x="67" y="1365"/>
                  </a:cubicBezTo>
                  <a:cubicBezTo>
                    <a:pt x="64" y="1365"/>
                    <a:pt x="61" y="1365"/>
                    <a:pt x="59" y="1366"/>
                  </a:cubicBezTo>
                  <a:cubicBezTo>
                    <a:pt x="55" y="1366"/>
                    <a:pt x="54" y="1367"/>
                    <a:pt x="51" y="1369"/>
                  </a:cubicBezTo>
                  <a:cubicBezTo>
                    <a:pt x="47" y="1371"/>
                    <a:pt x="44" y="1371"/>
                    <a:pt x="40" y="1371"/>
                  </a:cubicBezTo>
                  <a:cubicBezTo>
                    <a:pt x="37" y="1372"/>
                    <a:pt x="36" y="1374"/>
                    <a:pt x="33" y="1373"/>
                  </a:cubicBezTo>
                  <a:cubicBezTo>
                    <a:pt x="30" y="1373"/>
                    <a:pt x="29" y="1370"/>
                    <a:pt x="29" y="1367"/>
                  </a:cubicBezTo>
                  <a:cubicBezTo>
                    <a:pt x="26" y="1367"/>
                    <a:pt x="21" y="1366"/>
                    <a:pt x="18" y="1367"/>
                  </a:cubicBezTo>
                  <a:cubicBezTo>
                    <a:pt x="14" y="1369"/>
                    <a:pt x="14" y="1372"/>
                    <a:pt x="10" y="1370"/>
                  </a:cubicBezTo>
                  <a:cubicBezTo>
                    <a:pt x="6" y="1368"/>
                    <a:pt x="6" y="1367"/>
                    <a:pt x="4" y="1370"/>
                  </a:cubicBezTo>
                  <a:cubicBezTo>
                    <a:pt x="3" y="1371"/>
                    <a:pt x="2" y="1373"/>
                    <a:pt x="2" y="1375"/>
                  </a:cubicBezTo>
                  <a:cubicBezTo>
                    <a:pt x="1" y="1377"/>
                    <a:pt x="0" y="1382"/>
                    <a:pt x="1" y="1383"/>
                  </a:cubicBezTo>
                  <a:cubicBezTo>
                    <a:pt x="2" y="1386"/>
                    <a:pt x="5" y="1385"/>
                    <a:pt x="7" y="1385"/>
                  </a:cubicBezTo>
                  <a:cubicBezTo>
                    <a:pt x="7" y="1388"/>
                    <a:pt x="6" y="1389"/>
                    <a:pt x="6" y="1391"/>
                  </a:cubicBezTo>
                  <a:cubicBezTo>
                    <a:pt x="5" y="1394"/>
                    <a:pt x="4" y="1397"/>
                    <a:pt x="9" y="1396"/>
                  </a:cubicBezTo>
                  <a:cubicBezTo>
                    <a:pt x="11" y="1399"/>
                    <a:pt x="12" y="1403"/>
                    <a:pt x="15" y="1406"/>
                  </a:cubicBezTo>
                  <a:cubicBezTo>
                    <a:pt x="16" y="1406"/>
                    <a:pt x="16" y="1404"/>
                    <a:pt x="17" y="1403"/>
                  </a:cubicBezTo>
                  <a:cubicBezTo>
                    <a:pt x="18" y="1400"/>
                    <a:pt x="19" y="1399"/>
                    <a:pt x="22" y="1398"/>
                  </a:cubicBezTo>
                  <a:cubicBezTo>
                    <a:pt x="27" y="1397"/>
                    <a:pt x="29" y="1398"/>
                    <a:pt x="34" y="1400"/>
                  </a:cubicBezTo>
                  <a:cubicBezTo>
                    <a:pt x="34" y="1412"/>
                    <a:pt x="40" y="1400"/>
                    <a:pt x="44" y="1399"/>
                  </a:cubicBezTo>
                  <a:cubicBezTo>
                    <a:pt x="44" y="1401"/>
                    <a:pt x="44" y="1403"/>
                    <a:pt x="44" y="1404"/>
                  </a:cubicBezTo>
                  <a:cubicBezTo>
                    <a:pt x="41" y="1405"/>
                    <a:pt x="39" y="1407"/>
                    <a:pt x="36" y="1407"/>
                  </a:cubicBezTo>
                  <a:cubicBezTo>
                    <a:pt x="34" y="1406"/>
                    <a:pt x="33" y="1404"/>
                    <a:pt x="31" y="1403"/>
                  </a:cubicBezTo>
                  <a:cubicBezTo>
                    <a:pt x="29" y="1402"/>
                    <a:pt x="25" y="1402"/>
                    <a:pt x="23" y="1403"/>
                  </a:cubicBezTo>
                  <a:cubicBezTo>
                    <a:pt x="17" y="1404"/>
                    <a:pt x="20" y="1414"/>
                    <a:pt x="15" y="1413"/>
                  </a:cubicBezTo>
                  <a:cubicBezTo>
                    <a:pt x="13" y="1418"/>
                    <a:pt x="19" y="1417"/>
                    <a:pt x="22" y="1418"/>
                  </a:cubicBezTo>
                  <a:cubicBezTo>
                    <a:pt x="23" y="1422"/>
                    <a:pt x="24" y="1423"/>
                    <a:pt x="21" y="1424"/>
                  </a:cubicBezTo>
                  <a:cubicBezTo>
                    <a:pt x="18" y="1426"/>
                    <a:pt x="15" y="1427"/>
                    <a:pt x="13" y="1430"/>
                  </a:cubicBezTo>
                  <a:cubicBezTo>
                    <a:pt x="11" y="1434"/>
                    <a:pt x="16" y="1434"/>
                    <a:pt x="18" y="1437"/>
                  </a:cubicBezTo>
                  <a:cubicBezTo>
                    <a:pt x="20" y="1440"/>
                    <a:pt x="19" y="1445"/>
                    <a:pt x="18" y="1448"/>
                  </a:cubicBezTo>
                  <a:cubicBezTo>
                    <a:pt x="16" y="1453"/>
                    <a:pt x="13" y="1466"/>
                    <a:pt x="20" y="1469"/>
                  </a:cubicBezTo>
                  <a:cubicBezTo>
                    <a:pt x="28" y="1471"/>
                    <a:pt x="25" y="1455"/>
                    <a:pt x="26" y="1451"/>
                  </a:cubicBezTo>
                  <a:cubicBezTo>
                    <a:pt x="33" y="1450"/>
                    <a:pt x="34" y="1453"/>
                    <a:pt x="35" y="1459"/>
                  </a:cubicBezTo>
                  <a:cubicBezTo>
                    <a:pt x="35" y="1466"/>
                    <a:pt x="36" y="1475"/>
                    <a:pt x="45" y="1473"/>
                  </a:cubicBezTo>
                  <a:cubicBezTo>
                    <a:pt x="45" y="1471"/>
                    <a:pt x="47" y="1472"/>
                    <a:pt x="48" y="1470"/>
                  </a:cubicBezTo>
                  <a:cubicBezTo>
                    <a:pt x="49" y="1469"/>
                    <a:pt x="49" y="1467"/>
                    <a:pt x="50" y="1466"/>
                  </a:cubicBezTo>
                  <a:cubicBezTo>
                    <a:pt x="50" y="1463"/>
                    <a:pt x="50" y="1459"/>
                    <a:pt x="52" y="1457"/>
                  </a:cubicBezTo>
                  <a:cubicBezTo>
                    <a:pt x="53" y="1458"/>
                    <a:pt x="55" y="1458"/>
                    <a:pt x="55" y="1459"/>
                  </a:cubicBezTo>
                  <a:cubicBezTo>
                    <a:pt x="56" y="1461"/>
                    <a:pt x="55" y="1463"/>
                    <a:pt x="55" y="1464"/>
                  </a:cubicBezTo>
                  <a:cubicBezTo>
                    <a:pt x="55" y="1466"/>
                    <a:pt x="55" y="1467"/>
                    <a:pt x="56" y="1469"/>
                  </a:cubicBezTo>
                  <a:cubicBezTo>
                    <a:pt x="56" y="1470"/>
                    <a:pt x="58" y="1471"/>
                    <a:pt x="57" y="1473"/>
                  </a:cubicBezTo>
                  <a:cubicBezTo>
                    <a:pt x="57" y="1474"/>
                    <a:pt x="55" y="1474"/>
                    <a:pt x="54" y="1475"/>
                  </a:cubicBezTo>
                  <a:cubicBezTo>
                    <a:pt x="54" y="1476"/>
                    <a:pt x="54" y="1477"/>
                    <a:pt x="53" y="1477"/>
                  </a:cubicBezTo>
                  <a:cubicBezTo>
                    <a:pt x="51" y="1478"/>
                    <a:pt x="46" y="1479"/>
                    <a:pt x="45" y="1478"/>
                  </a:cubicBezTo>
                  <a:cubicBezTo>
                    <a:pt x="41" y="1480"/>
                    <a:pt x="39" y="1479"/>
                    <a:pt x="38" y="1484"/>
                  </a:cubicBezTo>
                  <a:cubicBezTo>
                    <a:pt x="33" y="1484"/>
                    <a:pt x="33" y="1480"/>
                    <a:pt x="28" y="1481"/>
                  </a:cubicBezTo>
                  <a:cubicBezTo>
                    <a:pt x="28" y="1483"/>
                    <a:pt x="26" y="1485"/>
                    <a:pt x="26" y="1487"/>
                  </a:cubicBezTo>
                  <a:cubicBezTo>
                    <a:pt x="28" y="1489"/>
                    <a:pt x="32" y="1486"/>
                    <a:pt x="35" y="1488"/>
                  </a:cubicBezTo>
                  <a:cubicBezTo>
                    <a:pt x="35" y="1488"/>
                    <a:pt x="36" y="1490"/>
                    <a:pt x="37" y="1490"/>
                  </a:cubicBezTo>
                  <a:cubicBezTo>
                    <a:pt x="38" y="1492"/>
                    <a:pt x="41" y="1492"/>
                    <a:pt x="42" y="1493"/>
                  </a:cubicBezTo>
                  <a:cubicBezTo>
                    <a:pt x="40" y="1495"/>
                    <a:pt x="38" y="1495"/>
                    <a:pt x="36" y="1494"/>
                  </a:cubicBezTo>
                  <a:cubicBezTo>
                    <a:pt x="34" y="1494"/>
                    <a:pt x="35" y="1492"/>
                    <a:pt x="32" y="1493"/>
                  </a:cubicBezTo>
                  <a:cubicBezTo>
                    <a:pt x="32" y="1496"/>
                    <a:pt x="33" y="1499"/>
                    <a:pt x="33" y="1502"/>
                  </a:cubicBezTo>
                  <a:cubicBezTo>
                    <a:pt x="30" y="1503"/>
                    <a:pt x="28" y="1499"/>
                    <a:pt x="26" y="1498"/>
                  </a:cubicBezTo>
                  <a:cubicBezTo>
                    <a:pt x="25" y="1498"/>
                    <a:pt x="23" y="1498"/>
                    <a:pt x="21" y="1498"/>
                  </a:cubicBezTo>
                  <a:cubicBezTo>
                    <a:pt x="20" y="1503"/>
                    <a:pt x="26" y="1506"/>
                    <a:pt x="29" y="1509"/>
                  </a:cubicBezTo>
                  <a:cubicBezTo>
                    <a:pt x="31" y="1513"/>
                    <a:pt x="28" y="1515"/>
                    <a:pt x="28" y="1519"/>
                  </a:cubicBezTo>
                  <a:cubicBezTo>
                    <a:pt x="27" y="1522"/>
                    <a:pt x="27" y="1526"/>
                    <a:pt x="27" y="1529"/>
                  </a:cubicBezTo>
                  <a:cubicBezTo>
                    <a:pt x="26" y="1534"/>
                    <a:pt x="28" y="1536"/>
                    <a:pt x="33" y="1535"/>
                  </a:cubicBezTo>
                  <a:cubicBezTo>
                    <a:pt x="34" y="1531"/>
                    <a:pt x="32" y="1526"/>
                    <a:pt x="38" y="1526"/>
                  </a:cubicBezTo>
                  <a:cubicBezTo>
                    <a:pt x="40" y="1527"/>
                    <a:pt x="41" y="1529"/>
                    <a:pt x="43" y="1527"/>
                  </a:cubicBezTo>
                  <a:cubicBezTo>
                    <a:pt x="45" y="1526"/>
                    <a:pt x="44" y="1522"/>
                    <a:pt x="48" y="1523"/>
                  </a:cubicBezTo>
                  <a:cubicBezTo>
                    <a:pt x="49" y="1529"/>
                    <a:pt x="40" y="1527"/>
                    <a:pt x="38" y="1530"/>
                  </a:cubicBezTo>
                  <a:cubicBezTo>
                    <a:pt x="37" y="1532"/>
                    <a:pt x="38" y="1534"/>
                    <a:pt x="37" y="1536"/>
                  </a:cubicBezTo>
                  <a:cubicBezTo>
                    <a:pt x="35" y="1538"/>
                    <a:pt x="34" y="1539"/>
                    <a:pt x="32" y="1539"/>
                  </a:cubicBezTo>
                  <a:cubicBezTo>
                    <a:pt x="31" y="1546"/>
                    <a:pt x="32" y="1553"/>
                    <a:pt x="32" y="1559"/>
                  </a:cubicBezTo>
                  <a:cubicBezTo>
                    <a:pt x="32" y="1566"/>
                    <a:pt x="28" y="1572"/>
                    <a:pt x="30" y="1578"/>
                  </a:cubicBezTo>
                  <a:cubicBezTo>
                    <a:pt x="31" y="1579"/>
                    <a:pt x="32" y="1583"/>
                    <a:pt x="34" y="1583"/>
                  </a:cubicBezTo>
                  <a:cubicBezTo>
                    <a:pt x="38" y="1585"/>
                    <a:pt x="39" y="1580"/>
                    <a:pt x="39" y="1577"/>
                  </a:cubicBezTo>
                  <a:cubicBezTo>
                    <a:pt x="39" y="1576"/>
                    <a:pt x="38" y="1572"/>
                    <a:pt x="40" y="1571"/>
                  </a:cubicBezTo>
                  <a:cubicBezTo>
                    <a:pt x="43" y="1569"/>
                    <a:pt x="47" y="1578"/>
                    <a:pt x="47" y="1580"/>
                  </a:cubicBezTo>
                  <a:cubicBezTo>
                    <a:pt x="52" y="1582"/>
                    <a:pt x="51" y="1574"/>
                    <a:pt x="53" y="1571"/>
                  </a:cubicBezTo>
                  <a:cubicBezTo>
                    <a:pt x="55" y="1569"/>
                    <a:pt x="57" y="1570"/>
                    <a:pt x="58" y="1568"/>
                  </a:cubicBezTo>
                  <a:cubicBezTo>
                    <a:pt x="60" y="1567"/>
                    <a:pt x="59" y="1564"/>
                    <a:pt x="59" y="1562"/>
                  </a:cubicBezTo>
                  <a:cubicBezTo>
                    <a:pt x="62" y="1561"/>
                    <a:pt x="72" y="1561"/>
                    <a:pt x="70" y="1566"/>
                  </a:cubicBezTo>
                  <a:cubicBezTo>
                    <a:pt x="67" y="1566"/>
                    <a:pt x="66" y="1569"/>
                    <a:pt x="67" y="1571"/>
                  </a:cubicBezTo>
                  <a:cubicBezTo>
                    <a:pt x="71" y="1571"/>
                    <a:pt x="75" y="1570"/>
                    <a:pt x="79" y="1571"/>
                  </a:cubicBezTo>
                  <a:cubicBezTo>
                    <a:pt x="80" y="1575"/>
                    <a:pt x="80" y="1576"/>
                    <a:pt x="76" y="1578"/>
                  </a:cubicBezTo>
                  <a:cubicBezTo>
                    <a:pt x="75" y="1578"/>
                    <a:pt x="73" y="1579"/>
                    <a:pt x="72" y="1579"/>
                  </a:cubicBezTo>
                  <a:cubicBezTo>
                    <a:pt x="69" y="1578"/>
                    <a:pt x="68" y="1576"/>
                    <a:pt x="66" y="1577"/>
                  </a:cubicBezTo>
                  <a:cubicBezTo>
                    <a:pt x="65" y="1579"/>
                    <a:pt x="64" y="1583"/>
                    <a:pt x="65" y="1585"/>
                  </a:cubicBezTo>
                  <a:cubicBezTo>
                    <a:pt x="65" y="1588"/>
                    <a:pt x="67" y="1588"/>
                    <a:pt x="66" y="1591"/>
                  </a:cubicBezTo>
                  <a:cubicBezTo>
                    <a:pt x="65" y="1591"/>
                    <a:pt x="64" y="1591"/>
                    <a:pt x="63" y="1591"/>
                  </a:cubicBezTo>
                  <a:cubicBezTo>
                    <a:pt x="63" y="1589"/>
                    <a:pt x="63" y="1587"/>
                    <a:pt x="63" y="1585"/>
                  </a:cubicBezTo>
                  <a:cubicBezTo>
                    <a:pt x="58" y="1585"/>
                    <a:pt x="52" y="1584"/>
                    <a:pt x="47" y="1585"/>
                  </a:cubicBezTo>
                  <a:cubicBezTo>
                    <a:pt x="46" y="1589"/>
                    <a:pt x="49" y="1590"/>
                    <a:pt x="49" y="1593"/>
                  </a:cubicBezTo>
                  <a:cubicBezTo>
                    <a:pt x="50" y="1596"/>
                    <a:pt x="49" y="1597"/>
                    <a:pt x="49" y="1599"/>
                  </a:cubicBezTo>
                  <a:cubicBezTo>
                    <a:pt x="47" y="1604"/>
                    <a:pt x="48" y="1608"/>
                    <a:pt x="47" y="1613"/>
                  </a:cubicBezTo>
                  <a:cubicBezTo>
                    <a:pt x="47" y="1615"/>
                    <a:pt x="46" y="1619"/>
                    <a:pt x="47" y="1622"/>
                  </a:cubicBezTo>
                  <a:cubicBezTo>
                    <a:pt x="47" y="1624"/>
                    <a:pt x="49" y="1624"/>
                    <a:pt x="50" y="1626"/>
                  </a:cubicBezTo>
                  <a:cubicBezTo>
                    <a:pt x="52" y="1628"/>
                    <a:pt x="53" y="1631"/>
                    <a:pt x="54" y="1633"/>
                  </a:cubicBezTo>
                  <a:cubicBezTo>
                    <a:pt x="57" y="1637"/>
                    <a:pt x="62" y="1639"/>
                    <a:pt x="67" y="1641"/>
                  </a:cubicBezTo>
                  <a:cubicBezTo>
                    <a:pt x="66" y="1644"/>
                    <a:pt x="68" y="1644"/>
                    <a:pt x="69" y="1646"/>
                  </a:cubicBezTo>
                  <a:cubicBezTo>
                    <a:pt x="69" y="1647"/>
                    <a:pt x="68" y="1649"/>
                    <a:pt x="68" y="1651"/>
                  </a:cubicBezTo>
                  <a:cubicBezTo>
                    <a:pt x="69" y="1654"/>
                    <a:pt x="69" y="1657"/>
                    <a:pt x="72" y="1658"/>
                  </a:cubicBezTo>
                  <a:cubicBezTo>
                    <a:pt x="73" y="1659"/>
                    <a:pt x="76" y="1658"/>
                    <a:pt x="78" y="1659"/>
                  </a:cubicBezTo>
                  <a:cubicBezTo>
                    <a:pt x="80" y="1660"/>
                    <a:pt x="80" y="1663"/>
                    <a:pt x="83" y="1664"/>
                  </a:cubicBezTo>
                  <a:cubicBezTo>
                    <a:pt x="84" y="1664"/>
                    <a:pt x="86" y="1663"/>
                    <a:pt x="88" y="1664"/>
                  </a:cubicBezTo>
                  <a:cubicBezTo>
                    <a:pt x="90" y="1666"/>
                    <a:pt x="91" y="1668"/>
                    <a:pt x="93" y="1670"/>
                  </a:cubicBezTo>
                  <a:cubicBezTo>
                    <a:pt x="95" y="1671"/>
                    <a:pt x="95" y="1672"/>
                    <a:pt x="97" y="1673"/>
                  </a:cubicBezTo>
                  <a:cubicBezTo>
                    <a:pt x="99" y="1674"/>
                    <a:pt x="102" y="1673"/>
                    <a:pt x="105" y="1674"/>
                  </a:cubicBezTo>
                  <a:cubicBezTo>
                    <a:pt x="112" y="1676"/>
                    <a:pt x="108" y="1680"/>
                    <a:pt x="106" y="1684"/>
                  </a:cubicBezTo>
                  <a:cubicBezTo>
                    <a:pt x="104" y="1690"/>
                    <a:pt x="109" y="1690"/>
                    <a:pt x="114" y="1690"/>
                  </a:cubicBezTo>
                  <a:cubicBezTo>
                    <a:pt x="116" y="1690"/>
                    <a:pt x="118" y="1688"/>
                    <a:pt x="120" y="1689"/>
                  </a:cubicBezTo>
                  <a:cubicBezTo>
                    <a:pt x="122" y="1690"/>
                    <a:pt x="122" y="1692"/>
                    <a:pt x="123" y="1693"/>
                  </a:cubicBezTo>
                  <a:cubicBezTo>
                    <a:pt x="125" y="1697"/>
                    <a:pt x="129" y="1696"/>
                    <a:pt x="133" y="1698"/>
                  </a:cubicBezTo>
                  <a:cubicBezTo>
                    <a:pt x="135" y="1699"/>
                    <a:pt x="136" y="1701"/>
                    <a:pt x="138" y="1700"/>
                  </a:cubicBezTo>
                  <a:cubicBezTo>
                    <a:pt x="138" y="1693"/>
                    <a:pt x="143" y="1695"/>
                    <a:pt x="149" y="1697"/>
                  </a:cubicBezTo>
                  <a:cubicBezTo>
                    <a:pt x="154" y="1698"/>
                    <a:pt x="161" y="1699"/>
                    <a:pt x="167" y="1698"/>
                  </a:cubicBezTo>
                  <a:cubicBezTo>
                    <a:pt x="169" y="1697"/>
                    <a:pt x="171" y="1696"/>
                    <a:pt x="174" y="1695"/>
                  </a:cubicBezTo>
                  <a:cubicBezTo>
                    <a:pt x="177" y="1695"/>
                    <a:pt x="180" y="1695"/>
                    <a:pt x="183" y="1695"/>
                  </a:cubicBezTo>
                  <a:cubicBezTo>
                    <a:pt x="187" y="1696"/>
                    <a:pt x="187" y="1695"/>
                    <a:pt x="190" y="1692"/>
                  </a:cubicBezTo>
                  <a:cubicBezTo>
                    <a:pt x="194" y="1689"/>
                    <a:pt x="199" y="1690"/>
                    <a:pt x="202" y="1685"/>
                  </a:cubicBezTo>
                  <a:cubicBezTo>
                    <a:pt x="203" y="1683"/>
                    <a:pt x="202" y="1681"/>
                    <a:pt x="204" y="1679"/>
                  </a:cubicBezTo>
                  <a:cubicBezTo>
                    <a:pt x="204" y="1677"/>
                    <a:pt x="206" y="1676"/>
                    <a:pt x="207" y="1675"/>
                  </a:cubicBezTo>
                  <a:cubicBezTo>
                    <a:pt x="209" y="1672"/>
                    <a:pt x="212" y="1668"/>
                    <a:pt x="217" y="1666"/>
                  </a:cubicBezTo>
                  <a:cubicBezTo>
                    <a:pt x="220" y="1665"/>
                    <a:pt x="221" y="1666"/>
                    <a:pt x="223" y="1663"/>
                  </a:cubicBezTo>
                  <a:cubicBezTo>
                    <a:pt x="225" y="1661"/>
                    <a:pt x="225" y="1660"/>
                    <a:pt x="227" y="1658"/>
                  </a:cubicBezTo>
                  <a:cubicBezTo>
                    <a:pt x="229" y="1656"/>
                    <a:pt x="230" y="1655"/>
                    <a:pt x="232" y="1653"/>
                  </a:cubicBezTo>
                  <a:cubicBezTo>
                    <a:pt x="234" y="1649"/>
                    <a:pt x="237" y="1647"/>
                    <a:pt x="240" y="1644"/>
                  </a:cubicBezTo>
                  <a:cubicBezTo>
                    <a:pt x="243" y="1641"/>
                    <a:pt x="245" y="1639"/>
                    <a:pt x="248" y="1637"/>
                  </a:cubicBezTo>
                  <a:cubicBezTo>
                    <a:pt x="252" y="1634"/>
                    <a:pt x="252" y="1629"/>
                    <a:pt x="256" y="1625"/>
                  </a:cubicBezTo>
                  <a:cubicBezTo>
                    <a:pt x="257" y="1624"/>
                    <a:pt x="260" y="1623"/>
                    <a:pt x="261" y="1622"/>
                  </a:cubicBezTo>
                  <a:cubicBezTo>
                    <a:pt x="263" y="1620"/>
                    <a:pt x="264" y="1619"/>
                    <a:pt x="265" y="1617"/>
                  </a:cubicBezTo>
                  <a:cubicBezTo>
                    <a:pt x="266" y="1615"/>
                    <a:pt x="267" y="1614"/>
                    <a:pt x="268" y="1612"/>
                  </a:cubicBezTo>
                  <a:cubicBezTo>
                    <a:pt x="270" y="1610"/>
                    <a:pt x="272" y="1609"/>
                    <a:pt x="274" y="1605"/>
                  </a:cubicBezTo>
                  <a:cubicBezTo>
                    <a:pt x="275" y="1601"/>
                    <a:pt x="277" y="1597"/>
                    <a:pt x="279" y="1594"/>
                  </a:cubicBezTo>
                  <a:cubicBezTo>
                    <a:pt x="281" y="1592"/>
                    <a:pt x="280" y="1593"/>
                    <a:pt x="282" y="1592"/>
                  </a:cubicBezTo>
                  <a:cubicBezTo>
                    <a:pt x="283" y="1592"/>
                    <a:pt x="286" y="1592"/>
                    <a:pt x="287" y="1593"/>
                  </a:cubicBezTo>
                  <a:cubicBezTo>
                    <a:pt x="288" y="1594"/>
                    <a:pt x="287" y="1595"/>
                    <a:pt x="288" y="1596"/>
                  </a:cubicBezTo>
                  <a:cubicBezTo>
                    <a:pt x="290" y="1603"/>
                    <a:pt x="294" y="1599"/>
                    <a:pt x="296" y="1596"/>
                  </a:cubicBezTo>
                  <a:cubicBezTo>
                    <a:pt x="297" y="1594"/>
                    <a:pt x="298" y="1592"/>
                    <a:pt x="300" y="1592"/>
                  </a:cubicBezTo>
                  <a:cubicBezTo>
                    <a:pt x="302" y="1592"/>
                    <a:pt x="302" y="1594"/>
                    <a:pt x="304" y="1594"/>
                  </a:cubicBezTo>
                  <a:cubicBezTo>
                    <a:pt x="305" y="1595"/>
                    <a:pt x="307" y="1594"/>
                    <a:pt x="309" y="1594"/>
                  </a:cubicBezTo>
                  <a:cubicBezTo>
                    <a:pt x="316" y="1591"/>
                    <a:pt x="314" y="1581"/>
                    <a:pt x="314" y="1574"/>
                  </a:cubicBezTo>
                  <a:cubicBezTo>
                    <a:pt x="314" y="1568"/>
                    <a:pt x="316" y="1563"/>
                    <a:pt x="316" y="1557"/>
                  </a:cubicBezTo>
                  <a:cubicBezTo>
                    <a:pt x="316" y="1554"/>
                    <a:pt x="316" y="1552"/>
                    <a:pt x="315" y="1549"/>
                  </a:cubicBezTo>
                  <a:cubicBezTo>
                    <a:pt x="314" y="1545"/>
                    <a:pt x="312" y="1542"/>
                    <a:pt x="308" y="1540"/>
                  </a:cubicBezTo>
                  <a:cubicBezTo>
                    <a:pt x="307" y="1540"/>
                    <a:pt x="305" y="1540"/>
                    <a:pt x="304" y="1539"/>
                  </a:cubicBezTo>
                  <a:cubicBezTo>
                    <a:pt x="304" y="1538"/>
                    <a:pt x="303" y="1536"/>
                    <a:pt x="304" y="1535"/>
                  </a:cubicBezTo>
                  <a:cubicBezTo>
                    <a:pt x="307" y="1532"/>
                    <a:pt x="313" y="1539"/>
                    <a:pt x="316" y="1540"/>
                  </a:cubicBezTo>
                  <a:cubicBezTo>
                    <a:pt x="320" y="1540"/>
                    <a:pt x="321" y="1537"/>
                    <a:pt x="323" y="1534"/>
                  </a:cubicBezTo>
                  <a:cubicBezTo>
                    <a:pt x="325" y="1531"/>
                    <a:pt x="326" y="1530"/>
                    <a:pt x="325" y="1526"/>
                  </a:cubicBezTo>
                  <a:cubicBezTo>
                    <a:pt x="325" y="1525"/>
                    <a:pt x="324" y="1524"/>
                    <a:pt x="325" y="1522"/>
                  </a:cubicBezTo>
                  <a:cubicBezTo>
                    <a:pt x="331" y="1520"/>
                    <a:pt x="329" y="1530"/>
                    <a:pt x="329" y="1533"/>
                  </a:cubicBezTo>
                  <a:cubicBezTo>
                    <a:pt x="329" y="1538"/>
                    <a:pt x="333" y="1544"/>
                    <a:pt x="332" y="1548"/>
                  </a:cubicBezTo>
                  <a:cubicBezTo>
                    <a:pt x="331" y="1551"/>
                    <a:pt x="329" y="1552"/>
                    <a:pt x="329" y="1555"/>
                  </a:cubicBezTo>
                  <a:cubicBezTo>
                    <a:pt x="329" y="1556"/>
                    <a:pt x="330" y="1558"/>
                    <a:pt x="330" y="1559"/>
                  </a:cubicBezTo>
                  <a:cubicBezTo>
                    <a:pt x="331" y="1561"/>
                    <a:pt x="332" y="1562"/>
                    <a:pt x="333" y="1565"/>
                  </a:cubicBezTo>
                  <a:cubicBezTo>
                    <a:pt x="334" y="1568"/>
                    <a:pt x="334" y="1570"/>
                    <a:pt x="334" y="1573"/>
                  </a:cubicBezTo>
                  <a:cubicBezTo>
                    <a:pt x="336" y="1573"/>
                    <a:pt x="338" y="1573"/>
                    <a:pt x="340" y="1572"/>
                  </a:cubicBezTo>
                  <a:cubicBezTo>
                    <a:pt x="341" y="1574"/>
                    <a:pt x="345" y="1579"/>
                    <a:pt x="346" y="1580"/>
                  </a:cubicBezTo>
                  <a:cubicBezTo>
                    <a:pt x="350" y="1582"/>
                    <a:pt x="352" y="1578"/>
                    <a:pt x="352" y="1584"/>
                  </a:cubicBezTo>
                  <a:cubicBezTo>
                    <a:pt x="353" y="1593"/>
                    <a:pt x="346" y="1586"/>
                    <a:pt x="341" y="1587"/>
                  </a:cubicBezTo>
                  <a:cubicBezTo>
                    <a:pt x="340" y="1590"/>
                    <a:pt x="341" y="1592"/>
                    <a:pt x="343" y="1593"/>
                  </a:cubicBezTo>
                  <a:cubicBezTo>
                    <a:pt x="344" y="1594"/>
                    <a:pt x="345" y="1594"/>
                    <a:pt x="346" y="1594"/>
                  </a:cubicBezTo>
                  <a:cubicBezTo>
                    <a:pt x="347" y="1595"/>
                    <a:pt x="346" y="1595"/>
                    <a:pt x="346" y="1596"/>
                  </a:cubicBezTo>
                  <a:cubicBezTo>
                    <a:pt x="348" y="1601"/>
                    <a:pt x="345" y="1607"/>
                    <a:pt x="350" y="1610"/>
                  </a:cubicBezTo>
                  <a:cubicBezTo>
                    <a:pt x="355" y="1605"/>
                    <a:pt x="352" y="1595"/>
                    <a:pt x="357" y="1589"/>
                  </a:cubicBezTo>
                  <a:cubicBezTo>
                    <a:pt x="358" y="1588"/>
                    <a:pt x="361" y="1586"/>
                    <a:pt x="363" y="1587"/>
                  </a:cubicBezTo>
                  <a:cubicBezTo>
                    <a:pt x="366" y="1588"/>
                    <a:pt x="366" y="1594"/>
                    <a:pt x="367" y="1597"/>
                  </a:cubicBezTo>
                  <a:cubicBezTo>
                    <a:pt x="368" y="1600"/>
                    <a:pt x="368" y="1603"/>
                    <a:pt x="371" y="1605"/>
                  </a:cubicBezTo>
                  <a:cubicBezTo>
                    <a:pt x="372" y="1605"/>
                    <a:pt x="373" y="1605"/>
                    <a:pt x="374" y="1606"/>
                  </a:cubicBezTo>
                  <a:cubicBezTo>
                    <a:pt x="376" y="1606"/>
                    <a:pt x="375" y="1608"/>
                    <a:pt x="376" y="1608"/>
                  </a:cubicBezTo>
                  <a:cubicBezTo>
                    <a:pt x="381" y="1609"/>
                    <a:pt x="383" y="1605"/>
                    <a:pt x="384" y="1601"/>
                  </a:cubicBezTo>
                  <a:cubicBezTo>
                    <a:pt x="385" y="1597"/>
                    <a:pt x="384" y="1593"/>
                    <a:pt x="385" y="1588"/>
                  </a:cubicBezTo>
                  <a:cubicBezTo>
                    <a:pt x="388" y="1579"/>
                    <a:pt x="388" y="1570"/>
                    <a:pt x="388" y="1561"/>
                  </a:cubicBezTo>
                  <a:cubicBezTo>
                    <a:pt x="388" y="1553"/>
                    <a:pt x="385" y="1545"/>
                    <a:pt x="385" y="1537"/>
                  </a:cubicBezTo>
                  <a:cubicBezTo>
                    <a:pt x="385" y="1535"/>
                    <a:pt x="385" y="1532"/>
                    <a:pt x="385" y="1530"/>
                  </a:cubicBezTo>
                  <a:cubicBezTo>
                    <a:pt x="386" y="1527"/>
                    <a:pt x="390" y="1524"/>
                    <a:pt x="391" y="1522"/>
                  </a:cubicBezTo>
                  <a:cubicBezTo>
                    <a:pt x="393" y="1520"/>
                    <a:pt x="393" y="1519"/>
                    <a:pt x="394" y="1516"/>
                  </a:cubicBezTo>
                  <a:cubicBezTo>
                    <a:pt x="394" y="1512"/>
                    <a:pt x="389" y="1508"/>
                    <a:pt x="390" y="1504"/>
                  </a:cubicBezTo>
                  <a:cubicBezTo>
                    <a:pt x="396" y="1504"/>
                    <a:pt x="399" y="1499"/>
                    <a:pt x="404" y="1497"/>
                  </a:cubicBezTo>
                  <a:cubicBezTo>
                    <a:pt x="407" y="1496"/>
                    <a:pt x="412" y="1493"/>
                    <a:pt x="415" y="1489"/>
                  </a:cubicBezTo>
                  <a:cubicBezTo>
                    <a:pt x="417" y="1485"/>
                    <a:pt x="416" y="1478"/>
                    <a:pt x="418" y="1473"/>
                  </a:cubicBezTo>
                  <a:cubicBezTo>
                    <a:pt x="419" y="1470"/>
                    <a:pt x="421" y="1469"/>
                    <a:pt x="422" y="1466"/>
                  </a:cubicBezTo>
                  <a:cubicBezTo>
                    <a:pt x="422" y="1466"/>
                    <a:pt x="422" y="1464"/>
                    <a:pt x="422" y="1463"/>
                  </a:cubicBezTo>
                  <a:cubicBezTo>
                    <a:pt x="422" y="1463"/>
                    <a:pt x="421" y="1463"/>
                    <a:pt x="420" y="1464"/>
                  </a:cubicBezTo>
                  <a:cubicBezTo>
                    <a:pt x="422" y="1457"/>
                    <a:pt x="427" y="1451"/>
                    <a:pt x="430" y="1446"/>
                  </a:cubicBezTo>
                  <a:cubicBezTo>
                    <a:pt x="432" y="1443"/>
                    <a:pt x="433" y="1442"/>
                    <a:pt x="433" y="1440"/>
                  </a:cubicBezTo>
                  <a:cubicBezTo>
                    <a:pt x="434" y="1437"/>
                    <a:pt x="433" y="1434"/>
                    <a:pt x="433" y="1431"/>
                  </a:cubicBezTo>
                  <a:cubicBezTo>
                    <a:pt x="431" y="1419"/>
                    <a:pt x="423" y="1410"/>
                    <a:pt x="420" y="1398"/>
                  </a:cubicBezTo>
                  <a:cubicBezTo>
                    <a:pt x="419" y="1394"/>
                    <a:pt x="418" y="1390"/>
                    <a:pt x="417" y="1386"/>
                  </a:cubicBezTo>
                  <a:cubicBezTo>
                    <a:pt x="417" y="1383"/>
                    <a:pt x="415" y="1377"/>
                    <a:pt x="416" y="1374"/>
                  </a:cubicBezTo>
                  <a:cubicBezTo>
                    <a:pt x="418" y="1374"/>
                    <a:pt x="419" y="1375"/>
                    <a:pt x="421" y="1374"/>
                  </a:cubicBezTo>
                  <a:cubicBezTo>
                    <a:pt x="424" y="1374"/>
                    <a:pt x="426" y="1373"/>
                    <a:pt x="428" y="1372"/>
                  </a:cubicBezTo>
                  <a:cubicBezTo>
                    <a:pt x="429" y="1371"/>
                    <a:pt x="430" y="1371"/>
                    <a:pt x="431" y="1371"/>
                  </a:cubicBezTo>
                  <a:cubicBezTo>
                    <a:pt x="431" y="1370"/>
                    <a:pt x="431" y="1370"/>
                    <a:pt x="432" y="1370"/>
                  </a:cubicBezTo>
                  <a:cubicBezTo>
                    <a:pt x="434" y="1370"/>
                    <a:pt x="435" y="1369"/>
                    <a:pt x="436" y="1369"/>
                  </a:cubicBezTo>
                  <a:cubicBezTo>
                    <a:pt x="437" y="1367"/>
                    <a:pt x="436" y="1367"/>
                    <a:pt x="437" y="1365"/>
                  </a:cubicBezTo>
                  <a:cubicBezTo>
                    <a:pt x="437" y="1363"/>
                    <a:pt x="437" y="1364"/>
                    <a:pt x="439" y="1361"/>
                  </a:cubicBezTo>
                  <a:cubicBezTo>
                    <a:pt x="441" y="1356"/>
                    <a:pt x="443" y="1351"/>
                    <a:pt x="445" y="1346"/>
                  </a:cubicBezTo>
                  <a:cubicBezTo>
                    <a:pt x="447" y="1343"/>
                    <a:pt x="452" y="1338"/>
                    <a:pt x="451" y="1334"/>
                  </a:cubicBezTo>
                  <a:cubicBezTo>
                    <a:pt x="448" y="1333"/>
                    <a:pt x="445" y="1327"/>
                    <a:pt x="443" y="1325"/>
                  </a:cubicBezTo>
                  <a:cubicBezTo>
                    <a:pt x="442" y="1324"/>
                    <a:pt x="441" y="1324"/>
                    <a:pt x="440" y="1322"/>
                  </a:cubicBezTo>
                  <a:cubicBezTo>
                    <a:pt x="439" y="1322"/>
                    <a:pt x="440" y="1320"/>
                    <a:pt x="439" y="1320"/>
                  </a:cubicBezTo>
                  <a:cubicBezTo>
                    <a:pt x="435" y="1314"/>
                    <a:pt x="427" y="1318"/>
                    <a:pt x="423" y="1314"/>
                  </a:cubicBezTo>
                  <a:cubicBezTo>
                    <a:pt x="420" y="1311"/>
                    <a:pt x="419" y="1308"/>
                    <a:pt x="416" y="1306"/>
                  </a:cubicBezTo>
                  <a:cubicBezTo>
                    <a:pt x="413" y="1304"/>
                    <a:pt x="408" y="1303"/>
                    <a:pt x="406" y="1299"/>
                  </a:cubicBezTo>
                  <a:cubicBezTo>
                    <a:pt x="403" y="1293"/>
                    <a:pt x="408" y="1285"/>
                    <a:pt x="409" y="1279"/>
                  </a:cubicBezTo>
                  <a:cubicBezTo>
                    <a:pt x="412" y="1266"/>
                    <a:pt x="412" y="1253"/>
                    <a:pt x="412" y="1239"/>
                  </a:cubicBezTo>
                  <a:cubicBezTo>
                    <a:pt x="412" y="1235"/>
                    <a:pt x="413" y="1231"/>
                    <a:pt x="412" y="1227"/>
                  </a:cubicBezTo>
                  <a:cubicBezTo>
                    <a:pt x="412" y="1225"/>
                    <a:pt x="411" y="1223"/>
                    <a:pt x="410" y="1221"/>
                  </a:cubicBezTo>
                  <a:cubicBezTo>
                    <a:pt x="407" y="1214"/>
                    <a:pt x="404" y="1207"/>
                    <a:pt x="400" y="1201"/>
                  </a:cubicBezTo>
                  <a:cubicBezTo>
                    <a:pt x="399" y="1198"/>
                    <a:pt x="398" y="1198"/>
                    <a:pt x="398" y="1195"/>
                  </a:cubicBezTo>
                  <a:cubicBezTo>
                    <a:pt x="399" y="1190"/>
                    <a:pt x="400" y="1186"/>
                    <a:pt x="400" y="1182"/>
                  </a:cubicBezTo>
                  <a:cubicBezTo>
                    <a:pt x="400" y="1176"/>
                    <a:pt x="400" y="1171"/>
                    <a:pt x="400" y="1165"/>
                  </a:cubicBezTo>
                  <a:cubicBezTo>
                    <a:pt x="400" y="1163"/>
                    <a:pt x="399" y="1159"/>
                    <a:pt x="400" y="1157"/>
                  </a:cubicBezTo>
                  <a:cubicBezTo>
                    <a:pt x="400" y="1156"/>
                    <a:pt x="402" y="1157"/>
                    <a:pt x="402" y="1156"/>
                  </a:cubicBezTo>
                  <a:cubicBezTo>
                    <a:pt x="403" y="1155"/>
                    <a:pt x="403" y="1153"/>
                    <a:pt x="404" y="1152"/>
                  </a:cubicBezTo>
                  <a:cubicBezTo>
                    <a:pt x="405" y="1151"/>
                    <a:pt x="408" y="1149"/>
                    <a:pt x="408" y="1147"/>
                  </a:cubicBezTo>
                  <a:cubicBezTo>
                    <a:pt x="409" y="1145"/>
                    <a:pt x="408" y="1144"/>
                    <a:pt x="407" y="1142"/>
                  </a:cubicBezTo>
                  <a:cubicBezTo>
                    <a:pt x="405" y="1138"/>
                    <a:pt x="405" y="1134"/>
                    <a:pt x="404" y="1130"/>
                  </a:cubicBezTo>
                  <a:cubicBezTo>
                    <a:pt x="403" y="1127"/>
                    <a:pt x="402" y="1124"/>
                    <a:pt x="400" y="1121"/>
                  </a:cubicBezTo>
                  <a:cubicBezTo>
                    <a:pt x="400" y="1119"/>
                    <a:pt x="399" y="1117"/>
                    <a:pt x="399" y="1115"/>
                  </a:cubicBezTo>
                  <a:cubicBezTo>
                    <a:pt x="399" y="1113"/>
                    <a:pt x="400" y="1112"/>
                    <a:pt x="401" y="1110"/>
                  </a:cubicBezTo>
                  <a:cubicBezTo>
                    <a:pt x="404" y="1105"/>
                    <a:pt x="403" y="1097"/>
                    <a:pt x="403" y="1092"/>
                  </a:cubicBezTo>
                  <a:cubicBezTo>
                    <a:pt x="403" y="1088"/>
                    <a:pt x="403" y="1084"/>
                    <a:pt x="403" y="1080"/>
                  </a:cubicBezTo>
                  <a:cubicBezTo>
                    <a:pt x="404" y="1073"/>
                    <a:pt x="409" y="1071"/>
                    <a:pt x="412" y="1066"/>
                  </a:cubicBezTo>
                  <a:cubicBezTo>
                    <a:pt x="415" y="1062"/>
                    <a:pt x="418" y="1057"/>
                    <a:pt x="419" y="1053"/>
                  </a:cubicBezTo>
                  <a:cubicBezTo>
                    <a:pt x="420" y="1050"/>
                    <a:pt x="421" y="1047"/>
                    <a:pt x="422" y="1045"/>
                  </a:cubicBezTo>
                  <a:cubicBezTo>
                    <a:pt x="423" y="1041"/>
                    <a:pt x="422" y="1039"/>
                    <a:pt x="425" y="1036"/>
                  </a:cubicBezTo>
                  <a:cubicBezTo>
                    <a:pt x="427" y="1034"/>
                    <a:pt x="429" y="1032"/>
                    <a:pt x="431" y="1031"/>
                  </a:cubicBezTo>
                  <a:cubicBezTo>
                    <a:pt x="433" y="1030"/>
                    <a:pt x="435" y="1030"/>
                    <a:pt x="436" y="1029"/>
                  </a:cubicBezTo>
                  <a:cubicBezTo>
                    <a:pt x="439" y="1027"/>
                    <a:pt x="440" y="1023"/>
                    <a:pt x="444" y="1021"/>
                  </a:cubicBezTo>
                  <a:cubicBezTo>
                    <a:pt x="449" y="1019"/>
                    <a:pt x="453" y="1018"/>
                    <a:pt x="458" y="1018"/>
                  </a:cubicBezTo>
                  <a:cubicBezTo>
                    <a:pt x="463" y="1018"/>
                    <a:pt x="467" y="1017"/>
                    <a:pt x="472" y="1017"/>
                  </a:cubicBezTo>
                  <a:cubicBezTo>
                    <a:pt x="478" y="1018"/>
                    <a:pt x="483" y="1019"/>
                    <a:pt x="489" y="1019"/>
                  </a:cubicBezTo>
                  <a:cubicBezTo>
                    <a:pt x="493" y="1020"/>
                    <a:pt x="499" y="1020"/>
                    <a:pt x="503" y="1022"/>
                  </a:cubicBezTo>
                  <a:cubicBezTo>
                    <a:pt x="505" y="1019"/>
                    <a:pt x="506" y="1014"/>
                    <a:pt x="507" y="1011"/>
                  </a:cubicBezTo>
                  <a:cubicBezTo>
                    <a:pt x="509" y="1007"/>
                    <a:pt x="510" y="1004"/>
                    <a:pt x="510" y="1000"/>
                  </a:cubicBezTo>
                  <a:cubicBezTo>
                    <a:pt x="509" y="996"/>
                    <a:pt x="507" y="992"/>
                    <a:pt x="506" y="988"/>
                  </a:cubicBezTo>
                  <a:cubicBezTo>
                    <a:pt x="506" y="985"/>
                    <a:pt x="506" y="981"/>
                    <a:pt x="506" y="977"/>
                  </a:cubicBezTo>
                  <a:cubicBezTo>
                    <a:pt x="506" y="971"/>
                    <a:pt x="508" y="963"/>
                    <a:pt x="503" y="959"/>
                  </a:cubicBezTo>
                  <a:cubicBezTo>
                    <a:pt x="500" y="957"/>
                    <a:pt x="498" y="956"/>
                    <a:pt x="495" y="955"/>
                  </a:cubicBezTo>
                  <a:cubicBezTo>
                    <a:pt x="493" y="953"/>
                    <a:pt x="492" y="951"/>
                    <a:pt x="489" y="950"/>
                  </a:cubicBezTo>
                  <a:cubicBezTo>
                    <a:pt x="490" y="947"/>
                    <a:pt x="492" y="944"/>
                    <a:pt x="494" y="941"/>
                  </a:cubicBezTo>
                  <a:cubicBezTo>
                    <a:pt x="497" y="937"/>
                    <a:pt x="500" y="933"/>
                    <a:pt x="502" y="928"/>
                  </a:cubicBezTo>
                  <a:cubicBezTo>
                    <a:pt x="504" y="925"/>
                    <a:pt x="505" y="921"/>
                    <a:pt x="506" y="917"/>
                  </a:cubicBezTo>
                  <a:cubicBezTo>
                    <a:pt x="506" y="915"/>
                    <a:pt x="506" y="913"/>
                    <a:pt x="507" y="911"/>
                  </a:cubicBezTo>
                  <a:cubicBezTo>
                    <a:pt x="508" y="909"/>
                    <a:pt x="508" y="907"/>
                    <a:pt x="509" y="905"/>
                  </a:cubicBezTo>
                  <a:cubicBezTo>
                    <a:pt x="512" y="902"/>
                    <a:pt x="512" y="896"/>
                    <a:pt x="515" y="891"/>
                  </a:cubicBezTo>
                  <a:cubicBezTo>
                    <a:pt x="517" y="887"/>
                    <a:pt x="518" y="882"/>
                    <a:pt x="520" y="878"/>
                  </a:cubicBezTo>
                  <a:cubicBezTo>
                    <a:pt x="521" y="875"/>
                    <a:pt x="523" y="871"/>
                    <a:pt x="526" y="869"/>
                  </a:cubicBezTo>
                  <a:cubicBezTo>
                    <a:pt x="530" y="866"/>
                    <a:pt x="530" y="865"/>
                    <a:pt x="530" y="859"/>
                  </a:cubicBezTo>
                  <a:cubicBezTo>
                    <a:pt x="530" y="853"/>
                    <a:pt x="530" y="848"/>
                    <a:pt x="530" y="843"/>
                  </a:cubicBezTo>
                  <a:cubicBezTo>
                    <a:pt x="529" y="837"/>
                    <a:pt x="528" y="831"/>
                    <a:pt x="529" y="825"/>
                  </a:cubicBezTo>
                  <a:cubicBezTo>
                    <a:pt x="529" y="820"/>
                    <a:pt x="532" y="816"/>
                    <a:pt x="533" y="812"/>
                  </a:cubicBezTo>
                  <a:cubicBezTo>
                    <a:pt x="534" y="810"/>
                    <a:pt x="534" y="808"/>
                    <a:pt x="535" y="806"/>
                  </a:cubicBezTo>
                  <a:cubicBezTo>
                    <a:pt x="536" y="806"/>
                    <a:pt x="537" y="805"/>
                    <a:pt x="538" y="804"/>
                  </a:cubicBezTo>
                  <a:cubicBezTo>
                    <a:pt x="539" y="802"/>
                    <a:pt x="539" y="801"/>
                    <a:pt x="539" y="798"/>
                  </a:cubicBezTo>
                  <a:cubicBezTo>
                    <a:pt x="541" y="791"/>
                    <a:pt x="537" y="784"/>
                    <a:pt x="536" y="776"/>
                  </a:cubicBezTo>
                  <a:cubicBezTo>
                    <a:pt x="535" y="770"/>
                    <a:pt x="534" y="763"/>
                    <a:pt x="533" y="757"/>
                  </a:cubicBezTo>
                  <a:cubicBezTo>
                    <a:pt x="533" y="757"/>
                    <a:pt x="533" y="751"/>
                    <a:pt x="533" y="750"/>
                  </a:cubicBezTo>
                  <a:cubicBezTo>
                    <a:pt x="535" y="747"/>
                    <a:pt x="548" y="750"/>
                    <a:pt x="552" y="749"/>
                  </a:cubicBezTo>
                  <a:cubicBezTo>
                    <a:pt x="556" y="748"/>
                    <a:pt x="561" y="747"/>
                    <a:pt x="564" y="745"/>
                  </a:cubicBezTo>
                  <a:cubicBezTo>
                    <a:pt x="570" y="743"/>
                    <a:pt x="570" y="736"/>
                    <a:pt x="575" y="733"/>
                  </a:cubicBezTo>
                  <a:cubicBezTo>
                    <a:pt x="578" y="731"/>
                    <a:pt x="583" y="732"/>
                    <a:pt x="585" y="729"/>
                  </a:cubicBezTo>
                  <a:cubicBezTo>
                    <a:pt x="588" y="723"/>
                    <a:pt x="580" y="714"/>
                    <a:pt x="580" y="709"/>
                  </a:cubicBezTo>
                  <a:cubicBezTo>
                    <a:pt x="579" y="703"/>
                    <a:pt x="582" y="701"/>
                    <a:pt x="586" y="698"/>
                  </a:cubicBezTo>
                  <a:cubicBezTo>
                    <a:pt x="591" y="695"/>
                    <a:pt x="592" y="692"/>
                    <a:pt x="594" y="687"/>
                  </a:cubicBezTo>
                  <a:cubicBezTo>
                    <a:pt x="598" y="679"/>
                    <a:pt x="602" y="670"/>
                    <a:pt x="605" y="662"/>
                  </a:cubicBezTo>
                  <a:cubicBezTo>
                    <a:pt x="607" y="658"/>
                    <a:pt x="610" y="654"/>
                    <a:pt x="611" y="649"/>
                  </a:cubicBezTo>
                  <a:cubicBezTo>
                    <a:pt x="611" y="645"/>
                    <a:pt x="613" y="641"/>
                    <a:pt x="616" y="638"/>
                  </a:cubicBezTo>
                  <a:cubicBezTo>
                    <a:pt x="620" y="635"/>
                    <a:pt x="624" y="634"/>
                    <a:pt x="628" y="632"/>
                  </a:cubicBezTo>
                  <a:cubicBezTo>
                    <a:pt x="632" y="629"/>
                    <a:pt x="631" y="617"/>
                    <a:pt x="630" y="613"/>
                  </a:cubicBezTo>
                  <a:cubicBezTo>
                    <a:pt x="629" y="610"/>
                    <a:pt x="627" y="607"/>
                    <a:pt x="627" y="605"/>
                  </a:cubicBezTo>
                  <a:cubicBezTo>
                    <a:pt x="627" y="603"/>
                    <a:pt x="627" y="601"/>
                    <a:pt x="627" y="600"/>
                  </a:cubicBezTo>
                  <a:cubicBezTo>
                    <a:pt x="626" y="598"/>
                    <a:pt x="624" y="596"/>
                    <a:pt x="624" y="594"/>
                  </a:cubicBezTo>
                  <a:cubicBezTo>
                    <a:pt x="623" y="591"/>
                    <a:pt x="623" y="588"/>
                    <a:pt x="622" y="584"/>
                  </a:cubicBezTo>
                  <a:cubicBezTo>
                    <a:pt x="621" y="582"/>
                    <a:pt x="621" y="580"/>
                    <a:pt x="621" y="578"/>
                  </a:cubicBezTo>
                  <a:cubicBezTo>
                    <a:pt x="621" y="574"/>
                    <a:pt x="621" y="572"/>
                    <a:pt x="622" y="569"/>
                  </a:cubicBezTo>
                  <a:cubicBezTo>
                    <a:pt x="623" y="564"/>
                    <a:pt x="624" y="562"/>
                    <a:pt x="629" y="559"/>
                  </a:cubicBezTo>
                  <a:cubicBezTo>
                    <a:pt x="633" y="558"/>
                    <a:pt x="634" y="555"/>
                    <a:pt x="634" y="551"/>
                  </a:cubicBezTo>
                  <a:cubicBezTo>
                    <a:pt x="635" y="546"/>
                    <a:pt x="637" y="542"/>
                    <a:pt x="639" y="537"/>
                  </a:cubicBezTo>
                  <a:cubicBezTo>
                    <a:pt x="640" y="534"/>
                    <a:pt x="642" y="530"/>
                    <a:pt x="643" y="527"/>
                  </a:cubicBezTo>
                  <a:cubicBezTo>
                    <a:pt x="644" y="525"/>
                    <a:pt x="644" y="523"/>
                    <a:pt x="645" y="522"/>
                  </a:cubicBezTo>
                  <a:cubicBezTo>
                    <a:pt x="645" y="522"/>
                    <a:pt x="644" y="522"/>
                    <a:pt x="643" y="523"/>
                  </a:cubicBezTo>
                  <a:cubicBezTo>
                    <a:pt x="644" y="521"/>
                    <a:pt x="645" y="520"/>
                    <a:pt x="646" y="518"/>
                  </a:cubicBezTo>
                  <a:cubicBezTo>
                    <a:pt x="647" y="516"/>
                    <a:pt x="647" y="513"/>
                    <a:pt x="650" y="512"/>
                  </a:cubicBezTo>
                  <a:cubicBezTo>
                    <a:pt x="650" y="510"/>
                    <a:pt x="653" y="508"/>
                    <a:pt x="654" y="507"/>
                  </a:cubicBezTo>
                  <a:cubicBezTo>
                    <a:pt x="657" y="503"/>
                    <a:pt x="660" y="498"/>
                    <a:pt x="663" y="494"/>
                  </a:cubicBezTo>
                  <a:cubicBezTo>
                    <a:pt x="666" y="490"/>
                    <a:pt x="668" y="488"/>
                    <a:pt x="672" y="486"/>
                  </a:cubicBezTo>
                  <a:cubicBezTo>
                    <a:pt x="674" y="484"/>
                    <a:pt x="677" y="481"/>
                    <a:pt x="680" y="480"/>
                  </a:cubicBezTo>
                  <a:cubicBezTo>
                    <a:pt x="684" y="479"/>
                    <a:pt x="691" y="479"/>
                    <a:pt x="695" y="481"/>
                  </a:cubicBezTo>
                  <a:cubicBezTo>
                    <a:pt x="698" y="482"/>
                    <a:pt x="700" y="484"/>
                    <a:pt x="704" y="486"/>
                  </a:cubicBezTo>
                  <a:cubicBezTo>
                    <a:pt x="709" y="487"/>
                    <a:pt x="714" y="490"/>
                    <a:pt x="719" y="492"/>
                  </a:cubicBezTo>
                  <a:cubicBezTo>
                    <a:pt x="720" y="490"/>
                    <a:pt x="720" y="488"/>
                    <a:pt x="721" y="486"/>
                  </a:cubicBezTo>
                  <a:cubicBezTo>
                    <a:pt x="723" y="482"/>
                    <a:pt x="726" y="477"/>
                    <a:pt x="728" y="472"/>
                  </a:cubicBezTo>
                  <a:cubicBezTo>
                    <a:pt x="730" y="469"/>
                    <a:pt x="732" y="467"/>
                    <a:pt x="733" y="464"/>
                  </a:cubicBezTo>
                  <a:cubicBezTo>
                    <a:pt x="733" y="463"/>
                    <a:pt x="734" y="461"/>
                    <a:pt x="735" y="459"/>
                  </a:cubicBezTo>
                  <a:cubicBezTo>
                    <a:pt x="735" y="458"/>
                    <a:pt x="735" y="454"/>
                    <a:pt x="735" y="452"/>
                  </a:cubicBezTo>
                  <a:cubicBezTo>
                    <a:pt x="735" y="429"/>
                    <a:pt x="735" y="429"/>
                    <a:pt x="735" y="429"/>
                  </a:cubicBezTo>
                  <a:cubicBezTo>
                    <a:pt x="735" y="424"/>
                    <a:pt x="735" y="418"/>
                    <a:pt x="734" y="413"/>
                  </a:cubicBezTo>
                  <a:cubicBezTo>
                    <a:pt x="737" y="416"/>
                    <a:pt x="742" y="415"/>
                    <a:pt x="746" y="415"/>
                  </a:cubicBezTo>
                  <a:cubicBezTo>
                    <a:pt x="748" y="415"/>
                    <a:pt x="749" y="416"/>
                    <a:pt x="752" y="417"/>
                  </a:cubicBezTo>
                  <a:cubicBezTo>
                    <a:pt x="754" y="418"/>
                    <a:pt x="758" y="418"/>
                    <a:pt x="760" y="419"/>
                  </a:cubicBezTo>
                  <a:cubicBezTo>
                    <a:pt x="769" y="422"/>
                    <a:pt x="778" y="424"/>
                    <a:pt x="787" y="426"/>
                  </a:cubicBezTo>
                  <a:cubicBezTo>
                    <a:pt x="793" y="427"/>
                    <a:pt x="799" y="426"/>
                    <a:pt x="804" y="429"/>
                  </a:cubicBezTo>
                  <a:cubicBezTo>
                    <a:pt x="811" y="433"/>
                    <a:pt x="817" y="435"/>
                    <a:pt x="824" y="436"/>
                  </a:cubicBezTo>
                  <a:cubicBezTo>
                    <a:pt x="826" y="436"/>
                    <a:pt x="827" y="437"/>
                    <a:pt x="829" y="436"/>
                  </a:cubicBezTo>
                  <a:cubicBezTo>
                    <a:pt x="830" y="435"/>
                    <a:pt x="833" y="431"/>
                    <a:pt x="833" y="429"/>
                  </a:cubicBezTo>
                  <a:cubicBezTo>
                    <a:pt x="835" y="427"/>
                    <a:pt x="835" y="426"/>
                    <a:pt x="836" y="424"/>
                  </a:cubicBezTo>
                  <a:cubicBezTo>
                    <a:pt x="836" y="423"/>
                    <a:pt x="839" y="421"/>
                    <a:pt x="839" y="420"/>
                  </a:cubicBezTo>
                  <a:cubicBezTo>
                    <a:pt x="839" y="416"/>
                    <a:pt x="826" y="413"/>
                    <a:pt x="823" y="411"/>
                  </a:cubicBezTo>
                  <a:cubicBezTo>
                    <a:pt x="825" y="408"/>
                    <a:pt x="830" y="407"/>
                    <a:pt x="833" y="405"/>
                  </a:cubicBezTo>
                  <a:cubicBezTo>
                    <a:pt x="838" y="402"/>
                    <a:pt x="842" y="399"/>
                    <a:pt x="847" y="395"/>
                  </a:cubicBezTo>
                  <a:cubicBezTo>
                    <a:pt x="852" y="391"/>
                    <a:pt x="855" y="389"/>
                    <a:pt x="855" y="382"/>
                  </a:cubicBezTo>
                  <a:cubicBezTo>
                    <a:pt x="855" y="374"/>
                    <a:pt x="853" y="368"/>
                    <a:pt x="848" y="361"/>
                  </a:cubicBezTo>
                  <a:cubicBezTo>
                    <a:pt x="845" y="357"/>
                    <a:pt x="842" y="352"/>
                    <a:pt x="840" y="347"/>
                  </a:cubicBezTo>
                  <a:cubicBezTo>
                    <a:pt x="838" y="345"/>
                    <a:pt x="837" y="341"/>
                    <a:pt x="835" y="339"/>
                  </a:cubicBezTo>
                  <a:cubicBezTo>
                    <a:pt x="836" y="336"/>
                    <a:pt x="849" y="336"/>
                    <a:pt x="852" y="336"/>
                  </a:cubicBezTo>
                  <a:cubicBezTo>
                    <a:pt x="857" y="335"/>
                    <a:pt x="863" y="335"/>
                    <a:pt x="869" y="334"/>
                  </a:cubicBezTo>
                  <a:cubicBezTo>
                    <a:pt x="869" y="333"/>
                    <a:pt x="869" y="332"/>
                    <a:pt x="869" y="332"/>
                  </a:cubicBezTo>
                  <a:cubicBezTo>
                    <a:pt x="871" y="331"/>
                    <a:pt x="875" y="334"/>
                    <a:pt x="877" y="335"/>
                  </a:cubicBezTo>
                  <a:cubicBezTo>
                    <a:pt x="880" y="336"/>
                    <a:pt x="883" y="338"/>
                    <a:pt x="886" y="339"/>
                  </a:cubicBezTo>
                  <a:cubicBezTo>
                    <a:pt x="886" y="336"/>
                    <a:pt x="886" y="332"/>
                    <a:pt x="886" y="329"/>
                  </a:cubicBezTo>
                  <a:cubicBezTo>
                    <a:pt x="885" y="324"/>
                    <a:pt x="883" y="322"/>
                    <a:pt x="882" y="319"/>
                  </a:cubicBezTo>
                  <a:cubicBezTo>
                    <a:pt x="879" y="312"/>
                    <a:pt x="886" y="310"/>
                    <a:pt x="891" y="308"/>
                  </a:cubicBezTo>
                  <a:cubicBezTo>
                    <a:pt x="896" y="307"/>
                    <a:pt x="901" y="304"/>
                    <a:pt x="907" y="304"/>
                  </a:cubicBezTo>
                  <a:cubicBezTo>
                    <a:pt x="909" y="304"/>
                    <a:pt x="914" y="303"/>
                    <a:pt x="916" y="305"/>
                  </a:cubicBezTo>
                  <a:cubicBezTo>
                    <a:pt x="918" y="307"/>
                    <a:pt x="918" y="311"/>
                    <a:pt x="919" y="313"/>
                  </a:cubicBezTo>
                  <a:cubicBezTo>
                    <a:pt x="920" y="315"/>
                    <a:pt x="922" y="316"/>
                    <a:pt x="923" y="317"/>
                  </a:cubicBezTo>
                  <a:cubicBezTo>
                    <a:pt x="924" y="319"/>
                    <a:pt x="924" y="320"/>
                    <a:pt x="925" y="322"/>
                  </a:cubicBezTo>
                  <a:cubicBezTo>
                    <a:pt x="926" y="326"/>
                    <a:pt x="928" y="331"/>
                    <a:pt x="931" y="335"/>
                  </a:cubicBezTo>
                  <a:cubicBezTo>
                    <a:pt x="933" y="338"/>
                    <a:pt x="935" y="340"/>
                    <a:pt x="937" y="342"/>
                  </a:cubicBezTo>
                  <a:cubicBezTo>
                    <a:pt x="940" y="345"/>
                    <a:pt x="943" y="349"/>
                    <a:pt x="945" y="352"/>
                  </a:cubicBezTo>
                  <a:cubicBezTo>
                    <a:pt x="946" y="353"/>
                    <a:pt x="947" y="355"/>
                    <a:pt x="948" y="356"/>
                  </a:cubicBezTo>
                  <a:cubicBezTo>
                    <a:pt x="949" y="358"/>
                    <a:pt x="951" y="359"/>
                    <a:pt x="951" y="361"/>
                  </a:cubicBezTo>
                  <a:cubicBezTo>
                    <a:pt x="952" y="362"/>
                    <a:pt x="952" y="363"/>
                    <a:pt x="953" y="364"/>
                  </a:cubicBezTo>
                  <a:cubicBezTo>
                    <a:pt x="955" y="366"/>
                    <a:pt x="955" y="364"/>
                    <a:pt x="956" y="367"/>
                  </a:cubicBezTo>
                  <a:cubicBezTo>
                    <a:pt x="957" y="374"/>
                    <a:pt x="956" y="382"/>
                    <a:pt x="957" y="389"/>
                  </a:cubicBezTo>
                  <a:cubicBezTo>
                    <a:pt x="959" y="389"/>
                    <a:pt x="960" y="388"/>
                    <a:pt x="962" y="388"/>
                  </a:cubicBezTo>
                  <a:cubicBezTo>
                    <a:pt x="964" y="388"/>
                    <a:pt x="966" y="388"/>
                    <a:pt x="967" y="389"/>
                  </a:cubicBezTo>
                  <a:cubicBezTo>
                    <a:pt x="973" y="390"/>
                    <a:pt x="977" y="391"/>
                    <a:pt x="982" y="393"/>
                  </a:cubicBezTo>
                  <a:cubicBezTo>
                    <a:pt x="984" y="394"/>
                    <a:pt x="985" y="395"/>
                    <a:pt x="987" y="395"/>
                  </a:cubicBezTo>
                  <a:cubicBezTo>
                    <a:pt x="989" y="395"/>
                    <a:pt x="992" y="395"/>
                    <a:pt x="994" y="395"/>
                  </a:cubicBezTo>
                  <a:cubicBezTo>
                    <a:pt x="998" y="397"/>
                    <a:pt x="998" y="400"/>
                    <a:pt x="1002" y="401"/>
                  </a:cubicBezTo>
                  <a:cubicBezTo>
                    <a:pt x="1006" y="402"/>
                    <a:pt x="1011" y="398"/>
                    <a:pt x="1015" y="398"/>
                  </a:cubicBezTo>
                  <a:cubicBezTo>
                    <a:pt x="1017" y="398"/>
                    <a:pt x="1019" y="398"/>
                    <a:pt x="1021" y="398"/>
                  </a:cubicBezTo>
                  <a:cubicBezTo>
                    <a:pt x="1024" y="398"/>
                    <a:pt x="1022" y="398"/>
                    <a:pt x="1024" y="395"/>
                  </a:cubicBezTo>
                  <a:cubicBezTo>
                    <a:pt x="1024" y="395"/>
                    <a:pt x="1024" y="394"/>
                    <a:pt x="1024" y="393"/>
                  </a:cubicBezTo>
                  <a:cubicBezTo>
                    <a:pt x="1024" y="392"/>
                    <a:pt x="1026" y="393"/>
                    <a:pt x="1027" y="392"/>
                  </a:cubicBezTo>
                  <a:cubicBezTo>
                    <a:pt x="1028" y="390"/>
                    <a:pt x="1028" y="387"/>
                    <a:pt x="1030" y="384"/>
                  </a:cubicBezTo>
                  <a:cubicBezTo>
                    <a:pt x="1031" y="383"/>
                    <a:pt x="1033" y="381"/>
                    <a:pt x="1034" y="380"/>
                  </a:cubicBezTo>
                  <a:cubicBezTo>
                    <a:pt x="1035" y="378"/>
                    <a:pt x="1035" y="376"/>
                    <a:pt x="1036" y="374"/>
                  </a:cubicBezTo>
                  <a:cubicBezTo>
                    <a:pt x="1042" y="374"/>
                    <a:pt x="1047" y="378"/>
                    <a:pt x="1052" y="381"/>
                  </a:cubicBezTo>
                  <a:cubicBezTo>
                    <a:pt x="1056" y="384"/>
                    <a:pt x="1061" y="386"/>
                    <a:pt x="1065" y="389"/>
                  </a:cubicBezTo>
                  <a:cubicBezTo>
                    <a:pt x="1065" y="390"/>
                    <a:pt x="1066" y="390"/>
                    <a:pt x="1066" y="391"/>
                  </a:cubicBezTo>
                  <a:cubicBezTo>
                    <a:pt x="1067" y="391"/>
                    <a:pt x="1068" y="391"/>
                    <a:pt x="1069" y="392"/>
                  </a:cubicBezTo>
                  <a:cubicBezTo>
                    <a:pt x="1070" y="393"/>
                    <a:pt x="1072" y="393"/>
                    <a:pt x="1074" y="394"/>
                  </a:cubicBezTo>
                  <a:cubicBezTo>
                    <a:pt x="1077" y="395"/>
                    <a:pt x="1081" y="397"/>
                    <a:pt x="1084" y="398"/>
                  </a:cubicBezTo>
                  <a:cubicBezTo>
                    <a:pt x="1086" y="399"/>
                    <a:pt x="1086" y="401"/>
                    <a:pt x="1087" y="402"/>
                  </a:cubicBezTo>
                  <a:cubicBezTo>
                    <a:pt x="1089" y="404"/>
                    <a:pt x="1088" y="410"/>
                    <a:pt x="1091" y="410"/>
                  </a:cubicBezTo>
                  <a:cubicBezTo>
                    <a:pt x="1093" y="409"/>
                    <a:pt x="1093" y="407"/>
                    <a:pt x="1095" y="406"/>
                  </a:cubicBezTo>
                  <a:cubicBezTo>
                    <a:pt x="1097" y="404"/>
                    <a:pt x="1099" y="406"/>
                    <a:pt x="1101" y="405"/>
                  </a:cubicBezTo>
                  <a:cubicBezTo>
                    <a:pt x="1107" y="402"/>
                    <a:pt x="1099" y="392"/>
                    <a:pt x="1100" y="388"/>
                  </a:cubicBezTo>
                  <a:cubicBezTo>
                    <a:pt x="1101" y="385"/>
                    <a:pt x="1104" y="381"/>
                    <a:pt x="1106" y="379"/>
                  </a:cubicBezTo>
                  <a:cubicBezTo>
                    <a:pt x="1102" y="379"/>
                    <a:pt x="1095" y="376"/>
                    <a:pt x="1093" y="373"/>
                  </a:cubicBezTo>
                  <a:cubicBezTo>
                    <a:pt x="1096" y="374"/>
                    <a:pt x="1101" y="373"/>
                    <a:pt x="1104" y="376"/>
                  </a:cubicBezTo>
                  <a:cubicBezTo>
                    <a:pt x="1106" y="377"/>
                    <a:pt x="1106" y="379"/>
                    <a:pt x="1107" y="379"/>
                  </a:cubicBezTo>
                  <a:cubicBezTo>
                    <a:pt x="1107" y="380"/>
                    <a:pt x="1107" y="381"/>
                    <a:pt x="1108" y="381"/>
                  </a:cubicBezTo>
                  <a:cubicBezTo>
                    <a:pt x="1108" y="379"/>
                    <a:pt x="1109" y="380"/>
                    <a:pt x="1110" y="379"/>
                  </a:cubicBezTo>
                  <a:cubicBezTo>
                    <a:pt x="1111" y="378"/>
                    <a:pt x="1112" y="377"/>
                    <a:pt x="1112" y="376"/>
                  </a:cubicBezTo>
                  <a:cubicBezTo>
                    <a:pt x="1112" y="376"/>
                    <a:pt x="1115" y="374"/>
                    <a:pt x="1115" y="374"/>
                  </a:cubicBezTo>
                  <a:cubicBezTo>
                    <a:pt x="1117" y="372"/>
                    <a:pt x="1117" y="370"/>
                    <a:pt x="1118" y="367"/>
                  </a:cubicBezTo>
                  <a:cubicBezTo>
                    <a:pt x="1120" y="363"/>
                    <a:pt x="1120" y="363"/>
                    <a:pt x="1123" y="364"/>
                  </a:cubicBezTo>
                  <a:cubicBezTo>
                    <a:pt x="1126" y="364"/>
                    <a:pt x="1127" y="365"/>
                    <a:pt x="1130" y="365"/>
                  </a:cubicBezTo>
                  <a:cubicBezTo>
                    <a:pt x="1131" y="363"/>
                    <a:pt x="1130" y="362"/>
                    <a:pt x="1130" y="361"/>
                  </a:cubicBezTo>
                  <a:cubicBezTo>
                    <a:pt x="1131" y="358"/>
                    <a:pt x="1132" y="356"/>
                    <a:pt x="1133" y="355"/>
                  </a:cubicBezTo>
                  <a:cubicBezTo>
                    <a:pt x="1134" y="353"/>
                    <a:pt x="1135" y="350"/>
                    <a:pt x="1136" y="348"/>
                  </a:cubicBezTo>
                  <a:cubicBezTo>
                    <a:pt x="1137" y="347"/>
                    <a:pt x="1138" y="347"/>
                    <a:pt x="1139" y="345"/>
                  </a:cubicBezTo>
                  <a:cubicBezTo>
                    <a:pt x="1140" y="343"/>
                    <a:pt x="1140" y="342"/>
                    <a:pt x="1140" y="338"/>
                  </a:cubicBezTo>
                  <a:cubicBezTo>
                    <a:pt x="1140" y="330"/>
                    <a:pt x="1140" y="321"/>
                    <a:pt x="1140" y="313"/>
                  </a:cubicBezTo>
                  <a:cubicBezTo>
                    <a:pt x="1140" y="306"/>
                    <a:pt x="1140" y="299"/>
                    <a:pt x="1140" y="293"/>
                  </a:cubicBezTo>
                  <a:cubicBezTo>
                    <a:pt x="1140" y="288"/>
                    <a:pt x="1141" y="285"/>
                    <a:pt x="1142" y="280"/>
                  </a:cubicBezTo>
                  <a:cubicBezTo>
                    <a:pt x="1144" y="275"/>
                    <a:pt x="1143" y="269"/>
                    <a:pt x="1144" y="264"/>
                  </a:cubicBezTo>
                  <a:cubicBezTo>
                    <a:pt x="1144" y="261"/>
                    <a:pt x="1145" y="258"/>
                    <a:pt x="1145" y="256"/>
                  </a:cubicBezTo>
                  <a:cubicBezTo>
                    <a:pt x="1145" y="255"/>
                    <a:pt x="1144" y="253"/>
                    <a:pt x="1145" y="252"/>
                  </a:cubicBezTo>
                  <a:cubicBezTo>
                    <a:pt x="1145" y="251"/>
                    <a:pt x="1145" y="251"/>
                    <a:pt x="1146" y="250"/>
                  </a:cubicBezTo>
                  <a:cubicBezTo>
                    <a:pt x="1146" y="249"/>
                    <a:pt x="1146" y="248"/>
                    <a:pt x="1147" y="247"/>
                  </a:cubicBezTo>
                  <a:cubicBezTo>
                    <a:pt x="1149" y="243"/>
                    <a:pt x="1155" y="245"/>
                    <a:pt x="1158" y="242"/>
                  </a:cubicBezTo>
                  <a:cubicBezTo>
                    <a:pt x="1161" y="239"/>
                    <a:pt x="1158" y="234"/>
                    <a:pt x="1159" y="230"/>
                  </a:cubicBezTo>
                  <a:cubicBezTo>
                    <a:pt x="1159" y="228"/>
                    <a:pt x="1160" y="227"/>
                    <a:pt x="1161" y="226"/>
                  </a:cubicBezTo>
                  <a:cubicBezTo>
                    <a:pt x="1163" y="224"/>
                    <a:pt x="1163" y="221"/>
                    <a:pt x="1164" y="219"/>
                  </a:cubicBezTo>
                  <a:cubicBezTo>
                    <a:pt x="1167" y="214"/>
                    <a:pt x="1173" y="208"/>
                    <a:pt x="1178" y="205"/>
                  </a:cubicBezTo>
                  <a:cubicBezTo>
                    <a:pt x="1182" y="203"/>
                    <a:pt x="1187" y="204"/>
                    <a:pt x="1191" y="204"/>
                  </a:cubicBezTo>
                  <a:cubicBezTo>
                    <a:pt x="1195" y="204"/>
                    <a:pt x="1200" y="203"/>
                    <a:pt x="1204" y="204"/>
                  </a:cubicBezTo>
                  <a:cubicBezTo>
                    <a:pt x="1204" y="204"/>
                    <a:pt x="1204" y="206"/>
                    <a:pt x="1204" y="206"/>
                  </a:cubicBezTo>
                  <a:cubicBezTo>
                    <a:pt x="1207" y="207"/>
                    <a:pt x="1211" y="205"/>
                    <a:pt x="1214" y="205"/>
                  </a:cubicBezTo>
                  <a:cubicBezTo>
                    <a:pt x="1217" y="204"/>
                    <a:pt x="1220" y="204"/>
                    <a:pt x="1223" y="203"/>
                  </a:cubicBezTo>
                  <a:cubicBezTo>
                    <a:pt x="1224" y="199"/>
                    <a:pt x="1223" y="195"/>
                    <a:pt x="1226" y="192"/>
                  </a:cubicBezTo>
                  <a:cubicBezTo>
                    <a:pt x="1227" y="190"/>
                    <a:pt x="1229" y="189"/>
                    <a:pt x="1231" y="187"/>
                  </a:cubicBezTo>
                  <a:cubicBezTo>
                    <a:pt x="1233" y="185"/>
                    <a:pt x="1234" y="182"/>
                    <a:pt x="1237" y="180"/>
                  </a:cubicBezTo>
                  <a:cubicBezTo>
                    <a:pt x="1237" y="180"/>
                    <a:pt x="1238" y="179"/>
                    <a:pt x="1239" y="179"/>
                  </a:cubicBezTo>
                  <a:cubicBezTo>
                    <a:pt x="1240" y="179"/>
                    <a:pt x="1241" y="179"/>
                    <a:pt x="1242" y="178"/>
                  </a:cubicBezTo>
                  <a:cubicBezTo>
                    <a:pt x="1244" y="179"/>
                    <a:pt x="1244" y="180"/>
                    <a:pt x="1245" y="181"/>
                  </a:cubicBezTo>
                  <a:cubicBezTo>
                    <a:pt x="1249" y="183"/>
                    <a:pt x="1253" y="181"/>
                    <a:pt x="1256" y="181"/>
                  </a:cubicBezTo>
                  <a:cubicBezTo>
                    <a:pt x="1260" y="182"/>
                    <a:pt x="1257" y="180"/>
                    <a:pt x="1259" y="183"/>
                  </a:cubicBezTo>
                  <a:cubicBezTo>
                    <a:pt x="1260" y="183"/>
                    <a:pt x="1261" y="186"/>
                    <a:pt x="1261" y="187"/>
                  </a:cubicBezTo>
                  <a:cubicBezTo>
                    <a:pt x="1261" y="188"/>
                    <a:pt x="1260" y="191"/>
                    <a:pt x="1261" y="192"/>
                  </a:cubicBezTo>
                  <a:cubicBezTo>
                    <a:pt x="1262" y="195"/>
                    <a:pt x="1264" y="194"/>
                    <a:pt x="1266" y="195"/>
                  </a:cubicBezTo>
                  <a:cubicBezTo>
                    <a:pt x="1267" y="196"/>
                    <a:pt x="1269" y="199"/>
                    <a:pt x="1269" y="199"/>
                  </a:cubicBezTo>
                  <a:cubicBezTo>
                    <a:pt x="1271" y="202"/>
                    <a:pt x="1274" y="204"/>
                    <a:pt x="1275" y="207"/>
                  </a:cubicBezTo>
                  <a:cubicBezTo>
                    <a:pt x="1277" y="210"/>
                    <a:pt x="1278" y="212"/>
                    <a:pt x="1280" y="214"/>
                  </a:cubicBezTo>
                  <a:cubicBezTo>
                    <a:pt x="1280" y="215"/>
                    <a:pt x="1281" y="217"/>
                    <a:pt x="1282" y="218"/>
                  </a:cubicBezTo>
                  <a:cubicBezTo>
                    <a:pt x="1283" y="220"/>
                    <a:pt x="1284" y="221"/>
                    <a:pt x="1286" y="223"/>
                  </a:cubicBezTo>
                  <a:cubicBezTo>
                    <a:pt x="1293" y="226"/>
                    <a:pt x="1299" y="229"/>
                    <a:pt x="1304" y="234"/>
                  </a:cubicBezTo>
                  <a:cubicBezTo>
                    <a:pt x="1308" y="237"/>
                    <a:pt x="1310" y="241"/>
                    <a:pt x="1314" y="243"/>
                  </a:cubicBezTo>
                  <a:cubicBezTo>
                    <a:pt x="1316" y="244"/>
                    <a:pt x="1317" y="245"/>
                    <a:pt x="1318" y="247"/>
                  </a:cubicBezTo>
                  <a:cubicBezTo>
                    <a:pt x="1318" y="248"/>
                    <a:pt x="1318" y="250"/>
                    <a:pt x="1319" y="251"/>
                  </a:cubicBezTo>
                  <a:cubicBezTo>
                    <a:pt x="1320" y="255"/>
                    <a:pt x="1321" y="258"/>
                    <a:pt x="1323" y="262"/>
                  </a:cubicBezTo>
                  <a:cubicBezTo>
                    <a:pt x="1324" y="265"/>
                    <a:pt x="1326" y="269"/>
                    <a:pt x="1326" y="272"/>
                  </a:cubicBezTo>
                  <a:cubicBezTo>
                    <a:pt x="1326" y="274"/>
                    <a:pt x="1325" y="276"/>
                    <a:pt x="1324" y="278"/>
                  </a:cubicBezTo>
                  <a:cubicBezTo>
                    <a:pt x="1322" y="280"/>
                    <a:pt x="1321" y="282"/>
                    <a:pt x="1319" y="285"/>
                  </a:cubicBezTo>
                  <a:cubicBezTo>
                    <a:pt x="1315" y="290"/>
                    <a:pt x="1312" y="296"/>
                    <a:pt x="1308" y="303"/>
                  </a:cubicBezTo>
                  <a:cubicBezTo>
                    <a:pt x="1307" y="305"/>
                    <a:pt x="1306" y="308"/>
                    <a:pt x="1304" y="311"/>
                  </a:cubicBezTo>
                  <a:cubicBezTo>
                    <a:pt x="1303" y="312"/>
                    <a:pt x="1302" y="313"/>
                    <a:pt x="1302" y="314"/>
                  </a:cubicBezTo>
                  <a:cubicBezTo>
                    <a:pt x="1300" y="318"/>
                    <a:pt x="1299" y="321"/>
                    <a:pt x="1301" y="325"/>
                  </a:cubicBezTo>
                  <a:cubicBezTo>
                    <a:pt x="1302" y="326"/>
                    <a:pt x="1302" y="328"/>
                    <a:pt x="1303" y="330"/>
                  </a:cubicBezTo>
                  <a:cubicBezTo>
                    <a:pt x="1304" y="332"/>
                    <a:pt x="1305" y="334"/>
                    <a:pt x="1306" y="336"/>
                  </a:cubicBezTo>
                  <a:cubicBezTo>
                    <a:pt x="1307" y="337"/>
                    <a:pt x="1308" y="339"/>
                    <a:pt x="1310" y="340"/>
                  </a:cubicBezTo>
                  <a:cubicBezTo>
                    <a:pt x="1311" y="342"/>
                    <a:pt x="1314" y="341"/>
                    <a:pt x="1316" y="340"/>
                  </a:cubicBezTo>
                  <a:cubicBezTo>
                    <a:pt x="1319" y="339"/>
                    <a:pt x="1320" y="339"/>
                    <a:pt x="1322" y="337"/>
                  </a:cubicBezTo>
                  <a:cubicBezTo>
                    <a:pt x="1323" y="336"/>
                    <a:pt x="1325" y="336"/>
                    <a:pt x="1325" y="335"/>
                  </a:cubicBezTo>
                  <a:cubicBezTo>
                    <a:pt x="1326" y="333"/>
                    <a:pt x="1326" y="331"/>
                    <a:pt x="1327" y="330"/>
                  </a:cubicBezTo>
                  <a:cubicBezTo>
                    <a:pt x="1327" y="327"/>
                    <a:pt x="1327" y="325"/>
                    <a:pt x="1327" y="323"/>
                  </a:cubicBezTo>
                  <a:cubicBezTo>
                    <a:pt x="1328" y="320"/>
                    <a:pt x="1328" y="317"/>
                    <a:pt x="1329" y="315"/>
                  </a:cubicBezTo>
                  <a:cubicBezTo>
                    <a:pt x="1329" y="312"/>
                    <a:pt x="1330" y="309"/>
                    <a:pt x="1331" y="306"/>
                  </a:cubicBezTo>
                  <a:cubicBezTo>
                    <a:pt x="1331" y="305"/>
                    <a:pt x="1330" y="303"/>
                    <a:pt x="1330" y="302"/>
                  </a:cubicBezTo>
                  <a:cubicBezTo>
                    <a:pt x="1331" y="301"/>
                    <a:pt x="1332" y="300"/>
                    <a:pt x="1333" y="299"/>
                  </a:cubicBezTo>
                  <a:cubicBezTo>
                    <a:pt x="1335" y="298"/>
                    <a:pt x="1336" y="298"/>
                    <a:pt x="1338" y="298"/>
                  </a:cubicBezTo>
                  <a:cubicBezTo>
                    <a:pt x="1341" y="298"/>
                    <a:pt x="1344" y="295"/>
                    <a:pt x="1347" y="293"/>
                  </a:cubicBezTo>
                  <a:cubicBezTo>
                    <a:pt x="1348" y="292"/>
                    <a:pt x="1350" y="290"/>
                    <a:pt x="1351" y="289"/>
                  </a:cubicBezTo>
                  <a:cubicBezTo>
                    <a:pt x="1352" y="288"/>
                    <a:pt x="1353" y="288"/>
                    <a:pt x="1354" y="288"/>
                  </a:cubicBezTo>
                  <a:cubicBezTo>
                    <a:pt x="1354" y="287"/>
                    <a:pt x="1355" y="286"/>
                    <a:pt x="1356" y="286"/>
                  </a:cubicBezTo>
                  <a:cubicBezTo>
                    <a:pt x="1357" y="285"/>
                    <a:pt x="1358" y="285"/>
                    <a:pt x="1359" y="283"/>
                  </a:cubicBezTo>
                  <a:cubicBezTo>
                    <a:pt x="1360" y="282"/>
                    <a:pt x="1360" y="282"/>
                    <a:pt x="1362" y="282"/>
                  </a:cubicBezTo>
                  <a:cubicBezTo>
                    <a:pt x="1362" y="282"/>
                    <a:pt x="1363" y="282"/>
                    <a:pt x="1363" y="282"/>
                  </a:cubicBezTo>
                  <a:cubicBezTo>
                    <a:pt x="1364" y="282"/>
                    <a:pt x="1365" y="283"/>
                    <a:pt x="1365" y="283"/>
                  </a:cubicBezTo>
                  <a:cubicBezTo>
                    <a:pt x="1366" y="283"/>
                    <a:pt x="1366" y="281"/>
                    <a:pt x="1366" y="280"/>
                  </a:cubicBezTo>
                  <a:cubicBezTo>
                    <a:pt x="1367" y="278"/>
                    <a:pt x="1368" y="276"/>
                    <a:pt x="1370" y="274"/>
                  </a:cubicBezTo>
                  <a:cubicBezTo>
                    <a:pt x="1371" y="272"/>
                    <a:pt x="1372" y="269"/>
                    <a:pt x="1373" y="267"/>
                  </a:cubicBezTo>
                  <a:cubicBezTo>
                    <a:pt x="1374" y="265"/>
                    <a:pt x="1375" y="264"/>
                    <a:pt x="1375" y="261"/>
                  </a:cubicBezTo>
                  <a:cubicBezTo>
                    <a:pt x="1375" y="258"/>
                    <a:pt x="1375" y="255"/>
                    <a:pt x="1375" y="252"/>
                  </a:cubicBezTo>
                  <a:cubicBezTo>
                    <a:pt x="1375" y="251"/>
                    <a:pt x="1375" y="250"/>
                    <a:pt x="1374" y="249"/>
                  </a:cubicBezTo>
                  <a:cubicBezTo>
                    <a:pt x="1373" y="248"/>
                    <a:pt x="1370" y="247"/>
                    <a:pt x="1371" y="246"/>
                  </a:cubicBezTo>
                  <a:cubicBezTo>
                    <a:pt x="1372" y="245"/>
                    <a:pt x="1373" y="246"/>
                    <a:pt x="1374" y="246"/>
                  </a:cubicBezTo>
                  <a:cubicBezTo>
                    <a:pt x="1376" y="247"/>
                    <a:pt x="1378" y="248"/>
                    <a:pt x="1380" y="249"/>
                  </a:cubicBezTo>
                  <a:cubicBezTo>
                    <a:pt x="1382" y="250"/>
                    <a:pt x="1384" y="253"/>
                    <a:pt x="1385" y="256"/>
                  </a:cubicBezTo>
                  <a:cubicBezTo>
                    <a:pt x="1386" y="258"/>
                    <a:pt x="1388" y="258"/>
                    <a:pt x="1389" y="259"/>
                  </a:cubicBezTo>
                  <a:cubicBezTo>
                    <a:pt x="1392" y="260"/>
                    <a:pt x="1395" y="261"/>
                    <a:pt x="1397" y="263"/>
                  </a:cubicBezTo>
                  <a:cubicBezTo>
                    <a:pt x="1400" y="264"/>
                    <a:pt x="1402" y="266"/>
                    <a:pt x="1405" y="266"/>
                  </a:cubicBezTo>
                  <a:cubicBezTo>
                    <a:pt x="1408" y="267"/>
                    <a:pt x="1413" y="265"/>
                    <a:pt x="1415" y="264"/>
                  </a:cubicBezTo>
                  <a:cubicBezTo>
                    <a:pt x="1416" y="262"/>
                    <a:pt x="1417" y="260"/>
                    <a:pt x="1418" y="259"/>
                  </a:cubicBezTo>
                  <a:cubicBezTo>
                    <a:pt x="1420" y="255"/>
                    <a:pt x="1419" y="250"/>
                    <a:pt x="1418" y="246"/>
                  </a:cubicBezTo>
                  <a:cubicBezTo>
                    <a:pt x="1417" y="244"/>
                    <a:pt x="1417" y="242"/>
                    <a:pt x="1416" y="240"/>
                  </a:cubicBezTo>
                  <a:cubicBezTo>
                    <a:pt x="1416" y="238"/>
                    <a:pt x="1415" y="237"/>
                    <a:pt x="1415" y="235"/>
                  </a:cubicBezTo>
                  <a:cubicBezTo>
                    <a:pt x="1415" y="233"/>
                    <a:pt x="1414" y="232"/>
                    <a:pt x="1414" y="230"/>
                  </a:cubicBezTo>
                  <a:cubicBezTo>
                    <a:pt x="1413" y="229"/>
                    <a:pt x="1413" y="227"/>
                    <a:pt x="1412" y="226"/>
                  </a:cubicBezTo>
                  <a:cubicBezTo>
                    <a:pt x="1410" y="224"/>
                    <a:pt x="1407" y="227"/>
                    <a:pt x="1405" y="227"/>
                  </a:cubicBezTo>
                  <a:cubicBezTo>
                    <a:pt x="1403" y="227"/>
                    <a:pt x="1401" y="226"/>
                    <a:pt x="1400" y="226"/>
                  </a:cubicBezTo>
                  <a:cubicBezTo>
                    <a:pt x="1398" y="225"/>
                    <a:pt x="1397" y="224"/>
                    <a:pt x="1396" y="223"/>
                  </a:cubicBezTo>
                  <a:cubicBezTo>
                    <a:pt x="1396" y="223"/>
                    <a:pt x="1396" y="222"/>
                    <a:pt x="1396" y="222"/>
                  </a:cubicBezTo>
                  <a:cubicBezTo>
                    <a:pt x="1394" y="221"/>
                    <a:pt x="1392" y="223"/>
                    <a:pt x="1390" y="223"/>
                  </a:cubicBezTo>
                  <a:cubicBezTo>
                    <a:pt x="1386" y="222"/>
                    <a:pt x="1390" y="218"/>
                    <a:pt x="1390" y="215"/>
                  </a:cubicBezTo>
                  <a:cubicBezTo>
                    <a:pt x="1390" y="214"/>
                    <a:pt x="1384" y="212"/>
                    <a:pt x="1383" y="212"/>
                  </a:cubicBezTo>
                  <a:cubicBezTo>
                    <a:pt x="1381" y="211"/>
                    <a:pt x="1376" y="210"/>
                    <a:pt x="1374" y="213"/>
                  </a:cubicBezTo>
                  <a:cubicBezTo>
                    <a:pt x="1372" y="217"/>
                    <a:pt x="1377" y="220"/>
                    <a:pt x="1376" y="224"/>
                  </a:cubicBezTo>
                  <a:cubicBezTo>
                    <a:pt x="1375" y="224"/>
                    <a:pt x="1373" y="224"/>
                    <a:pt x="1372" y="224"/>
                  </a:cubicBezTo>
                  <a:cubicBezTo>
                    <a:pt x="1372" y="226"/>
                    <a:pt x="1373" y="228"/>
                    <a:pt x="1373" y="229"/>
                  </a:cubicBezTo>
                  <a:cubicBezTo>
                    <a:pt x="1374" y="230"/>
                    <a:pt x="1374" y="234"/>
                    <a:pt x="1373" y="235"/>
                  </a:cubicBezTo>
                  <a:cubicBezTo>
                    <a:pt x="1372" y="234"/>
                    <a:pt x="1373" y="233"/>
                    <a:pt x="1372" y="232"/>
                  </a:cubicBezTo>
                  <a:cubicBezTo>
                    <a:pt x="1371" y="231"/>
                    <a:pt x="1371" y="231"/>
                    <a:pt x="1370" y="230"/>
                  </a:cubicBezTo>
                  <a:cubicBezTo>
                    <a:pt x="1369" y="230"/>
                    <a:pt x="1367" y="229"/>
                    <a:pt x="1367" y="228"/>
                  </a:cubicBezTo>
                  <a:cubicBezTo>
                    <a:pt x="1367" y="226"/>
                    <a:pt x="1369" y="226"/>
                    <a:pt x="1370" y="225"/>
                  </a:cubicBezTo>
                  <a:cubicBezTo>
                    <a:pt x="1371" y="224"/>
                    <a:pt x="1372" y="223"/>
                    <a:pt x="1371" y="222"/>
                  </a:cubicBezTo>
                  <a:cubicBezTo>
                    <a:pt x="1371" y="221"/>
                    <a:pt x="1370" y="221"/>
                    <a:pt x="1370" y="220"/>
                  </a:cubicBezTo>
                  <a:cubicBezTo>
                    <a:pt x="1368" y="218"/>
                    <a:pt x="1369" y="218"/>
                    <a:pt x="1371" y="218"/>
                  </a:cubicBezTo>
                  <a:cubicBezTo>
                    <a:pt x="1372" y="218"/>
                    <a:pt x="1373" y="216"/>
                    <a:pt x="1373" y="215"/>
                  </a:cubicBezTo>
                  <a:cubicBezTo>
                    <a:pt x="1373" y="214"/>
                    <a:pt x="1371" y="213"/>
                    <a:pt x="1370" y="213"/>
                  </a:cubicBezTo>
                  <a:cubicBezTo>
                    <a:pt x="1369" y="211"/>
                    <a:pt x="1368" y="210"/>
                    <a:pt x="1367" y="209"/>
                  </a:cubicBezTo>
                  <a:cubicBezTo>
                    <a:pt x="1365" y="207"/>
                    <a:pt x="1362" y="207"/>
                    <a:pt x="1359" y="208"/>
                  </a:cubicBezTo>
                  <a:cubicBezTo>
                    <a:pt x="1357" y="208"/>
                    <a:pt x="1355" y="208"/>
                    <a:pt x="1353" y="208"/>
                  </a:cubicBezTo>
                  <a:cubicBezTo>
                    <a:pt x="1352" y="207"/>
                    <a:pt x="1350" y="207"/>
                    <a:pt x="1349" y="207"/>
                  </a:cubicBezTo>
                  <a:cubicBezTo>
                    <a:pt x="1348" y="207"/>
                    <a:pt x="1348" y="206"/>
                    <a:pt x="1347" y="206"/>
                  </a:cubicBezTo>
                  <a:cubicBezTo>
                    <a:pt x="1346" y="206"/>
                    <a:pt x="1345" y="206"/>
                    <a:pt x="1344" y="206"/>
                  </a:cubicBezTo>
                  <a:cubicBezTo>
                    <a:pt x="1342" y="206"/>
                    <a:pt x="1342" y="205"/>
                    <a:pt x="1341" y="204"/>
                  </a:cubicBezTo>
                  <a:cubicBezTo>
                    <a:pt x="1341" y="204"/>
                    <a:pt x="1340" y="204"/>
                    <a:pt x="1340" y="204"/>
                  </a:cubicBezTo>
                  <a:cubicBezTo>
                    <a:pt x="1339" y="203"/>
                    <a:pt x="1339" y="203"/>
                    <a:pt x="1339" y="202"/>
                  </a:cubicBezTo>
                  <a:cubicBezTo>
                    <a:pt x="1338" y="202"/>
                    <a:pt x="1338" y="202"/>
                    <a:pt x="1338" y="202"/>
                  </a:cubicBezTo>
                  <a:cubicBezTo>
                    <a:pt x="1339" y="202"/>
                    <a:pt x="1339" y="202"/>
                    <a:pt x="1339" y="200"/>
                  </a:cubicBezTo>
                  <a:cubicBezTo>
                    <a:pt x="1340" y="195"/>
                    <a:pt x="1338" y="195"/>
                    <a:pt x="1335" y="193"/>
                  </a:cubicBezTo>
                  <a:cubicBezTo>
                    <a:pt x="1325" y="188"/>
                    <a:pt x="1314" y="183"/>
                    <a:pt x="1303" y="180"/>
                  </a:cubicBezTo>
                  <a:cubicBezTo>
                    <a:pt x="1298" y="179"/>
                    <a:pt x="1295" y="177"/>
                    <a:pt x="1295" y="174"/>
                  </a:cubicBezTo>
                  <a:cubicBezTo>
                    <a:pt x="1307" y="173"/>
                    <a:pt x="1320" y="172"/>
                    <a:pt x="1332" y="174"/>
                  </a:cubicBezTo>
                  <a:cubicBezTo>
                    <a:pt x="1338" y="174"/>
                    <a:pt x="1346" y="173"/>
                    <a:pt x="1352" y="175"/>
                  </a:cubicBezTo>
                  <a:cubicBezTo>
                    <a:pt x="1355" y="176"/>
                    <a:pt x="1356" y="178"/>
                    <a:pt x="1359" y="178"/>
                  </a:cubicBezTo>
                  <a:cubicBezTo>
                    <a:pt x="1361" y="178"/>
                    <a:pt x="1363" y="178"/>
                    <a:pt x="1365" y="178"/>
                  </a:cubicBezTo>
                  <a:cubicBezTo>
                    <a:pt x="1369" y="178"/>
                    <a:pt x="1377" y="179"/>
                    <a:pt x="1381" y="178"/>
                  </a:cubicBezTo>
                  <a:cubicBezTo>
                    <a:pt x="1382" y="177"/>
                    <a:pt x="1386" y="174"/>
                    <a:pt x="1387" y="172"/>
                  </a:cubicBezTo>
                  <a:cubicBezTo>
                    <a:pt x="1390" y="169"/>
                    <a:pt x="1389" y="164"/>
                    <a:pt x="1392" y="162"/>
                  </a:cubicBezTo>
                  <a:cubicBezTo>
                    <a:pt x="1393" y="161"/>
                    <a:pt x="1397" y="161"/>
                    <a:pt x="1399" y="160"/>
                  </a:cubicBezTo>
                  <a:cubicBezTo>
                    <a:pt x="1401" y="159"/>
                    <a:pt x="1404" y="157"/>
                    <a:pt x="1406" y="156"/>
                  </a:cubicBezTo>
                  <a:cubicBezTo>
                    <a:pt x="1407" y="155"/>
                    <a:pt x="1406" y="154"/>
                    <a:pt x="1407" y="154"/>
                  </a:cubicBezTo>
                  <a:cubicBezTo>
                    <a:pt x="1408" y="154"/>
                    <a:pt x="1409" y="154"/>
                    <a:pt x="1410" y="154"/>
                  </a:cubicBezTo>
                  <a:cubicBezTo>
                    <a:pt x="1412" y="153"/>
                    <a:pt x="1411" y="151"/>
                    <a:pt x="1413" y="149"/>
                  </a:cubicBezTo>
                  <a:cubicBezTo>
                    <a:pt x="1416" y="146"/>
                    <a:pt x="1420" y="149"/>
                    <a:pt x="1423" y="146"/>
                  </a:cubicBezTo>
                  <a:cubicBezTo>
                    <a:pt x="1429" y="142"/>
                    <a:pt x="1419" y="130"/>
                    <a:pt x="1418" y="124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9" name="Freeform 139"/>
            <p:cNvSpPr>
              <a:spLocks/>
            </p:cNvSpPr>
            <p:nvPr/>
          </p:nvSpPr>
          <p:spPr bwMode="auto">
            <a:xfrm>
              <a:off x="4910138" y="6602413"/>
              <a:ext cx="34925" cy="20638"/>
            </a:xfrm>
            <a:custGeom>
              <a:avLst/>
              <a:gdLst/>
              <a:ahLst/>
              <a:cxnLst>
                <a:cxn ang="0">
                  <a:pos x="16" y="2"/>
                </a:cxn>
                <a:cxn ang="0">
                  <a:pos x="3" y="3"/>
                </a:cxn>
                <a:cxn ang="0">
                  <a:pos x="1" y="7"/>
                </a:cxn>
                <a:cxn ang="0">
                  <a:pos x="5" y="10"/>
                </a:cxn>
                <a:cxn ang="0">
                  <a:pos x="14" y="11"/>
                </a:cxn>
                <a:cxn ang="0">
                  <a:pos x="17" y="7"/>
                </a:cxn>
                <a:cxn ang="0">
                  <a:pos x="19" y="3"/>
                </a:cxn>
                <a:cxn ang="0">
                  <a:pos x="16" y="2"/>
                </a:cxn>
              </a:cxnLst>
              <a:rect l="0" t="0" r="r" b="b"/>
              <a:pathLst>
                <a:path w="19" h="11">
                  <a:moveTo>
                    <a:pt x="16" y="2"/>
                  </a:moveTo>
                  <a:cubicBezTo>
                    <a:pt x="12" y="0"/>
                    <a:pt x="6" y="0"/>
                    <a:pt x="3" y="3"/>
                  </a:cubicBezTo>
                  <a:cubicBezTo>
                    <a:pt x="2" y="4"/>
                    <a:pt x="0" y="5"/>
                    <a:pt x="1" y="7"/>
                  </a:cubicBezTo>
                  <a:cubicBezTo>
                    <a:pt x="1" y="9"/>
                    <a:pt x="3" y="9"/>
                    <a:pt x="5" y="10"/>
                  </a:cubicBezTo>
                  <a:cubicBezTo>
                    <a:pt x="7" y="11"/>
                    <a:pt x="11" y="11"/>
                    <a:pt x="14" y="11"/>
                  </a:cubicBezTo>
                  <a:cubicBezTo>
                    <a:pt x="15" y="10"/>
                    <a:pt x="15" y="9"/>
                    <a:pt x="17" y="7"/>
                  </a:cubicBezTo>
                  <a:cubicBezTo>
                    <a:pt x="19" y="6"/>
                    <a:pt x="19" y="6"/>
                    <a:pt x="19" y="3"/>
                  </a:cubicBezTo>
                  <a:lnTo>
                    <a:pt x="16" y="2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4" name="Tekstfelt 3">
            <a:extLst>
              <a:ext uri="{FF2B5EF4-FFF2-40B4-BE49-F238E27FC236}">
                <a16:creationId xmlns="" xmlns:a16="http://schemas.microsoft.com/office/drawing/2014/main" id="{47F965CB-A45A-4DBE-AE14-51E9C83A5614}"/>
              </a:ext>
            </a:extLst>
          </p:cNvPr>
          <p:cNvSpPr txBox="1"/>
          <p:nvPr/>
        </p:nvSpPr>
        <p:spPr>
          <a:xfrm>
            <a:off x="3761084" y="3498013"/>
            <a:ext cx="4915372" cy="795083"/>
          </a:xfrm>
          <a:prstGeom prst="rect">
            <a:avLst/>
          </a:prstGeom>
          <a:noFill/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a-DK" sz="1600" b="1" dirty="0" smtClean="0">
                <a:solidFill>
                  <a:srgbClr val="FF0000"/>
                </a:solidFill>
              </a:rPr>
              <a:t>Denmark</a:t>
            </a:r>
            <a:r>
              <a:rPr lang="tr-TR" sz="1600" b="1" dirty="0" smtClean="0">
                <a:solidFill>
                  <a:srgbClr val="FF0000"/>
                </a:solidFill>
              </a:rPr>
              <a:t>             </a:t>
            </a:r>
            <a:endParaRPr lang="da-DK" sz="1600" b="1" dirty="0">
              <a:solidFill>
                <a:srgbClr val="FF0000"/>
              </a:solidFill>
            </a:endParaRPr>
          </a:p>
        </p:txBody>
      </p:sp>
      <p:sp>
        <p:nvSpPr>
          <p:cNvPr id="7" name="Tekstfelt 6">
            <a:extLst>
              <a:ext uri="{FF2B5EF4-FFF2-40B4-BE49-F238E27FC236}">
                <a16:creationId xmlns="" xmlns:a16="http://schemas.microsoft.com/office/drawing/2014/main" id="{AAE74683-6237-4848-8F43-7AFD52D5BD3A}"/>
              </a:ext>
            </a:extLst>
          </p:cNvPr>
          <p:cNvSpPr txBox="1"/>
          <p:nvPr/>
        </p:nvSpPr>
        <p:spPr>
          <a:xfrm>
            <a:off x="1730398" y="1990545"/>
            <a:ext cx="1008944" cy="363377"/>
          </a:xfrm>
          <a:prstGeom prst="rect">
            <a:avLst/>
          </a:prstGeom>
          <a:noFill/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a-DK" sz="1600" b="1" dirty="0" err="1"/>
              <a:t>Iceland</a:t>
            </a:r>
            <a:endParaRPr lang="da-DK" sz="1600" b="1" dirty="0"/>
          </a:p>
        </p:txBody>
      </p:sp>
      <p:sp>
        <p:nvSpPr>
          <p:cNvPr id="8" name="Tekstfelt 7">
            <a:extLst>
              <a:ext uri="{FF2B5EF4-FFF2-40B4-BE49-F238E27FC236}">
                <a16:creationId xmlns="" xmlns:a16="http://schemas.microsoft.com/office/drawing/2014/main" id="{C70F5FFA-32C6-44C4-A9F2-190A4C66188C}"/>
              </a:ext>
            </a:extLst>
          </p:cNvPr>
          <p:cNvSpPr txBox="1"/>
          <p:nvPr/>
        </p:nvSpPr>
        <p:spPr>
          <a:xfrm>
            <a:off x="3159011" y="4105502"/>
            <a:ext cx="1016899" cy="320162"/>
          </a:xfrm>
          <a:prstGeom prst="rect">
            <a:avLst/>
          </a:prstGeom>
          <a:noFill/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a-DK" sz="1600" b="1" dirty="0"/>
              <a:t>England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="" xmlns:a16="http://schemas.microsoft.com/office/drawing/2014/main" id="{4B4150AE-591D-4949-B4E6-DB7FBA7FDE82}"/>
              </a:ext>
            </a:extLst>
          </p:cNvPr>
          <p:cNvSpPr txBox="1"/>
          <p:nvPr/>
        </p:nvSpPr>
        <p:spPr>
          <a:xfrm>
            <a:off x="5558602" y="2362616"/>
            <a:ext cx="2973837" cy="922368"/>
          </a:xfrm>
          <a:prstGeom prst="rect">
            <a:avLst/>
          </a:prstGeom>
          <a:noFill/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a-DK" sz="1600" b="1" dirty="0" smtClean="0"/>
              <a:t>Finland</a:t>
            </a:r>
            <a:endParaRPr lang="tr-TR" sz="1600" b="1" dirty="0" smtClean="0"/>
          </a:p>
          <a:p>
            <a:pPr>
              <a:buSzPct val="90000"/>
            </a:pPr>
            <a:endParaRPr lang="tr-TR" sz="1600" b="1" dirty="0" smtClean="0"/>
          </a:p>
          <a:p>
            <a:pPr>
              <a:buSzPct val="90000"/>
            </a:pPr>
            <a:endParaRPr lang="da-DK" sz="1600" b="1" dirty="0"/>
          </a:p>
        </p:txBody>
      </p:sp>
      <p:sp>
        <p:nvSpPr>
          <p:cNvPr id="10" name="Tekstfelt 9">
            <a:extLst>
              <a:ext uri="{FF2B5EF4-FFF2-40B4-BE49-F238E27FC236}">
                <a16:creationId xmlns="" xmlns:a16="http://schemas.microsoft.com/office/drawing/2014/main" id="{02F63F29-8B9F-4AD7-BD61-41ED84B176AD}"/>
              </a:ext>
            </a:extLst>
          </p:cNvPr>
          <p:cNvSpPr txBox="1"/>
          <p:nvPr/>
        </p:nvSpPr>
        <p:spPr>
          <a:xfrm>
            <a:off x="5904148" y="5748018"/>
            <a:ext cx="2988332" cy="849334"/>
          </a:xfrm>
          <a:prstGeom prst="rect">
            <a:avLst/>
          </a:prstGeom>
          <a:noFill/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a-DK" sz="1600" b="1" dirty="0" smtClean="0"/>
              <a:t>Turkey</a:t>
            </a:r>
            <a:endParaRPr lang="tr-TR" sz="1600" b="1" dirty="0" smtClean="0"/>
          </a:p>
          <a:p>
            <a:pPr>
              <a:buSzPct val="90000"/>
            </a:pPr>
            <a:r>
              <a:rPr lang="tr-TR" sz="1600" b="1" dirty="0" smtClean="0"/>
              <a:t> Çan İbrahim Bodur Anadolu    Lisesi </a:t>
            </a:r>
            <a:endParaRPr lang="da-DK" sz="1600" b="1" dirty="0"/>
          </a:p>
        </p:txBody>
      </p:sp>
      <p:sp>
        <p:nvSpPr>
          <p:cNvPr id="12" name="Tekstfelt 11">
            <a:extLst>
              <a:ext uri="{FF2B5EF4-FFF2-40B4-BE49-F238E27FC236}">
                <a16:creationId xmlns="" xmlns:a16="http://schemas.microsoft.com/office/drawing/2014/main" id="{9883B6C6-35AD-4D18-B01B-95D93E61C4CD}"/>
              </a:ext>
            </a:extLst>
          </p:cNvPr>
          <p:cNvSpPr txBox="1"/>
          <p:nvPr/>
        </p:nvSpPr>
        <p:spPr>
          <a:xfrm>
            <a:off x="4577367" y="6323254"/>
            <a:ext cx="715897" cy="202237"/>
          </a:xfrm>
          <a:prstGeom prst="rect">
            <a:avLst/>
          </a:prstGeom>
          <a:noFill/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a-DK" sz="1600" b="1" dirty="0"/>
              <a:t>Malta</a:t>
            </a:r>
          </a:p>
        </p:txBody>
      </p:sp>
      <p:sp>
        <p:nvSpPr>
          <p:cNvPr id="149" name="148 Dikdörtgen"/>
          <p:cNvSpPr/>
          <p:nvPr/>
        </p:nvSpPr>
        <p:spPr>
          <a:xfrm>
            <a:off x="2286000" y="3105835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SzPct val="90000"/>
            </a:pPr>
            <a:endParaRPr lang="tr-TR" dirty="0"/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36416110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9EB38295-89A4-4216-AE7B-262793CE85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726" y="548680"/>
            <a:ext cx="7958274" cy="576064"/>
          </a:xfrm>
        </p:spPr>
        <p:txBody>
          <a:bodyPr/>
          <a:lstStyle/>
          <a:p>
            <a:r>
              <a:rPr lang="da-DK" dirty="0"/>
              <a:t>ROLES in the </a:t>
            </a:r>
            <a:r>
              <a:rPr lang="da-DK" dirty="0">
                <a:solidFill>
                  <a:schemeClr val="accent1">
                    <a:lumMod val="50000"/>
                  </a:schemeClr>
                </a:solidFill>
              </a:rPr>
              <a:t>ACTIVE </a:t>
            </a:r>
            <a:r>
              <a:rPr lang="da-DK" dirty="0" err="1"/>
              <a:t>Partnership</a:t>
            </a:r>
            <a:endParaRPr lang="da-DK" dirty="0"/>
          </a:p>
        </p:txBody>
      </p:sp>
      <p:sp>
        <p:nvSpPr>
          <p:cNvPr id="3" name="Pladsholder til slidenummer 2">
            <a:extLst>
              <a:ext uri="{FF2B5EF4-FFF2-40B4-BE49-F238E27FC236}">
                <a16:creationId xmlns="" xmlns:a16="http://schemas.microsoft.com/office/drawing/2014/main" id="{0717EB3A-A95B-4535-9E36-A21772BF63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20</a:t>
            </a:fld>
            <a:endParaRPr lang="de-DE" dirty="0"/>
          </a:p>
        </p:txBody>
      </p:sp>
      <p:pic>
        <p:nvPicPr>
          <p:cNvPr id="5" name="Billede 4">
            <a:extLst>
              <a:ext uri="{FF2B5EF4-FFF2-40B4-BE49-F238E27FC236}">
                <a16:creationId xmlns="" xmlns:a16="http://schemas.microsoft.com/office/drawing/2014/main" id="{30B491FB-B35E-447D-9CEE-3C1B32356D8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069" y="2823250"/>
            <a:ext cx="1847165" cy="1230674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="" xmlns:a16="http://schemas.microsoft.com/office/drawing/2014/main" id="{21AB6F24-4346-42C5-83A1-6C2B6CF9161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983" y="1340767"/>
            <a:ext cx="1755711" cy="1329128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="" xmlns:a16="http://schemas.microsoft.com/office/drawing/2014/main" id="{A5EBD3CD-7BCD-4430-B2D7-96B71FF80D1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4783" y="2823310"/>
            <a:ext cx="1846010" cy="1230674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="" xmlns:a16="http://schemas.microsoft.com/office/drawing/2014/main" id="{51D5FA19-FBD8-4E86-B7CE-3E475FB4EEC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1202" y="1340768"/>
            <a:ext cx="1846011" cy="1329128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="" xmlns:a16="http://schemas.microsoft.com/office/drawing/2014/main" id="{B757F1C0-12A6-43E7-B750-5FDB2F21BD7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983" y="4152377"/>
            <a:ext cx="1844543" cy="925336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="" xmlns:a16="http://schemas.microsoft.com/office/drawing/2014/main" id="{C764A8AB-7E9D-4C2E-B2B2-BAB8694FBE5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1078" y="4210248"/>
            <a:ext cx="1819715" cy="1111732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="" xmlns:a16="http://schemas.microsoft.com/office/drawing/2014/main" id="{14A319E6-B7F8-41FD-919F-368B2AE6671E}"/>
              </a:ext>
            </a:extLst>
          </p:cNvPr>
          <p:cNvSpPr txBox="1"/>
          <p:nvPr/>
        </p:nvSpPr>
        <p:spPr>
          <a:xfrm>
            <a:off x="2559748" y="1340767"/>
            <a:ext cx="1846011" cy="1329128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72000" rtlCol="0">
            <a:noAutofit/>
          </a:bodyPr>
          <a:lstStyle/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/>
              <a:t>Overall </a:t>
            </a:r>
            <a:r>
              <a:rPr lang="da-DK" sz="1300" b="1" dirty="0" err="1"/>
              <a:t>project</a:t>
            </a:r>
            <a:r>
              <a:rPr lang="da-DK" sz="1300" b="1" dirty="0"/>
              <a:t> </a:t>
            </a:r>
            <a:r>
              <a:rPr lang="da-DK" sz="1300" b="1" dirty="0" err="1"/>
              <a:t>responsibility</a:t>
            </a:r>
            <a:endParaRPr lang="da-DK" sz="1300" b="1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 err="1"/>
              <a:t>eTwinning</a:t>
            </a:r>
            <a:endParaRPr lang="da-DK" sz="1300" b="1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/>
              <a:t>Pupils LA March 2021</a:t>
            </a:r>
          </a:p>
        </p:txBody>
      </p:sp>
      <p:sp>
        <p:nvSpPr>
          <p:cNvPr id="17" name="Tekstfelt 16">
            <a:extLst>
              <a:ext uri="{FF2B5EF4-FFF2-40B4-BE49-F238E27FC236}">
                <a16:creationId xmlns="" xmlns:a16="http://schemas.microsoft.com/office/drawing/2014/main" id="{686DFB6B-750B-464B-9A37-23BDA0955BF6}"/>
              </a:ext>
            </a:extLst>
          </p:cNvPr>
          <p:cNvSpPr txBox="1"/>
          <p:nvPr/>
        </p:nvSpPr>
        <p:spPr>
          <a:xfrm>
            <a:off x="6850059" y="1340768"/>
            <a:ext cx="1846011" cy="1329127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72000" rtlCol="0">
            <a:noAutofit/>
          </a:bodyPr>
          <a:lstStyle/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/>
              <a:t>Pupils LA November 2020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 err="1"/>
              <a:t>Lead</a:t>
            </a:r>
            <a:r>
              <a:rPr lang="da-DK" sz="1300" b="1" dirty="0"/>
              <a:t> on </a:t>
            </a:r>
            <a:r>
              <a:rPr lang="da-DK" sz="1300" b="1" dirty="0" err="1"/>
              <a:t>dissemination</a:t>
            </a:r>
            <a:r>
              <a:rPr lang="da-DK" sz="1300" b="1" dirty="0"/>
              <a:t> </a:t>
            </a:r>
            <a:r>
              <a:rPr lang="da-DK" sz="1300" b="1" dirty="0" err="1"/>
              <a:t>activities</a:t>
            </a:r>
            <a:endParaRPr lang="da-DK" sz="1300" b="1" dirty="0"/>
          </a:p>
        </p:txBody>
      </p:sp>
      <p:sp>
        <p:nvSpPr>
          <p:cNvPr id="18" name="Tekstfelt 17">
            <a:extLst>
              <a:ext uri="{FF2B5EF4-FFF2-40B4-BE49-F238E27FC236}">
                <a16:creationId xmlns="" xmlns:a16="http://schemas.microsoft.com/office/drawing/2014/main" id="{700546DD-EB08-4A79-A547-5B45245A32D5}"/>
              </a:ext>
            </a:extLst>
          </p:cNvPr>
          <p:cNvSpPr txBox="1"/>
          <p:nvPr/>
        </p:nvSpPr>
        <p:spPr>
          <a:xfrm>
            <a:off x="2559748" y="2823310"/>
            <a:ext cx="1846011" cy="1264327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72000" rtlCol="0">
            <a:noAutofit/>
          </a:bodyPr>
          <a:lstStyle/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/>
              <a:t>Project website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/>
              <a:t>TT </a:t>
            </a:r>
            <a:r>
              <a:rPr lang="da-DK" sz="1300" b="1" dirty="0" err="1"/>
              <a:t>activity</a:t>
            </a:r>
            <a:r>
              <a:rPr lang="da-DK" sz="1300" b="1" dirty="0"/>
              <a:t> in September 2019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/>
              <a:t>ICT  and </a:t>
            </a:r>
            <a:r>
              <a:rPr lang="da-DK" sz="1300" b="1" dirty="0" err="1"/>
              <a:t>evaluation</a:t>
            </a:r>
            <a:r>
              <a:rPr lang="da-DK" sz="1300" b="1" dirty="0"/>
              <a:t> </a:t>
            </a:r>
            <a:r>
              <a:rPr lang="da-DK" sz="1300" b="1" dirty="0" err="1"/>
              <a:t>tools</a:t>
            </a:r>
            <a:r>
              <a:rPr lang="da-DK" sz="1300" b="1" dirty="0"/>
              <a:t> support</a:t>
            </a:r>
          </a:p>
        </p:txBody>
      </p:sp>
      <p:sp>
        <p:nvSpPr>
          <p:cNvPr id="19" name="Tekstfelt 18">
            <a:extLst>
              <a:ext uri="{FF2B5EF4-FFF2-40B4-BE49-F238E27FC236}">
                <a16:creationId xmlns="" xmlns:a16="http://schemas.microsoft.com/office/drawing/2014/main" id="{75FD38BA-4027-4A7F-BA21-17E8EEFF0771}"/>
              </a:ext>
            </a:extLst>
          </p:cNvPr>
          <p:cNvSpPr txBox="1"/>
          <p:nvPr/>
        </p:nvSpPr>
        <p:spPr>
          <a:xfrm>
            <a:off x="2559748" y="4154315"/>
            <a:ext cx="1846011" cy="1264327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72000" rtlCol="0">
            <a:noAutofit/>
          </a:bodyPr>
          <a:lstStyle/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 err="1"/>
              <a:t>Lead</a:t>
            </a:r>
            <a:r>
              <a:rPr lang="da-DK" sz="1300" b="1" dirty="0"/>
              <a:t> on </a:t>
            </a:r>
            <a:r>
              <a:rPr lang="da-DK" sz="1300" b="1" dirty="0" err="1"/>
              <a:t>surveys</a:t>
            </a:r>
            <a:endParaRPr lang="da-DK" sz="1300" b="1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 err="1"/>
              <a:t>Equal</a:t>
            </a:r>
            <a:r>
              <a:rPr lang="da-DK" sz="1300" b="1" dirty="0"/>
              <a:t> </a:t>
            </a:r>
            <a:r>
              <a:rPr lang="da-DK" sz="1300" b="1" dirty="0" err="1"/>
              <a:t>opportunities</a:t>
            </a:r>
            <a:r>
              <a:rPr lang="da-DK" sz="1300" b="1" dirty="0"/>
              <a:t> and </a:t>
            </a:r>
            <a:r>
              <a:rPr lang="da-DK" sz="1300" b="1" dirty="0" err="1"/>
              <a:t>safeguarding</a:t>
            </a:r>
            <a:endParaRPr lang="da-DK" sz="1300" b="1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/>
              <a:t>TT and Pupils LA May 2020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="" xmlns:a16="http://schemas.microsoft.com/office/drawing/2014/main" id="{7729B8A5-3B3F-42D4-B299-633269D3D082}"/>
              </a:ext>
            </a:extLst>
          </p:cNvPr>
          <p:cNvSpPr txBox="1"/>
          <p:nvPr/>
        </p:nvSpPr>
        <p:spPr>
          <a:xfrm>
            <a:off x="6850058" y="2823310"/>
            <a:ext cx="1846011" cy="1264327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72000" rtlCol="0">
            <a:noAutofit/>
          </a:bodyPr>
          <a:lstStyle/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/>
              <a:t>In charge of TT (</a:t>
            </a:r>
            <a:r>
              <a:rPr lang="da-DK" sz="1300" b="1" dirty="0" err="1"/>
              <a:t>evaluation</a:t>
            </a:r>
            <a:r>
              <a:rPr lang="da-DK" sz="1300" b="1" dirty="0"/>
              <a:t>) in May 2021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/>
              <a:t>Evaluation of all </a:t>
            </a:r>
            <a:r>
              <a:rPr lang="da-DK" sz="1300" b="1" dirty="0" err="1"/>
              <a:t>activities</a:t>
            </a:r>
            <a:endParaRPr lang="da-DK" sz="1300" b="1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/>
              <a:t>Midway </a:t>
            </a:r>
            <a:r>
              <a:rPr lang="da-DK" sz="1300" b="1" dirty="0" err="1"/>
              <a:t>reports</a:t>
            </a:r>
            <a:endParaRPr lang="da-DK" sz="1300" b="1" dirty="0"/>
          </a:p>
        </p:txBody>
      </p:sp>
      <p:sp>
        <p:nvSpPr>
          <p:cNvPr id="21" name="Tekstfelt 20">
            <a:extLst>
              <a:ext uri="{FF2B5EF4-FFF2-40B4-BE49-F238E27FC236}">
                <a16:creationId xmlns="" xmlns:a16="http://schemas.microsoft.com/office/drawing/2014/main" id="{5F035CCF-7CA0-40D7-A9A8-62099FD4EAF0}"/>
              </a:ext>
            </a:extLst>
          </p:cNvPr>
          <p:cNvSpPr txBox="1"/>
          <p:nvPr/>
        </p:nvSpPr>
        <p:spPr>
          <a:xfrm>
            <a:off x="6850058" y="4198149"/>
            <a:ext cx="1846011" cy="1264327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72000" rtlCol="0">
            <a:noAutofit/>
          </a:bodyPr>
          <a:lstStyle/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/>
              <a:t>In charge of Pupil LA in November 2019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 err="1"/>
              <a:t>Lead</a:t>
            </a:r>
            <a:r>
              <a:rPr lang="da-DK" sz="1300" b="1" dirty="0"/>
              <a:t> on </a:t>
            </a:r>
            <a:r>
              <a:rPr lang="da-DK" sz="1300" b="1" dirty="0" err="1"/>
              <a:t>impact</a:t>
            </a:r>
            <a:r>
              <a:rPr lang="da-DK" sz="1300" b="1" dirty="0"/>
              <a:t> and </a:t>
            </a:r>
            <a:r>
              <a:rPr lang="da-DK" sz="1300" b="1" dirty="0" err="1"/>
              <a:t>sustainability</a:t>
            </a:r>
            <a:endParaRPr lang="da-DK" sz="1300" b="1" dirty="0"/>
          </a:p>
          <a:p>
            <a:pPr>
              <a:buSzPct val="90000"/>
            </a:pPr>
            <a:endParaRPr lang="da-DK" sz="1300" b="1" dirty="0"/>
          </a:p>
        </p:txBody>
      </p:sp>
    </p:spTree>
    <p:extLst>
      <p:ext uri="{BB962C8B-B14F-4D97-AF65-F5344CB8AC3E}">
        <p14:creationId xmlns="" xmlns:p14="http://schemas.microsoft.com/office/powerpoint/2010/main" val="194762744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56A8340F-AA04-4822-8C5F-259C258229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3600" dirty="0">
                <a:solidFill>
                  <a:schemeClr val="accent1">
                    <a:lumMod val="50000"/>
                  </a:schemeClr>
                </a:solidFill>
              </a:rPr>
              <a:t>ACTIVE</a:t>
            </a:r>
            <a:r>
              <a:rPr lang="da-DK" dirty="0"/>
              <a:t> </a:t>
            </a:r>
            <a:br>
              <a:rPr lang="da-DK" dirty="0"/>
            </a:br>
            <a:r>
              <a:rPr lang="da-DK" dirty="0" err="1"/>
              <a:t>Economy</a:t>
            </a:r>
            <a:endParaRPr lang="da-DK" dirty="0"/>
          </a:p>
        </p:txBody>
      </p:sp>
      <p:sp>
        <p:nvSpPr>
          <p:cNvPr id="3" name="Pladsholder til slidenummer 2">
            <a:extLst>
              <a:ext uri="{FF2B5EF4-FFF2-40B4-BE49-F238E27FC236}">
                <a16:creationId xmlns="" xmlns:a16="http://schemas.microsoft.com/office/drawing/2014/main" id="{FBD528AC-9086-4B97-A350-B5062B3DEFD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21</a:t>
            </a:fld>
            <a:endParaRPr lang="de-DE" dirty="0"/>
          </a:p>
        </p:txBody>
      </p:sp>
      <p:pic>
        <p:nvPicPr>
          <p:cNvPr id="5" name="Billede 4">
            <a:extLst>
              <a:ext uri="{FF2B5EF4-FFF2-40B4-BE49-F238E27FC236}">
                <a16:creationId xmlns="" xmlns:a16="http://schemas.microsoft.com/office/drawing/2014/main" id="{3A9BDC37-474F-4392-B399-88288669386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630" y="1916832"/>
            <a:ext cx="7934370" cy="4630840"/>
          </a:xfrm>
          <a:prstGeom prst="rect">
            <a:avLst/>
          </a:prstGeom>
        </p:spPr>
      </p:pic>
      <p:sp>
        <p:nvSpPr>
          <p:cNvPr id="8" name="Tekstfelt 7">
            <a:extLst>
              <a:ext uri="{FF2B5EF4-FFF2-40B4-BE49-F238E27FC236}">
                <a16:creationId xmlns="" xmlns:a16="http://schemas.microsoft.com/office/drawing/2014/main" id="{B61FF8BD-DAF5-4A7C-B22E-63250EBF5984}"/>
              </a:ext>
            </a:extLst>
          </p:cNvPr>
          <p:cNvSpPr txBox="1"/>
          <p:nvPr/>
        </p:nvSpPr>
        <p:spPr>
          <a:xfrm>
            <a:off x="3131840" y="583148"/>
            <a:ext cx="5472160" cy="936104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a-DK" sz="1400" dirty="0"/>
              <a:t>All partners</a:t>
            </a:r>
          </a:p>
          <a:p>
            <a:pPr>
              <a:buSzPct val="90000"/>
            </a:pPr>
            <a:r>
              <a:rPr lang="da-DK" sz="1400" dirty="0"/>
              <a:t>Project Management and </a:t>
            </a:r>
            <a:r>
              <a:rPr lang="da-DK" sz="1400" dirty="0" err="1"/>
              <a:t>Implementation</a:t>
            </a:r>
            <a:r>
              <a:rPr lang="da-DK" sz="1400" dirty="0"/>
              <a:t>	42.000 EUR</a:t>
            </a:r>
          </a:p>
          <a:p>
            <a:pPr>
              <a:buSzPct val="90000"/>
            </a:pPr>
            <a:r>
              <a:rPr lang="da-DK" sz="1400" dirty="0"/>
              <a:t>Learning, </a:t>
            </a:r>
            <a:r>
              <a:rPr lang="da-DK" sz="1400" dirty="0" err="1"/>
              <a:t>Teaching</a:t>
            </a:r>
            <a:r>
              <a:rPr lang="da-DK" sz="1400" dirty="0"/>
              <a:t>, Training </a:t>
            </a:r>
            <a:r>
              <a:rPr lang="da-DK" sz="1400" dirty="0" err="1"/>
              <a:t>Activities</a:t>
            </a:r>
            <a:r>
              <a:rPr lang="da-DK" sz="1400" dirty="0"/>
              <a:t>	154257.00 EUR</a:t>
            </a:r>
          </a:p>
          <a:p>
            <a:pPr>
              <a:buSzPct val="90000"/>
            </a:pPr>
            <a:r>
              <a:rPr lang="da-DK" sz="1400" dirty="0"/>
              <a:t>TOTAL				196270.00 EUR	</a:t>
            </a:r>
          </a:p>
        </p:txBody>
      </p:sp>
    </p:spTree>
    <p:extLst>
      <p:ext uri="{BB962C8B-B14F-4D97-AF65-F5344CB8AC3E}">
        <p14:creationId xmlns="" xmlns:p14="http://schemas.microsoft.com/office/powerpoint/2010/main" val="37039319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10"/>
    </mc:Choice>
    <mc:Fallback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8160831B-4D21-401E-8A7C-60CFABFD3F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a-DK" sz="3200" dirty="0" smtClean="0">
                <a:solidFill>
                  <a:schemeClr val="accent1">
                    <a:lumMod val="50000"/>
                  </a:schemeClr>
                </a:solidFill>
              </a:rPr>
              <a:t>ACTIVE</a:t>
            </a:r>
            <a:r>
              <a:rPr lang="da-DK" dirty="0" smtClean="0"/>
              <a:t> </a:t>
            </a:r>
            <a:endParaRPr lang="da-DK" dirty="0"/>
          </a:p>
        </p:txBody>
      </p:sp>
      <p:sp>
        <p:nvSpPr>
          <p:cNvPr id="3" name="Pladsholder til slidenummer 2">
            <a:extLst>
              <a:ext uri="{FF2B5EF4-FFF2-40B4-BE49-F238E27FC236}">
                <a16:creationId xmlns="" xmlns:a16="http://schemas.microsoft.com/office/drawing/2014/main" id="{2F46F593-7BED-4012-8F6D-38FA98E484B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22</a:t>
            </a:fld>
            <a:endParaRPr lang="de-DE" dirty="0"/>
          </a:p>
        </p:txBody>
      </p:sp>
      <p:pic>
        <p:nvPicPr>
          <p:cNvPr id="5" name="Billede 4">
            <a:hlinkClick r:id="rId2"/>
            <a:extLst>
              <a:ext uri="{FF2B5EF4-FFF2-40B4-BE49-F238E27FC236}">
                <a16:creationId xmlns="" xmlns:a16="http://schemas.microsoft.com/office/drawing/2014/main" id="{98192585-C778-4EFC-9671-D722721EDD2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/>
          <a:srcRect t="6310" b="31321"/>
          <a:stretch/>
        </p:blipFill>
        <p:spPr>
          <a:xfrm>
            <a:off x="2483768" y="3429000"/>
            <a:ext cx="4355976" cy="143862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5048733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4A54D7C6-3AE3-4BE4-8FD0-E60E03EAEA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8236" y="379463"/>
            <a:ext cx="4399827" cy="721552"/>
          </a:xfrm>
        </p:spPr>
        <p:txBody>
          <a:bodyPr/>
          <a:lstStyle/>
          <a:p>
            <a:r>
              <a:rPr lang="da-DK" sz="3600" dirty="0">
                <a:solidFill>
                  <a:schemeClr val="accent1">
                    <a:lumMod val="50000"/>
                  </a:schemeClr>
                </a:solidFill>
              </a:rPr>
              <a:t>ACTIVE</a:t>
            </a:r>
            <a:r>
              <a:rPr lang="da-DK" dirty="0"/>
              <a:t>  </a:t>
            </a:r>
            <a:r>
              <a:rPr lang="tr-TR" dirty="0" smtClean="0"/>
              <a:t>OKULLAR</a:t>
            </a:r>
            <a:endParaRPr lang="da-DK" dirty="0"/>
          </a:p>
        </p:txBody>
      </p:sp>
      <p:sp>
        <p:nvSpPr>
          <p:cNvPr id="3" name="Pladsholder til slidenummer 2">
            <a:extLst>
              <a:ext uri="{FF2B5EF4-FFF2-40B4-BE49-F238E27FC236}">
                <a16:creationId xmlns="" xmlns:a16="http://schemas.microsoft.com/office/drawing/2014/main" id="{33791012-854A-4987-AEA4-5A56468424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15" name="Billede 14">
            <a:extLst>
              <a:ext uri="{FF2B5EF4-FFF2-40B4-BE49-F238E27FC236}">
                <a16:creationId xmlns="" xmlns:a16="http://schemas.microsoft.com/office/drawing/2014/main" id="{00C69DB8-9E3F-4110-9F01-2C6816DC4FE4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93738" y="3924747"/>
            <a:ext cx="4015040" cy="2496017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1026" name="Picture 2" descr="Billedresultat for finland kort">
            <a:extLst>
              <a:ext uri="{FF2B5EF4-FFF2-40B4-BE49-F238E27FC236}">
                <a16:creationId xmlns="" xmlns:a16="http://schemas.microsoft.com/office/drawing/2014/main" id="{4B190497-DD20-4623-B6D8-1461B084F5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5728" y="593095"/>
            <a:ext cx="2448272" cy="261353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illedresultat for denmark map">
            <a:extLst>
              <a:ext uri="{FF2B5EF4-FFF2-40B4-BE49-F238E27FC236}">
                <a16:creationId xmlns="" xmlns:a16="http://schemas.microsoft.com/office/drawing/2014/main" id="{A803B412-7D95-4FEC-970D-D4E249F16B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439" y="1210988"/>
            <a:ext cx="2664297" cy="200108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8" name="Lige pilforbindelse 17">
            <a:extLst>
              <a:ext uri="{FF2B5EF4-FFF2-40B4-BE49-F238E27FC236}">
                <a16:creationId xmlns="" xmlns:a16="http://schemas.microsoft.com/office/drawing/2014/main" id="{E3C969D2-6A1E-4CFC-A71C-655DFDE306BD}"/>
              </a:ext>
            </a:extLst>
          </p:cNvPr>
          <p:cNvCxnSpPr>
            <a:cxnSpLocks/>
          </p:cNvCxnSpPr>
          <p:nvPr/>
        </p:nvCxnSpPr>
        <p:spPr>
          <a:xfrm flipV="1">
            <a:off x="2195736" y="1674430"/>
            <a:ext cx="1368152" cy="31441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9" name="Tekstfelt 18">
            <a:hlinkClick r:id="rId5"/>
            <a:extLst>
              <a:ext uri="{FF2B5EF4-FFF2-40B4-BE49-F238E27FC236}">
                <a16:creationId xmlns="" xmlns:a16="http://schemas.microsoft.com/office/drawing/2014/main" id="{5E078B10-3442-49C3-B86E-6D0F75E86A24}"/>
              </a:ext>
            </a:extLst>
          </p:cNvPr>
          <p:cNvSpPr txBox="1"/>
          <p:nvPr/>
        </p:nvSpPr>
        <p:spPr>
          <a:xfrm>
            <a:off x="3563888" y="1210987"/>
            <a:ext cx="2388688" cy="19233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a-DK" sz="1400" b="1" dirty="0"/>
              <a:t>Nordre Skole</a:t>
            </a:r>
          </a:p>
          <a:p>
            <a:pPr>
              <a:buSzPct val="90000"/>
            </a:pPr>
            <a:r>
              <a:rPr lang="da-DK" sz="1400" b="1" dirty="0"/>
              <a:t>Viborg – DENMARK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tr-TR" sz="1400" dirty="0" smtClean="0"/>
              <a:t>Koordinatör</a:t>
            </a:r>
            <a:endParaRPr lang="da-DK" sz="1400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tr-TR" sz="1400" dirty="0" smtClean="0"/>
              <a:t>Sınıflar</a:t>
            </a:r>
            <a:r>
              <a:rPr lang="da-DK" sz="1400" dirty="0" smtClean="0"/>
              <a:t> 0-9</a:t>
            </a:r>
            <a:r>
              <a:rPr lang="da-DK" sz="1400" dirty="0"/>
              <a:t>, 655 </a:t>
            </a:r>
            <a:r>
              <a:rPr lang="tr-TR" sz="1400" dirty="0" smtClean="0"/>
              <a:t>öğrenci</a:t>
            </a:r>
            <a:endParaRPr lang="tr-TR" sz="1400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endParaRPr lang="da-DK" sz="1400" dirty="0"/>
          </a:p>
          <a:p>
            <a:pPr>
              <a:buSzPct val="90000"/>
            </a:pPr>
            <a:r>
              <a:rPr lang="da-DK" sz="1400" dirty="0" smtClean="0"/>
              <a:t>”</a:t>
            </a:r>
            <a:r>
              <a:rPr lang="tr-TR" sz="1400" dirty="0" smtClean="0"/>
              <a:t>Çeşitlilik</a:t>
            </a:r>
            <a:r>
              <a:rPr lang="da-DK" sz="1400" dirty="0" smtClean="0"/>
              <a:t>,</a:t>
            </a:r>
            <a:r>
              <a:rPr lang="tr-TR" sz="1400" dirty="0" smtClean="0"/>
              <a:t> birliktelik</a:t>
            </a:r>
            <a:r>
              <a:rPr lang="da-DK" sz="1400" dirty="0" smtClean="0"/>
              <a:t>,</a:t>
            </a:r>
            <a:r>
              <a:rPr lang="tr-TR" sz="1400" dirty="0" smtClean="0"/>
              <a:t> işbirliği</a:t>
            </a:r>
            <a:r>
              <a:rPr lang="da-DK" sz="1400" dirty="0" smtClean="0"/>
              <a:t>”</a:t>
            </a:r>
            <a:endParaRPr lang="da-DK" sz="1400" dirty="0"/>
          </a:p>
        </p:txBody>
      </p:sp>
      <p:sp>
        <p:nvSpPr>
          <p:cNvPr id="1025" name="Tekstfelt 1024">
            <a:extLst>
              <a:ext uri="{FF2B5EF4-FFF2-40B4-BE49-F238E27FC236}">
                <a16:creationId xmlns="" xmlns:a16="http://schemas.microsoft.com/office/drawing/2014/main" id="{6D11C5F3-AB97-42E5-AFFA-473A73B06400}"/>
              </a:ext>
            </a:extLst>
          </p:cNvPr>
          <p:cNvSpPr txBox="1"/>
          <p:nvPr/>
        </p:nvSpPr>
        <p:spPr>
          <a:xfrm>
            <a:off x="6214200" y="3327708"/>
            <a:ext cx="2388688" cy="143432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a-DK" sz="1400" b="1" dirty="0" err="1"/>
              <a:t>Tehtaankadun</a:t>
            </a:r>
            <a:r>
              <a:rPr lang="da-DK" sz="1400" b="1" dirty="0"/>
              <a:t> </a:t>
            </a:r>
            <a:r>
              <a:rPr lang="da-DK" sz="1400" b="1" dirty="0" err="1"/>
              <a:t>Koulu</a:t>
            </a:r>
            <a:endParaRPr lang="da-DK" sz="1400" b="1" dirty="0"/>
          </a:p>
          <a:p>
            <a:pPr>
              <a:buSzPct val="90000"/>
            </a:pPr>
            <a:r>
              <a:rPr lang="da-DK" sz="1400" b="1" dirty="0"/>
              <a:t>Helsinki – </a:t>
            </a:r>
            <a:r>
              <a:rPr lang="da-DK" sz="1400" b="1" dirty="0">
                <a:hlinkClick r:id="rId6"/>
              </a:rPr>
              <a:t>FINLAND</a:t>
            </a:r>
            <a:endParaRPr lang="da-DK" sz="1400" b="1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tr-TR" sz="1400" dirty="0" smtClean="0"/>
              <a:t>Ortak</a:t>
            </a:r>
            <a:endParaRPr lang="da-DK" sz="1400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tr-TR" sz="1400" dirty="0" smtClean="0"/>
              <a:t>Sınıflar</a:t>
            </a:r>
            <a:r>
              <a:rPr lang="da-DK" sz="1400" dirty="0" smtClean="0"/>
              <a:t> </a:t>
            </a:r>
            <a:r>
              <a:rPr lang="da-DK" sz="1400" dirty="0"/>
              <a:t>1-6, 380 </a:t>
            </a:r>
            <a:r>
              <a:rPr lang="tr-TR" sz="1400" dirty="0" smtClean="0"/>
              <a:t>öğrenci</a:t>
            </a:r>
            <a:endParaRPr lang="da-DK" sz="1400" dirty="0"/>
          </a:p>
          <a:p>
            <a:pPr>
              <a:buSzPct val="90000"/>
            </a:pPr>
            <a:r>
              <a:rPr lang="da-DK" sz="1400" dirty="0" smtClean="0"/>
              <a:t>”</a:t>
            </a:r>
            <a:r>
              <a:rPr lang="tr-TR" sz="1400" dirty="0" smtClean="0"/>
              <a:t>Yaratıcılık</a:t>
            </a:r>
            <a:r>
              <a:rPr lang="da-DK" sz="1400" dirty="0" smtClean="0"/>
              <a:t>,</a:t>
            </a:r>
            <a:r>
              <a:rPr lang="tr-TR" sz="1400" dirty="0" smtClean="0"/>
              <a:t> sanat</a:t>
            </a:r>
            <a:r>
              <a:rPr lang="da-DK" sz="1400" dirty="0" smtClean="0"/>
              <a:t>,</a:t>
            </a:r>
            <a:r>
              <a:rPr lang="tr-TR" sz="1400" dirty="0" smtClean="0"/>
              <a:t> kültür</a:t>
            </a:r>
            <a:r>
              <a:rPr lang="da-DK" sz="1400" dirty="0" smtClean="0"/>
              <a:t>,</a:t>
            </a:r>
            <a:r>
              <a:rPr lang="tr-TR" sz="1400" dirty="0" smtClean="0"/>
              <a:t> yabancı diller </a:t>
            </a:r>
            <a:r>
              <a:rPr lang="da-DK" sz="1400" dirty="0" smtClean="0"/>
              <a:t>”</a:t>
            </a:r>
            <a:endParaRPr lang="da-DK" sz="1400" dirty="0"/>
          </a:p>
          <a:p>
            <a:pPr marL="285750" indent="-285750">
              <a:buSzPct val="90000"/>
              <a:buFontTx/>
              <a:buChar char="-"/>
            </a:pPr>
            <a:endParaRPr lang="da-DK" sz="1400" dirty="0"/>
          </a:p>
        </p:txBody>
      </p:sp>
      <p:cxnSp>
        <p:nvCxnSpPr>
          <p:cNvPr id="1024" name="Lige pilforbindelse 1023">
            <a:extLst>
              <a:ext uri="{FF2B5EF4-FFF2-40B4-BE49-F238E27FC236}">
                <a16:creationId xmlns="" xmlns:a16="http://schemas.microsoft.com/office/drawing/2014/main" id="{04A22BA5-5DFE-4C2D-AF9F-8095672D75D0}"/>
              </a:ext>
            </a:extLst>
          </p:cNvPr>
          <p:cNvCxnSpPr>
            <a:cxnSpLocks/>
          </p:cNvCxnSpPr>
          <p:nvPr/>
        </p:nvCxnSpPr>
        <p:spPr>
          <a:xfrm>
            <a:off x="7452320" y="3019230"/>
            <a:ext cx="0" cy="40977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30" name="Tekstfelt 1029">
            <a:extLst>
              <a:ext uri="{FF2B5EF4-FFF2-40B4-BE49-F238E27FC236}">
                <a16:creationId xmlns="" xmlns:a16="http://schemas.microsoft.com/office/drawing/2014/main" id="{8FE681E8-4411-41F4-8F89-16F02752441C}"/>
              </a:ext>
            </a:extLst>
          </p:cNvPr>
          <p:cNvSpPr txBox="1"/>
          <p:nvPr/>
        </p:nvSpPr>
        <p:spPr>
          <a:xfrm>
            <a:off x="4823932" y="4959554"/>
            <a:ext cx="3778956" cy="163779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a-DK" sz="1400" b="1" dirty="0" err="1"/>
              <a:t>Çan</a:t>
            </a:r>
            <a:r>
              <a:rPr lang="da-DK" sz="1400" b="1" dirty="0"/>
              <a:t> Ibrahim </a:t>
            </a:r>
            <a:r>
              <a:rPr lang="da-DK" sz="1400" b="1" dirty="0" err="1"/>
              <a:t>Bodur</a:t>
            </a:r>
            <a:r>
              <a:rPr lang="da-DK" sz="1400" b="1" dirty="0"/>
              <a:t> </a:t>
            </a:r>
            <a:r>
              <a:rPr lang="da-DK" sz="1400" b="1" dirty="0" err="1"/>
              <a:t>Anadolu</a:t>
            </a:r>
            <a:r>
              <a:rPr lang="da-DK" sz="1400" b="1" dirty="0"/>
              <a:t> </a:t>
            </a:r>
            <a:r>
              <a:rPr lang="da-DK" sz="1400" b="1" dirty="0" err="1"/>
              <a:t>Lisesi</a:t>
            </a:r>
            <a:endParaRPr lang="da-DK" sz="1400" b="1" dirty="0"/>
          </a:p>
          <a:p>
            <a:pPr>
              <a:buSzPct val="90000"/>
            </a:pPr>
            <a:r>
              <a:rPr lang="da-DK" sz="1400" b="1" dirty="0" err="1"/>
              <a:t>Çan</a:t>
            </a:r>
            <a:r>
              <a:rPr lang="da-DK" sz="1400" b="1" dirty="0"/>
              <a:t>/</a:t>
            </a:r>
            <a:r>
              <a:rPr lang="da-DK" sz="1400" b="1" dirty="0" err="1"/>
              <a:t>Çanakkale</a:t>
            </a:r>
            <a:r>
              <a:rPr lang="da-DK" sz="1400" b="1" dirty="0"/>
              <a:t> – TURKEY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tr-TR" sz="1400" dirty="0" smtClean="0"/>
              <a:t>Ortak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tr-TR" sz="1400" dirty="0" smtClean="0"/>
              <a:t>Sınıflar 9-12</a:t>
            </a:r>
            <a:endParaRPr lang="da-DK" sz="1400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/>
              <a:t>560 </a:t>
            </a:r>
            <a:r>
              <a:rPr lang="tr-TR" sz="1400" dirty="0" smtClean="0"/>
              <a:t>öğrenci</a:t>
            </a:r>
            <a:r>
              <a:rPr lang="da-DK" sz="1400" dirty="0" smtClean="0"/>
              <a:t>, </a:t>
            </a:r>
            <a:r>
              <a:rPr lang="tr-TR" sz="1400" dirty="0" smtClean="0"/>
              <a:t>yaş aralığı</a:t>
            </a:r>
            <a:r>
              <a:rPr lang="da-DK" sz="1400" dirty="0" smtClean="0"/>
              <a:t> </a:t>
            </a:r>
            <a:r>
              <a:rPr lang="da-DK" sz="1400" dirty="0"/>
              <a:t>14-18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tr-TR" sz="1400" dirty="0" smtClean="0"/>
              <a:t>Lise</a:t>
            </a:r>
            <a:endParaRPr lang="da-DK" sz="1400" dirty="0"/>
          </a:p>
          <a:p>
            <a:pPr>
              <a:buSzPct val="90000"/>
            </a:pPr>
            <a:r>
              <a:rPr lang="da-DK" sz="1400" dirty="0"/>
              <a:t>”</a:t>
            </a:r>
            <a:r>
              <a:rPr lang="da-DK" sz="1400" dirty="0" smtClean="0"/>
              <a:t>A</a:t>
            </a:r>
            <a:r>
              <a:rPr lang="tr-TR" sz="1400" dirty="0" err="1" smtClean="0"/>
              <a:t>kademik</a:t>
            </a:r>
            <a:r>
              <a:rPr lang="tr-TR" sz="1400" dirty="0" smtClean="0"/>
              <a:t> başarı</a:t>
            </a:r>
            <a:r>
              <a:rPr lang="da-DK" sz="1400" dirty="0" smtClean="0"/>
              <a:t>,</a:t>
            </a:r>
            <a:r>
              <a:rPr lang="tr-TR" sz="1400" dirty="0" smtClean="0"/>
              <a:t> sorumluluk</a:t>
            </a:r>
            <a:r>
              <a:rPr lang="da-DK" sz="1400" dirty="0" smtClean="0"/>
              <a:t>,</a:t>
            </a:r>
            <a:r>
              <a:rPr lang="tr-TR" sz="1400" dirty="0" smtClean="0"/>
              <a:t>kendine güven</a:t>
            </a:r>
            <a:r>
              <a:rPr lang="da-DK" sz="1400" dirty="0" smtClean="0"/>
              <a:t>”</a:t>
            </a:r>
            <a:endParaRPr lang="da-DK" sz="1400" dirty="0"/>
          </a:p>
        </p:txBody>
      </p:sp>
      <p:cxnSp>
        <p:nvCxnSpPr>
          <p:cNvPr id="1035" name="Lige pilforbindelse 1034">
            <a:extLst>
              <a:ext uri="{FF2B5EF4-FFF2-40B4-BE49-F238E27FC236}">
                <a16:creationId xmlns="" xmlns:a16="http://schemas.microsoft.com/office/drawing/2014/main" id="{F144B944-F2DC-4F69-9748-7F6C6B78D222}"/>
              </a:ext>
            </a:extLst>
          </p:cNvPr>
          <p:cNvCxnSpPr/>
          <p:nvPr/>
        </p:nvCxnSpPr>
        <p:spPr>
          <a:xfrm>
            <a:off x="1115616" y="4887279"/>
            <a:ext cx="3744416" cy="70196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710075808"/>
      </p:ext>
    </p:extLst>
  </p:cSld>
  <p:clrMapOvr>
    <a:masterClrMapping/>
  </p:clrMapOvr>
  <p:transition spd="slow">
    <p:randomBar dir="vert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C5DB8F9D-047B-4579-8C8D-8BF8B58038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475200"/>
            <a:ext cx="3228540" cy="577536"/>
          </a:xfrm>
        </p:spPr>
        <p:txBody>
          <a:bodyPr/>
          <a:lstStyle/>
          <a:p>
            <a:r>
              <a:rPr lang="da-DK" dirty="0">
                <a:solidFill>
                  <a:srgbClr val="0070C0"/>
                </a:solidFill>
              </a:rPr>
              <a:t>ACTIVE</a:t>
            </a:r>
            <a:r>
              <a:rPr lang="da-DK" dirty="0"/>
              <a:t> </a:t>
            </a:r>
            <a:r>
              <a:rPr lang="tr-TR" dirty="0" smtClean="0"/>
              <a:t>OKULLAR</a:t>
            </a:r>
            <a:endParaRPr lang="da-DK" dirty="0"/>
          </a:p>
        </p:txBody>
      </p:sp>
      <p:sp>
        <p:nvSpPr>
          <p:cNvPr id="3" name="Pladsholder til slidenummer 2">
            <a:extLst>
              <a:ext uri="{FF2B5EF4-FFF2-40B4-BE49-F238E27FC236}">
                <a16:creationId xmlns="" xmlns:a16="http://schemas.microsoft.com/office/drawing/2014/main" id="{4BDD60DC-6CB3-4A59-8002-B565E2C4FB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4" name="Billede 3">
            <a:extLst>
              <a:ext uri="{FF2B5EF4-FFF2-40B4-BE49-F238E27FC236}">
                <a16:creationId xmlns="" xmlns:a16="http://schemas.microsoft.com/office/drawing/2014/main" id="{8A36CAD9-1325-4E2B-BE4A-093E5F1271C4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424584" y="4153254"/>
            <a:ext cx="2156974" cy="2304256"/>
          </a:xfrm>
          <a:prstGeom prst="rect">
            <a:avLst/>
          </a:prstGeom>
        </p:spPr>
      </p:pic>
      <p:pic>
        <p:nvPicPr>
          <p:cNvPr id="5" name="Billede 4">
            <a:extLst>
              <a:ext uri="{FF2B5EF4-FFF2-40B4-BE49-F238E27FC236}">
                <a16:creationId xmlns="" xmlns:a16="http://schemas.microsoft.com/office/drawing/2014/main" id="{DE16C7AD-41AE-4D27-B95C-C1FA98E1368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058867" y="4543834"/>
            <a:ext cx="2547923" cy="1913676"/>
          </a:xfrm>
          <a:prstGeom prst="rect">
            <a:avLst/>
          </a:prstGeom>
        </p:spPr>
      </p:pic>
      <p:pic>
        <p:nvPicPr>
          <p:cNvPr id="6" name="Billede 5">
            <a:extLst>
              <a:ext uri="{FF2B5EF4-FFF2-40B4-BE49-F238E27FC236}">
                <a16:creationId xmlns="" xmlns:a16="http://schemas.microsoft.com/office/drawing/2014/main" id="{FCCD324D-8B75-4FAD-BB36-184DD839FEF1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10042" y="1228034"/>
            <a:ext cx="3453797" cy="2591875"/>
          </a:xfrm>
          <a:prstGeom prst="rect">
            <a:avLst/>
          </a:prstGeom>
        </p:spPr>
      </p:pic>
      <p:sp>
        <p:nvSpPr>
          <p:cNvPr id="7" name="Tekstfelt 6">
            <a:hlinkClick r:id="rId5"/>
            <a:extLst>
              <a:ext uri="{FF2B5EF4-FFF2-40B4-BE49-F238E27FC236}">
                <a16:creationId xmlns="" xmlns:a16="http://schemas.microsoft.com/office/drawing/2014/main" id="{1BC8907D-B525-47C9-9CC8-1B417BDC8B69}"/>
              </a:ext>
            </a:extLst>
          </p:cNvPr>
          <p:cNvSpPr txBox="1"/>
          <p:nvPr/>
        </p:nvSpPr>
        <p:spPr>
          <a:xfrm>
            <a:off x="5087551" y="497481"/>
            <a:ext cx="3519239" cy="19442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a-DK" sz="1400" b="1" dirty="0"/>
              <a:t>Howes </a:t>
            </a:r>
            <a:r>
              <a:rPr lang="da-DK" sz="1400" b="1" dirty="0" err="1"/>
              <a:t>Primary</a:t>
            </a:r>
            <a:r>
              <a:rPr lang="da-DK" sz="1400" b="1" dirty="0"/>
              <a:t> School</a:t>
            </a:r>
          </a:p>
          <a:p>
            <a:pPr>
              <a:buSzPct val="90000"/>
            </a:pPr>
            <a:r>
              <a:rPr lang="da-DK" sz="1400" b="1" dirty="0"/>
              <a:t>Coventry – ENGLAND</a:t>
            </a:r>
            <a:endParaRPr lang="da-DK" sz="1400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tr-TR" sz="1400" dirty="0" smtClean="0"/>
              <a:t>Ortak</a:t>
            </a:r>
            <a:endParaRPr lang="da-DK" sz="1400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tr-TR" sz="1400" dirty="0" smtClean="0"/>
              <a:t>Sınıflar 0-6</a:t>
            </a:r>
            <a:r>
              <a:rPr lang="da-DK" sz="1400" dirty="0" smtClean="0"/>
              <a:t>, </a:t>
            </a:r>
            <a:r>
              <a:rPr lang="tr-TR" sz="1400" dirty="0" smtClean="0"/>
              <a:t>3-11 yaş aralığı</a:t>
            </a:r>
            <a:endParaRPr lang="da-DK" sz="1400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/>
              <a:t>200 </a:t>
            </a:r>
            <a:r>
              <a:rPr lang="tr-TR" sz="1400" dirty="0" smtClean="0"/>
              <a:t>öğrenci</a:t>
            </a:r>
            <a:endParaRPr lang="da-DK" sz="1400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tr-TR" sz="1400" dirty="0" smtClean="0"/>
              <a:t>Duyma engelli ünitesi</a:t>
            </a:r>
            <a:endParaRPr lang="da-DK" sz="1400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tr-TR" sz="1400" dirty="0" smtClean="0"/>
              <a:t>“ Olabildiğin şeyin en iyisi ol”</a:t>
            </a:r>
            <a:endParaRPr lang="da-DK" sz="1400" dirty="0"/>
          </a:p>
          <a:p>
            <a:pPr marL="285750" indent="-285750">
              <a:buSzPct val="90000"/>
              <a:buFontTx/>
              <a:buChar char="-"/>
            </a:pPr>
            <a:endParaRPr lang="da-DK" sz="1400" dirty="0"/>
          </a:p>
        </p:txBody>
      </p:sp>
      <p:cxnSp>
        <p:nvCxnSpPr>
          <p:cNvPr id="9" name="Lige pilforbindelse 8">
            <a:extLst>
              <a:ext uri="{FF2B5EF4-FFF2-40B4-BE49-F238E27FC236}">
                <a16:creationId xmlns="" xmlns:a16="http://schemas.microsoft.com/office/drawing/2014/main" id="{4B435463-5D06-440C-A27D-B2B61B91FC26}"/>
              </a:ext>
            </a:extLst>
          </p:cNvPr>
          <p:cNvCxnSpPr>
            <a:cxnSpLocks/>
          </p:cNvCxnSpPr>
          <p:nvPr/>
        </p:nvCxnSpPr>
        <p:spPr>
          <a:xfrm flipV="1">
            <a:off x="2456719" y="1469589"/>
            <a:ext cx="2475321" cy="1235157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1" name="Tekstfelt 10">
            <a:hlinkClick r:id="rId6"/>
            <a:extLst>
              <a:ext uri="{FF2B5EF4-FFF2-40B4-BE49-F238E27FC236}">
                <a16:creationId xmlns="" xmlns:a16="http://schemas.microsoft.com/office/drawing/2014/main" id="{7206C6BB-A509-4F0B-812F-F2B82E16AD34}"/>
              </a:ext>
            </a:extLst>
          </p:cNvPr>
          <p:cNvSpPr txBox="1"/>
          <p:nvPr/>
        </p:nvSpPr>
        <p:spPr>
          <a:xfrm>
            <a:off x="545806" y="4690571"/>
            <a:ext cx="2534118" cy="1766939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a-DK" sz="1400" b="1" dirty="0"/>
              <a:t>Gozo College </a:t>
            </a:r>
            <a:r>
              <a:rPr lang="da-DK" sz="1400" b="1" dirty="0" err="1"/>
              <a:t>Secondary</a:t>
            </a:r>
            <a:r>
              <a:rPr lang="da-DK" sz="1400" b="1" dirty="0"/>
              <a:t> School</a:t>
            </a:r>
          </a:p>
          <a:p>
            <a:pPr>
              <a:buSzPct val="90000"/>
            </a:pPr>
            <a:r>
              <a:rPr lang="da-DK" sz="1400" b="1" dirty="0"/>
              <a:t>Victoria/Gozo – MALTA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tr-TR" sz="1400" dirty="0" smtClean="0"/>
              <a:t>ortak</a:t>
            </a:r>
            <a:endParaRPr lang="da-DK" sz="1400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/>
              <a:t>520 </a:t>
            </a:r>
            <a:r>
              <a:rPr lang="tr-TR" sz="1400" dirty="0" smtClean="0"/>
              <a:t>öğrenci</a:t>
            </a:r>
            <a:r>
              <a:rPr lang="da-DK" sz="1400" dirty="0" smtClean="0"/>
              <a:t>, </a:t>
            </a:r>
            <a:r>
              <a:rPr lang="da-DK" sz="1400" dirty="0"/>
              <a:t>14-16 </a:t>
            </a:r>
            <a:r>
              <a:rPr lang="da-DK" sz="1400" dirty="0" smtClean="0"/>
              <a:t>y</a:t>
            </a:r>
            <a:r>
              <a:rPr lang="tr-TR" sz="1400" dirty="0" smtClean="0"/>
              <a:t>aş aralığı</a:t>
            </a:r>
            <a:r>
              <a:rPr lang="da-DK" sz="1400" dirty="0" smtClean="0"/>
              <a:t> </a:t>
            </a:r>
            <a:endParaRPr lang="da-DK" sz="1400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 smtClean="0"/>
              <a:t>”</a:t>
            </a:r>
            <a:r>
              <a:rPr lang="tr-TR" sz="1400" dirty="0" smtClean="0"/>
              <a:t>Kapsayıcılık, çeşitlilik</a:t>
            </a:r>
            <a:r>
              <a:rPr lang="da-DK" sz="1400" dirty="0" smtClean="0"/>
              <a:t>”</a:t>
            </a:r>
            <a:endParaRPr lang="da-DK" sz="1400" dirty="0"/>
          </a:p>
          <a:p>
            <a:pPr>
              <a:buSzPct val="90000"/>
            </a:pPr>
            <a:endParaRPr lang="da-DK" sz="1400" dirty="0"/>
          </a:p>
          <a:p>
            <a:pPr>
              <a:buSzPct val="90000"/>
            </a:pPr>
            <a:endParaRPr lang="da-DK" sz="1400" dirty="0"/>
          </a:p>
          <a:p>
            <a:pPr>
              <a:buSzPct val="90000"/>
            </a:pPr>
            <a:endParaRPr lang="da-DK" sz="1400" dirty="0"/>
          </a:p>
          <a:p>
            <a:pPr>
              <a:buSzPct val="90000"/>
            </a:pPr>
            <a:endParaRPr lang="da-DK" sz="1400" dirty="0"/>
          </a:p>
          <a:p>
            <a:pPr>
              <a:buSzPct val="90000"/>
            </a:pPr>
            <a:endParaRPr lang="da-DK" sz="1400" dirty="0"/>
          </a:p>
          <a:p>
            <a:pPr>
              <a:buSzPct val="90000"/>
            </a:pPr>
            <a:endParaRPr lang="da-DK" sz="1400" dirty="0"/>
          </a:p>
        </p:txBody>
      </p:sp>
      <p:cxnSp>
        <p:nvCxnSpPr>
          <p:cNvPr id="17" name="Lige pilforbindelse 16">
            <a:extLst>
              <a:ext uri="{FF2B5EF4-FFF2-40B4-BE49-F238E27FC236}">
                <a16:creationId xmlns="" xmlns:a16="http://schemas.microsoft.com/office/drawing/2014/main" id="{3A097494-B7F6-4887-8DEC-FE9CE74374A5}"/>
              </a:ext>
            </a:extLst>
          </p:cNvPr>
          <p:cNvCxnSpPr>
            <a:cxnSpLocks/>
          </p:cNvCxnSpPr>
          <p:nvPr/>
        </p:nvCxnSpPr>
        <p:spPr>
          <a:xfrm flipV="1">
            <a:off x="2894202" y="4819943"/>
            <a:ext cx="912843" cy="31755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2" name="Tekstfelt 21">
            <a:extLst>
              <a:ext uri="{FF2B5EF4-FFF2-40B4-BE49-F238E27FC236}">
                <a16:creationId xmlns="" xmlns:a16="http://schemas.microsoft.com/office/drawing/2014/main" id="{7BB71FA0-F343-4375-ADE5-7A6FC2A5D154}"/>
              </a:ext>
            </a:extLst>
          </p:cNvPr>
          <p:cNvSpPr txBox="1"/>
          <p:nvPr/>
        </p:nvSpPr>
        <p:spPr>
          <a:xfrm>
            <a:off x="5990159" y="2502628"/>
            <a:ext cx="2608466" cy="19442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a-DK" sz="1400" b="1" dirty="0" err="1"/>
              <a:t>Brekkuskóli</a:t>
            </a:r>
            <a:endParaRPr lang="da-DK" sz="1400" b="1" dirty="0"/>
          </a:p>
          <a:p>
            <a:pPr>
              <a:buSzPct val="90000"/>
            </a:pPr>
            <a:r>
              <a:rPr lang="da-DK" sz="1400" b="1" dirty="0"/>
              <a:t>Akureyri – ICELAND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tr-TR" sz="1400" dirty="0" smtClean="0"/>
              <a:t>Ortak</a:t>
            </a:r>
            <a:endParaRPr lang="da-DK" sz="1400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tr-TR" sz="1400" dirty="0" smtClean="0"/>
              <a:t>Sınıflar 0-10</a:t>
            </a:r>
            <a:r>
              <a:rPr lang="da-DK" sz="1400" dirty="0" smtClean="0"/>
              <a:t>, 6-16</a:t>
            </a:r>
            <a:r>
              <a:rPr lang="tr-TR" sz="1400" dirty="0" smtClean="0"/>
              <a:t> yaş aralığı</a:t>
            </a:r>
            <a:endParaRPr lang="da-DK" sz="1400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/>
              <a:t>520 </a:t>
            </a:r>
            <a:r>
              <a:rPr lang="tr-TR" sz="1400" dirty="0" smtClean="0"/>
              <a:t>öğrenci</a:t>
            </a:r>
            <a:endParaRPr lang="tr-TR" sz="1400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tr-TR" sz="1400" dirty="0" smtClean="0"/>
              <a:t>“Eğitim, eğlence, özen, süreç”</a:t>
            </a:r>
            <a:endParaRPr lang="da-DK" sz="1400" dirty="0"/>
          </a:p>
          <a:p>
            <a:pPr algn="ctr">
              <a:buSzPct val="90000"/>
            </a:pPr>
            <a:endParaRPr lang="da-DK" sz="1400" dirty="0"/>
          </a:p>
        </p:txBody>
      </p:sp>
      <p:cxnSp>
        <p:nvCxnSpPr>
          <p:cNvPr id="24" name="Lige pilforbindelse 23">
            <a:extLst>
              <a:ext uri="{FF2B5EF4-FFF2-40B4-BE49-F238E27FC236}">
                <a16:creationId xmlns="" xmlns:a16="http://schemas.microsoft.com/office/drawing/2014/main" id="{DB351B80-5E92-43C9-AD40-BE2FDC2AA054}"/>
              </a:ext>
            </a:extLst>
          </p:cNvPr>
          <p:cNvCxnSpPr>
            <a:cxnSpLocks/>
          </p:cNvCxnSpPr>
          <p:nvPr/>
        </p:nvCxnSpPr>
        <p:spPr>
          <a:xfrm flipH="1" flipV="1">
            <a:off x="6944778" y="4221088"/>
            <a:ext cx="504056" cy="88347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10724478"/>
      </p:ext>
    </p:extLst>
  </p:cSld>
  <p:clrMapOvr>
    <a:masterClrMapping/>
  </p:clrMapOvr>
  <p:transition spd="slow">
    <p:randomBar dir="vert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2FCD1F96-A26C-494B-83EE-F6C9186E2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8431" y="1412776"/>
            <a:ext cx="2448272" cy="721552"/>
          </a:xfrm>
        </p:spPr>
        <p:txBody>
          <a:bodyPr/>
          <a:lstStyle/>
          <a:p>
            <a:r>
              <a:rPr lang="da-DK" sz="4000" dirty="0"/>
              <a:t>ACTIVE =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="" xmlns:a16="http://schemas.microsoft.com/office/drawing/2014/main" id="{9E051333-A4A0-438C-8DC5-7B38031D1C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4" name="Billede 3">
            <a:extLst>
              <a:ext uri="{FF2B5EF4-FFF2-40B4-BE49-F238E27FC236}">
                <a16:creationId xmlns="" xmlns:a16="http://schemas.microsoft.com/office/drawing/2014/main" id="{7CEE8AAF-3FA4-4113-98DD-CDF935DFC6A4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 rot="21097428">
            <a:off x="340275" y="400930"/>
            <a:ext cx="3035803" cy="1654635"/>
          </a:xfrm>
          <a:prstGeom prst="ellipse">
            <a:avLst/>
          </a:prstGeom>
          <a:ln w="952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6" name="Billede 5">
            <a:extLst>
              <a:ext uri="{FF2B5EF4-FFF2-40B4-BE49-F238E27FC236}">
                <a16:creationId xmlns="" xmlns:a16="http://schemas.microsoft.com/office/drawing/2014/main" id="{02D08673-E154-40BA-BED0-5ACF5E81B82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6373" t="33853" r="27951" b="25192"/>
          <a:stretch/>
        </p:blipFill>
        <p:spPr>
          <a:xfrm rot="382589">
            <a:off x="5900416" y="683619"/>
            <a:ext cx="2640642" cy="1578438"/>
          </a:xfrm>
          <a:prstGeom prst="ellipse">
            <a:avLst/>
          </a:prstGeom>
          <a:ln w="952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8" name="Billede 7">
            <a:extLst>
              <a:ext uri="{FF2B5EF4-FFF2-40B4-BE49-F238E27FC236}">
                <a16:creationId xmlns="" xmlns:a16="http://schemas.microsoft.com/office/drawing/2014/main" id="{DFF121A5-CEDF-4E59-80D4-82DC04FC141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1100" b="9177"/>
          <a:stretch/>
        </p:blipFill>
        <p:spPr>
          <a:xfrm rot="21337675">
            <a:off x="818148" y="4073271"/>
            <a:ext cx="2818742" cy="2322286"/>
          </a:xfrm>
          <a:prstGeom prst="ellipse">
            <a:avLst/>
          </a:prstGeom>
          <a:ln w="952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9" name="Rektangel 8">
            <a:extLst>
              <a:ext uri="{FF2B5EF4-FFF2-40B4-BE49-F238E27FC236}">
                <a16:creationId xmlns="" xmlns:a16="http://schemas.microsoft.com/office/drawing/2014/main" id="{B1DDBCDA-353F-477C-AE8A-B8E248B20B7F}"/>
              </a:ext>
            </a:extLst>
          </p:cNvPr>
          <p:cNvSpPr/>
          <p:nvPr/>
        </p:nvSpPr>
        <p:spPr>
          <a:xfrm>
            <a:off x="1187624" y="2042735"/>
            <a:ext cx="6609887" cy="193899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da-DK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solidFill>
                  <a:srgbClr val="FF0000"/>
                </a:solidFill>
                <a:effectLst/>
              </a:rPr>
              <a:t>A</a:t>
            </a:r>
            <a:r>
              <a:rPr lang="da-DK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tive </a:t>
            </a:r>
            <a:r>
              <a:rPr lang="da-DK" sz="4000" b="1" cap="none" spc="0" dirty="0" err="1">
                <a:ln w="12700" cmpd="sng">
                  <a:solidFill>
                    <a:schemeClr val="accent4"/>
                  </a:solidFill>
                  <a:prstDash val="solid"/>
                </a:ln>
                <a:solidFill>
                  <a:srgbClr val="FF0000"/>
                </a:solidFill>
                <a:effectLst/>
              </a:rPr>
              <a:t>C</a:t>
            </a:r>
            <a:r>
              <a:rPr lang="da-DK" sz="4000" b="1" cap="none" spc="0" dirty="0" err="1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hildren</a:t>
            </a:r>
            <a:endParaRPr lang="da-DK" sz="36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  <a:p>
            <a:pPr algn="ctr"/>
            <a:r>
              <a:rPr lang="da-DK" sz="4000" b="1" dirty="0" err="1">
                <a:ln w="12700" cmpd="sng">
                  <a:solidFill>
                    <a:schemeClr val="accent4"/>
                  </a:solidFill>
                  <a:prstDash val="solid"/>
                </a:ln>
                <a:solidFill>
                  <a:srgbClr val="FF0000"/>
                </a:solidFill>
              </a:rPr>
              <a:t>T</a:t>
            </a:r>
            <a:r>
              <a:rPr lang="da-DK" sz="4000" b="1" dirty="0" err="1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echnological</a:t>
            </a:r>
            <a:r>
              <a:rPr lang="da-DK" sz="40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 </a:t>
            </a:r>
            <a:r>
              <a:rPr lang="da-DK" sz="4000" b="1" dirty="0">
                <a:ln w="12700" cmpd="sng">
                  <a:solidFill>
                    <a:schemeClr val="accent4"/>
                  </a:solidFill>
                  <a:prstDash val="solid"/>
                </a:ln>
                <a:solidFill>
                  <a:srgbClr val="FF0000"/>
                </a:solidFill>
              </a:rPr>
              <a:t>I</a:t>
            </a:r>
            <a:r>
              <a:rPr lang="da-DK" sz="40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nnovations</a:t>
            </a:r>
          </a:p>
          <a:p>
            <a:pPr algn="ctr"/>
            <a:r>
              <a:rPr lang="da-DK" sz="4000" b="1" cap="none" spc="0" dirty="0" err="1">
                <a:ln w="12700" cmpd="sng">
                  <a:solidFill>
                    <a:schemeClr val="accent4"/>
                  </a:solidFill>
                  <a:prstDash val="solid"/>
                </a:ln>
                <a:solidFill>
                  <a:srgbClr val="FF0000"/>
                </a:solidFill>
                <a:effectLst/>
              </a:rPr>
              <a:t>V</a:t>
            </a:r>
            <a:r>
              <a:rPr lang="da-DK" sz="4000" b="1" cap="none" spc="0" dirty="0" err="1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ried</a:t>
            </a:r>
            <a:r>
              <a:rPr lang="da-DK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 </a:t>
            </a:r>
            <a:r>
              <a:rPr lang="da-DK" sz="4000" b="1" cap="none" spc="0" dirty="0" err="1">
                <a:ln w="12700" cmpd="sng">
                  <a:solidFill>
                    <a:schemeClr val="accent4"/>
                  </a:solidFill>
                  <a:prstDash val="solid"/>
                </a:ln>
                <a:solidFill>
                  <a:srgbClr val="FF0000"/>
                </a:solidFill>
                <a:effectLst/>
              </a:rPr>
              <a:t>E</a:t>
            </a:r>
            <a:r>
              <a:rPr lang="da-DK" sz="4000" b="1" cap="none" spc="0" dirty="0" err="1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nviroments</a:t>
            </a:r>
            <a:endParaRPr lang="da-DK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="" xmlns:a16="http://schemas.microsoft.com/office/drawing/2014/main" id="{FD801441-8163-42B4-9360-4F2137A53F2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 rot="197735">
            <a:off x="4390087" y="4077072"/>
            <a:ext cx="3996405" cy="2163296"/>
          </a:xfrm>
          <a:prstGeom prst="ellipse">
            <a:avLst/>
          </a:prstGeom>
          <a:ln w="3175" cap="rnd">
            <a:solidFill>
              <a:schemeClr val="tx1"/>
            </a:solidFill>
            <a:prstDash val="solid"/>
          </a:ln>
          <a:effectLst>
            <a:outerShdw blurRad="127000" algn="bl" rotWithShape="0">
              <a:srgbClr val="000000"/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</p:spTree>
    <p:extLst>
      <p:ext uri="{BB962C8B-B14F-4D97-AF65-F5344CB8AC3E}">
        <p14:creationId xmlns="" xmlns:p14="http://schemas.microsoft.com/office/powerpoint/2010/main" val="30973166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85D424A2-FD57-4903-88EF-C56E5D5412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475200"/>
            <a:ext cx="3095896" cy="577536"/>
          </a:xfrm>
        </p:spPr>
        <p:txBody>
          <a:bodyPr/>
          <a:lstStyle/>
          <a:p>
            <a:r>
              <a:rPr lang="tr-TR" dirty="0" smtClean="0"/>
              <a:t>Öğrencilerimiz için amaçladıklarımız:</a:t>
            </a:r>
            <a:endParaRPr lang="da-DK" dirty="0"/>
          </a:p>
        </p:txBody>
      </p:sp>
      <p:sp>
        <p:nvSpPr>
          <p:cNvPr id="3" name="Pladsholder til slidenummer 2">
            <a:extLst>
              <a:ext uri="{FF2B5EF4-FFF2-40B4-BE49-F238E27FC236}">
                <a16:creationId xmlns="" xmlns:a16="http://schemas.microsoft.com/office/drawing/2014/main" id="{B0829F60-2CF9-4B01-B156-ED1EDD4FA1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460432" y="6650320"/>
            <a:ext cx="432000" cy="189283"/>
          </a:xfrm>
        </p:spPr>
        <p:txBody>
          <a:bodyPr/>
          <a:lstStyle/>
          <a:p>
            <a:fld id="{590D2304-24A7-4E4C-82B3-924AC4FEAFAD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8" name="Billede 7">
            <a:extLst>
              <a:ext uri="{FF2B5EF4-FFF2-40B4-BE49-F238E27FC236}">
                <a16:creationId xmlns="" xmlns:a16="http://schemas.microsoft.com/office/drawing/2014/main" id="{E1B29464-2716-48D2-9A1E-AB6BDA4021F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1920" y="332656"/>
            <a:ext cx="4824512" cy="1984194"/>
          </a:xfrm>
          <a:prstGeom prst="rect">
            <a:avLst/>
          </a:prstGeom>
        </p:spPr>
      </p:pic>
      <p:sp>
        <p:nvSpPr>
          <p:cNvPr id="9" name="Tekstfelt 3">
            <a:extLst>
              <a:ext uri="{FF2B5EF4-FFF2-40B4-BE49-F238E27FC236}">
                <a16:creationId xmlns="" xmlns:a16="http://schemas.microsoft.com/office/drawing/2014/main" id="{AAD4E459-5064-4108-9E86-48454BEFE321}"/>
              </a:ext>
            </a:extLst>
          </p:cNvPr>
          <p:cNvSpPr txBox="1"/>
          <p:nvPr/>
        </p:nvSpPr>
        <p:spPr>
          <a:xfrm>
            <a:off x="612432" y="2420888"/>
            <a:ext cx="8136032" cy="443711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txBody>
          <a:bodyPr wrap="square" lIns="72000" rIns="72000" rtlCol="0">
            <a:noAutofit/>
          </a:bodyPr>
          <a:lstStyle/>
          <a:p>
            <a:pPr>
              <a:lnSpc>
                <a:spcPct val="110000"/>
              </a:lnSpc>
              <a:buFont typeface="Arial" pitchFamily="34" charset="0"/>
              <a:buChar char="•"/>
            </a:pPr>
            <a:r>
              <a:rPr lang="en-US" dirty="0" smtClean="0"/>
              <a:t>Our pupils don´t exercise as much as earlier</a:t>
            </a:r>
            <a:r>
              <a:rPr lang="tr-TR" dirty="0" smtClean="0"/>
              <a:t>.</a:t>
            </a:r>
          </a:p>
          <a:p>
            <a:pPr>
              <a:lnSpc>
                <a:spcPct val="110000"/>
              </a:lnSpc>
              <a:buNone/>
            </a:pPr>
            <a:r>
              <a:rPr lang="tr-TR" dirty="0" smtClean="0"/>
              <a:t>(öğrencilerimiz eskiden olduğu kadar egzersiz yapmıyorlar, hareketli değiller.)</a:t>
            </a:r>
          </a:p>
          <a:p>
            <a:pPr>
              <a:lnSpc>
                <a:spcPct val="110000"/>
              </a:lnSpc>
              <a:buFont typeface="Arial" pitchFamily="34" charset="0"/>
              <a:buChar char="•"/>
            </a:pPr>
            <a:r>
              <a:rPr lang="en-US" dirty="0" smtClean="0"/>
              <a:t>Our pupils seem to lack resilience when learning something new.</a:t>
            </a:r>
            <a:r>
              <a:rPr lang="tr-TR" dirty="0" smtClean="0"/>
              <a:t> </a:t>
            </a:r>
          </a:p>
          <a:p>
            <a:pPr>
              <a:lnSpc>
                <a:spcPct val="110000"/>
              </a:lnSpc>
              <a:buNone/>
            </a:pPr>
            <a:r>
              <a:rPr lang="tr-TR" dirty="0" smtClean="0"/>
              <a:t>(öğrencilerimizin, yeni bir şeyler öğrenme konusunda, zorlukları yenme gücü yoksunluğu yaşadıkları görülüyor.)</a:t>
            </a:r>
          </a:p>
          <a:p>
            <a:pPr>
              <a:lnSpc>
                <a:spcPct val="110000"/>
              </a:lnSpc>
              <a:buFont typeface="Arial" pitchFamily="34" charset="0"/>
              <a:buChar char="•"/>
            </a:pPr>
            <a:r>
              <a:rPr lang="en-US" dirty="0" smtClean="0"/>
              <a:t>We want to work with ACTIVE learning, where pupils move both their body and mind.</a:t>
            </a:r>
            <a:endParaRPr lang="tr-TR" dirty="0" smtClean="0"/>
          </a:p>
          <a:p>
            <a:pPr>
              <a:lnSpc>
                <a:spcPct val="110000"/>
              </a:lnSpc>
              <a:buNone/>
            </a:pPr>
            <a:r>
              <a:rPr lang="tr-TR" dirty="0" smtClean="0"/>
              <a:t>( Öğrencilerimizin, hem fiziksel hem de zihinsel olarak hareketli olacakları Aktif öğrenme üzerinde çalışmak istiyoruz.)</a:t>
            </a:r>
          </a:p>
          <a:p>
            <a:pPr>
              <a:lnSpc>
                <a:spcPct val="110000"/>
              </a:lnSpc>
              <a:buFont typeface="Arial" pitchFamily="34" charset="0"/>
              <a:buChar char="•"/>
            </a:pPr>
            <a:r>
              <a:rPr lang="en-US" dirty="0" smtClean="0"/>
              <a:t>We want to develop our pupils´ basic </a:t>
            </a:r>
            <a:r>
              <a:rPr lang="en-US" dirty="0" err="1" smtClean="0"/>
              <a:t>academical</a:t>
            </a:r>
            <a:r>
              <a:rPr lang="en-US" dirty="0" smtClean="0"/>
              <a:t> skills and key competences like problem solving, critical thinking, ability to cooperate, and self-regulation. </a:t>
            </a:r>
            <a:endParaRPr lang="tr-TR" dirty="0" smtClean="0"/>
          </a:p>
          <a:p>
            <a:pPr>
              <a:lnSpc>
                <a:spcPct val="110000"/>
              </a:lnSpc>
              <a:buNone/>
            </a:pPr>
            <a:r>
              <a:rPr lang="tr-TR" dirty="0" smtClean="0"/>
              <a:t>(Öğrencilerimizin, temel akademik becerilerini ve problem çözme, kritik düşünme, işbirliği yapma, kendilerini kontrol etme gibi  temel becerilerini geliştirmek istiyoruz)</a:t>
            </a:r>
            <a:endParaRPr lang="tr-TR" dirty="0"/>
          </a:p>
        </p:txBody>
      </p:sp>
    </p:spTree>
    <p:extLst>
      <p:ext uri="{BB962C8B-B14F-4D97-AF65-F5344CB8AC3E}">
        <p14:creationId xmlns="" xmlns:p14="http://schemas.microsoft.com/office/powerpoint/2010/main" val="27190618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Slayt Numarası Yer Tutucusu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4" name="3 Metin kutusu"/>
          <p:cNvSpPr txBox="1"/>
          <p:nvPr/>
        </p:nvSpPr>
        <p:spPr>
          <a:xfrm>
            <a:off x="755576" y="2996952"/>
            <a:ext cx="7488832" cy="295232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rIns="72000" rtlCol="0">
            <a:noAutofit/>
          </a:bodyPr>
          <a:lstStyle/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endParaRPr lang="tr-TR" sz="2000" dirty="0" smtClean="0">
              <a:solidFill>
                <a:prstClr val="black"/>
              </a:solidFill>
              <a:latin typeface="Calibri"/>
            </a:endParaRP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  <a:latin typeface="Calibri"/>
              </a:rPr>
              <a:t>We want to challenge our pupils´ mindsets so they will become more resilient in terms of learning to learn. </a:t>
            </a:r>
            <a:endParaRPr lang="tr-TR" sz="2000" dirty="0" smtClean="0">
              <a:solidFill>
                <a:prstClr val="black"/>
              </a:solidFill>
              <a:latin typeface="Calibri"/>
            </a:endParaRPr>
          </a:p>
          <a:p>
            <a:pPr marL="342900" lvl="0" indent="-342900">
              <a:spcBef>
                <a:spcPct val="20000"/>
              </a:spcBef>
            </a:pPr>
            <a:r>
              <a:rPr lang="tr-TR" sz="2000" dirty="0" smtClean="0">
                <a:solidFill>
                  <a:prstClr val="black"/>
                </a:solidFill>
                <a:latin typeface="Calibri"/>
              </a:rPr>
              <a:t>(Öğrencilerimizin düşünce yapılarını geliştirmek istiyoruz böylelikle öğrenmeyi  öğrenme konusunda daha fazla mücadeleci öğrenciler olacaklarına inanıyoruz) </a:t>
            </a:r>
          </a:p>
        </p:txBody>
      </p:sp>
      <p:pic>
        <p:nvPicPr>
          <p:cNvPr id="5" name="Billede 9">
            <a:extLst>
              <a:ext uri="{FF2B5EF4-FFF2-40B4-BE49-F238E27FC236}">
                <a16:creationId xmlns="" xmlns:a16="http://schemas.microsoft.com/office/drawing/2014/main" id="{F9E98A97-6D7A-40AD-9FD8-1B58112D8C2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476672"/>
            <a:ext cx="2069527" cy="1552145"/>
          </a:xfrm>
          <a:prstGeom prst="rect">
            <a:avLst/>
          </a:prstGeom>
        </p:spPr>
      </p:pic>
      <p:pic>
        <p:nvPicPr>
          <p:cNvPr id="7" name="Billede 7">
            <a:extLst>
              <a:ext uri="{FF2B5EF4-FFF2-40B4-BE49-F238E27FC236}">
                <a16:creationId xmlns="" xmlns:a16="http://schemas.microsoft.com/office/drawing/2014/main" id="{E1B29464-2716-48D2-9A1E-AB6BDA4021F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4" y="476672"/>
            <a:ext cx="5472584" cy="2160240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EE3E55C8-6173-4242-884B-E254DBF5B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Öğretmenlerimiz için amaçladıklarımız:</a:t>
            </a:r>
            <a:endParaRPr lang="da-DK" dirty="0"/>
          </a:p>
        </p:txBody>
      </p:sp>
      <p:sp>
        <p:nvSpPr>
          <p:cNvPr id="3" name="Pladsholder til slidenummer 2">
            <a:extLst>
              <a:ext uri="{FF2B5EF4-FFF2-40B4-BE49-F238E27FC236}">
                <a16:creationId xmlns="" xmlns:a16="http://schemas.microsoft.com/office/drawing/2014/main" id="{19365148-851E-45A9-9860-FEF7D420E8E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4" name="Tekstfelt 3">
            <a:extLst>
              <a:ext uri="{FF2B5EF4-FFF2-40B4-BE49-F238E27FC236}">
                <a16:creationId xmlns="" xmlns:a16="http://schemas.microsoft.com/office/drawing/2014/main" id="{5A583FA7-29A2-4A33-9D09-6420B450A5A3}"/>
              </a:ext>
            </a:extLst>
          </p:cNvPr>
          <p:cNvSpPr txBox="1"/>
          <p:nvPr/>
        </p:nvSpPr>
        <p:spPr>
          <a:xfrm>
            <a:off x="515682" y="1196752"/>
            <a:ext cx="7848872" cy="43924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square" lIns="72000" rIns="72000" rtlCol="0">
            <a:noAutofit/>
          </a:bodyPr>
          <a:lstStyle/>
          <a:p>
            <a:pPr marL="285750" indent="-285750">
              <a:buSzPct val="90000"/>
              <a:buFont typeface="Wingdings" panose="05000000000000000000" pitchFamily="2" charset="2"/>
              <a:buChar char="q"/>
            </a:pPr>
            <a:endParaRPr lang="tr-TR" dirty="0" smtClean="0"/>
          </a:p>
          <a:p>
            <a:pPr marL="285750" indent="-285750">
              <a:buSzPct val="90000"/>
              <a:buFont typeface="Wingdings" panose="05000000000000000000" pitchFamily="2" charset="2"/>
              <a:buChar char="q"/>
            </a:pPr>
            <a:endParaRPr lang="tr-TR" dirty="0" smtClean="0"/>
          </a:p>
          <a:p>
            <a:pPr marL="285750" indent="-285750">
              <a:buSzPct val="90000"/>
              <a:buFont typeface="Wingdings" panose="05000000000000000000" pitchFamily="2" charset="2"/>
              <a:buChar char="q"/>
            </a:pPr>
            <a:r>
              <a:rPr lang="tr-TR" dirty="0" smtClean="0"/>
              <a:t>Öğretmenlerimizi “</a:t>
            </a:r>
            <a:r>
              <a:rPr lang="tr-TR" dirty="0" err="1" smtClean="0"/>
              <a:t>özgelişim</a:t>
            </a:r>
            <a:r>
              <a:rPr lang="tr-TR" dirty="0" smtClean="0"/>
              <a:t> teorisi”(</a:t>
            </a:r>
            <a:r>
              <a:rPr lang="da-DK" dirty="0" smtClean="0"/>
              <a:t>Growth Mindset</a:t>
            </a:r>
            <a:r>
              <a:rPr lang="tr-TR" dirty="0" smtClean="0"/>
              <a:t>) konusunda eğitmek </a:t>
            </a:r>
            <a:r>
              <a:rPr lang="da-DK" dirty="0" smtClean="0"/>
              <a:t> </a:t>
            </a:r>
            <a:endParaRPr lang="da-DK" dirty="0"/>
          </a:p>
          <a:p>
            <a:pPr marL="285750" indent="-285750">
              <a:buSzPct val="90000"/>
              <a:buFontTx/>
              <a:buChar char="-"/>
            </a:pPr>
            <a:r>
              <a:rPr lang="tr-TR" dirty="0" smtClean="0"/>
              <a:t>Böylelikle öğrencilerimizin aktif öğrenenler olmalarına yardımcı olacaklar.</a:t>
            </a:r>
            <a:endParaRPr lang="da-DK" dirty="0"/>
          </a:p>
          <a:p>
            <a:pPr marL="285750" indent="-285750">
              <a:buSzPct val="90000"/>
              <a:buFont typeface="Wingdings" panose="05000000000000000000" pitchFamily="2" charset="2"/>
              <a:buChar char="q"/>
            </a:pPr>
            <a:r>
              <a:rPr lang="tr-TR" dirty="0" smtClean="0"/>
              <a:t>Öğretmenlerimizi,</a:t>
            </a:r>
            <a:r>
              <a:rPr lang="da-DK" dirty="0" smtClean="0"/>
              <a:t> eTwinning/Twinspace</a:t>
            </a:r>
            <a:r>
              <a:rPr lang="tr-TR" dirty="0" smtClean="0"/>
              <a:t> kullanımı konusunda eğitmek.</a:t>
            </a:r>
            <a:endParaRPr lang="da-DK" dirty="0"/>
          </a:p>
          <a:p>
            <a:pPr marL="285750" indent="-285750">
              <a:buSzPct val="90000"/>
              <a:buFontTx/>
              <a:buChar char="-"/>
            </a:pPr>
            <a:r>
              <a:rPr lang="tr-TR" dirty="0" smtClean="0"/>
              <a:t>Sınırlar ötesi öğrenciler ve sınıflar ile işbirliği yapmak için</a:t>
            </a:r>
            <a:endParaRPr lang="da-DK" dirty="0"/>
          </a:p>
          <a:p>
            <a:pPr marL="285750" indent="-285750">
              <a:buSzPct val="90000"/>
              <a:buFont typeface="Wingdings" panose="05000000000000000000" pitchFamily="2" charset="2"/>
              <a:buChar char="q"/>
            </a:pPr>
            <a:r>
              <a:rPr lang="tr-TR" dirty="0" smtClean="0"/>
              <a:t>Öğretmenlerimizin temel bilişim ve iletişim teknolojileri bilgilerini arttırmak</a:t>
            </a:r>
            <a:endParaRPr lang="da-DK" dirty="0"/>
          </a:p>
          <a:p>
            <a:pPr marL="285750" indent="-285750">
              <a:buSzPct val="90000"/>
              <a:buFontTx/>
              <a:buChar char="-"/>
            </a:pPr>
            <a:r>
              <a:rPr lang="tr-TR" dirty="0" smtClean="0"/>
              <a:t>Böylelikle farklı ortamlarda, farklı içeriklerle ICT kullanabilir hale gelecekler</a:t>
            </a:r>
            <a:endParaRPr lang="da-DK" dirty="0"/>
          </a:p>
          <a:p>
            <a:pPr marL="285750" indent="-285750">
              <a:buSzPct val="90000"/>
              <a:buFont typeface="Wingdings" panose="05000000000000000000" pitchFamily="2" charset="2"/>
              <a:buChar char="q"/>
            </a:pPr>
            <a:r>
              <a:rPr lang="tr-TR" dirty="0" smtClean="0"/>
              <a:t>Öğretmenlerimize derslerinde kullanacakları kısa zihinsel mola aktiviteleri yaratmaları ve paylaşmaları konusunda eğitim vermek. </a:t>
            </a:r>
            <a:endParaRPr lang="da-DK" dirty="0"/>
          </a:p>
          <a:p>
            <a:pPr marL="285750" indent="-285750">
              <a:buSzPct val="90000"/>
              <a:buFontTx/>
              <a:buChar char="-"/>
            </a:pPr>
            <a:r>
              <a:rPr lang="tr-TR" dirty="0" smtClean="0"/>
              <a:t>Öğrencilerimizin daha aktif bir şekilde öğrenmelerine yardım edecekler.</a:t>
            </a:r>
            <a:endParaRPr lang="da-DK" dirty="0"/>
          </a:p>
          <a:p>
            <a:pPr marL="285750" indent="-285750">
              <a:buSzPct val="90000"/>
              <a:buFont typeface="Wingdings" panose="05000000000000000000" pitchFamily="2" charset="2"/>
              <a:buChar char="q"/>
            </a:pPr>
            <a:r>
              <a:rPr lang="tr-TR" dirty="0" smtClean="0"/>
              <a:t>Öğretmenlerimizin uluslar arası çalışmalarını sağlamak.</a:t>
            </a:r>
            <a:endParaRPr lang="da-DK" dirty="0"/>
          </a:p>
          <a:p>
            <a:pPr>
              <a:buSzPct val="90000"/>
            </a:pPr>
            <a:r>
              <a:rPr lang="da-DK" dirty="0"/>
              <a:t>- </a:t>
            </a:r>
            <a:r>
              <a:rPr lang="tr-TR" dirty="0" smtClean="0"/>
              <a:t>İşbirliği ve dil becerilerini geliştirecek  ve diğer uluslardan ilham alacaklar.</a:t>
            </a:r>
            <a:endParaRPr lang="da-DK" dirty="0"/>
          </a:p>
          <a:p>
            <a:pPr>
              <a:buSzPct val="90000"/>
            </a:pPr>
            <a:endParaRPr lang="da-DK" dirty="0"/>
          </a:p>
        </p:txBody>
      </p:sp>
    </p:spTree>
    <p:extLst>
      <p:ext uri="{BB962C8B-B14F-4D97-AF65-F5344CB8AC3E}">
        <p14:creationId xmlns="" xmlns:p14="http://schemas.microsoft.com/office/powerpoint/2010/main" val="49584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4EE0B7E8-CE76-48C3-9D21-B6544968CF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 </a:t>
            </a:r>
            <a:r>
              <a:rPr lang="da-DK" sz="3600" dirty="0">
                <a:solidFill>
                  <a:schemeClr val="accent1">
                    <a:lumMod val="50000"/>
                  </a:schemeClr>
                </a:solidFill>
              </a:rPr>
              <a:t>ACTIVE</a:t>
            </a:r>
            <a:r>
              <a:rPr lang="da-DK" dirty="0"/>
              <a:t> </a:t>
            </a:r>
            <a:r>
              <a:rPr lang="da-DK" dirty="0" smtClean="0"/>
              <a:t>Project</a:t>
            </a:r>
            <a:r>
              <a:rPr lang="tr-TR" dirty="0" smtClean="0"/>
              <a:t>  SEPTEMBER (EYLÜL)</a:t>
            </a:r>
            <a:endParaRPr lang="da-DK" dirty="0"/>
          </a:p>
        </p:txBody>
      </p:sp>
      <p:sp>
        <p:nvSpPr>
          <p:cNvPr id="3" name="Pladsholder til slidenummer 2">
            <a:extLst>
              <a:ext uri="{FF2B5EF4-FFF2-40B4-BE49-F238E27FC236}">
                <a16:creationId xmlns="" xmlns:a16="http://schemas.microsoft.com/office/drawing/2014/main" id="{5E9E527A-02E8-499F-8BDE-0E881E8CC4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4 Metin kutusu"/>
          <p:cNvSpPr txBox="1"/>
          <p:nvPr/>
        </p:nvSpPr>
        <p:spPr>
          <a:xfrm>
            <a:off x="755576" y="1340768"/>
            <a:ext cx="7488832" cy="460851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72000" rIns="72000" rtlCol="0">
            <a:noAutofit/>
          </a:bodyPr>
          <a:lstStyle/>
          <a:p>
            <a:pPr>
              <a:buSzPct val="90000"/>
              <a:buFont typeface="Arial" pitchFamily="34" charset="0"/>
              <a:buChar char="•"/>
            </a:pPr>
            <a:endParaRPr lang="tr-TR" sz="1400" dirty="0" smtClean="0"/>
          </a:p>
          <a:p>
            <a:pPr>
              <a:buSzPct val="90000"/>
              <a:buFont typeface="Arial" pitchFamily="34" charset="0"/>
              <a:buChar char="•"/>
            </a:pPr>
            <a:endParaRPr lang="tr-TR" sz="1400" dirty="0" smtClean="0"/>
          </a:p>
          <a:p>
            <a:pPr>
              <a:lnSpc>
                <a:spcPct val="150000"/>
              </a:lnSpc>
              <a:buSzPct val="90000"/>
              <a:buFont typeface="Arial" pitchFamily="34" charset="0"/>
              <a:buChar char="•"/>
            </a:pPr>
            <a:r>
              <a:rPr lang="tr-TR" dirty="0" smtClean="0"/>
              <a:t>e-</a:t>
            </a:r>
            <a:r>
              <a:rPr lang="tr-TR" dirty="0" err="1" smtClean="0"/>
              <a:t>twinning</a:t>
            </a:r>
            <a:r>
              <a:rPr lang="tr-TR" dirty="0" smtClean="0"/>
              <a:t> ve </a:t>
            </a:r>
            <a:r>
              <a:rPr lang="tr-TR" dirty="0" err="1" smtClean="0"/>
              <a:t>twinspace</a:t>
            </a:r>
            <a:endParaRPr lang="tr-TR" dirty="0" smtClean="0"/>
          </a:p>
          <a:p>
            <a:pPr>
              <a:lnSpc>
                <a:spcPct val="150000"/>
              </a:lnSpc>
              <a:buSzPct val="90000"/>
              <a:buFont typeface="Arial" pitchFamily="34" charset="0"/>
              <a:buChar char="•"/>
            </a:pPr>
            <a:r>
              <a:rPr lang="tr-TR" dirty="0" smtClean="0"/>
              <a:t>Project </a:t>
            </a:r>
            <a:r>
              <a:rPr lang="tr-TR" dirty="0" err="1" smtClean="0"/>
              <a:t>Presentation</a:t>
            </a:r>
            <a:r>
              <a:rPr lang="tr-TR" dirty="0" smtClean="0"/>
              <a:t> (proje tanıtımı)</a:t>
            </a:r>
          </a:p>
          <a:p>
            <a:pPr>
              <a:lnSpc>
                <a:spcPct val="150000"/>
              </a:lnSpc>
              <a:buSzPct val="90000"/>
              <a:buFont typeface="Arial" pitchFamily="34" charset="0"/>
              <a:buChar char="•"/>
            </a:pPr>
            <a:r>
              <a:rPr lang="tr-TR" dirty="0" smtClean="0"/>
              <a:t>Project </a:t>
            </a:r>
            <a:r>
              <a:rPr lang="tr-TR" dirty="0" err="1" smtClean="0"/>
              <a:t>Displays</a:t>
            </a:r>
            <a:endParaRPr lang="tr-TR" dirty="0" smtClean="0"/>
          </a:p>
          <a:p>
            <a:pPr>
              <a:lnSpc>
                <a:spcPct val="150000"/>
              </a:lnSpc>
              <a:buSzPct val="90000"/>
            </a:pPr>
            <a:r>
              <a:rPr lang="tr-TR" dirty="0" smtClean="0"/>
              <a:t>   (proje kapsamında yapılan çalışmaların sergilenmesi)</a:t>
            </a:r>
          </a:p>
          <a:p>
            <a:pPr>
              <a:lnSpc>
                <a:spcPct val="150000"/>
              </a:lnSpc>
              <a:buSzPct val="90000"/>
              <a:buFont typeface="Arial" pitchFamily="34" charset="0"/>
              <a:buChar char="•"/>
            </a:pPr>
            <a:r>
              <a:rPr lang="tr-TR" dirty="0" smtClean="0"/>
              <a:t>A Diploma </a:t>
            </a:r>
            <a:r>
              <a:rPr lang="tr-TR" dirty="0" err="1" smtClean="0"/>
              <a:t>for</a:t>
            </a:r>
            <a:r>
              <a:rPr lang="tr-TR" dirty="0" smtClean="0"/>
              <a:t> </a:t>
            </a:r>
            <a:r>
              <a:rPr lang="tr-TR" dirty="0" err="1" smtClean="0"/>
              <a:t>Learning</a:t>
            </a:r>
            <a:r>
              <a:rPr lang="tr-TR" dirty="0" smtClean="0"/>
              <a:t>/ </a:t>
            </a:r>
            <a:r>
              <a:rPr lang="tr-TR" dirty="0" err="1" smtClean="0"/>
              <a:t>Teaching</a:t>
            </a:r>
            <a:r>
              <a:rPr lang="tr-TR" dirty="0" smtClean="0"/>
              <a:t>/</a:t>
            </a:r>
            <a:r>
              <a:rPr lang="tr-TR" dirty="0" err="1" smtClean="0"/>
              <a:t>Training</a:t>
            </a:r>
            <a:endParaRPr lang="tr-TR" dirty="0" smtClean="0"/>
          </a:p>
          <a:p>
            <a:pPr>
              <a:lnSpc>
                <a:spcPct val="150000"/>
              </a:lnSpc>
              <a:buSzPct val="90000"/>
            </a:pPr>
            <a:r>
              <a:rPr lang="tr-TR" dirty="0" smtClean="0"/>
              <a:t>     (eğitimlere katılanlar için diploma)</a:t>
            </a:r>
          </a:p>
          <a:p>
            <a:pPr>
              <a:lnSpc>
                <a:spcPct val="150000"/>
              </a:lnSpc>
              <a:buSzPct val="90000"/>
              <a:buFont typeface="Arial" pitchFamily="34" charset="0"/>
              <a:buChar char="•"/>
            </a:pPr>
            <a:r>
              <a:rPr lang="tr-TR" dirty="0" err="1" smtClean="0"/>
              <a:t>Children</a:t>
            </a:r>
            <a:r>
              <a:rPr lang="tr-TR" dirty="0" smtClean="0"/>
              <a:t> </a:t>
            </a:r>
            <a:r>
              <a:rPr lang="tr-TR" dirty="0" err="1" smtClean="0"/>
              <a:t>Baseline</a:t>
            </a:r>
            <a:r>
              <a:rPr lang="tr-TR" dirty="0" smtClean="0"/>
              <a:t> </a:t>
            </a:r>
            <a:r>
              <a:rPr lang="tr-TR" dirty="0" err="1" smtClean="0"/>
              <a:t>Survey</a:t>
            </a:r>
            <a:r>
              <a:rPr lang="tr-TR" dirty="0" smtClean="0"/>
              <a:t>. </a:t>
            </a:r>
            <a:r>
              <a:rPr lang="tr-TR" dirty="0" err="1" smtClean="0"/>
              <a:t>Children</a:t>
            </a:r>
            <a:r>
              <a:rPr lang="tr-TR" dirty="0" smtClean="0"/>
              <a:t>´s </a:t>
            </a:r>
            <a:r>
              <a:rPr lang="tr-TR" dirty="0" err="1" smtClean="0"/>
              <a:t>understanding</a:t>
            </a:r>
            <a:r>
              <a:rPr lang="tr-TR" dirty="0" smtClean="0"/>
              <a:t> of </a:t>
            </a:r>
            <a:r>
              <a:rPr lang="tr-TR" dirty="0" err="1" smtClean="0"/>
              <a:t>how</a:t>
            </a:r>
            <a:r>
              <a:rPr lang="tr-TR" dirty="0" smtClean="0"/>
              <a:t> </a:t>
            </a:r>
            <a:r>
              <a:rPr lang="tr-TR" dirty="0" err="1" smtClean="0"/>
              <a:t>they</a:t>
            </a:r>
            <a:r>
              <a:rPr lang="tr-TR" dirty="0" smtClean="0"/>
              <a:t> </a:t>
            </a:r>
            <a:r>
              <a:rPr lang="tr-TR" dirty="0" err="1" smtClean="0"/>
              <a:t>learn</a:t>
            </a:r>
            <a:r>
              <a:rPr lang="tr-TR" dirty="0" smtClean="0"/>
              <a:t>. </a:t>
            </a:r>
          </a:p>
          <a:p>
            <a:pPr>
              <a:lnSpc>
                <a:spcPct val="150000"/>
              </a:lnSpc>
              <a:buSzPct val="90000"/>
            </a:pPr>
            <a:r>
              <a:rPr lang="tr-TR" dirty="0" smtClean="0"/>
              <a:t>(Öğrencilerin nasıl öğrendiğini anlamak için anket çalışması)</a:t>
            </a:r>
          </a:p>
        </p:txBody>
      </p:sp>
    </p:spTree>
    <p:extLst>
      <p:ext uri="{BB962C8B-B14F-4D97-AF65-F5344CB8AC3E}">
        <p14:creationId xmlns="" xmlns:p14="http://schemas.microsoft.com/office/powerpoint/2010/main" val="11348738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" val="Standar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TitleNoBord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TitleNoBord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TitleLin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TitleLin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TitleBord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TitleBord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1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14,17323;14,17323;28,34646;28,45181;42,62504;42,51968;56,69291;56,69291;70,86614;"/>
  <p:tag name="VCT-BULLETVISIBILITY" val="G*****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1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NoTitleNoBord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NoTitleNoBorder"/>
</p:tagLst>
</file>

<file path=ppt/theme/theme1.xml><?xml version="1.0" encoding="utf-8"?>
<a:theme xmlns:a="http://schemas.openxmlformats.org/drawingml/2006/main" name="QuickSlide">
  <a:themeElements>
    <a:clrScheme name="Arctic Dark">
      <a:dk1>
        <a:srgbClr val="000000"/>
      </a:dk1>
      <a:lt1>
        <a:srgbClr val="FFFFFF"/>
      </a:lt1>
      <a:dk2>
        <a:srgbClr val="A2A2A2"/>
      </a:dk2>
      <a:lt2>
        <a:srgbClr val="FFFFFF"/>
      </a:lt2>
      <a:accent1>
        <a:srgbClr val="D5ECFD"/>
      </a:accent1>
      <a:accent2>
        <a:srgbClr val="E6781E"/>
      </a:accent2>
      <a:accent3>
        <a:srgbClr val="2EA0F6"/>
      </a:accent3>
      <a:accent4>
        <a:srgbClr val="00005F"/>
      </a:accent4>
      <a:accent5>
        <a:srgbClr val="60C700"/>
      </a:accent5>
      <a:accent6>
        <a:srgbClr val="595959"/>
      </a:accent6>
      <a:hlink>
        <a:srgbClr val="0000FF"/>
      </a:hlink>
      <a:folHlink>
        <a:srgbClr val="800080"/>
      </a:folHlink>
    </a:clrScheme>
    <a:fontScheme name="QuickSlid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6350">
          <a:solidFill>
            <a:schemeClr val="accent3"/>
          </a:solidFill>
          <a:miter lim="800000"/>
        </a:ln>
      </a:spPr>
      <a:bodyPr lIns="72000" rIns="72000" rtlCol="0" anchor="t" anchorCtr="0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  <a:miter lim="800000"/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rIns="72000" rtlCol="0">
        <a:noAutofit/>
      </a:bodyPr>
      <a:lstStyle>
        <a:defPPr>
          <a:buSzPct val="90000"/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QuickSlide 2007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8D2F5"/>
      </a:accent1>
      <a:accent2>
        <a:srgbClr val="6478A0"/>
      </a:accent2>
      <a:accent3>
        <a:srgbClr val="14195F"/>
      </a:accent3>
      <a:accent4>
        <a:srgbClr val="C80A1E"/>
      </a:accent4>
      <a:accent5>
        <a:srgbClr val="C8D2F5"/>
      </a:accent5>
      <a:accent6>
        <a:srgbClr val="5A6C91"/>
      </a:accent6>
      <a:hlink>
        <a:srgbClr val="14195F"/>
      </a:hlink>
      <a:folHlink>
        <a:srgbClr val="C80A1E"/>
      </a:folHlink>
    </a:clrScheme>
    <a:fontScheme name="Quick Slide 200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QuickSlide 2007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8D2F5"/>
      </a:accent1>
      <a:accent2>
        <a:srgbClr val="6478A0"/>
      </a:accent2>
      <a:accent3>
        <a:srgbClr val="14195F"/>
      </a:accent3>
      <a:accent4>
        <a:srgbClr val="C80A1E"/>
      </a:accent4>
      <a:accent5>
        <a:srgbClr val="C8D2F5"/>
      </a:accent5>
      <a:accent6>
        <a:srgbClr val="5A6C91"/>
      </a:accent6>
      <a:hlink>
        <a:srgbClr val="14195F"/>
      </a:hlink>
      <a:folHlink>
        <a:srgbClr val="C80A1E"/>
      </a:folHlink>
    </a:clrScheme>
    <a:fontScheme name="Quick Slide 200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096</TotalTime>
  <Words>1159</Words>
  <Application>Microsoft Office PowerPoint</Application>
  <PresentationFormat>Ekran Gösterisi (4:3)</PresentationFormat>
  <Paragraphs>186</Paragraphs>
  <Slides>22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Katıştırılmış OLE Hizmet Programları</vt:lpstr>
      </vt:variant>
      <vt:variant>
        <vt:i4>1</vt:i4>
      </vt:variant>
      <vt:variant>
        <vt:lpstr>Slayt Başlıkları</vt:lpstr>
      </vt:variant>
      <vt:variant>
        <vt:i4>22</vt:i4>
      </vt:variant>
    </vt:vector>
  </HeadingPairs>
  <TitlesOfParts>
    <vt:vector size="24" baseType="lpstr">
      <vt:lpstr>QuickSlide</vt:lpstr>
      <vt:lpstr>Document</vt:lpstr>
      <vt:lpstr>ACTIVE</vt:lpstr>
      <vt:lpstr>ACTIVE  ORTAK ÜLKELER</vt:lpstr>
      <vt:lpstr>ACTIVE  OKULLAR</vt:lpstr>
      <vt:lpstr>ACTIVE OKULLAR</vt:lpstr>
      <vt:lpstr>ACTIVE =</vt:lpstr>
      <vt:lpstr>Öğrencilerimiz için amaçladıklarımız:</vt:lpstr>
      <vt:lpstr>Slayt 7</vt:lpstr>
      <vt:lpstr>Öğretmenlerimiz için amaçladıklarımız:</vt:lpstr>
      <vt:lpstr> ACTIVE Project  SEPTEMBER (EYLÜL)</vt:lpstr>
      <vt:lpstr>Slayt 10</vt:lpstr>
      <vt:lpstr>Slayt 11</vt:lpstr>
      <vt:lpstr>Slayt 12</vt:lpstr>
      <vt:lpstr>Slayt 13</vt:lpstr>
      <vt:lpstr>OCTOBER-NOVEMBER-DECEMBER(Ekim –Kasım-Aralık)</vt:lpstr>
      <vt:lpstr>Slayt 15</vt:lpstr>
      <vt:lpstr>JANUARY –FEBRUARY-MARCH (Ocak- Şubat- Mart)</vt:lpstr>
      <vt:lpstr>Slayt 17</vt:lpstr>
      <vt:lpstr> ACTIVE Project Timeline</vt:lpstr>
      <vt:lpstr>Slayt 19</vt:lpstr>
      <vt:lpstr>ROLES in the ACTIVE Partnership</vt:lpstr>
      <vt:lpstr>ACTIVE  Economy</vt:lpstr>
      <vt:lpstr>ACTIVE </vt:lpstr>
    </vt:vector>
  </TitlesOfParts>
  <Company>BB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S Folienvorlagen</dc:title>
  <dc:creator>Strategy Compass GmbH</dc:creator>
  <cp:lastModifiedBy>Admin</cp:lastModifiedBy>
  <cp:revision>480</cp:revision>
  <dcterms:created xsi:type="dcterms:W3CDTF">2009-12-21T10:58:29Z</dcterms:created>
  <dcterms:modified xsi:type="dcterms:W3CDTF">2019-09-18T12:49:37Z</dcterms:modified>
</cp:coreProperties>
</file>